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s/slide38.xml" ContentType="application/vnd.openxmlformats-officedocument.presentationml.slide+xml"/>
  <Override PartName="/ppt/slides/slide47.xml" ContentType="application/vnd.openxmlformats-officedocument.presentationml.slide+xml"/>
  <Override PartName="/ppt/slides/slide56.xml" ContentType="application/vnd.openxmlformats-officedocument.presentationml.slide+xml"/>
  <Override PartName="/ppt/slides/slide58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s/slide5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slides/slide64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0.xml" ContentType="application/vnd.openxmlformats-officedocument.presentationml.slideLayout+xml"/>
  <Default Extension="gif" ContentType="image/gif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6"/>
  </p:notesMasterIdLst>
  <p:sldIdLst>
    <p:sldId id="256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80" r:id="rId10"/>
    <p:sldId id="281" r:id="rId11"/>
    <p:sldId id="346" r:id="rId12"/>
    <p:sldId id="265" r:id="rId13"/>
    <p:sldId id="284" r:id="rId14"/>
    <p:sldId id="285" r:id="rId15"/>
    <p:sldId id="287" r:id="rId16"/>
    <p:sldId id="286" r:id="rId17"/>
    <p:sldId id="266" r:id="rId18"/>
    <p:sldId id="267" r:id="rId19"/>
    <p:sldId id="268" r:id="rId20"/>
    <p:sldId id="288" r:id="rId21"/>
    <p:sldId id="270" r:id="rId22"/>
    <p:sldId id="289" r:id="rId23"/>
    <p:sldId id="269" r:id="rId24"/>
    <p:sldId id="305" r:id="rId25"/>
    <p:sldId id="291" r:id="rId26"/>
    <p:sldId id="301" r:id="rId27"/>
    <p:sldId id="302" r:id="rId28"/>
    <p:sldId id="303" r:id="rId29"/>
    <p:sldId id="304" r:id="rId30"/>
    <p:sldId id="292" r:id="rId31"/>
    <p:sldId id="306" r:id="rId32"/>
    <p:sldId id="307" r:id="rId33"/>
    <p:sldId id="308" r:id="rId34"/>
    <p:sldId id="309" r:id="rId35"/>
    <p:sldId id="310" r:id="rId36"/>
    <p:sldId id="311" r:id="rId37"/>
    <p:sldId id="347" r:id="rId38"/>
    <p:sldId id="312" r:id="rId39"/>
    <p:sldId id="348" r:id="rId40"/>
    <p:sldId id="313" r:id="rId41"/>
    <p:sldId id="314" r:id="rId42"/>
    <p:sldId id="315" r:id="rId43"/>
    <p:sldId id="316" r:id="rId44"/>
    <p:sldId id="317" r:id="rId45"/>
    <p:sldId id="319" r:id="rId46"/>
    <p:sldId id="320" r:id="rId47"/>
    <p:sldId id="321" r:id="rId48"/>
    <p:sldId id="322" r:id="rId49"/>
    <p:sldId id="323" r:id="rId50"/>
    <p:sldId id="324" r:id="rId51"/>
    <p:sldId id="325" r:id="rId52"/>
    <p:sldId id="326" r:id="rId53"/>
    <p:sldId id="331" r:id="rId54"/>
    <p:sldId id="330" r:id="rId55"/>
    <p:sldId id="327" r:id="rId56"/>
    <p:sldId id="328" r:id="rId57"/>
    <p:sldId id="339" r:id="rId58"/>
    <p:sldId id="329" r:id="rId59"/>
    <p:sldId id="340" r:id="rId60"/>
    <p:sldId id="341" r:id="rId61"/>
    <p:sldId id="342" r:id="rId62"/>
    <p:sldId id="343" r:id="rId63"/>
    <p:sldId id="344" r:id="rId64"/>
    <p:sldId id="345" r:id="rId6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FF99FF"/>
    <a:srgbClr val="FF00FF"/>
    <a:srgbClr val="00CCFF"/>
    <a:srgbClr val="006600"/>
    <a:srgbClr val="990099"/>
    <a:srgbClr val="33993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20741" autoAdjust="0"/>
    <p:restoredTop sz="94660"/>
  </p:normalViewPr>
  <p:slideViewPr>
    <p:cSldViewPr>
      <p:cViewPr>
        <p:scale>
          <a:sx n="40" d="100"/>
          <a:sy n="40" d="100"/>
        </p:scale>
        <p:origin x="-634" y="-91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2CF657-C5CA-4579-8718-83B098A9AB02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E95EE8-5813-4614-B20B-83B661F6A89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512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B97E62D-2C7E-4FAB-9C6A-15423DCB4D90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5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9" y="273053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5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3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2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21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95400" y="1600200"/>
            <a:ext cx="6781800" cy="4267200"/>
          </a:xfrm>
        </p:spPr>
        <p:txBody>
          <a:bodyPr>
            <a:prstTxWarp prst="textArchUp">
              <a:avLst/>
            </a:prstTxWarp>
            <a:norm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11000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/>
            </a:r>
            <a:br>
              <a:rPr lang="en-US" sz="11000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</a:br>
            <a:r>
              <a:rPr lang="en-US" sz="11000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సాంఘిక</a:t>
            </a:r>
            <a:r>
              <a:rPr lang="en-US" sz="11000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11000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శాస్త్రం</a:t>
            </a:r>
            <a:r>
              <a:rPr lang="en-US" sz="11000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endParaRPr lang="en-US" sz="11000" spc="50" dirty="0">
              <a:ln w="11430"/>
              <a:solidFill>
                <a:schemeClr val="bg1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524000" y="2286000"/>
            <a:ext cx="563880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600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my Thin" pitchFamily="2" charset="0"/>
              </a:rPr>
              <a:t>(Academic Standards)</a:t>
            </a:r>
            <a:endParaRPr lang="en-US" sz="6600" dirty="0">
              <a:solidFill>
                <a:srgbClr val="0000FF"/>
              </a:solidFill>
              <a:latin typeface="Army Thin" pitchFamily="2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09600" y="2438400"/>
            <a:ext cx="7924800" cy="3505200"/>
          </a:xfrm>
          <a:prstGeom prst="rect">
            <a:avLst/>
          </a:prstGeom>
        </p:spPr>
        <p:txBody>
          <a:bodyPr spcFirstLastPara="1" vert="horz" lIns="91440" tIns="45720" rIns="91440" bIns="45720" numCol="1" rtlCol="0" anchor="ctr">
            <a:prstTxWarp prst="textArchDown">
              <a:avLst/>
            </a:prstTxWarp>
            <a:norm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i="0" u="none" strike="noStrike" kern="1200" cap="none" spc="300" normalizeH="0" baseline="0" noProof="0" dirty="0" smtClean="0">
                <a:ln w="11430"/>
                <a:solidFill>
                  <a:srgbClr val="0066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Gidugu" pitchFamily="2" charset="0"/>
                <a:ea typeface="Ponnala" pitchFamily="2" charset="0"/>
                <a:cs typeface="Gidugu" pitchFamily="2" charset="0"/>
              </a:rPr>
              <a:t> </a:t>
            </a:r>
            <a:r>
              <a:rPr kumimoji="0" lang="te-IN" sz="11500" i="0" u="none" strike="noStrike" kern="1200" cap="none" spc="300" normalizeH="0" baseline="0" noProof="0" dirty="0" smtClean="0">
                <a:ln w="11430"/>
                <a:solidFill>
                  <a:srgbClr val="0066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Gidugu" pitchFamily="2" charset="0"/>
                <a:ea typeface="Ponnala" pitchFamily="2" charset="0"/>
                <a:cs typeface="Gidugu" pitchFamily="2" charset="0"/>
              </a:rPr>
              <a:t>విద్యా ప్ర</a:t>
            </a:r>
            <a:r>
              <a:rPr kumimoji="0" lang="en-US" sz="11500" i="0" u="none" strike="noStrike" kern="1200" cap="none" spc="300" normalizeH="0" baseline="0" noProof="0" dirty="0" err="1" smtClean="0">
                <a:ln w="11430"/>
                <a:solidFill>
                  <a:srgbClr val="0066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Gidugu" pitchFamily="2" charset="0"/>
                <a:ea typeface="Ponnala" pitchFamily="2" charset="0"/>
                <a:cs typeface="Gidugu" pitchFamily="2" charset="0"/>
              </a:rPr>
              <a:t>మా</a:t>
            </a:r>
            <a:r>
              <a:rPr kumimoji="0" lang="te-IN" sz="11500" i="0" u="none" strike="noStrike" kern="1200" cap="none" spc="300" normalizeH="0" baseline="0" noProof="0" dirty="0" smtClean="0">
                <a:ln w="11430"/>
                <a:solidFill>
                  <a:srgbClr val="0066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uLnTx/>
                <a:uFillTx/>
                <a:latin typeface="Gidugu" pitchFamily="2" charset="0"/>
                <a:ea typeface="Ponnala" pitchFamily="2" charset="0"/>
                <a:cs typeface="Gidugu" pitchFamily="2" charset="0"/>
              </a:rPr>
              <a:t>ణాలు</a:t>
            </a:r>
            <a:endParaRPr kumimoji="0" lang="en-US" sz="11500" i="0" u="none" strike="noStrike" kern="1200" cap="none" spc="300" normalizeH="0" baseline="0" noProof="0" dirty="0">
              <a:ln w="11430"/>
              <a:solidFill>
                <a:srgbClr val="00660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uLnTx/>
              <a:uFillTx/>
              <a:latin typeface="Gidugu" pitchFamily="2" charset="0"/>
              <a:ea typeface="+mj-ea"/>
              <a:cs typeface="Gidugu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7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8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Left Arrow 10"/>
          <p:cNvSpPr/>
          <p:nvPr/>
        </p:nvSpPr>
        <p:spPr>
          <a:xfrm rot="19465670">
            <a:off x="1216546" y="4352551"/>
            <a:ext cx="2875332" cy="698623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Left Arrow 14"/>
          <p:cNvSpPr/>
          <p:nvPr/>
        </p:nvSpPr>
        <p:spPr>
          <a:xfrm rot="5400000">
            <a:off x="3575013" y="1606596"/>
            <a:ext cx="1841591" cy="609600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Left Arrow 3"/>
          <p:cNvSpPr/>
          <p:nvPr/>
        </p:nvSpPr>
        <p:spPr>
          <a:xfrm rot="2241820">
            <a:off x="1112054" y="1859400"/>
            <a:ext cx="2805632" cy="65290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 rot="19212463">
            <a:off x="-107260" y="795988"/>
            <a:ext cx="28194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339933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కారణాలు</a:t>
            </a:r>
            <a:endParaRPr lang="en-US" sz="5400" b="1" spc="50" dirty="0">
              <a:ln w="11430"/>
              <a:solidFill>
                <a:srgbClr val="339933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 rot="19273957">
            <a:off x="6074447" y="5082337"/>
            <a:ext cx="3319935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FF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పోలికలు</a:t>
            </a:r>
            <a:endParaRPr lang="en-US" sz="5400" b="1" spc="50" dirty="0">
              <a:ln w="11430"/>
              <a:solidFill>
                <a:srgbClr val="FF00FF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Left Arrow 6"/>
          <p:cNvSpPr/>
          <p:nvPr/>
        </p:nvSpPr>
        <p:spPr>
          <a:xfrm rot="8693397">
            <a:off x="5129171" y="1805938"/>
            <a:ext cx="2689734" cy="6124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 rot="2768288">
            <a:off x="6406380" y="755928"/>
            <a:ext cx="31242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0070C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వర్గీకరణ</a:t>
            </a:r>
            <a:endParaRPr lang="en-US" sz="5400" b="1" spc="50" dirty="0">
              <a:ln w="11430"/>
              <a:solidFill>
                <a:srgbClr val="0070C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9" name="Left Arrow 8"/>
          <p:cNvSpPr/>
          <p:nvPr/>
        </p:nvSpPr>
        <p:spPr>
          <a:xfrm rot="12998199">
            <a:off x="5312163" y="4267677"/>
            <a:ext cx="2281153" cy="6820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 rot="2241361">
            <a:off x="-132231" y="5298245"/>
            <a:ext cx="2534662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990099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భేదాలు</a:t>
            </a:r>
            <a:endParaRPr lang="en-US" sz="5400" b="1" spc="50" dirty="0">
              <a:ln w="11430"/>
              <a:solidFill>
                <a:srgbClr val="990099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286000" y="5934669"/>
            <a:ext cx="42672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ఉదాహరణలు</a:t>
            </a:r>
            <a:endParaRPr lang="en-US" sz="5400" b="1" spc="50" dirty="0">
              <a:ln w="11430"/>
              <a:solidFill>
                <a:srgbClr val="0000FF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3" name="Left Arrow 12"/>
          <p:cNvSpPr/>
          <p:nvPr/>
        </p:nvSpPr>
        <p:spPr>
          <a:xfrm rot="16200000">
            <a:off x="3429000" y="4572000"/>
            <a:ext cx="2133600" cy="609600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2667000" y="228600"/>
            <a:ext cx="38100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వివరించడం</a:t>
            </a:r>
            <a:endParaRPr lang="en-US" sz="54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" name="Oval 1"/>
          <p:cNvSpPr/>
          <p:nvPr/>
        </p:nvSpPr>
        <p:spPr>
          <a:xfrm>
            <a:off x="2895600" y="2514600"/>
            <a:ext cx="2971800" cy="1752600"/>
          </a:xfrm>
          <a:prstGeom prst="ellips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895600" y="3039068"/>
            <a:ext cx="29718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అవగాహన</a:t>
            </a:r>
            <a:endParaRPr lang="en-US" sz="54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6" name="Rectangle 15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" dur="1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42" dur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52" dur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2" dur="1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2" dur="1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 animBg="1"/>
      <p:bldP spid="4" grpId="0" animBg="1"/>
      <p:bldP spid="5" grpId="0"/>
      <p:bldP spid="6" grpId="0"/>
      <p:bldP spid="7" grpId="0" animBg="1"/>
      <p:bldP spid="8" grpId="0"/>
      <p:bldP spid="9" grpId="0" animBg="1"/>
      <p:bldP spid="10" grpId="0"/>
      <p:bldP spid="12" grpId="0"/>
      <p:bldP spid="13" grpId="0" animBg="1"/>
      <p:bldP spid="14" grpId="0"/>
      <p:bldP spid="2" grpId="0" animBg="1"/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3400" y="1700748"/>
            <a:ext cx="8077200" cy="3785652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80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ఇచ్చిన </a:t>
            </a:r>
            <a:r>
              <a:rPr lang="en-US" sz="8000" b="1" spc="50" dirty="0" err="1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పాఠ్యాంశాన్ని</a:t>
            </a:r>
            <a:r>
              <a:rPr lang="en-US" sz="80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8000" b="1" spc="50" dirty="0" err="1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చదివి</a:t>
            </a:r>
            <a:r>
              <a:rPr lang="en-US" sz="80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, </a:t>
            </a:r>
            <a:r>
              <a:rPr lang="en-US" sz="8000" b="1" spc="50" dirty="0" err="1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అర్థం</a:t>
            </a:r>
            <a:r>
              <a:rPr lang="en-US" sz="80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8000" b="1" spc="50" dirty="0" err="1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చేసికొని</a:t>
            </a:r>
            <a:r>
              <a:rPr lang="en-US" sz="80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8000" b="1" spc="50" dirty="0" err="1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వ్యాఖ్యానించటం</a:t>
            </a:r>
            <a:r>
              <a:rPr lang="en-US" sz="8000" b="1" spc="50" dirty="0" smtClean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.</a:t>
            </a:r>
            <a:endParaRPr lang="en-US" sz="8000" b="1" spc="50" dirty="0">
              <a:ln w="11430"/>
              <a:solidFill>
                <a:srgbClr val="0000FF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457200"/>
            <a:ext cx="80772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ఇచ్చిన </a:t>
            </a:r>
            <a:r>
              <a:rPr lang="en-US" sz="5400" dirty="0" err="1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పాఠ్యాంశాన్ని</a:t>
            </a:r>
            <a:r>
              <a:rPr lang="en-US" sz="5400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చదివి</a:t>
            </a:r>
            <a:r>
              <a:rPr lang="en-US" sz="5400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, </a:t>
            </a:r>
            <a:r>
              <a:rPr lang="en-US" sz="5400" dirty="0" err="1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అర్థం</a:t>
            </a:r>
            <a:r>
              <a:rPr lang="en-US" sz="5400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చేసికొని</a:t>
            </a:r>
            <a:r>
              <a:rPr lang="en-US" sz="5400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వ్యాఖ్యానించటం</a:t>
            </a:r>
            <a:r>
              <a:rPr lang="en-US" sz="5400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.</a:t>
            </a:r>
            <a:endParaRPr lang="en-US" sz="5400" dirty="0">
              <a:solidFill>
                <a:srgbClr val="0000FF"/>
              </a:soli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09600" y="2298680"/>
            <a:ext cx="80772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 smtClean="0">
                <a:latin typeface="Ramabhadra" pitchFamily="2" charset="0"/>
                <a:cs typeface="Ramabhadra" pitchFamily="2" charset="0"/>
              </a:rPr>
              <a:t>- </a:t>
            </a:r>
            <a:r>
              <a:rPr lang="en-US" sz="4800" dirty="0" err="1" smtClean="0">
                <a:latin typeface="Ramabhadra" pitchFamily="2" charset="0"/>
                <a:cs typeface="Ramabhadra" pitchFamily="2" charset="0"/>
              </a:rPr>
              <a:t>విద్యార్థి</a:t>
            </a:r>
            <a:r>
              <a:rPr lang="en-US" sz="48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latin typeface="Ramabhadra" pitchFamily="2" charset="0"/>
                <a:cs typeface="Ramabhadra" pitchFamily="2" charset="0"/>
              </a:rPr>
              <a:t>అనుభవం</a:t>
            </a:r>
            <a:r>
              <a:rPr lang="en-US" sz="48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latin typeface="Ramabhadra" pitchFamily="2" charset="0"/>
                <a:cs typeface="Ramabhadra" pitchFamily="2" charset="0"/>
              </a:rPr>
              <a:t>ఆధారంగా</a:t>
            </a:r>
            <a:r>
              <a:rPr lang="en-US" sz="48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latin typeface="Ramabhadra" pitchFamily="2" charset="0"/>
                <a:cs typeface="Ramabhadra" pitchFamily="2" charset="0"/>
              </a:rPr>
              <a:t>ఉండాలి</a:t>
            </a:r>
            <a:endParaRPr lang="en-US" sz="4800" dirty="0" smtClean="0">
              <a:latin typeface="Ramabhadra" pitchFamily="2" charset="0"/>
              <a:cs typeface="Ramabhadra" pitchFamily="2" charset="0"/>
            </a:endParaRPr>
          </a:p>
          <a:p>
            <a:pPr>
              <a:buFontTx/>
              <a:buChar char="-"/>
            </a:pP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నేక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ోణాలలో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ఆలోచింపచేయాలి</a:t>
            </a:r>
            <a:endParaRPr lang="en-US" sz="48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pPr>
              <a:buFontTx/>
              <a:buChar char="-"/>
            </a:pP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అనుకూలమైన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పేరాగ్రాఫ్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ను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ఎంపిక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చేసుకోవాలి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800" dirty="0">
              <a:solidFill>
                <a:srgbClr val="0066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3" dur="2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8" dur="2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3" dur="2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304800"/>
            <a:ext cx="8077200" cy="624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10 వ </a:t>
            </a:r>
            <a:r>
              <a:rPr lang="en-US" sz="4000" dirty="0" err="1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తరగతి</a:t>
            </a:r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4000" dirty="0" err="1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పేజి</a:t>
            </a:r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4000" dirty="0" err="1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నం</a:t>
            </a:r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. 260</a:t>
            </a:r>
          </a:p>
          <a:p>
            <a:pPr algn="ctr"/>
            <a:endParaRPr lang="en-US" sz="3600" dirty="0" smtClean="0">
              <a:solidFill>
                <a:srgbClr val="006600"/>
              </a:solidFill>
              <a:latin typeface="NTR" pitchFamily="2" charset="0"/>
              <a:cs typeface="NTR" pitchFamily="2" charset="0"/>
            </a:endParaRPr>
          </a:p>
          <a:p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ఈ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ాలంలో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సామాజిక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,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ఆర్థిక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మార్ప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సాధించాలన్న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లక్ష్యంతో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అనేక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ప్రైవేట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బ్యాంకులన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జాతీయం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ేస్తూ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చేసిన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ట్టం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,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రాజ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భరణాలన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రద్దుచేస్తూ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చేసిన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ట్టం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ముఖ్యమైనవి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ఈ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రెండ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ట్టాలన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న్యాయస్థానాలలో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సవాల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ేశార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దాంతో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రాజకీయ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లక్ష్యాలలో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న్యాయస్థానాల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జోక్యం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ేసుకున్నాయనిపించేట్టుగా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2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చేశారు</a:t>
            </a:r>
            <a:r>
              <a:rPr lang="en-US" sz="32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</a:t>
            </a:r>
          </a:p>
          <a:p>
            <a:endParaRPr lang="en-US" sz="28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pPr>
              <a:buFontTx/>
              <a:buChar char="-"/>
            </a:pP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్యాయస్థానాల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ోక్యం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రియైనదేనని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విస్తున్నారా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?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ీనిపై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నీ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భిప్రాయం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ఏమిటి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?</a:t>
            </a:r>
            <a:endParaRPr lang="en-US" sz="2800" dirty="0"/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457200"/>
            <a:ext cx="8077200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10 వ </a:t>
            </a:r>
            <a:r>
              <a:rPr lang="en-US" sz="4000" dirty="0" err="1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తరగతి</a:t>
            </a:r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4000" dirty="0" err="1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పేజి</a:t>
            </a:r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4000" dirty="0" err="1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నం</a:t>
            </a:r>
            <a:r>
              <a:rPr lang="en-US" sz="4000" dirty="0" smtClean="0">
                <a:solidFill>
                  <a:srgbClr val="006600"/>
                </a:solidFill>
                <a:latin typeface="NTR" pitchFamily="2" charset="0"/>
                <a:cs typeface="NTR" pitchFamily="2" charset="0"/>
              </a:rPr>
              <a:t>. 103</a:t>
            </a:r>
          </a:p>
          <a:p>
            <a:pPr algn="ctr"/>
            <a:endParaRPr lang="en-US" sz="3600" dirty="0" smtClean="0">
              <a:solidFill>
                <a:srgbClr val="006600"/>
              </a:solidFill>
              <a:latin typeface="NTR" pitchFamily="2" charset="0"/>
              <a:cs typeface="NTR" pitchFamily="2" charset="0"/>
            </a:endParaRPr>
          </a:p>
          <a:p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భారతదేశంలో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2001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జనాభా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లెక్కల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ప్రకారం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30.7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ోట్ల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మంద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లస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ెళ్ళార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అనేక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ారణాల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ల్ల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లసల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జరగవచ్చ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ఆడ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ాళ్ళలో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లస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ెళ్ళడానిక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ివాహం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ప్రధాన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ారణం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ాగా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మగ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ాళ్ళలో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ఉపాధ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లేదా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ఉపాధ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ోసం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అన్వేషణ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ప్రధాన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ారణం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ఉన్న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ఊరిలోన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ఉపాధ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అవకాశాలపై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అసంతృప్త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ిద్యక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మెరుగైన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అగకాశాల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,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్యాపారంలో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నష్టాల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ుటుంబ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తగాదాల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ంటివి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జనగణన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సర్వేలో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ప్రజల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వలసక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కారణాలుగా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2800" dirty="0" err="1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పేర్కొన్నారు</a:t>
            </a:r>
            <a:r>
              <a:rPr lang="en-US" sz="2800" dirty="0" smtClean="0">
                <a:solidFill>
                  <a:srgbClr val="0000FF"/>
                </a:solidFill>
                <a:latin typeface="Mandali" pitchFamily="2" charset="0"/>
                <a:cs typeface="Mandali" pitchFamily="2" charset="0"/>
              </a:rPr>
              <a:t>.</a:t>
            </a:r>
          </a:p>
          <a:p>
            <a:endParaRPr lang="en-US" sz="2800" dirty="0" smtClean="0">
              <a:solidFill>
                <a:srgbClr val="0000FF"/>
              </a:solidFill>
              <a:latin typeface="Mandali" pitchFamily="2" charset="0"/>
              <a:cs typeface="Mandali" pitchFamily="2" charset="0"/>
            </a:endParaRPr>
          </a:p>
          <a:p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- ఈ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ేరా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్రాఫ్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లో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ేర్కొన్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ారణాల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రియైనవేనన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విస్తున్నారా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?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ీ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భిప్రాయ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ెల్పండ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3200" dirty="0"/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381000"/>
            <a:ext cx="80772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10 వ </a:t>
            </a:r>
            <a:r>
              <a:rPr lang="en-US" sz="4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తరగతి</a:t>
            </a:r>
            <a:r>
              <a:rPr lang="en-US" sz="4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4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పేజి</a:t>
            </a:r>
            <a:r>
              <a:rPr lang="en-US" sz="4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4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నం</a:t>
            </a:r>
            <a:r>
              <a:rPr lang="en-US" sz="4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. 163</a:t>
            </a:r>
          </a:p>
          <a:p>
            <a:pPr algn="ctr"/>
            <a:endParaRPr lang="en-US" sz="4400" dirty="0" smtClean="0">
              <a:solidFill>
                <a:srgbClr val="006600"/>
              </a:solidFill>
              <a:latin typeface="Mandali" pitchFamily="2" charset="0"/>
              <a:cs typeface="Mandali" pitchFamily="2" charset="0"/>
            </a:endParaRPr>
          </a:p>
          <a:p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“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ప్రస్తుతం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మనం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వనరులను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ఉపయోగిస్తున్న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తీరు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చూస్తే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అరుదైన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వనరులలో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భవిష్యత్తు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తరాలు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తమ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న్యాయమైన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వాటాను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పొందే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అవకాశాలు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దెబ్బ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తింటున్నాయి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.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అంతే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గాకుండా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మనం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ఉపయోగించే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వనరుల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ప్రభావం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పర్యావరణంపై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పడి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దాని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సామర్థ్యాన్ని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శాశ్వతంగా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దెబ్బతీసే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అవకాశం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 </a:t>
            </a:r>
            <a:r>
              <a:rPr lang="en-US" sz="3300" dirty="0" err="1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ఉంది</a:t>
            </a:r>
            <a:r>
              <a:rPr lang="en-US" sz="3300" dirty="0" smtClean="0">
                <a:solidFill>
                  <a:srgbClr val="006600"/>
                </a:solidFill>
                <a:latin typeface="Mandali" pitchFamily="2" charset="0"/>
                <a:cs typeface="Mandali" pitchFamily="2" charset="0"/>
              </a:rPr>
              <a:t>.”</a:t>
            </a:r>
            <a:endParaRPr lang="en-US" sz="3300" dirty="0" smtClean="0">
              <a:solidFill>
                <a:srgbClr val="006600"/>
              </a:solidFill>
              <a:latin typeface="Mandali" pitchFamily="2" charset="0"/>
              <a:cs typeface="Mandali" pitchFamily="2" charset="0"/>
            </a:endParaRPr>
          </a:p>
          <a:p>
            <a:endParaRPr lang="en-US" sz="3200" dirty="0" smtClean="0">
              <a:solidFill>
                <a:srgbClr val="006600"/>
              </a:solidFill>
              <a:latin typeface="Mandali" pitchFamily="2" charset="0"/>
              <a:cs typeface="Mandali" pitchFamily="2" charset="0"/>
            </a:endParaRPr>
          </a:p>
          <a:p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- ఈ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ేరా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దివి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ర్వాత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నీకు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లిగి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భిప్రాయాన్న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ొంతమాటల్లో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యండ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1167348"/>
            <a:ext cx="80772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10 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వతరగతి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పాఠ్యపుస్తకము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పేజి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నెం. 182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లోని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సైనిక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వాదం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అంశాన్ని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చదివి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వ్యాఖ్యానించండి</a:t>
            </a:r>
            <a:r>
              <a:rPr lang="en-US" sz="6000" dirty="0" smtClean="0">
                <a:solidFill>
                  <a:srgbClr val="0000FF"/>
                </a:solidFill>
                <a:latin typeface="NTR" pitchFamily="2" charset="0"/>
                <a:cs typeface="NTR" pitchFamily="2" charset="0"/>
              </a:rPr>
              <a:t>.</a:t>
            </a:r>
            <a:endParaRPr lang="en-US" sz="48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399871"/>
            <a:ext cx="8077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 err="1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చేయ</a:t>
            </a:r>
            <a:r>
              <a:rPr lang="en-US" sz="7200" dirty="0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 </a:t>
            </a:r>
            <a:r>
              <a:rPr lang="en-US" sz="7200" dirty="0" err="1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వలసినవి</a:t>
            </a:r>
            <a:r>
              <a:rPr lang="en-US" sz="7200" dirty="0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:</a:t>
            </a:r>
            <a:endParaRPr lang="en-US" sz="7200" dirty="0">
              <a:solidFill>
                <a:srgbClr val="006600"/>
              </a:solidFill>
              <a:latin typeface="Timmana" pitchFamily="2" charset="0"/>
              <a:cs typeface="Timman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3400" y="1416308"/>
            <a:ext cx="807720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ిల్ల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మ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మ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భిప్రాయాలన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్వేచ్చగా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సే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ధంగా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ోత్సహించ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ఇది </a:t>
            </a:r>
            <a:r>
              <a:rPr lang="en-US" sz="4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్రశ్నలకు</a:t>
            </a:r>
            <a:r>
              <a:rPr lang="en-US" sz="4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జవాబులివ్వటం</a:t>
            </a:r>
            <a:r>
              <a:rPr lang="en-US" sz="4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కాదు</a:t>
            </a:r>
            <a:r>
              <a:rPr lang="en-US" sz="4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వాస్తవ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పరిస్థితులను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అర్థం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చేసుకొని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వ్యాఖ్యానించే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అలవాటు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చేయాలి</a:t>
            </a:r>
            <a:r>
              <a:rPr lang="en-US" sz="44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బహుళ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కోణాల్లో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చర్చించడానికి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అవకాశం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గల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పేరాగ్రాఫ్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లను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ఎంపిక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చేసికోవాలి</a:t>
            </a:r>
            <a:r>
              <a:rPr lang="en-US" sz="44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400" dirty="0">
              <a:solidFill>
                <a:srgbClr val="7030A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13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14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15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6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1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22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23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24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9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0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1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32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7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8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9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0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533406"/>
            <a:ext cx="7848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 err="1" smtClean="0">
                <a:solidFill>
                  <a:srgbClr val="7030A0"/>
                </a:solidFill>
                <a:latin typeface="Timmana" pitchFamily="2" charset="0"/>
                <a:cs typeface="Timmana" pitchFamily="2" charset="0"/>
              </a:rPr>
              <a:t>చేయకూడనివి</a:t>
            </a:r>
            <a:r>
              <a:rPr lang="en-US" sz="7200" dirty="0" smtClean="0">
                <a:solidFill>
                  <a:srgbClr val="7030A0"/>
                </a:solidFill>
                <a:latin typeface="Timmana" pitchFamily="2" charset="0"/>
                <a:cs typeface="Timmana" pitchFamily="2" charset="0"/>
              </a:rPr>
              <a:t>:</a:t>
            </a:r>
          </a:p>
        </p:txBody>
      </p:sp>
      <p:sp>
        <p:nvSpPr>
          <p:cNvPr id="4" name="Rectangle 3"/>
          <p:cNvSpPr/>
          <p:nvPr/>
        </p:nvSpPr>
        <p:spPr>
          <a:xfrm>
            <a:off x="685800" y="1828806"/>
            <a:ext cx="80772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ది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ేరా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్రాఫ్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చ్చి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్రింద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లు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చ్చే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షా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రిచ్ఛేదం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ాదు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800" dirty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అందరి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సమాధానం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ఒకేలా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ఉండాలని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భావించవద్దు</a:t>
            </a:r>
            <a:r>
              <a:rPr lang="en-US" sz="48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800" dirty="0" smtClean="0">
              <a:solidFill>
                <a:srgbClr val="FF00FF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ఉపాధ్యాయుని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దృష్టికి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విద్యార్థి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జవాబు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భిన్నంగా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ఉంటే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నిరుత్సాహ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పరచవద్దు</a:t>
            </a:r>
            <a:r>
              <a:rPr lang="en-US" sz="4800" dirty="0" smtClean="0">
                <a:solidFill>
                  <a:srgbClr val="FF00FF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</p:txBody>
      </p:sp>
      <p:sp>
        <p:nvSpPr>
          <p:cNvPr id="5" name="Rectangle 4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2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8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3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1828800"/>
            <a:ext cx="8077200" cy="3276600"/>
          </a:xfrm>
          <a:prstGeom prst="rect">
            <a:avLst/>
          </a:prstGeom>
        </p:spPr>
        <p:txBody>
          <a:bodyPr wrap="square">
            <a:prstTxWarp prst="textStop">
              <a:avLst/>
            </a:prstTxWarp>
            <a:spAutoFit/>
          </a:bodyPr>
          <a:lstStyle/>
          <a:p>
            <a:pPr algn="ctr"/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సమాచార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endParaRPr lang="en-US" sz="7200" dirty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04801"/>
            <a:ext cx="7772400" cy="1162051"/>
          </a:xfrm>
        </p:spPr>
        <p:txBody>
          <a:bodyPr>
            <a:noAutofit/>
          </a:bodyPr>
          <a:lstStyle/>
          <a:p>
            <a:pPr algn="l"/>
            <a:r>
              <a:rPr lang="en-US" sz="3200" dirty="0" smtClean="0">
                <a:solidFill>
                  <a:srgbClr val="0000CC"/>
                </a:solidFill>
                <a:latin typeface="Ramabhadra" pitchFamily="2" charset="0"/>
                <a:cs typeface="Ramabhadra" pitchFamily="2" charset="0"/>
              </a:rPr>
              <a:t>1. </a:t>
            </a:r>
            <a:r>
              <a:rPr lang="en-US" sz="3200" dirty="0" err="1" smtClean="0">
                <a:solidFill>
                  <a:srgbClr val="0000CC"/>
                </a:solidFill>
                <a:latin typeface="Ramabhadra" pitchFamily="2" charset="0"/>
                <a:cs typeface="Ramabhadra" pitchFamily="2" charset="0"/>
              </a:rPr>
              <a:t>విషయ</a:t>
            </a:r>
            <a:r>
              <a:rPr lang="en-US" sz="3200" dirty="0" smtClean="0">
                <a:solidFill>
                  <a:srgbClr val="0000CC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te-IN" sz="3200" dirty="0" smtClean="0">
                <a:solidFill>
                  <a:srgbClr val="0000CC"/>
                </a:solidFill>
                <a:latin typeface="Ramabhadra" pitchFamily="2" charset="0"/>
                <a:cs typeface="Ramabhadra" pitchFamily="2" charset="0"/>
              </a:rPr>
              <a:t>అవగాహన</a:t>
            </a:r>
            <a:r>
              <a:rPr lang="en-US" sz="3200" dirty="0" smtClean="0">
                <a:solidFill>
                  <a:srgbClr val="0000CC"/>
                </a:solidFill>
                <a:latin typeface="Ramabhadra" pitchFamily="2" charset="0"/>
                <a:cs typeface="Ramabhadra" pitchFamily="2" charset="0"/>
              </a:rPr>
              <a:t> </a:t>
            </a:r>
            <a:br>
              <a:rPr lang="en-US" sz="3200" dirty="0" smtClean="0">
                <a:solidFill>
                  <a:srgbClr val="0000CC"/>
                </a:solidFill>
                <a:latin typeface="Ramabhadra" pitchFamily="2" charset="0"/>
                <a:cs typeface="Ramabhadra" pitchFamily="2" charset="0"/>
              </a:rPr>
            </a:br>
            <a:r>
              <a:rPr lang="en-US" sz="3200" b="1" dirty="0" smtClean="0">
                <a:solidFill>
                  <a:srgbClr val="FF0000"/>
                </a:solidFill>
              </a:rPr>
              <a:t>(Conceptual Understanding).</a:t>
            </a:r>
            <a:endParaRPr lang="en-US" sz="3200" b="1" dirty="0">
              <a:solidFill>
                <a:srgbClr val="FF0000"/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85800" y="1771651"/>
            <a:ext cx="7772400" cy="1524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2. </a:t>
            </a:r>
            <a:r>
              <a:rPr kumimoji="0" lang="te-I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ఇచ్చిన అంశాన్ని చదివి అర్ధం చేసుకొని వ్యాఖ్యానించడం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/>
            </a:r>
            <a:b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</a:b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Reading the text (given) understanding and</a:t>
            </a:r>
            <a:b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nterpretation)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09600" y="3524251"/>
            <a:ext cx="7772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3. </a:t>
            </a:r>
            <a:r>
              <a:rPr kumimoji="0" lang="te-I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మాచార నైపుణ్యాల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Information Skills)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685800" y="4133851"/>
            <a:ext cx="77724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4. </a:t>
            </a:r>
            <a:r>
              <a:rPr kumimoji="0" lang="te-I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మకాలీన అంశాల పట్ల ప్రతిస్పందన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Reflection on Contemporary Issues and Questioning)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685800" y="5105400"/>
            <a:ext cx="7772400" cy="6096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5. </a:t>
            </a:r>
            <a:r>
              <a:rPr kumimoji="0" lang="te-I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ట నైపుణ్యాలు 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Mapping Skills)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685800" y="5562600"/>
            <a:ext cx="7772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6. </a:t>
            </a:r>
            <a:r>
              <a:rPr kumimoji="0" lang="te-IN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శంస, సున్నితత్వం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(Appreciation and Sensitivity).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7" dur="1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8" dur="400" decel="5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9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0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15" dur="1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16" dur="400" decel="5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17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8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3" dur="1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24" dur="400" decel="5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25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26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1" dur="1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2" dur="400" decel="5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3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34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9" dur="1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0" dur="400" decel="5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1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2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47" dur="12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8" dur="400" decel="5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9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50" dur="400" decel="100000" autoRev="1" fill="hold">
                                          <p:stCondLst>
                                            <p:cond delay="12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5" grpId="0"/>
      <p:bldP spid="6" grpId="0"/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533400"/>
            <a:ext cx="8077200" cy="587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సమాచార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/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ాచారాన్న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ేకరించాల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5200" dirty="0" err="1" smtClean="0">
                <a:latin typeface="Ramabhadra" pitchFamily="2" charset="0"/>
                <a:cs typeface="Ramabhadra" pitchFamily="2" charset="0"/>
              </a:rPr>
              <a:t>పట్టికల</a:t>
            </a:r>
            <a:r>
              <a:rPr lang="en-US" sz="52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5200" dirty="0" err="1" smtClean="0">
                <a:latin typeface="Ramabhadra" pitchFamily="2" charset="0"/>
                <a:cs typeface="Ramabhadra" pitchFamily="2" charset="0"/>
              </a:rPr>
              <a:t>రూపంలో</a:t>
            </a:r>
            <a:r>
              <a:rPr lang="en-US" sz="52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5200" dirty="0" err="1" smtClean="0">
                <a:latin typeface="Ramabhadra" pitchFamily="2" charset="0"/>
                <a:cs typeface="Ramabhadra" pitchFamily="2" charset="0"/>
              </a:rPr>
              <a:t>నమోదు</a:t>
            </a:r>
            <a:r>
              <a:rPr lang="en-US" sz="52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5200" dirty="0" err="1" smtClean="0">
                <a:latin typeface="Ramabhadra" pitchFamily="2" charset="0"/>
                <a:cs typeface="Ramabhadra" pitchFamily="2" charset="0"/>
              </a:rPr>
              <a:t>చేయాలి</a:t>
            </a:r>
            <a:r>
              <a:rPr lang="en-US" sz="5200" dirty="0" smtClean="0"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5400" dirty="0" err="1" smtClean="0">
                <a:solidFill>
                  <a:srgbClr val="990099"/>
                </a:solidFill>
                <a:latin typeface="Ramabhadra" pitchFamily="2" charset="0"/>
                <a:cs typeface="Ramabhadra" pitchFamily="2" charset="0"/>
              </a:rPr>
              <a:t>విశ్లేషించుకోవాలి</a:t>
            </a:r>
            <a:r>
              <a:rPr lang="en-US" sz="5400" dirty="0" smtClean="0">
                <a:solidFill>
                  <a:srgbClr val="990099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54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నిర్దారణ</a:t>
            </a:r>
            <a:r>
              <a:rPr lang="en-US" sz="54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చేసి </a:t>
            </a:r>
            <a:r>
              <a:rPr lang="en-US" sz="54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నివేదికలు</a:t>
            </a:r>
            <a:r>
              <a:rPr lang="en-US" sz="54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రూపొందించాలి</a:t>
            </a:r>
            <a:r>
              <a:rPr lang="en-US" sz="54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54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" dur="1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762001"/>
            <a:ext cx="80772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్రాజెక్ట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నుల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కూడా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మాచార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ైపుణ్యాలలో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భాగంగా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ిర్వహించాల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.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ిల్లల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హజ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వాతావరణములో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తమంతట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తాముగా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న్వేషించ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రిశోధించ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వసరమగ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మాచారం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ేకరించ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ఒకే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విషయం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ట్ల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గానీ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ంశం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ట్లగానీ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వగాహన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ఏర్పరచుకొన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ిర్ధారణక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రావడానిక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దోహద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డే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కృత్యాలనే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్రాజెక్టుల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న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ిలుస్తార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/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762006"/>
            <a:ext cx="80772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మాచార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ైపుణ్యాలలోన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ేకరణ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మోద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విశ్లేషణ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ిర్ణయానిక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రావడం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ివేదిక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తయారీ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నివేదికన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సమర్పించుట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నే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విషయాలు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ఒక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అంశానిక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వర్తింపజేసిన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దానిన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ప్రాజెక్టుగా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latin typeface="Ramabhadra" pitchFamily="2" charset="0"/>
                <a:cs typeface="Ramabhadra" pitchFamily="2" charset="0"/>
              </a:rPr>
              <a:t>భావించాలి</a:t>
            </a:r>
            <a:r>
              <a:rPr lang="en-US" sz="4000" dirty="0" smtClean="0"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/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90600" y="457200"/>
            <a:ext cx="70104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0" indent="-914400">
              <a:buAutoNum type="arabicPeriod"/>
            </a:pPr>
            <a:r>
              <a:rPr lang="en-US" sz="5400" b="1" dirty="0" smtClean="0">
                <a:solidFill>
                  <a:srgbClr val="006600"/>
                </a:solidFill>
              </a:rPr>
              <a:t>Text to table </a:t>
            </a:r>
          </a:p>
          <a:p>
            <a:pPr marL="914400" indent="-914400">
              <a:buAutoNum type="arabicPeriod"/>
            </a:pPr>
            <a:r>
              <a:rPr lang="en-US" sz="5400" b="1" dirty="0" smtClean="0">
                <a:solidFill>
                  <a:srgbClr val="FF0000"/>
                </a:solidFill>
              </a:rPr>
              <a:t>Table to questions</a:t>
            </a:r>
          </a:p>
          <a:p>
            <a:pPr marL="914400" indent="-914400">
              <a:buAutoNum type="arabicPeriod"/>
            </a:pPr>
            <a:r>
              <a:rPr lang="en-US" sz="5400" b="1" dirty="0" smtClean="0">
                <a:solidFill>
                  <a:srgbClr val="0000FF"/>
                </a:solidFill>
              </a:rPr>
              <a:t>Table to Graph</a:t>
            </a:r>
          </a:p>
          <a:p>
            <a:pPr marL="914400" indent="-914400">
              <a:buAutoNum type="arabicPeriod"/>
            </a:pPr>
            <a:r>
              <a:rPr lang="en-US" sz="5400" b="1" dirty="0" smtClean="0"/>
              <a:t>Graph to Questions</a:t>
            </a:r>
          </a:p>
          <a:p>
            <a:pPr marL="914400" indent="-914400">
              <a:buAutoNum type="arabicPeriod"/>
            </a:pPr>
            <a:r>
              <a:rPr lang="en-US" sz="5400" b="1" dirty="0" smtClean="0">
                <a:solidFill>
                  <a:srgbClr val="0000FF"/>
                </a:solidFill>
              </a:rPr>
              <a:t>Graph to table</a:t>
            </a:r>
          </a:p>
          <a:p>
            <a:pPr marL="914400" indent="-914400">
              <a:buAutoNum type="arabicPeriod"/>
            </a:pPr>
            <a:r>
              <a:rPr lang="en-US" sz="5400" b="1" dirty="0" smtClean="0">
                <a:solidFill>
                  <a:srgbClr val="FF0000"/>
                </a:solidFill>
              </a:rPr>
              <a:t>Graph to Text</a:t>
            </a:r>
          </a:p>
          <a:p>
            <a:pPr marL="914400" indent="-914400">
              <a:buAutoNum type="arabicPeriod"/>
            </a:pPr>
            <a:r>
              <a:rPr lang="en-US" sz="5400" b="1" dirty="0" smtClean="0">
                <a:solidFill>
                  <a:srgbClr val="006600"/>
                </a:solidFill>
              </a:rPr>
              <a:t>Text to Graph...</a:t>
            </a:r>
            <a:endParaRPr lang="en-US" sz="5400" b="1" dirty="0">
              <a:solidFill>
                <a:srgbClr val="0066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" dur="1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" dur="1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" dur="1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Process 6"/>
          <p:cNvSpPr/>
          <p:nvPr/>
        </p:nvSpPr>
        <p:spPr>
          <a:xfrm>
            <a:off x="0" y="0"/>
            <a:ext cx="9144000" cy="6858000"/>
          </a:xfrm>
          <a:prstGeom prst="flowChartProcess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30000" contrast="9000"/>
          </a:blip>
          <a:srcRect l="14844" t="16667" r="11719" b="51736"/>
          <a:stretch>
            <a:fillRect/>
          </a:stretch>
        </p:blipFill>
        <p:spPr bwMode="auto">
          <a:xfrm>
            <a:off x="0" y="7"/>
            <a:ext cx="9144000" cy="3200399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</p:pic>
      <p:sp>
        <p:nvSpPr>
          <p:cNvPr id="5" name="Rectangle 4"/>
          <p:cNvSpPr/>
          <p:nvPr/>
        </p:nvSpPr>
        <p:spPr>
          <a:xfrm flipH="1">
            <a:off x="8382000" y="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30000" contrast="9000"/>
          </a:blip>
          <a:srcRect l="14844" t="53530" r="11719" b="15625"/>
          <a:stretch>
            <a:fillRect/>
          </a:stretch>
        </p:blipFill>
        <p:spPr bwMode="auto">
          <a:xfrm>
            <a:off x="0" y="3733806"/>
            <a:ext cx="9144000" cy="3124201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30000" contrast="9000"/>
          </a:blip>
          <a:srcRect l="14844" t="48264" r="11719" b="46470"/>
          <a:stretch>
            <a:fillRect/>
          </a:stretch>
        </p:blipFill>
        <p:spPr bwMode="auto">
          <a:xfrm>
            <a:off x="0" y="3200400"/>
            <a:ext cx="9144000" cy="5334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Process 4"/>
          <p:cNvSpPr/>
          <p:nvPr/>
        </p:nvSpPr>
        <p:spPr>
          <a:xfrm>
            <a:off x="0" y="0"/>
            <a:ext cx="9144000" cy="6858000"/>
          </a:xfrm>
          <a:prstGeom prst="flowChartProcess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2" descr="C:\Users\pc5\Desktop\Untitled౧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43000" contrast="-43000"/>
          </a:blip>
          <a:srcRect l="6250" t="11458" r="7031" b="74285"/>
          <a:stretch>
            <a:fillRect/>
          </a:stretch>
        </p:blipFill>
        <p:spPr bwMode="auto">
          <a:xfrm>
            <a:off x="228600" y="228600"/>
            <a:ext cx="8686800" cy="121920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 flipH="1">
            <a:off x="8382000" y="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  <p:pic>
        <p:nvPicPr>
          <p:cNvPr id="7" name="Picture 2" descr="C:\Users\pc5\Desktop\Untitled౧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43000" contrast="-43000"/>
          </a:blip>
          <a:srcRect l="6250" t="24824" r="7031" b="47553"/>
          <a:stretch>
            <a:fillRect/>
          </a:stretch>
        </p:blipFill>
        <p:spPr bwMode="auto">
          <a:xfrm>
            <a:off x="228600" y="1371600"/>
            <a:ext cx="8686800" cy="2362200"/>
          </a:xfrm>
          <a:prstGeom prst="rect">
            <a:avLst/>
          </a:prstGeom>
          <a:noFill/>
        </p:spPr>
      </p:pic>
      <p:pic>
        <p:nvPicPr>
          <p:cNvPr id="8" name="Picture 2" descr="C:\Users\pc5\Desktop\Untitled౧.jp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43000" contrast="-43000"/>
          </a:blip>
          <a:srcRect l="6250" t="53338" r="7031" b="14583"/>
          <a:stretch>
            <a:fillRect/>
          </a:stretch>
        </p:blipFill>
        <p:spPr bwMode="auto">
          <a:xfrm>
            <a:off x="228600" y="3810000"/>
            <a:ext cx="8686800" cy="27432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8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399871"/>
            <a:ext cx="8077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 err="1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చేయ</a:t>
            </a:r>
            <a:r>
              <a:rPr lang="en-US" sz="7200" dirty="0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 </a:t>
            </a:r>
            <a:r>
              <a:rPr lang="en-US" sz="7200" dirty="0" err="1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వలసినవి</a:t>
            </a:r>
            <a:r>
              <a:rPr lang="en-US" sz="7200" dirty="0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:</a:t>
            </a:r>
            <a:endParaRPr lang="en-US" sz="7200" dirty="0">
              <a:solidFill>
                <a:srgbClr val="006600"/>
              </a:solidFill>
              <a:latin typeface="Timmana" pitchFamily="2" charset="0"/>
              <a:cs typeface="Timman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3400" y="1416308"/>
            <a:ext cx="80772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కాల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్టిక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్రాఫ్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లు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ేకరించ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ెట్టుకోవ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ఆలోచింపజేసే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శ్లేషణక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ంబంధించిన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వ్వ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ిన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త్రికల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ుండ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ద్యార్థులచే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ేకరింపజేయ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400" dirty="0">
              <a:solidFill>
                <a:srgbClr val="7030A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 flipH="1">
            <a:off x="8382000" y="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13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14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15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6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1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22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23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24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9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0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1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32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381006"/>
            <a:ext cx="7848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 err="1" smtClean="0">
                <a:solidFill>
                  <a:srgbClr val="7030A0"/>
                </a:solidFill>
                <a:latin typeface="Timmana" pitchFamily="2" charset="0"/>
                <a:cs typeface="Timmana" pitchFamily="2" charset="0"/>
              </a:rPr>
              <a:t>చేయకూడనివి</a:t>
            </a:r>
            <a:r>
              <a:rPr lang="en-US" sz="7200" dirty="0" smtClean="0">
                <a:solidFill>
                  <a:srgbClr val="7030A0"/>
                </a:solidFill>
                <a:latin typeface="Timmana" pitchFamily="2" charset="0"/>
                <a:cs typeface="Timmana" pitchFamily="2" charset="0"/>
              </a:rPr>
              <a:t>:</a:t>
            </a:r>
          </a:p>
        </p:txBody>
      </p:sp>
      <p:sp>
        <p:nvSpPr>
          <p:cNvPr id="4" name="Rectangle 3"/>
          <p:cNvSpPr/>
          <p:nvPr/>
        </p:nvSpPr>
        <p:spPr>
          <a:xfrm>
            <a:off x="685800" y="1676400"/>
            <a:ext cx="8077200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ంకె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ంఖ్య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న్నదున్నట్లుగా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ూస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సేవ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వ్వకూడద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న్నీ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ఒకే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ంశాన్న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తిబింబించేలా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ండకూడద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శ్లేషణ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భిన్న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ోణాలలో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లోచించడం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ంట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ాటిక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వకాశం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న్న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ల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వ్వ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400" dirty="0" smtClean="0">
              <a:solidFill>
                <a:srgbClr val="FF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 flipH="1">
            <a:off x="8382000" y="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3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8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3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62000" y="381000"/>
            <a:ext cx="7543800" cy="6096000"/>
          </a:xfrm>
          <a:prstGeom prst="rect">
            <a:avLst/>
          </a:prstGeom>
        </p:spPr>
        <p:txBody>
          <a:bodyPr wrap="square">
            <a:prstTxWarp prst="textStop">
              <a:avLst/>
            </a:prstTxWarp>
            <a:spAutoFit/>
          </a:bodyPr>
          <a:lstStyle/>
          <a:p>
            <a:pPr algn="ctr"/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సమకాలీన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అంశాలపై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్రతిస్పందించుట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-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్రశ్నించుట</a:t>
            </a:r>
            <a:endParaRPr lang="en-US" sz="7200" dirty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4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533407"/>
            <a:ext cx="80772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సమకాలీన</a:t>
            </a:r>
            <a:r>
              <a:rPr lang="en-US" sz="36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36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అంశాలపై</a:t>
            </a:r>
            <a:r>
              <a:rPr lang="en-US" sz="36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36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్రతిస్పందించుట</a:t>
            </a:r>
            <a:r>
              <a:rPr lang="en-US" sz="36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- </a:t>
            </a:r>
            <a:r>
              <a:rPr lang="en-US" sz="36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్రశ్నించుట</a:t>
            </a:r>
            <a:endParaRPr lang="en-US" sz="36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్యాంశాలను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మర్శనాత్మకంగా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వగాహన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సుకోవాలి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ిజ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ీవిత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స్యలకు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రిష్కారం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నుగొనేవిధంగా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ండాలి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్య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ుస్తకానికే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రిమితం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ాకూడదు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కాలీన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ంశాలపై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ర్చ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రగాలి</a:t>
            </a:r>
            <a:r>
              <a:rPr lang="en-US" sz="36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3600" dirty="0">
              <a:solidFill>
                <a:srgbClr val="0066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36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ఫలితాలను</a:t>
            </a:r>
            <a:r>
              <a:rPr lang="en-US" sz="36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600" dirty="0" err="1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ఊహించగలగాలి</a:t>
            </a:r>
            <a:r>
              <a:rPr lang="en-US" sz="3600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endParaRPr lang="en-US" sz="36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4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" dur="1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04800"/>
            <a:ext cx="7772400" cy="13716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1. </a:t>
            </a:r>
            <a:r>
              <a:rPr lang="en-US" dirty="0" err="1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విషయ</a:t>
            </a:r>
            <a:r>
              <a:rPr lang="en-US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te-IN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అవగాహన</a:t>
            </a:r>
            <a:r>
              <a:rPr lang="en-US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b="1" dirty="0" smtClean="0">
                <a:solidFill>
                  <a:srgbClr val="00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(Conceptual Understanding).</a:t>
            </a:r>
            <a:endParaRPr lang="en-US" b="1" dirty="0">
              <a:solidFill>
                <a:srgbClr val="0000FF"/>
              </a:soli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1219200" y="1524000"/>
            <a:ext cx="7239000" cy="518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ాఠ్యాంశాల్లోని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కీలక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దాలు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,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కీలక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భావనలు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కారణాలు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ెప్పడం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ర్గీకరించడం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solidFill>
                <a:srgbClr val="990099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ఉదాహరణలు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ఇవ్వడం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ోలికలు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,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భేదాలు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తెలియ</a:t>
            </a:r>
            <a:r>
              <a:rPr kumimoji="0" lang="en-US" sz="4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జేయడం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ిశ్లేషించడం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ఊహించడం</a:t>
            </a:r>
            <a:endParaRPr kumimoji="0" lang="en-US" sz="4400" i="0" u="none" strike="noStrike" kern="1200" cap="none" spc="0" normalizeH="0" baseline="0" noProof="0" dirty="0" smtClean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ివరించడం</a:t>
            </a:r>
            <a:endParaRPr kumimoji="0" lang="en-US" sz="440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37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42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47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52" dur="2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Process 4"/>
          <p:cNvSpPr/>
          <p:nvPr/>
        </p:nvSpPr>
        <p:spPr>
          <a:xfrm>
            <a:off x="0" y="0"/>
            <a:ext cx="9144000" cy="6858000"/>
          </a:xfrm>
          <a:prstGeom prst="flowChartProcess">
            <a:avLst/>
          </a:pr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98" name="Picture 2" descr="C:\Users\pc5\Desktop\Untitled4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3000"/>
          </a:blip>
          <a:srcRect l="4687" t="31250" r="3125" b="62556"/>
          <a:stretch>
            <a:fillRect/>
          </a:stretch>
        </p:blipFill>
        <p:spPr bwMode="auto">
          <a:xfrm>
            <a:off x="228600" y="685800"/>
            <a:ext cx="8534400" cy="558800"/>
          </a:xfrm>
          <a:prstGeom prst="rect">
            <a:avLst/>
          </a:prstGeom>
          <a:noFill/>
        </p:spPr>
      </p:pic>
      <p:pic>
        <p:nvPicPr>
          <p:cNvPr id="4" name="Picture 2" descr="C:\Users\pc5\Desktop\Untitled4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3000"/>
          </a:blip>
          <a:srcRect l="4687" t="38007" r="3125" b="51295"/>
          <a:stretch>
            <a:fillRect/>
          </a:stretch>
        </p:blipFill>
        <p:spPr bwMode="auto">
          <a:xfrm>
            <a:off x="228600" y="1219200"/>
            <a:ext cx="8534400" cy="965200"/>
          </a:xfrm>
          <a:prstGeom prst="rect">
            <a:avLst/>
          </a:prstGeom>
          <a:noFill/>
        </p:spPr>
      </p:pic>
      <p:pic>
        <p:nvPicPr>
          <p:cNvPr id="6" name="Picture 2" descr="C:\Users\pc5\Desktop\Untitled4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3000"/>
          </a:blip>
          <a:srcRect l="4687" t="48142" r="3125" b="39471"/>
          <a:stretch>
            <a:fillRect/>
          </a:stretch>
        </p:blipFill>
        <p:spPr bwMode="auto">
          <a:xfrm>
            <a:off x="228600" y="2209800"/>
            <a:ext cx="8534400" cy="1117600"/>
          </a:xfrm>
          <a:prstGeom prst="rect">
            <a:avLst/>
          </a:prstGeom>
          <a:noFill/>
        </p:spPr>
      </p:pic>
      <p:pic>
        <p:nvPicPr>
          <p:cNvPr id="7" name="Picture 2" descr="C:\Users\pc5\Desktop\Untitled4.png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3000"/>
          </a:blip>
          <a:srcRect l="4687" t="61093" r="3125" b="27083"/>
          <a:stretch>
            <a:fillRect/>
          </a:stretch>
        </p:blipFill>
        <p:spPr bwMode="auto">
          <a:xfrm>
            <a:off x="228600" y="3429000"/>
            <a:ext cx="8534400" cy="1066800"/>
          </a:xfrm>
          <a:prstGeom prst="rect">
            <a:avLst/>
          </a:prstGeom>
          <a:noFill/>
        </p:spPr>
      </p:pic>
      <p:pic>
        <p:nvPicPr>
          <p:cNvPr id="4100" name="Picture 4" descr="C:\Users\pc5\Desktop\Untitled23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7000" contrast="-5000"/>
          </a:blip>
          <a:srcRect l="5469" t="18750" r="3125" b="72807"/>
          <a:stretch>
            <a:fillRect/>
          </a:stretch>
        </p:blipFill>
        <p:spPr bwMode="auto">
          <a:xfrm>
            <a:off x="228600" y="4343400"/>
            <a:ext cx="8915400" cy="838200"/>
          </a:xfrm>
          <a:prstGeom prst="rect">
            <a:avLst/>
          </a:prstGeom>
          <a:noFill/>
        </p:spPr>
      </p:pic>
      <p:pic>
        <p:nvPicPr>
          <p:cNvPr id="9" name="Picture 4" descr="C:\Users\pc5\Desktop\Untitled23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27000" contrast="-5000"/>
          </a:blip>
          <a:srcRect l="5469" t="27193" r="3125" b="66667"/>
          <a:stretch>
            <a:fillRect/>
          </a:stretch>
        </p:blipFill>
        <p:spPr bwMode="auto">
          <a:xfrm>
            <a:off x="228600" y="5334000"/>
            <a:ext cx="8915400" cy="609600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/>
        </p:nvSpPr>
        <p:spPr>
          <a:xfrm flipH="1">
            <a:off x="8077200" y="2286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4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" presetID="24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" dur="1" fill="hold"/>
                                        <p:tgtEl>
                                          <p:spTgt spid="409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5" dur="1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0" dur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5" dur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0" dur="1" fill="hold"/>
                                        <p:tgtEl>
                                          <p:spTgt spid="410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5" dur="1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33400" y="399871"/>
            <a:ext cx="80772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 err="1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చేయ</a:t>
            </a:r>
            <a:r>
              <a:rPr lang="en-US" sz="7200" dirty="0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 </a:t>
            </a:r>
            <a:r>
              <a:rPr lang="en-US" sz="7200" dirty="0" err="1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వలసినవి</a:t>
            </a:r>
            <a:r>
              <a:rPr lang="en-US" sz="7200" dirty="0" smtClean="0">
                <a:solidFill>
                  <a:srgbClr val="006600"/>
                </a:solidFill>
                <a:latin typeface="Timmana" pitchFamily="2" charset="0"/>
                <a:cs typeface="Timmana" pitchFamily="2" charset="0"/>
              </a:rPr>
              <a:t>:</a:t>
            </a:r>
            <a:endParaRPr lang="en-US" sz="7200" dirty="0">
              <a:solidFill>
                <a:srgbClr val="006600"/>
              </a:solidFill>
              <a:latin typeface="Timmana" pitchFamily="2" charset="0"/>
              <a:cs typeface="Timman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3400" y="1416308"/>
            <a:ext cx="8077200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దివేటప్పుడ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–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ర్చించేటప్పుడ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కాలీ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ంశాలపై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ృష్ట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ంచాల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కాలీ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ంశాలన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ుందే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్తించ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్రాస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ెట్టుకోవాల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ద్యార్థుల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ేర్వేర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వాబుల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ెబితే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ాటిన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్వాగతించ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ోత్సహించాల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3200" dirty="0">
              <a:solidFill>
                <a:srgbClr val="7030A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సమాధానాలు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–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స్పందనలే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కాకుండా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ప్రశ్నించడం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కారణాలు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అన్వేషించడం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పరిష్కార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మార్గాలు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కనుక్కోవటం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వంట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వాటిపై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దృష్ణ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ఉండాల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జట్లలోగానీ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మొత్తం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తరగతిలో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గానీ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చర్చించాల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. ఆ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తర్వాత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మాత్రమే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సూచనలు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ఇవ్వాల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సొంతంగా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ఆలోచించడానిక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అవకాశం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ఇవ్వాలి</a:t>
            </a:r>
            <a:r>
              <a:rPr lang="en-US" sz="3200" dirty="0" smtClean="0">
                <a:solidFill>
                  <a:srgbClr val="7030A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32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80010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4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13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14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15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6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1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22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23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24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29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0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1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32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37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38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39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0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45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46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47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48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3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53" dur="18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54" dur="600" decel="5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55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56" dur="600" decel="100000" autoRev="1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09600" y="381006"/>
            <a:ext cx="78486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dirty="0" err="1" smtClean="0">
                <a:solidFill>
                  <a:srgbClr val="7030A0"/>
                </a:solidFill>
                <a:latin typeface="Timmana" pitchFamily="2" charset="0"/>
                <a:cs typeface="Timmana" pitchFamily="2" charset="0"/>
              </a:rPr>
              <a:t>చేయకూడనివి</a:t>
            </a:r>
            <a:r>
              <a:rPr lang="en-US" sz="7200" dirty="0" smtClean="0">
                <a:solidFill>
                  <a:srgbClr val="7030A0"/>
                </a:solidFill>
                <a:latin typeface="Timmana" pitchFamily="2" charset="0"/>
                <a:cs typeface="Timmana" pitchFamily="2" charset="0"/>
              </a:rPr>
              <a:t>:</a:t>
            </a:r>
          </a:p>
        </p:txBody>
      </p:sp>
      <p:sp>
        <p:nvSpPr>
          <p:cNvPr id="4" name="Rectangle 3"/>
          <p:cNvSpPr/>
          <p:nvPr/>
        </p:nvSpPr>
        <p:spPr>
          <a:xfrm>
            <a:off x="685800" y="1676400"/>
            <a:ext cx="80772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స్యన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పాధ్యాయులే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శ్లేషించ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రించకూడద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రిష్కారం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లా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ండ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న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ుందే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ూచించవద్ద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ద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రియైనద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–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ద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ప్ప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న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ిర్ణయించకుండా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ర్చించాలి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400" dirty="0" smtClean="0">
              <a:solidFill>
                <a:srgbClr val="FF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" name="Rectangle 4"/>
          <p:cNvSpPr/>
          <p:nvPr/>
        </p:nvSpPr>
        <p:spPr>
          <a:xfrm flipH="1">
            <a:off x="80010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4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8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3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85800" y="685800"/>
            <a:ext cx="7543800" cy="5486400"/>
          </a:xfrm>
          <a:prstGeom prst="rect">
            <a:avLst/>
          </a:prstGeom>
        </p:spPr>
        <p:txBody>
          <a:bodyPr wrap="square">
            <a:prstTxWarp prst="textStop">
              <a:avLst/>
            </a:prstTxWarp>
            <a:spAutoFit/>
          </a:bodyPr>
          <a:lstStyle/>
          <a:p>
            <a:pPr algn="ctr"/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endParaRPr lang="en-US" sz="7200" dirty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533407"/>
            <a:ext cx="8077200" cy="75713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/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్య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ుస్తకాల్లో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ిత్రాలు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ు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వ్వబడినాయ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 </a:t>
            </a:r>
          </a:p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ను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దవటం</a:t>
            </a:r>
            <a:endParaRPr lang="en-US" sz="54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ర్చించటం</a:t>
            </a:r>
            <a:endParaRPr lang="en-US" sz="54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ించడం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ించ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ాట్లాడుకోవడం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endParaRPr lang="en-US" sz="54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" dur="1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6"/>
            <a:ext cx="8077200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లోని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అంశాలు</a:t>
            </a:r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/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marL="914400" indent="-914400">
              <a:buAutoNum type="arabicPeriod"/>
            </a:pP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ు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ీయడం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smtClean="0"/>
              <a:t>(Map Drawing)</a:t>
            </a:r>
          </a:p>
          <a:p>
            <a:pPr marL="914400" indent="-914400">
              <a:buAutoNum type="arabicPeriod"/>
            </a:pP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ు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దవడం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smtClean="0"/>
              <a:t>(Map Reading)</a:t>
            </a:r>
            <a:endParaRPr lang="en-US" sz="48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pPr marL="914400" indent="-914400">
              <a:buAutoNum type="arabicPeriod"/>
            </a:pP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లో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్తించడం</a:t>
            </a:r>
            <a:r>
              <a:rPr lang="en-US" sz="48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800" dirty="0" smtClean="0"/>
              <a:t>(Map Pointing)</a:t>
            </a:r>
            <a:endParaRPr lang="en-US" sz="48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ెంపొందించడం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ఎలా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48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 l="43438" t="16667" r="12500" b="10000"/>
          <a:stretch>
            <a:fillRect/>
          </a:stretch>
        </p:blipFill>
        <p:spPr bwMode="auto">
          <a:xfrm>
            <a:off x="4267200" y="2292485"/>
            <a:ext cx="4876800" cy="4565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ctangle 3"/>
          <p:cNvSpPr/>
          <p:nvPr/>
        </p:nvSpPr>
        <p:spPr>
          <a:xfrm>
            <a:off x="304800" y="2322016"/>
            <a:ext cx="41148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దేశాలకు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ంబంధించిన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ంశాలపై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వగాహన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ల్పించడం</a:t>
            </a:r>
            <a:r>
              <a:rPr lang="en-US" sz="4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10</a:t>
            </a:r>
            <a:r>
              <a:rPr lang="en-US" sz="4000" baseline="30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th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class page 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10</a:t>
            </a:r>
            <a:endParaRPr lang="en-US" sz="40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17" dur="2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4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r>
              <a:rPr lang="en-US" sz="4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ెంపొందించడం</a:t>
            </a:r>
            <a:r>
              <a:rPr lang="en-US" sz="4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ఎలా</a:t>
            </a:r>
            <a:r>
              <a:rPr lang="en-US" sz="4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40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562600" y="1752600"/>
            <a:ext cx="35814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6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10 </a:t>
            </a:r>
            <a:r>
              <a:rPr lang="en-US" sz="6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class page 82  </a:t>
            </a:r>
            <a:r>
              <a:rPr lang="en-US" sz="6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నసాంద్రత</a:t>
            </a:r>
            <a:r>
              <a:rPr lang="en-US" sz="6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ు</a:t>
            </a:r>
            <a:endParaRPr lang="en-US" sz="6000" dirty="0">
              <a:solidFill>
                <a:srgbClr val="0066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31250" t="16667" r="29375" b="10000"/>
          <a:stretch>
            <a:fillRect/>
          </a:stretch>
        </p:blipFill>
        <p:spPr bwMode="auto">
          <a:xfrm>
            <a:off x="0" y="1030515"/>
            <a:ext cx="5562600" cy="58274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URESH\Desktop\route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524000"/>
            <a:ext cx="9144000" cy="5334000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609600" y="228600"/>
            <a:ext cx="80772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40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0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r>
              <a:rPr lang="en-US" sz="40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0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ెంపొందించడం</a:t>
            </a:r>
            <a:r>
              <a:rPr lang="en-US" sz="40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0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ఎలా</a:t>
            </a:r>
            <a:r>
              <a:rPr lang="en-US" sz="40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36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81000" y="914400"/>
            <a:ext cx="8458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పగ్రహ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ఛాయాచిత్రాలన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వగాహ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ల్పించడ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32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33338"/>
            <a:ext cx="9144000" cy="689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304800"/>
            <a:ext cx="7239000" cy="2286000"/>
          </a:xfrm>
        </p:spPr>
        <p:txBody>
          <a:bodyPr>
            <a:normAutofit/>
          </a:bodyPr>
          <a:lstStyle/>
          <a:p>
            <a:pPr algn="l"/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ా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ూసిన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ంఘటన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ించ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గానీ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ా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చేసిన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నిన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ించ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గానీ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న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ొంత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టల్ల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రించగలగ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457200" y="2286000"/>
            <a:ext cx="7239000" cy="1676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ఇతరులు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ెప్పే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ాటిని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ింటూ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హేతుకంగా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ఆలోచించగలగాలి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57200" y="3810000"/>
            <a:ext cx="7239000" cy="1447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తాను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రిశీలించిన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ివిధ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ంశాల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మధ్య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గల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ంబంధాలను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గుర్తించగలగాలి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990099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5238753"/>
            <a:ext cx="7239000" cy="12382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తాను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రిశీలించిన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ంశాల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యొక్క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లక్షణాల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ఆధారంగా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ాటిని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4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ర్గీకరించగలగాలి</a:t>
            </a: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  <p:bldP spid="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నైపుణ్యాలు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ెంపొందించడం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ఎలా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48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91"/>
            <a:ext cx="80772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జకీయ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శ్లేషణ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–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రిహద్దు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రిహద్ద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ిల్ల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ష్ట్ర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ొదలగునవ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్యాంశాలత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ోడిస్త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ర్చించ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ోడ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ఆధారంగా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ృత్య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యించడ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ట్లాస్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ల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్వారా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ృత్య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యించడ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>
              <a:solidFill>
                <a:srgbClr val="00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6"/>
            <a:ext cx="8077200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ాలు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గీయడం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4800" dirty="0" smtClean="0"/>
              <a:t>(Map Drawing)</a:t>
            </a:r>
            <a:endParaRPr lang="en-US" sz="48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83"/>
            <a:ext cx="80772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రతదేశ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outline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ీయించడం</a:t>
            </a:r>
            <a:endParaRPr lang="en-US" sz="40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ఆంధ్ర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దేశ్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outline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ీయించడం</a:t>
            </a:r>
            <a:endParaRPr lang="en-US" sz="40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ౌతిక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ీయించడ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>
              <a:solidFill>
                <a:srgbClr val="00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6"/>
            <a:ext cx="8077200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ాలలో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గుర్తించడం</a:t>
            </a:r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/>
            <a:r>
              <a:rPr lang="en-US" sz="4000" b="1" dirty="0" smtClean="0"/>
              <a:t>(Map Pointing)</a:t>
            </a:r>
            <a:endParaRPr lang="en-US" sz="4000" b="1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724400" y="1924890"/>
            <a:ext cx="39624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రతదేశ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ంల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హిమాలయాల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శ్చిమ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నుమల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్తించండ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 Pg 58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847855"/>
            <a:ext cx="4686300" cy="5010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from="(-#ppt_w/2)" to="(#ppt_x)" calcmode="lin" valueType="num">
                                      <p:cBhvr>
                                        <p:cTn id="7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0" to="-1.0" calcmode="lin" valueType="num">
                                      <p:cBhvr>
                                        <p:cTn id="8" dur="200" decel="5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xshear</p:attrName>
                                        </p:attrNameLst>
                                      </p:cBhvr>
                                    </p:anim>
                                    <p:animScale>
                                      <p:cBhvr>
                                        <p:cTn id="9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100000" y="100000"/>
                                      <p:to x="80000" y="100000"/>
                                    </p:animScale>
                                    <p:anim by="(#ppt_h/3+#ppt_w*0.1)" calcmode="lin" valueType="num">
                                      <p:cBhvr additive="sum">
                                        <p:cTn id="10" dur="200" decel="100000" autoRev="1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5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0" dur="1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6"/>
            <a:ext cx="8077200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ాలలో</a:t>
            </a:r>
            <a:r>
              <a:rPr lang="en-US" sz="54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గుర్తించడం</a:t>
            </a:r>
            <a:endParaRPr lang="en-US" sz="54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/>
            <a:r>
              <a:rPr lang="en-US" sz="4800" dirty="0" smtClean="0"/>
              <a:t>(Map Pointing)</a:t>
            </a:r>
            <a:endParaRPr lang="en-US" sz="4800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92"/>
            <a:ext cx="80772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రతదేశ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కిస్తాన్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లల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ింధూనద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వాహ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ార్గాన్న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్తించండ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 Pg 59</a:t>
            </a:r>
            <a:endParaRPr lang="en-US" sz="4000" dirty="0">
              <a:solidFill>
                <a:srgbClr val="006600"/>
              </a:solidFill>
            </a:endParaRPr>
          </a:p>
        </p:txBody>
      </p:sp>
      <p:pic>
        <p:nvPicPr>
          <p:cNvPr id="2050" name="Picture 2" descr="C:\Users\SURESH\Desktop\Untitled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47809" y="3260729"/>
            <a:ext cx="6065837" cy="35972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529712"/>
            <a:ext cx="8077200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5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టాలలో</a:t>
            </a:r>
            <a:r>
              <a:rPr lang="en-US" sz="115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115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గుర్తించడం</a:t>
            </a:r>
            <a:endParaRPr lang="en-US" sz="11500" dirty="0" smtClean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/>
            <a:r>
              <a:rPr lang="en-US" sz="9600" b="1" dirty="0" smtClean="0"/>
              <a:t>(Map Pointing)</a:t>
            </a:r>
            <a:endParaRPr lang="en-US" sz="9600" b="1" dirty="0">
              <a:solidFill>
                <a:srgbClr val="0066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1"/>
          <p:cNvSpPr>
            <a:spLocks noChangeArrowheads="1"/>
          </p:cNvSpPr>
          <p:nvPr/>
        </p:nvSpPr>
        <p:spPr bwMode="auto">
          <a:xfrm>
            <a:off x="6402388" y="381000"/>
            <a:ext cx="236061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3200" b="1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ఆఫ్రికా</a:t>
            </a:r>
            <a:endParaRPr lang="en-US" sz="32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  <a:p>
            <a:pPr algn="ctr" eaLnBrk="0" hangingPunct="0">
              <a:defRPr/>
            </a:pPr>
            <a:r>
              <a:rPr lang="en-US" sz="3200" b="1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దేశాలు</a:t>
            </a:r>
            <a:endParaRPr lang="en-US" sz="32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56" name="Freeform 55"/>
          <p:cNvSpPr/>
          <p:nvPr/>
        </p:nvSpPr>
        <p:spPr>
          <a:xfrm>
            <a:off x="4975231" y="931337"/>
            <a:ext cx="936625" cy="872067"/>
          </a:xfrm>
          <a:custGeom>
            <a:avLst/>
            <a:gdLst>
              <a:gd name="connsiteX0" fmla="*/ 76818 w 937429"/>
              <a:gd name="connsiteY0" fmla="*/ 852337 h 873040"/>
              <a:gd name="connsiteX1" fmla="*/ 72680 w 937429"/>
              <a:gd name="connsiteY1" fmla="*/ 657872 h 873040"/>
              <a:gd name="connsiteX2" fmla="*/ 68542 w 937429"/>
              <a:gd name="connsiteY2" fmla="*/ 645459 h 873040"/>
              <a:gd name="connsiteX3" fmla="*/ 64405 w 937429"/>
              <a:gd name="connsiteY3" fmla="*/ 484094 h 873040"/>
              <a:gd name="connsiteX4" fmla="*/ 56130 w 937429"/>
              <a:gd name="connsiteY4" fmla="*/ 459269 h 873040"/>
              <a:gd name="connsiteX5" fmla="*/ 47855 w 937429"/>
              <a:gd name="connsiteY5" fmla="*/ 426169 h 873040"/>
              <a:gd name="connsiteX6" fmla="*/ 43717 w 937429"/>
              <a:gd name="connsiteY6" fmla="*/ 223428 h 873040"/>
              <a:gd name="connsiteX7" fmla="*/ 35442 w 937429"/>
              <a:gd name="connsiteY7" fmla="*/ 198603 h 873040"/>
              <a:gd name="connsiteX8" fmla="*/ 31304 w 937429"/>
              <a:gd name="connsiteY8" fmla="*/ 182053 h 873040"/>
              <a:gd name="connsiteX9" fmla="*/ 23029 w 937429"/>
              <a:gd name="connsiteY9" fmla="*/ 157227 h 873040"/>
              <a:gd name="connsiteX10" fmla="*/ 18892 w 937429"/>
              <a:gd name="connsiteY10" fmla="*/ 144815 h 873040"/>
              <a:gd name="connsiteX11" fmla="*/ 23029 w 937429"/>
              <a:gd name="connsiteY11" fmla="*/ 132402 h 873040"/>
              <a:gd name="connsiteX12" fmla="*/ 35442 w 937429"/>
              <a:gd name="connsiteY12" fmla="*/ 124127 h 873040"/>
              <a:gd name="connsiteX13" fmla="*/ 31304 w 937429"/>
              <a:gd name="connsiteY13" fmla="*/ 62064 h 873040"/>
              <a:gd name="connsiteX14" fmla="*/ 23029 w 937429"/>
              <a:gd name="connsiteY14" fmla="*/ 37238 h 873040"/>
              <a:gd name="connsiteX15" fmla="*/ 51992 w 937429"/>
              <a:gd name="connsiteY15" fmla="*/ 28963 h 873040"/>
              <a:gd name="connsiteX16" fmla="*/ 76818 w 937429"/>
              <a:gd name="connsiteY16" fmla="*/ 20688 h 873040"/>
              <a:gd name="connsiteX17" fmla="*/ 89230 w 937429"/>
              <a:gd name="connsiteY17" fmla="*/ 16550 h 873040"/>
              <a:gd name="connsiteX18" fmla="*/ 101643 w 937429"/>
              <a:gd name="connsiteY18" fmla="*/ 12413 h 873040"/>
              <a:gd name="connsiteX19" fmla="*/ 192669 w 937429"/>
              <a:gd name="connsiteY19" fmla="*/ 20688 h 873040"/>
              <a:gd name="connsiteX20" fmla="*/ 217494 w 937429"/>
              <a:gd name="connsiteY20" fmla="*/ 28963 h 873040"/>
              <a:gd name="connsiteX21" fmla="*/ 229907 w 937429"/>
              <a:gd name="connsiteY21" fmla="*/ 33101 h 873040"/>
              <a:gd name="connsiteX22" fmla="*/ 242320 w 937429"/>
              <a:gd name="connsiteY22" fmla="*/ 41376 h 873040"/>
              <a:gd name="connsiteX23" fmla="*/ 279558 w 937429"/>
              <a:gd name="connsiteY23" fmla="*/ 53788 h 873040"/>
              <a:gd name="connsiteX24" fmla="*/ 304383 w 937429"/>
              <a:gd name="connsiteY24" fmla="*/ 62064 h 873040"/>
              <a:gd name="connsiteX25" fmla="*/ 316796 w 937429"/>
              <a:gd name="connsiteY25" fmla="*/ 66201 h 873040"/>
              <a:gd name="connsiteX26" fmla="*/ 337484 w 937429"/>
              <a:gd name="connsiteY26" fmla="*/ 70339 h 873040"/>
              <a:gd name="connsiteX27" fmla="*/ 387134 w 937429"/>
              <a:gd name="connsiteY27" fmla="*/ 66201 h 873040"/>
              <a:gd name="connsiteX28" fmla="*/ 399547 w 937429"/>
              <a:gd name="connsiteY28" fmla="*/ 62064 h 873040"/>
              <a:gd name="connsiteX29" fmla="*/ 416097 w 937429"/>
              <a:gd name="connsiteY29" fmla="*/ 41376 h 873040"/>
              <a:gd name="connsiteX30" fmla="*/ 428510 w 937429"/>
              <a:gd name="connsiteY30" fmla="*/ 37238 h 873040"/>
              <a:gd name="connsiteX31" fmla="*/ 453335 w 937429"/>
              <a:gd name="connsiteY31" fmla="*/ 20688 h 873040"/>
              <a:gd name="connsiteX32" fmla="*/ 465748 w 937429"/>
              <a:gd name="connsiteY32" fmla="*/ 12413 h 873040"/>
              <a:gd name="connsiteX33" fmla="*/ 478161 w 937429"/>
              <a:gd name="connsiteY33" fmla="*/ 4138 h 873040"/>
              <a:gd name="connsiteX34" fmla="*/ 490573 w 937429"/>
              <a:gd name="connsiteY34" fmla="*/ 0 h 873040"/>
              <a:gd name="connsiteX35" fmla="*/ 565049 w 937429"/>
              <a:gd name="connsiteY35" fmla="*/ 4138 h 873040"/>
              <a:gd name="connsiteX36" fmla="*/ 589875 w 937429"/>
              <a:gd name="connsiteY36" fmla="*/ 16550 h 873040"/>
              <a:gd name="connsiteX37" fmla="*/ 627113 w 937429"/>
              <a:gd name="connsiteY37" fmla="*/ 28963 h 873040"/>
              <a:gd name="connsiteX38" fmla="*/ 639525 w 937429"/>
              <a:gd name="connsiteY38" fmla="*/ 33101 h 873040"/>
              <a:gd name="connsiteX39" fmla="*/ 755377 w 937429"/>
              <a:gd name="connsiteY39" fmla="*/ 37238 h 873040"/>
              <a:gd name="connsiteX40" fmla="*/ 771927 w 937429"/>
              <a:gd name="connsiteY40" fmla="*/ 95164 h 873040"/>
              <a:gd name="connsiteX41" fmla="*/ 776065 w 937429"/>
              <a:gd name="connsiteY41" fmla="*/ 107577 h 873040"/>
              <a:gd name="connsiteX42" fmla="*/ 792615 w 937429"/>
              <a:gd name="connsiteY42" fmla="*/ 132402 h 873040"/>
              <a:gd name="connsiteX43" fmla="*/ 809165 w 937429"/>
              <a:gd name="connsiteY43" fmla="*/ 169640 h 873040"/>
              <a:gd name="connsiteX44" fmla="*/ 809165 w 937429"/>
              <a:gd name="connsiteY44" fmla="*/ 260666 h 873040"/>
              <a:gd name="connsiteX45" fmla="*/ 800890 w 937429"/>
              <a:gd name="connsiteY45" fmla="*/ 289629 h 873040"/>
              <a:gd name="connsiteX46" fmla="*/ 788477 w 937429"/>
              <a:gd name="connsiteY46" fmla="*/ 297904 h 873040"/>
              <a:gd name="connsiteX47" fmla="*/ 771927 w 937429"/>
              <a:gd name="connsiteY47" fmla="*/ 318592 h 873040"/>
              <a:gd name="connsiteX48" fmla="*/ 755377 w 937429"/>
              <a:gd name="connsiteY48" fmla="*/ 314455 h 873040"/>
              <a:gd name="connsiteX49" fmla="*/ 747102 w 937429"/>
              <a:gd name="connsiteY49" fmla="*/ 306179 h 873040"/>
              <a:gd name="connsiteX50" fmla="*/ 718139 w 937429"/>
              <a:gd name="connsiteY50" fmla="*/ 277217 h 873040"/>
              <a:gd name="connsiteX51" fmla="*/ 709864 w 937429"/>
              <a:gd name="connsiteY51" fmla="*/ 252391 h 873040"/>
              <a:gd name="connsiteX52" fmla="*/ 705726 w 937429"/>
              <a:gd name="connsiteY52" fmla="*/ 239979 h 873040"/>
              <a:gd name="connsiteX53" fmla="*/ 697451 w 937429"/>
              <a:gd name="connsiteY53" fmla="*/ 231703 h 873040"/>
              <a:gd name="connsiteX54" fmla="*/ 693313 w 937429"/>
              <a:gd name="connsiteY54" fmla="*/ 219291 h 873040"/>
              <a:gd name="connsiteX55" fmla="*/ 664351 w 937429"/>
              <a:gd name="connsiteY55" fmla="*/ 182053 h 873040"/>
              <a:gd name="connsiteX56" fmla="*/ 660213 w 937429"/>
              <a:gd name="connsiteY56" fmla="*/ 169640 h 873040"/>
              <a:gd name="connsiteX57" fmla="*/ 635388 w 937429"/>
              <a:gd name="connsiteY57" fmla="*/ 157227 h 873040"/>
              <a:gd name="connsiteX58" fmla="*/ 635388 w 937429"/>
              <a:gd name="connsiteY58" fmla="*/ 202740 h 873040"/>
              <a:gd name="connsiteX59" fmla="*/ 643663 w 937429"/>
              <a:gd name="connsiteY59" fmla="*/ 227566 h 873040"/>
              <a:gd name="connsiteX60" fmla="*/ 656075 w 937429"/>
              <a:gd name="connsiteY60" fmla="*/ 239979 h 873040"/>
              <a:gd name="connsiteX61" fmla="*/ 668488 w 937429"/>
              <a:gd name="connsiteY61" fmla="*/ 264804 h 873040"/>
              <a:gd name="connsiteX62" fmla="*/ 693313 w 937429"/>
              <a:gd name="connsiteY62" fmla="*/ 289629 h 873040"/>
              <a:gd name="connsiteX63" fmla="*/ 722276 w 937429"/>
              <a:gd name="connsiteY63" fmla="*/ 322730 h 873040"/>
              <a:gd name="connsiteX64" fmla="*/ 726414 w 937429"/>
              <a:gd name="connsiteY64" fmla="*/ 335142 h 873040"/>
              <a:gd name="connsiteX65" fmla="*/ 738827 w 937429"/>
              <a:gd name="connsiteY65" fmla="*/ 343417 h 873040"/>
              <a:gd name="connsiteX66" fmla="*/ 747102 w 937429"/>
              <a:gd name="connsiteY66" fmla="*/ 355830 h 873040"/>
              <a:gd name="connsiteX67" fmla="*/ 763652 w 937429"/>
              <a:gd name="connsiteY67" fmla="*/ 376518 h 873040"/>
              <a:gd name="connsiteX68" fmla="*/ 776065 w 937429"/>
              <a:gd name="connsiteY68" fmla="*/ 393068 h 873040"/>
              <a:gd name="connsiteX69" fmla="*/ 788477 w 937429"/>
              <a:gd name="connsiteY69" fmla="*/ 405481 h 873040"/>
              <a:gd name="connsiteX70" fmla="*/ 800890 w 937429"/>
              <a:gd name="connsiteY70" fmla="*/ 430306 h 873040"/>
              <a:gd name="connsiteX71" fmla="*/ 813303 w 937429"/>
              <a:gd name="connsiteY71" fmla="*/ 455131 h 873040"/>
              <a:gd name="connsiteX72" fmla="*/ 825715 w 937429"/>
              <a:gd name="connsiteY72" fmla="*/ 479957 h 873040"/>
              <a:gd name="connsiteX73" fmla="*/ 838128 w 937429"/>
              <a:gd name="connsiteY73" fmla="*/ 488232 h 873040"/>
              <a:gd name="connsiteX74" fmla="*/ 858816 w 937429"/>
              <a:gd name="connsiteY74" fmla="*/ 525470 h 873040"/>
              <a:gd name="connsiteX75" fmla="*/ 900191 w 937429"/>
              <a:gd name="connsiteY75" fmla="*/ 587533 h 873040"/>
              <a:gd name="connsiteX76" fmla="*/ 908466 w 937429"/>
              <a:gd name="connsiteY76" fmla="*/ 599946 h 873040"/>
              <a:gd name="connsiteX77" fmla="*/ 912604 w 937429"/>
              <a:gd name="connsiteY77" fmla="*/ 612359 h 873040"/>
              <a:gd name="connsiteX78" fmla="*/ 929154 w 937429"/>
              <a:gd name="connsiteY78" fmla="*/ 637184 h 873040"/>
              <a:gd name="connsiteX79" fmla="*/ 933292 w 937429"/>
              <a:gd name="connsiteY79" fmla="*/ 699247 h 873040"/>
              <a:gd name="connsiteX80" fmla="*/ 937429 w 937429"/>
              <a:gd name="connsiteY80" fmla="*/ 711660 h 873040"/>
              <a:gd name="connsiteX81" fmla="*/ 933292 w 937429"/>
              <a:gd name="connsiteY81" fmla="*/ 724073 h 873040"/>
              <a:gd name="connsiteX82" fmla="*/ 908466 w 937429"/>
              <a:gd name="connsiteY82" fmla="*/ 732348 h 873040"/>
              <a:gd name="connsiteX83" fmla="*/ 900191 w 937429"/>
              <a:gd name="connsiteY83" fmla="*/ 744760 h 873040"/>
              <a:gd name="connsiteX84" fmla="*/ 891916 w 937429"/>
              <a:gd name="connsiteY84" fmla="*/ 753036 h 873040"/>
              <a:gd name="connsiteX85" fmla="*/ 887779 w 937429"/>
              <a:gd name="connsiteY85" fmla="*/ 765448 h 873040"/>
              <a:gd name="connsiteX86" fmla="*/ 871228 w 937429"/>
              <a:gd name="connsiteY86" fmla="*/ 786136 h 873040"/>
              <a:gd name="connsiteX87" fmla="*/ 846403 w 937429"/>
              <a:gd name="connsiteY87" fmla="*/ 794411 h 873040"/>
              <a:gd name="connsiteX88" fmla="*/ 833990 w 937429"/>
              <a:gd name="connsiteY88" fmla="*/ 798549 h 873040"/>
              <a:gd name="connsiteX89" fmla="*/ 813303 w 937429"/>
              <a:gd name="connsiteY89" fmla="*/ 819236 h 873040"/>
              <a:gd name="connsiteX90" fmla="*/ 784340 w 937429"/>
              <a:gd name="connsiteY90" fmla="*/ 839924 h 873040"/>
              <a:gd name="connsiteX91" fmla="*/ 76818 w 937429"/>
              <a:gd name="connsiteY91" fmla="*/ 852337 h 87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937429" h="873040">
                <a:moveTo>
                  <a:pt x="76818" y="852337"/>
                </a:moveTo>
                <a:cubicBezTo>
                  <a:pt x="75439" y="787515"/>
                  <a:pt x="75272" y="722657"/>
                  <a:pt x="72680" y="657872"/>
                </a:cubicBezTo>
                <a:cubicBezTo>
                  <a:pt x="72506" y="653514"/>
                  <a:pt x="68749" y="649816"/>
                  <a:pt x="68542" y="645459"/>
                </a:cubicBezTo>
                <a:cubicBezTo>
                  <a:pt x="65983" y="591714"/>
                  <a:pt x="67984" y="537781"/>
                  <a:pt x="64405" y="484094"/>
                </a:cubicBezTo>
                <a:cubicBezTo>
                  <a:pt x="63825" y="475391"/>
                  <a:pt x="58888" y="467544"/>
                  <a:pt x="56130" y="459269"/>
                </a:cubicBezTo>
                <a:cubicBezTo>
                  <a:pt x="49768" y="440182"/>
                  <a:pt x="52848" y="451137"/>
                  <a:pt x="47855" y="426169"/>
                </a:cubicBezTo>
                <a:cubicBezTo>
                  <a:pt x="46476" y="358589"/>
                  <a:pt x="47399" y="290922"/>
                  <a:pt x="43717" y="223428"/>
                </a:cubicBezTo>
                <a:cubicBezTo>
                  <a:pt x="43242" y="214718"/>
                  <a:pt x="37558" y="207065"/>
                  <a:pt x="35442" y="198603"/>
                </a:cubicBezTo>
                <a:cubicBezTo>
                  <a:pt x="34063" y="193086"/>
                  <a:pt x="32938" y="187500"/>
                  <a:pt x="31304" y="182053"/>
                </a:cubicBezTo>
                <a:cubicBezTo>
                  <a:pt x="28797" y="173698"/>
                  <a:pt x="25787" y="165502"/>
                  <a:pt x="23029" y="157227"/>
                </a:cubicBezTo>
                <a:lnTo>
                  <a:pt x="18892" y="144815"/>
                </a:lnTo>
                <a:cubicBezTo>
                  <a:pt x="20271" y="140677"/>
                  <a:pt x="20304" y="135808"/>
                  <a:pt x="23029" y="132402"/>
                </a:cubicBezTo>
                <a:cubicBezTo>
                  <a:pt x="26135" y="128519"/>
                  <a:pt x="34861" y="129066"/>
                  <a:pt x="35442" y="124127"/>
                </a:cubicBezTo>
                <a:cubicBezTo>
                  <a:pt x="37865" y="103535"/>
                  <a:pt x="34236" y="82589"/>
                  <a:pt x="31304" y="62064"/>
                </a:cubicBezTo>
                <a:cubicBezTo>
                  <a:pt x="30070" y="53429"/>
                  <a:pt x="23029" y="37238"/>
                  <a:pt x="23029" y="37238"/>
                </a:cubicBezTo>
                <a:cubicBezTo>
                  <a:pt x="64775" y="23325"/>
                  <a:pt x="0" y="44561"/>
                  <a:pt x="51992" y="28963"/>
                </a:cubicBezTo>
                <a:cubicBezTo>
                  <a:pt x="60347" y="26456"/>
                  <a:pt x="68543" y="23447"/>
                  <a:pt x="76818" y="20688"/>
                </a:cubicBezTo>
                <a:lnTo>
                  <a:pt x="89230" y="16550"/>
                </a:lnTo>
                <a:lnTo>
                  <a:pt x="101643" y="12413"/>
                </a:lnTo>
                <a:cubicBezTo>
                  <a:pt x="145438" y="14846"/>
                  <a:pt x="160313" y="10981"/>
                  <a:pt x="192669" y="20688"/>
                </a:cubicBezTo>
                <a:cubicBezTo>
                  <a:pt x="201024" y="23195"/>
                  <a:pt x="209219" y="26205"/>
                  <a:pt x="217494" y="28963"/>
                </a:cubicBezTo>
                <a:cubicBezTo>
                  <a:pt x="221632" y="30342"/>
                  <a:pt x="226278" y="30682"/>
                  <a:pt x="229907" y="33101"/>
                </a:cubicBezTo>
                <a:cubicBezTo>
                  <a:pt x="234045" y="35859"/>
                  <a:pt x="237776" y="39356"/>
                  <a:pt x="242320" y="41376"/>
                </a:cubicBezTo>
                <a:cubicBezTo>
                  <a:pt x="242338" y="41384"/>
                  <a:pt x="273342" y="51716"/>
                  <a:pt x="279558" y="53788"/>
                </a:cubicBezTo>
                <a:lnTo>
                  <a:pt x="304383" y="62064"/>
                </a:lnTo>
                <a:cubicBezTo>
                  <a:pt x="308521" y="63443"/>
                  <a:pt x="312519" y="65346"/>
                  <a:pt x="316796" y="66201"/>
                </a:cubicBezTo>
                <a:lnTo>
                  <a:pt x="337484" y="70339"/>
                </a:lnTo>
                <a:cubicBezTo>
                  <a:pt x="354034" y="68960"/>
                  <a:pt x="370672" y="68396"/>
                  <a:pt x="387134" y="66201"/>
                </a:cubicBezTo>
                <a:cubicBezTo>
                  <a:pt x="391457" y="65625"/>
                  <a:pt x="395807" y="64308"/>
                  <a:pt x="399547" y="62064"/>
                </a:cubicBezTo>
                <a:cubicBezTo>
                  <a:pt x="416413" y="51944"/>
                  <a:pt x="399189" y="54902"/>
                  <a:pt x="416097" y="41376"/>
                </a:cubicBezTo>
                <a:cubicBezTo>
                  <a:pt x="419503" y="38651"/>
                  <a:pt x="424697" y="39356"/>
                  <a:pt x="428510" y="37238"/>
                </a:cubicBezTo>
                <a:cubicBezTo>
                  <a:pt x="437204" y="32408"/>
                  <a:pt x="445060" y="26205"/>
                  <a:pt x="453335" y="20688"/>
                </a:cubicBezTo>
                <a:lnTo>
                  <a:pt x="465748" y="12413"/>
                </a:lnTo>
                <a:cubicBezTo>
                  <a:pt x="469886" y="9655"/>
                  <a:pt x="473443" y="5711"/>
                  <a:pt x="478161" y="4138"/>
                </a:cubicBezTo>
                <a:lnTo>
                  <a:pt x="490573" y="0"/>
                </a:lnTo>
                <a:cubicBezTo>
                  <a:pt x="515398" y="1379"/>
                  <a:pt x="540297" y="1781"/>
                  <a:pt x="565049" y="4138"/>
                </a:cubicBezTo>
                <a:cubicBezTo>
                  <a:pt x="579454" y="5510"/>
                  <a:pt x="576941" y="10801"/>
                  <a:pt x="589875" y="16550"/>
                </a:cubicBezTo>
                <a:cubicBezTo>
                  <a:pt x="589905" y="16564"/>
                  <a:pt x="620891" y="26889"/>
                  <a:pt x="627113" y="28963"/>
                </a:cubicBezTo>
                <a:cubicBezTo>
                  <a:pt x="631250" y="30342"/>
                  <a:pt x="635167" y="32945"/>
                  <a:pt x="639525" y="33101"/>
                </a:cubicBezTo>
                <a:lnTo>
                  <a:pt x="755377" y="37238"/>
                </a:lnTo>
                <a:cubicBezTo>
                  <a:pt x="765766" y="78796"/>
                  <a:pt x="760056" y="59553"/>
                  <a:pt x="771927" y="95164"/>
                </a:cubicBezTo>
                <a:cubicBezTo>
                  <a:pt x="773306" y="99302"/>
                  <a:pt x="773646" y="103948"/>
                  <a:pt x="776065" y="107577"/>
                </a:cubicBezTo>
                <a:lnTo>
                  <a:pt x="792615" y="132402"/>
                </a:lnTo>
                <a:cubicBezTo>
                  <a:pt x="802463" y="161945"/>
                  <a:pt x="796052" y="149969"/>
                  <a:pt x="809165" y="169640"/>
                </a:cubicBezTo>
                <a:cubicBezTo>
                  <a:pt x="817338" y="210502"/>
                  <a:pt x="815624" y="192846"/>
                  <a:pt x="809165" y="260666"/>
                </a:cubicBezTo>
                <a:cubicBezTo>
                  <a:pt x="809084" y="261512"/>
                  <a:pt x="802905" y="287111"/>
                  <a:pt x="800890" y="289629"/>
                </a:cubicBezTo>
                <a:cubicBezTo>
                  <a:pt x="797783" y="293512"/>
                  <a:pt x="792615" y="295146"/>
                  <a:pt x="788477" y="297904"/>
                </a:cubicBezTo>
                <a:cubicBezTo>
                  <a:pt x="785347" y="307297"/>
                  <a:pt x="785029" y="316720"/>
                  <a:pt x="771927" y="318592"/>
                </a:cubicBezTo>
                <a:cubicBezTo>
                  <a:pt x="766298" y="319396"/>
                  <a:pt x="760894" y="315834"/>
                  <a:pt x="755377" y="314455"/>
                </a:cubicBezTo>
                <a:cubicBezTo>
                  <a:pt x="752619" y="311696"/>
                  <a:pt x="750447" y="308186"/>
                  <a:pt x="747102" y="306179"/>
                </a:cubicBezTo>
                <a:cubicBezTo>
                  <a:pt x="728025" y="294733"/>
                  <a:pt x="730789" y="315168"/>
                  <a:pt x="718139" y="277217"/>
                </a:cubicBezTo>
                <a:lnTo>
                  <a:pt x="709864" y="252391"/>
                </a:lnTo>
                <a:cubicBezTo>
                  <a:pt x="708485" y="248254"/>
                  <a:pt x="708810" y="243063"/>
                  <a:pt x="705726" y="239979"/>
                </a:cubicBezTo>
                <a:lnTo>
                  <a:pt x="697451" y="231703"/>
                </a:lnTo>
                <a:cubicBezTo>
                  <a:pt x="696072" y="227566"/>
                  <a:pt x="695431" y="223103"/>
                  <a:pt x="693313" y="219291"/>
                </a:cubicBezTo>
                <a:cubicBezTo>
                  <a:pt x="680939" y="197018"/>
                  <a:pt x="679429" y="197131"/>
                  <a:pt x="664351" y="182053"/>
                </a:cubicBezTo>
                <a:cubicBezTo>
                  <a:pt x="662972" y="177915"/>
                  <a:pt x="662938" y="173046"/>
                  <a:pt x="660213" y="169640"/>
                </a:cubicBezTo>
                <a:cubicBezTo>
                  <a:pt x="654380" y="162350"/>
                  <a:pt x="643564" y="159953"/>
                  <a:pt x="635388" y="157227"/>
                </a:cubicBezTo>
                <a:cubicBezTo>
                  <a:pt x="628531" y="177795"/>
                  <a:pt x="628675" y="171413"/>
                  <a:pt x="635388" y="202740"/>
                </a:cubicBezTo>
                <a:cubicBezTo>
                  <a:pt x="637216" y="211269"/>
                  <a:pt x="637495" y="221398"/>
                  <a:pt x="643663" y="227566"/>
                </a:cubicBezTo>
                <a:lnTo>
                  <a:pt x="656075" y="239979"/>
                </a:lnTo>
                <a:cubicBezTo>
                  <a:pt x="659909" y="251480"/>
                  <a:pt x="659934" y="255180"/>
                  <a:pt x="668488" y="264804"/>
                </a:cubicBezTo>
                <a:cubicBezTo>
                  <a:pt x="676263" y="273551"/>
                  <a:pt x="686821" y="279892"/>
                  <a:pt x="693313" y="289629"/>
                </a:cubicBezTo>
                <a:cubicBezTo>
                  <a:pt x="712622" y="318592"/>
                  <a:pt x="701589" y="308938"/>
                  <a:pt x="722276" y="322730"/>
                </a:cubicBezTo>
                <a:cubicBezTo>
                  <a:pt x="723655" y="326867"/>
                  <a:pt x="723689" y="331737"/>
                  <a:pt x="726414" y="335142"/>
                </a:cubicBezTo>
                <a:cubicBezTo>
                  <a:pt x="729521" y="339025"/>
                  <a:pt x="735311" y="339901"/>
                  <a:pt x="738827" y="343417"/>
                </a:cubicBezTo>
                <a:cubicBezTo>
                  <a:pt x="742343" y="346933"/>
                  <a:pt x="744344" y="351692"/>
                  <a:pt x="747102" y="355830"/>
                </a:cubicBezTo>
                <a:cubicBezTo>
                  <a:pt x="755156" y="379995"/>
                  <a:pt x="744937" y="357804"/>
                  <a:pt x="763652" y="376518"/>
                </a:cubicBezTo>
                <a:cubicBezTo>
                  <a:pt x="768528" y="381394"/>
                  <a:pt x="771577" y="387832"/>
                  <a:pt x="776065" y="393068"/>
                </a:cubicBezTo>
                <a:cubicBezTo>
                  <a:pt x="779873" y="397511"/>
                  <a:pt x="784340" y="401343"/>
                  <a:pt x="788477" y="405481"/>
                </a:cubicBezTo>
                <a:cubicBezTo>
                  <a:pt x="798879" y="436682"/>
                  <a:pt x="784847" y="398220"/>
                  <a:pt x="800890" y="430306"/>
                </a:cubicBezTo>
                <a:cubicBezTo>
                  <a:pt x="818018" y="464561"/>
                  <a:pt x="789592" y="419566"/>
                  <a:pt x="813303" y="455131"/>
                </a:cubicBezTo>
                <a:cubicBezTo>
                  <a:pt x="816668" y="465227"/>
                  <a:pt x="817694" y="471936"/>
                  <a:pt x="825715" y="479957"/>
                </a:cubicBezTo>
                <a:cubicBezTo>
                  <a:pt x="829231" y="483473"/>
                  <a:pt x="833990" y="485474"/>
                  <a:pt x="838128" y="488232"/>
                </a:cubicBezTo>
                <a:cubicBezTo>
                  <a:pt x="845411" y="510080"/>
                  <a:pt x="839846" y="497015"/>
                  <a:pt x="858816" y="525470"/>
                </a:cubicBezTo>
                <a:lnTo>
                  <a:pt x="900191" y="587533"/>
                </a:lnTo>
                <a:cubicBezTo>
                  <a:pt x="902949" y="591671"/>
                  <a:pt x="906893" y="595228"/>
                  <a:pt x="908466" y="599946"/>
                </a:cubicBezTo>
                <a:cubicBezTo>
                  <a:pt x="909845" y="604084"/>
                  <a:pt x="910486" y="608546"/>
                  <a:pt x="912604" y="612359"/>
                </a:cubicBezTo>
                <a:cubicBezTo>
                  <a:pt x="917434" y="621053"/>
                  <a:pt x="929154" y="637184"/>
                  <a:pt x="929154" y="637184"/>
                </a:cubicBezTo>
                <a:cubicBezTo>
                  <a:pt x="930533" y="657872"/>
                  <a:pt x="931002" y="678640"/>
                  <a:pt x="933292" y="699247"/>
                </a:cubicBezTo>
                <a:cubicBezTo>
                  <a:pt x="933774" y="703582"/>
                  <a:pt x="937429" y="707299"/>
                  <a:pt x="937429" y="711660"/>
                </a:cubicBezTo>
                <a:cubicBezTo>
                  <a:pt x="937429" y="716021"/>
                  <a:pt x="936841" y="721538"/>
                  <a:pt x="933292" y="724073"/>
                </a:cubicBezTo>
                <a:cubicBezTo>
                  <a:pt x="926194" y="729143"/>
                  <a:pt x="908466" y="732348"/>
                  <a:pt x="908466" y="732348"/>
                </a:cubicBezTo>
                <a:cubicBezTo>
                  <a:pt x="905708" y="736485"/>
                  <a:pt x="903297" y="740877"/>
                  <a:pt x="900191" y="744760"/>
                </a:cubicBezTo>
                <a:cubicBezTo>
                  <a:pt x="897754" y="747806"/>
                  <a:pt x="893923" y="749691"/>
                  <a:pt x="891916" y="753036"/>
                </a:cubicBezTo>
                <a:cubicBezTo>
                  <a:pt x="889672" y="756776"/>
                  <a:pt x="889729" y="761547"/>
                  <a:pt x="887779" y="765448"/>
                </a:cubicBezTo>
                <a:cubicBezTo>
                  <a:pt x="885829" y="769348"/>
                  <a:pt x="876361" y="783570"/>
                  <a:pt x="871228" y="786136"/>
                </a:cubicBezTo>
                <a:cubicBezTo>
                  <a:pt x="863426" y="790037"/>
                  <a:pt x="854678" y="791653"/>
                  <a:pt x="846403" y="794411"/>
                </a:cubicBezTo>
                <a:lnTo>
                  <a:pt x="833990" y="798549"/>
                </a:lnTo>
                <a:cubicBezTo>
                  <a:pt x="784327" y="873040"/>
                  <a:pt x="868482" y="750261"/>
                  <a:pt x="813303" y="819236"/>
                </a:cubicBezTo>
                <a:cubicBezTo>
                  <a:pt x="800520" y="835216"/>
                  <a:pt x="825076" y="839686"/>
                  <a:pt x="784340" y="839924"/>
                </a:cubicBezTo>
                <a:lnTo>
                  <a:pt x="76818" y="852337"/>
                </a:lnTo>
                <a:close/>
              </a:path>
            </a:pathLst>
          </a:custGeom>
          <a:solidFill>
            <a:srgbClr val="FF505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64" name="Freeform 63"/>
          <p:cNvSpPr/>
          <p:nvPr/>
        </p:nvSpPr>
        <p:spPr>
          <a:xfrm>
            <a:off x="4810131" y="1653123"/>
            <a:ext cx="1395413" cy="1189567"/>
          </a:xfrm>
          <a:custGeom>
            <a:avLst/>
            <a:gdLst>
              <a:gd name="connsiteX0" fmla="*/ 1394067 w 1394797"/>
              <a:gd name="connsiteY0" fmla="*/ 427055 h 1190730"/>
              <a:gd name="connsiteX1" fmla="*/ 1368946 w 1394797"/>
              <a:gd name="connsiteY1" fmla="*/ 406958 h 1190730"/>
              <a:gd name="connsiteX2" fmla="*/ 1328753 w 1394797"/>
              <a:gd name="connsiteY2" fmla="*/ 396910 h 1190730"/>
              <a:gd name="connsiteX3" fmla="*/ 1298608 w 1394797"/>
              <a:gd name="connsiteY3" fmla="*/ 371789 h 1190730"/>
              <a:gd name="connsiteX4" fmla="*/ 1283535 w 1394797"/>
              <a:gd name="connsiteY4" fmla="*/ 346668 h 1190730"/>
              <a:gd name="connsiteX5" fmla="*/ 1273487 w 1394797"/>
              <a:gd name="connsiteY5" fmla="*/ 316523 h 1190730"/>
              <a:gd name="connsiteX6" fmla="*/ 1268463 w 1394797"/>
              <a:gd name="connsiteY6" fmla="*/ 301450 h 1190730"/>
              <a:gd name="connsiteX7" fmla="*/ 1263439 w 1394797"/>
              <a:gd name="connsiteY7" fmla="*/ 246184 h 1190730"/>
              <a:gd name="connsiteX8" fmla="*/ 1258414 w 1394797"/>
              <a:gd name="connsiteY8" fmla="*/ 231112 h 1190730"/>
              <a:gd name="connsiteX9" fmla="*/ 1253390 w 1394797"/>
              <a:gd name="connsiteY9" fmla="*/ 211015 h 1190730"/>
              <a:gd name="connsiteX10" fmla="*/ 1243342 w 1394797"/>
              <a:gd name="connsiteY10" fmla="*/ 180870 h 1190730"/>
              <a:gd name="connsiteX11" fmla="*/ 1238318 w 1394797"/>
              <a:gd name="connsiteY11" fmla="*/ 165798 h 1190730"/>
              <a:gd name="connsiteX12" fmla="*/ 1223245 w 1394797"/>
              <a:gd name="connsiteY12" fmla="*/ 105508 h 1190730"/>
              <a:gd name="connsiteX13" fmla="*/ 1218221 w 1394797"/>
              <a:gd name="connsiteY13" fmla="*/ 90435 h 1190730"/>
              <a:gd name="connsiteX14" fmla="*/ 1213197 w 1394797"/>
              <a:gd name="connsiteY14" fmla="*/ 75362 h 1190730"/>
              <a:gd name="connsiteX15" fmla="*/ 1203148 w 1394797"/>
              <a:gd name="connsiteY15" fmla="*/ 60290 h 1190730"/>
              <a:gd name="connsiteX16" fmla="*/ 1198124 w 1394797"/>
              <a:gd name="connsiteY16" fmla="*/ 45217 h 1190730"/>
              <a:gd name="connsiteX17" fmla="*/ 1183052 w 1394797"/>
              <a:gd name="connsiteY17" fmla="*/ 35169 h 1190730"/>
              <a:gd name="connsiteX18" fmla="*/ 1157931 w 1394797"/>
              <a:gd name="connsiteY18" fmla="*/ 20097 h 1190730"/>
              <a:gd name="connsiteX19" fmla="*/ 1147883 w 1394797"/>
              <a:gd name="connsiteY19" fmla="*/ 10048 h 1190730"/>
              <a:gd name="connsiteX20" fmla="*/ 1117737 w 1394797"/>
              <a:gd name="connsiteY20" fmla="*/ 0 h 1190730"/>
              <a:gd name="connsiteX21" fmla="*/ 1087592 w 1394797"/>
              <a:gd name="connsiteY21" fmla="*/ 15072 h 1190730"/>
              <a:gd name="connsiteX22" fmla="*/ 1067496 w 1394797"/>
              <a:gd name="connsiteY22" fmla="*/ 40193 h 1190730"/>
              <a:gd name="connsiteX23" fmla="*/ 1042375 w 1394797"/>
              <a:gd name="connsiteY23" fmla="*/ 60290 h 1190730"/>
              <a:gd name="connsiteX24" fmla="*/ 1017254 w 1394797"/>
              <a:gd name="connsiteY24" fmla="*/ 75362 h 1190730"/>
              <a:gd name="connsiteX25" fmla="*/ 1002181 w 1394797"/>
              <a:gd name="connsiteY25" fmla="*/ 100483 h 1190730"/>
              <a:gd name="connsiteX26" fmla="*/ 977061 w 1394797"/>
              <a:gd name="connsiteY26" fmla="*/ 120580 h 1190730"/>
              <a:gd name="connsiteX27" fmla="*/ 781118 w 1394797"/>
              <a:gd name="connsiteY27" fmla="*/ 125604 h 1190730"/>
              <a:gd name="connsiteX28" fmla="*/ 715803 w 1394797"/>
              <a:gd name="connsiteY28" fmla="*/ 135653 h 1190730"/>
              <a:gd name="connsiteX29" fmla="*/ 424401 w 1394797"/>
              <a:gd name="connsiteY29" fmla="*/ 140677 h 1190730"/>
              <a:gd name="connsiteX30" fmla="*/ 238507 w 1394797"/>
              <a:gd name="connsiteY30" fmla="*/ 145701 h 1190730"/>
              <a:gd name="connsiteX31" fmla="*/ 188265 w 1394797"/>
              <a:gd name="connsiteY31" fmla="*/ 306475 h 1190730"/>
              <a:gd name="connsiteX32" fmla="*/ 173192 w 1394797"/>
              <a:gd name="connsiteY32" fmla="*/ 311499 h 1190730"/>
              <a:gd name="connsiteX33" fmla="*/ 158120 w 1394797"/>
              <a:gd name="connsiteY33" fmla="*/ 678264 h 1190730"/>
              <a:gd name="connsiteX34" fmla="*/ 127975 w 1394797"/>
              <a:gd name="connsiteY34" fmla="*/ 688312 h 1190730"/>
              <a:gd name="connsiteX35" fmla="*/ 112902 w 1394797"/>
              <a:gd name="connsiteY35" fmla="*/ 693336 h 1190730"/>
              <a:gd name="connsiteX36" fmla="*/ 97830 w 1394797"/>
              <a:gd name="connsiteY36" fmla="*/ 698360 h 1190730"/>
              <a:gd name="connsiteX37" fmla="*/ 77733 w 1394797"/>
              <a:gd name="connsiteY37" fmla="*/ 743578 h 1190730"/>
              <a:gd name="connsiteX38" fmla="*/ 72709 w 1394797"/>
              <a:gd name="connsiteY38" fmla="*/ 758650 h 1190730"/>
              <a:gd name="connsiteX39" fmla="*/ 52612 w 1394797"/>
              <a:gd name="connsiteY39" fmla="*/ 778747 h 1190730"/>
              <a:gd name="connsiteX40" fmla="*/ 47588 w 1394797"/>
              <a:gd name="connsiteY40" fmla="*/ 793820 h 1190730"/>
              <a:gd name="connsiteX41" fmla="*/ 57636 w 1394797"/>
              <a:gd name="connsiteY41" fmla="*/ 823965 h 1190730"/>
              <a:gd name="connsiteX42" fmla="*/ 42564 w 1394797"/>
              <a:gd name="connsiteY42" fmla="*/ 839037 h 1190730"/>
              <a:gd name="connsiteX43" fmla="*/ 12419 w 1394797"/>
              <a:gd name="connsiteY43" fmla="*/ 849086 h 1190730"/>
              <a:gd name="connsiteX44" fmla="*/ 7395 w 1394797"/>
              <a:gd name="connsiteY44" fmla="*/ 864158 h 1190730"/>
              <a:gd name="connsiteX45" fmla="*/ 22467 w 1394797"/>
              <a:gd name="connsiteY45" fmla="*/ 894303 h 1190730"/>
              <a:gd name="connsiteX46" fmla="*/ 17443 w 1394797"/>
              <a:gd name="connsiteY46" fmla="*/ 909376 h 1190730"/>
              <a:gd name="connsiteX47" fmla="*/ 12419 w 1394797"/>
              <a:gd name="connsiteY47" fmla="*/ 939521 h 1190730"/>
              <a:gd name="connsiteX48" fmla="*/ 27491 w 1394797"/>
              <a:gd name="connsiteY48" fmla="*/ 949569 h 1190730"/>
              <a:gd name="connsiteX49" fmla="*/ 47588 w 1394797"/>
              <a:gd name="connsiteY49" fmla="*/ 994787 h 1190730"/>
              <a:gd name="connsiteX50" fmla="*/ 52612 w 1394797"/>
              <a:gd name="connsiteY50" fmla="*/ 1009859 h 1190730"/>
              <a:gd name="connsiteX51" fmla="*/ 57636 w 1394797"/>
              <a:gd name="connsiteY51" fmla="*/ 1034980 h 1190730"/>
              <a:gd name="connsiteX52" fmla="*/ 82757 w 1394797"/>
              <a:gd name="connsiteY52" fmla="*/ 1050053 h 1190730"/>
              <a:gd name="connsiteX53" fmla="*/ 107878 w 1394797"/>
              <a:gd name="connsiteY53" fmla="*/ 1125415 h 1190730"/>
              <a:gd name="connsiteX54" fmla="*/ 112902 w 1394797"/>
              <a:gd name="connsiteY54" fmla="*/ 1140488 h 1190730"/>
              <a:gd name="connsiteX55" fmla="*/ 127975 w 1394797"/>
              <a:gd name="connsiteY55" fmla="*/ 1145512 h 1190730"/>
              <a:gd name="connsiteX56" fmla="*/ 138023 w 1394797"/>
              <a:gd name="connsiteY56" fmla="*/ 1160584 h 1190730"/>
              <a:gd name="connsiteX57" fmla="*/ 148072 w 1394797"/>
              <a:gd name="connsiteY57" fmla="*/ 1170633 h 1190730"/>
              <a:gd name="connsiteX58" fmla="*/ 153096 w 1394797"/>
              <a:gd name="connsiteY58" fmla="*/ 1185705 h 1190730"/>
              <a:gd name="connsiteX59" fmla="*/ 168168 w 1394797"/>
              <a:gd name="connsiteY59" fmla="*/ 1190730 h 1190730"/>
              <a:gd name="connsiteX60" fmla="*/ 188265 w 1394797"/>
              <a:gd name="connsiteY60" fmla="*/ 1165609 h 1190730"/>
              <a:gd name="connsiteX61" fmla="*/ 183241 w 1394797"/>
              <a:gd name="connsiteY61" fmla="*/ 1140488 h 1190730"/>
              <a:gd name="connsiteX62" fmla="*/ 188265 w 1394797"/>
              <a:gd name="connsiteY62" fmla="*/ 1125415 h 1190730"/>
              <a:gd name="connsiteX63" fmla="*/ 218410 w 1394797"/>
              <a:gd name="connsiteY63" fmla="*/ 1115367 h 1190730"/>
              <a:gd name="connsiteX64" fmla="*/ 233483 w 1394797"/>
              <a:gd name="connsiteY64" fmla="*/ 1105319 h 1190730"/>
              <a:gd name="connsiteX65" fmla="*/ 243531 w 1394797"/>
              <a:gd name="connsiteY65" fmla="*/ 1095270 h 1190730"/>
              <a:gd name="connsiteX66" fmla="*/ 258603 w 1394797"/>
              <a:gd name="connsiteY66" fmla="*/ 1090246 h 1190730"/>
              <a:gd name="connsiteX67" fmla="*/ 298797 w 1394797"/>
              <a:gd name="connsiteY67" fmla="*/ 1095270 h 1190730"/>
              <a:gd name="connsiteX68" fmla="*/ 318894 w 1394797"/>
              <a:gd name="connsiteY68" fmla="*/ 1115367 h 1190730"/>
              <a:gd name="connsiteX69" fmla="*/ 323918 w 1394797"/>
              <a:gd name="connsiteY69" fmla="*/ 1130439 h 1190730"/>
              <a:gd name="connsiteX70" fmla="*/ 349039 w 1394797"/>
              <a:gd name="connsiteY70" fmla="*/ 1150536 h 1190730"/>
              <a:gd name="connsiteX71" fmla="*/ 464595 w 1394797"/>
              <a:gd name="connsiteY71" fmla="*/ 1165609 h 1190730"/>
              <a:gd name="connsiteX72" fmla="*/ 499764 w 1394797"/>
              <a:gd name="connsiteY72" fmla="*/ 1175657 h 1190730"/>
              <a:gd name="connsiteX73" fmla="*/ 514836 w 1394797"/>
              <a:gd name="connsiteY73" fmla="*/ 1185705 h 1190730"/>
              <a:gd name="connsiteX74" fmla="*/ 544981 w 1394797"/>
              <a:gd name="connsiteY74" fmla="*/ 1180681 h 1190730"/>
              <a:gd name="connsiteX75" fmla="*/ 555030 w 1394797"/>
              <a:gd name="connsiteY75" fmla="*/ 1170633 h 1190730"/>
              <a:gd name="connsiteX76" fmla="*/ 605272 w 1394797"/>
              <a:gd name="connsiteY76" fmla="*/ 1165609 h 1190730"/>
              <a:gd name="connsiteX77" fmla="*/ 635417 w 1394797"/>
              <a:gd name="connsiteY77" fmla="*/ 1145512 h 1190730"/>
              <a:gd name="connsiteX78" fmla="*/ 665562 w 1394797"/>
              <a:gd name="connsiteY78" fmla="*/ 1135464 h 1190730"/>
              <a:gd name="connsiteX79" fmla="*/ 740924 w 1394797"/>
              <a:gd name="connsiteY79" fmla="*/ 1110343 h 1190730"/>
              <a:gd name="connsiteX80" fmla="*/ 750973 w 1394797"/>
              <a:gd name="connsiteY80" fmla="*/ 1120391 h 1190730"/>
              <a:gd name="connsiteX81" fmla="*/ 761021 w 1394797"/>
              <a:gd name="connsiteY81" fmla="*/ 1135464 h 1190730"/>
              <a:gd name="connsiteX82" fmla="*/ 776094 w 1394797"/>
              <a:gd name="connsiteY82" fmla="*/ 1140488 h 1190730"/>
              <a:gd name="connsiteX83" fmla="*/ 806239 w 1394797"/>
              <a:gd name="connsiteY83" fmla="*/ 1135464 h 1190730"/>
              <a:gd name="connsiteX84" fmla="*/ 846432 w 1394797"/>
              <a:gd name="connsiteY84" fmla="*/ 1100294 h 1190730"/>
              <a:gd name="connsiteX85" fmla="*/ 866529 w 1394797"/>
              <a:gd name="connsiteY85" fmla="*/ 1070149 h 1190730"/>
              <a:gd name="connsiteX86" fmla="*/ 881601 w 1394797"/>
              <a:gd name="connsiteY86" fmla="*/ 1060101 h 1190730"/>
              <a:gd name="connsiteX87" fmla="*/ 911746 w 1394797"/>
              <a:gd name="connsiteY87" fmla="*/ 1050053 h 1190730"/>
              <a:gd name="connsiteX88" fmla="*/ 916770 w 1394797"/>
              <a:gd name="connsiteY88" fmla="*/ 1034980 h 1190730"/>
              <a:gd name="connsiteX89" fmla="*/ 901698 w 1394797"/>
              <a:gd name="connsiteY89" fmla="*/ 984738 h 1190730"/>
              <a:gd name="connsiteX90" fmla="*/ 896674 w 1394797"/>
              <a:gd name="connsiteY90" fmla="*/ 969666 h 1190730"/>
              <a:gd name="connsiteX91" fmla="*/ 881601 w 1394797"/>
              <a:gd name="connsiteY91" fmla="*/ 944545 h 1190730"/>
              <a:gd name="connsiteX92" fmla="*/ 866529 w 1394797"/>
              <a:gd name="connsiteY92" fmla="*/ 939521 h 1190730"/>
              <a:gd name="connsiteX93" fmla="*/ 931843 w 1394797"/>
              <a:gd name="connsiteY93" fmla="*/ 924448 h 1190730"/>
              <a:gd name="connsiteX94" fmla="*/ 941891 w 1394797"/>
              <a:gd name="connsiteY94" fmla="*/ 909376 h 1190730"/>
              <a:gd name="connsiteX95" fmla="*/ 997157 w 1394797"/>
              <a:gd name="connsiteY95" fmla="*/ 929472 h 1190730"/>
              <a:gd name="connsiteX96" fmla="*/ 992133 w 1394797"/>
              <a:gd name="connsiteY96" fmla="*/ 944545 h 1190730"/>
              <a:gd name="connsiteX97" fmla="*/ 997157 w 1394797"/>
              <a:gd name="connsiteY97" fmla="*/ 984738 h 1190730"/>
              <a:gd name="connsiteX98" fmla="*/ 1002181 w 1394797"/>
              <a:gd name="connsiteY98" fmla="*/ 1034980 h 1190730"/>
              <a:gd name="connsiteX99" fmla="*/ 1012230 w 1394797"/>
              <a:gd name="connsiteY99" fmla="*/ 1045028 h 1190730"/>
              <a:gd name="connsiteX100" fmla="*/ 1022278 w 1394797"/>
              <a:gd name="connsiteY100" fmla="*/ 1060101 h 1190730"/>
              <a:gd name="connsiteX101" fmla="*/ 1047399 w 1394797"/>
              <a:gd name="connsiteY101" fmla="*/ 1080198 h 1190730"/>
              <a:gd name="connsiteX102" fmla="*/ 1072520 w 1394797"/>
              <a:gd name="connsiteY102" fmla="*/ 1100294 h 1190730"/>
              <a:gd name="connsiteX103" fmla="*/ 1067496 w 1394797"/>
              <a:gd name="connsiteY103" fmla="*/ 1140488 h 1190730"/>
              <a:gd name="connsiteX104" fmla="*/ 1077544 w 1394797"/>
              <a:gd name="connsiteY104" fmla="*/ 1125415 h 1190730"/>
              <a:gd name="connsiteX105" fmla="*/ 1082568 w 1394797"/>
              <a:gd name="connsiteY105" fmla="*/ 1110343 h 1190730"/>
              <a:gd name="connsiteX106" fmla="*/ 1092617 w 1394797"/>
              <a:gd name="connsiteY106" fmla="*/ 1100294 h 1190730"/>
              <a:gd name="connsiteX107" fmla="*/ 1122762 w 1394797"/>
              <a:gd name="connsiteY107" fmla="*/ 1090246 h 1190730"/>
              <a:gd name="connsiteX108" fmla="*/ 1137834 w 1394797"/>
              <a:gd name="connsiteY108" fmla="*/ 1060101 h 1190730"/>
              <a:gd name="connsiteX109" fmla="*/ 1152907 w 1394797"/>
              <a:gd name="connsiteY109" fmla="*/ 994787 h 1190730"/>
              <a:gd name="connsiteX110" fmla="*/ 1162955 w 1394797"/>
              <a:gd name="connsiteY110" fmla="*/ 964642 h 1190730"/>
              <a:gd name="connsiteX111" fmla="*/ 1178028 w 1394797"/>
              <a:gd name="connsiteY111" fmla="*/ 934497 h 1190730"/>
              <a:gd name="connsiteX112" fmla="*/ 1208173 w 1394797"/>
              <a:gd name="connsiteY112" fmla="*/ 924448 h 1190730"/>
              <a:gd name="connsiteX113" fmla="*/ 1213197 w 1394797"/>
              <a:gd name="connsiteY113" fmla="*/ 909376 h 1190730"/>
              <a:gd name="connsiteX114" fmla="*/ 1218221 w 1394797"/>
              <a:gd name="connsiteY114" fmla="*/ 884255 h 1190730"/>
              <a:gd name="connsiteX115" fmla="*/ 1228269 w 1394797"/>
              <a:gd name="connsiteY115" fmla="*/ 869182 h 1190730"/>
              <a:gd name="connsiteX116" fmla="*/ 1238318 w 1394797"/>
              <a:gd name="connsiteY116" fmla="*/ 839037 h 1190730"/>
              <a:gd name="connsiteX117" fmla="*/ 1248366 w 1394797"/>
              <a:gd name="connsiteY117" fmla="*/ 808892 h 1190730"/>
              <a:gd name="connsiteX118" fmla="*/ 1253390 w 1394797"/>
              <a:gd name="connsiteY118" fmla="*/ 793820 h 1190730"/>
              <a:gd name="connsiteX119" fmla="*/ 1248366 w 1394797"/>
              <a:gd name="connsiteY119" fmla="*/ 733530 h 1190730"/>
              <a:gd name="connsiteX120" fmla="*/ 1238318 w 1394797"/>
              <a:gd name="connsiteY120" fmla="*/ 698360 h 1190730"/>
              <a:gd name="connsiteX121" fmla="*/ 1243342 w 1394797"/>
              <a:gd name="connsiteY121" fmla="*/ 653143 h 1190730"/>
              <a:gd name="connsiteX122" fmla="*/ 1253390 w 1394797"/>
              <a:gd name="connsiteY122" fmla="*/ 617973 h 1190730"/>
              <a:gd name="connsiteX123" fmla="*/ 1258414 w 1394797"/>
              <a:gd name="connsiteY123" fmla="*/ 562708 h 1190730"/>
              <a:gd name="connsiteX124" fmla="*/ 1263439 w 1394797"/>
              <a:gd name="connsiteY124" fmla="*/ 547635 h 1190730"/>
              <a:gd name="connsiteX125" fmla="*/ 1278511 w 1394797"/>
              <a:gd name="connsiteY125" fmla="*/ 532562 h 1190730"/>
              <a:gd name="connsiteX126" fmla="*/ 1298608 w 1394797"/>
              <a:gd name="connsiteY126" fmla="*/ 507442 h 1190730"/>
              <a:gd name="connsiteX127" fmla="*/ 1313680 w 1394797"/>
              <a:gd name="connsiteY127" fmla="*/ 502417 h 1190730"/>
              <a:gd name="connsiteX128" fmla="*/ 1323729 w 1394797"/>
              <a:gd name="connsiteY128" fmla="*/ 492369 h 1190730"/>
              <a:gd name="connsiteX129" fmla="*/ 1353874 w 1394797"/>
              <a:gd name="connsiteY129" fmla="*/ 482321 h 1190730"/>
              <a:gd name="connsiteX130" fmla="*/ 1384019 w 1394797"/>
              <a:gd name="connsiteY130" fmla="*/ 442127 h 1190730"/>
              <a:gd name="connsiteX131" fmla="*/ 1384019 w 1394797"/>
              <a:gd name="connsiteY131" fmla="*/ 401934 h 1190730"/>
              <a:gd name="connsiteX132" fmla="*/ 1368946 w 1394797"/>
              <a:gd name="connsiteY132" fmla="*/ 396910 h 1190730"/>
              <a:gd name="connsiteX133" fmla="*/ 1358898 w 1394797"/>
              <a:gd name="connsiteY133" fmla="*/ 386861 h 1190730"/>
              <a:gd name="connsiteX134" fmla="*/ 1343825 w 1394797"/>
              <a:gd name="connsiteY134" fmla="*/ 376813 h 1190730"/>
              <a:gd name="connsiteX135" fmla="*/ 1338801 w 1394797"/>
              <a:gd name="connsiteY135" fmla="*/ 361741 h 1190730"/>
              <a:gd name="connsiteX136" fmla="*/ 1308656 w 1394797"/>
              <a:gd name="connsiteY136" fmla="*/ 351692 h 1190730"/>
              <a:gd name="connsiteX137" fmla="*/ 1293584 w 1394797"/>
              <a:gd name="connsiteY137" fmla="*/ 341644 h 1190730"/>
              <a:gd name="connsiteX138" fmla="*/ 1283535 w 1394797"/>
              <a:gd name="connsiteY138" fmla="*/ 311499 h 1190730"/>
              <a:gd name="connsiteX139" fmla="*/ 1273487 w 1394797"/>
              <a:gd name="connsiteY139" fmla="*/ 261257 h 1190730"/>
              <a:gd name="connsiteX140" fmla="*/ 1263439 w 1394797"/>
              <a:gd name="connsiteY140" fmla="*/ 185894 h 1190730"/>
              <a:gd name="connsiteX141" fmla="*/ 1258414 w 1394797"/>
              <a:gd name="connsiteY141" fmla="*/ 170822 h 1190730"/>
              <a:gd name="connsiteX142" fmla="*/ 1248366 w 1394797"/>
              <a:gd name="connsiteY142" fmla="*/ 135653 h 1190730"/>
              <a:gd name="connsiteX143" fmla="*/ 1238318 w 1394797"/>
              <a:gd name="connsiteY143" fmla="*/ 125604 h 1190730"/>
              <a:gd name="connsiteX144" fmla="*/ 1228269 w 1394797"/>
              <a:gd name="connsiteY144" fmla="*/ 110532 h 1190730"/>
              <a:gd name="connsiteX145" fmla="*/ 1213197 w 1394797"/>
              <a:gd name="connsiteY145" fmla="*/ 80387 h 1190730"/>
              <a:gd name="connsiteX146" fmla="*/ 1203148 w 1394797"/>
              <a:gd name="connsiteY146" fmla="*/ 70338 h 1190730"/>
              <a:gd name="connsiteX147" fmla="*/ 1183052 w 1394797"/>
              <a:gd name="connsiteY147" fmla="*/ 45217 h 1190730"/>
              <a:gd name="connsiteX148" fmla="*/ 1167979 w 1394797"/>
              <a:gd name="connsiteY148" fmla="*/ 40193 h 1190730"/>
              <a:gd name="connsiteX149" fmla="*/ 1162955 w 1394797"/>
              <a:gd name="connsiteY149" fmla="*/ 25121 h 1190730"/>
              <a:gd name="connsiteX150" fmla="*/ 1137834 w 1394797"/>
              <a:gd name="connsiteY150" fmla="*/ 20097 h 1190730"/>
              <a:gd name="connsiteX151" fmla="*/ 1122762 w 1394797"/>
              <a:gd name="connsiteY151" fmla="*/ 15072 h 1190730"/>
              <a:gd name="connsiteX152" fmla="*/ 1112713 w 1394797"/>
              <a:gd name="connsiteY152" fmla="*/ 0 h 119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1394797" h="1190730">
                <a:moveTo>
                  <a:pt x="1394067" y="427055"/>
                </a:moveTo>
                <a:cubicBezTo>
                  <a:pt x="1385693" y="420356"/>
                  <a:pt x="1378040" y="412642"/>
                  <a:pt x="1368946" y="406958"/>
                </a:cubicBezTo>
                <a:cubicBezTo>
                  <a:pt x="1361676" y="402414"/>
                  <a:pt x="1333423" y="397844"/>
                  <a:pt x="1328753" y="396910"/>
                </a:cubicBezTo>
                <a:cubicBezTo>
                  <a:pt x="1317632" y="389496"/>
                  <a:pt x="1306344" y="383393"/>
                  <a:pt x="1298608" y="371789"/>
                </a:cubicBezTo>
                <a:cubicBezTo>
                  <a:pt x="1272524" y="332662"/>
                  <a:pt x="1314825" y="377955"/>
                  <a:pt x="1283535" y="346668"/>
                </a:cubicBezTo>
                <a:lnTo>
                  <a:pt x="1273487" y="316523"/>
                </a:lnTo>
                <a:lnTo>
                  <a:pt x="1268463" y="301450"/>
                </a:lnTo>
                <a:cubicBezTo>
                  <a:pt x="1266788" y="283028"/>
                  <a:pt x="1266055" y="264496"/>
                  <a:pt x="1263439" y="246184"/>
                </a:cubicBezTo>
                <a:cubicBezTo>
                  <a:pt x="1262690" y="240941"/>
                  <a:pt x="1259869" y="236204"/>
                  <a:pt x="1258414" y="231112"/>
                </a:cubicBezTo>
                <a:cubicBezTo>
                  <a:pt x="1256517" y="224473"/>
                  <a:pt x="1255374" y="217629"/>
                  <a:pt x="1253390" y="211015"/>
                </a:cubicBezTo>
                <a:cubicBezTo>
                  <a:pt x="1250347" y="200870"/>
                  <a:pt x="1246691" y="190918"/>
                  <a:pt x="1243342" y="180870"/>
                </a:cubicBezTo>
                <a:lnTo>
                  <a:pt x="1238318" y="165798"/>
                </a:lnTo>
                <a:cubicBezTo>
                  <a:pt x="1231552" y="125202"/>
                  <a:pt x="1236516" y="145321"/>
                  <a:pt x="1223245" y="105508"/>
                </a:cubicBezTo>
                <a:lnTo>
                  <a:pt x="1218221" y="90435"/>
                </a:lnTo>
                <a:cubicBezTo>
                  <a:pt x="1216546" y="85411"/>
                  <a:pt x="1216135" y="79768"/>
                  <a:pt x="1213197" y="75362"/>
                </a:cubicBezTo>
                <a:lnTo>
                  <a:pt x="1203148" y="60290"/>
                </a:lnTo>
                <a:cubicBezTo>
                  <a:pt x="1201473" y="55266"/>
                  <a:pt x="1201432" y="49353"/>
                  <a:pt x="1198124" y="45217"/>
                </a:cubicBezTo>
                <a:cubicBezTo>
                  <a:pt x="1194352" y="40502"/>
                  <a:pt x="1187767" y="38941"/>
                  <a:pt x="1183052" y="35169"/>
                </a:cubicBezTo>
                <a:cubicBezTo>
                  <a:pt x="1163348" y="19406"/>
                  <a:pt x="1184104" y="28821"/>
                  <a:pt x="1157931" y="20097"/>
                </a:cubicBezTo>
                <a:cubicBezTo>
                  <a:pt x="1154582" y="16747"/>
                  <a:pt x="1152120" y="12166"/>
                  <a:pt x="1147883" y="10048"/>
                </a:cubicBezTo>
                <a:cubicBezTo>
                  <a:pt x="1138409" y="5311"/>
                  <a:pt x="1117737" y="0"/>
                  <a:pt x="1117737" y="0"/>
                </a:cubicBezTo>
                <a:cubicBezTo>
                  <a:pt x="1107809" y="3309"/>
                  <a:pt x="1094675" y="6219"/>
                  <a:pt x="1087592" y="15072"/>
                </a:cubicBezTo>
                <a:cubicBezTo>
                  <a:pt x="1059856" y="49742"/>
                  <a:pt x="1110692" y="11396"/>
                  <a:pt x="1067496" y="40193"/>
                </a:cubicBezTo>
                <a:cubicBezTo>
                  <a:pt x="1047482" y="70213"/>
                  <a:pt x="1069338" y="44113"/>
                  <a:pt x="1042375" y="60290"/>
                </a:cubicBezTo>
                <a:cubicBezTo>
                  <a:pt x="1007892" y="80979"/>
                  <a:pt x="1059949" y="61130"/>
                  <a:pt x="1017254" y="75362"/>
                </a:cubicBezTo>
                <a:cubicBezTo>
                  <a:pt x="991794" y="100824"/>
                  <a:pt x="1021748" y="67872"/>
                  <a:pt x="1002181" y="100483"/>
                </a:cubicBezTo>
                <a:cubicBezTo>
                  <a:pt x="999412" y="105098"/>
                  <a:pt x="981354" y="120273"/>
                  <a:pt x="977061" y="120580"/>
                </a:cubicBezTo>
                <a:cubicBezTo>
                  <a:pt x="911891" y="125235"/>
                  <a:pt x="846432" y="123929"/>
                  <a:pt x="781118" y="125604"/>
                </a:cubicBezTo>
                <a:cubicBezTo>
                  <a:pt x="771407" y="127222"/>
                  <a:pt x="723724" y="135409"/>
                  <a:pt x="715803" y="135653"/>
                </a:cubicBezTo>
                <a:cubicBezTo>
                  <a:pt x="618701" y="138641"/>
                  <a:pt x="521528" y="138632"/>
                  <a:pt x="424401" y="140677"/>
                </a:cubicBezTo>
                <a:lnTo>
                  <a:pt x="238507" y="145701"/>
                </a:lnTo>
                <a:cubicBezTo>
                  <a:pt x="232397" y="335132"/>
                  <a:pt x="285283" y="290305"/>
                  <a:pt x="188265" y="306475"/>
                </a:cubicBezTo>
                <a:cubicBezTo>
                  <a:pt x="183041" y="307346"/>
                  <a:pt x="178216" y="309824"/>
                  <a:pt x="173192" y="311499"/>
                </a:cubicBezTo>
                <a:cubicBezTo>
                  <a:pt x="96320" y="426806"/>
                  <a:pt x="197964" y="268432"/>
                  <a:pt x="158120" y="678264"/>
                </a:cubicBezTo>
                <a:cubicBezTo>
                  <a:pt x="157095" y="688806"/>
                  <a:pt x="138023" y="684963"/>
                  <a:pt x="127975" y="688312"/>
                </a:cubicBezTo>
                <a:lnTo>
                  <a:pt x="112902" y="693336"/>
                </a:lnTo>
                <a:lnTo>
                  <a:pt x="97830" y="698360"/>
                </a:lnTo>
                <a:cubicBezTo>
                  <a:pt x="81905" y="722246"/>
                  <a:pt x="89691" y="707704"/>
                  <a:pt x="77733" y="743578"/>
                </a:cubicBezTo>
                <a:cubicBezTo>
                  <a:pt x="76058" y="748602"/>
                  <a:pt x="76454" y="754905"/>
                  <a:pt x="72709" y="758650"/>
                </a:cubicBezTo>
                <a:lnTo>
                  <a:pt x="52612" y="778747"/>
                </a:lnTo>
                <a:cubicBezTo>
                  <a:pt x="50937" y="783771"/>
                  <a:pt x="47003" y="788556"/>
                  <a:pt x="47588" y="793820"/>
                </a:cubicBezTo>
                <a:cubicBezTo>
                  <a:pt x="48758" y="804347"/>
                  <a:pt x="57636" y="823965"/>
                  <a:pt x="57636" y="823965"/>
                </a:cubicBezTo>
                <a:cubicBezTo>
                  <a:pt x="52612" y="828989"/>
                  <a:pt x="48775" y="835586"/>
                  <a:pt x="42564" y="839037"/>
                </a:cubicBezTo>
                <a:cubicBezTo>
                  <a:pt x="33305" y="844181"/>
                  <a:pt x="12419" y="849086"/>
                  <a:pt x="12419" y="849086"/>
                </a:cubicBezTo>
                <a:cubicBezTo>
                  <a:pt x="10744" y="854110"/>
                  <a:pt x="7395" y="858862"/>
                  <a:pt x="7395" y="864158"/>
                </a:cubicBezTo>
                <a:cubicBezTo>
                  <a:pt x="7395" y="874559"/>
                  <a:pt x="17386" y="886681"/>
                  <a:pt x="22467" y="894303"/>
                </a:cubicBezTo>
                <a:cubicBezTo>
                  <a:pt x="20792" y="899327"/>
                  <a:pt x="19811" y="904639"/>
                  <a:pt x="17443" y="909376"/>
                </a:cubicBezTo>
                <a:cubicBezTo>
                  <a:pt x="10712" y="922839"/>
                  <a:pt x="0" y="923996"/>
                  <a:pt x="12419" y="939521"/>
                </a:cubicBezTo>
                <a:cubicBezTo>
                  <a:pt x="16191" y="944236"/>
                  <a:pt x="22467" y="946220"/>
                  <a:pt x="27491" y="949569"/>
                </a:cubicBezTo>
                <a:cubicBezTo>
                  <a:pt x="43416" y="973455"/>
                  <a:pt x="35630" y="958913"/>
                  <a:pt x="47588" y="994787"/>
                </a:cubicBezTo>
                <a:cubicBezTo>
                  <a:pt x="49263" y="999811"/>
                  <a:pt x="51573" y="1004666"/>
                  <a:pt x="52612" y="1009859"/>
                </a:cubicBezTo>
                <a:cubicBezTo>
                  <a:pt x="54287" y="1018233"/>
                  <a:pt x="54272" y="1027131"/>
                  <a:pt x="57636" y="1034980"/>
                </a:cubicBezTo>
                <a:cubicBezTo>
                  <a:pt x="62233" y="1045706"/>
                  <a:pt x="73473" y="1046958"/>
                  <a:pt x="82757" y="1050053"/>
                </a:cubicBezTo>
                <a:lnTo>
                  <a:pt x="107878" y="1125415"/>
                </a:lnTo>
                <a:cubicBezTo>
                  <a:pt x="109553" y="1130439"/>
                  <a:pt x="107878" y="1138813"/>
                  <a:pt x="112902" y="1140488"/>
                </a:cubicBezTo>
                <a:lnTo>
                  <a:pt x="127975" y="1145512"/>
                </a:lnTo>
                <a:cubicBezTo>
                  <a:pt x="131324" y="1150536"/>
                  <a:pt x="134251" y="1155869"/>
                  <a:pt x="138023" y="1160584"/>
                </a:cubicBezTo>
                <a:cubicBezTo>
                  <a:pt x="140982" y="1164283"/>
                  <a:pt x="145635" y="1166571"/>
                  <a:pt x="148072" y="1170633"/>
                </a:cubicBezTo>
                <a:cubicBezTo>
                  <a:pt x="150797" y="1175174"/>
                  <a:pt x="149351" y="1181960"/>
                  <a:pt x="153096" y="1185705"/>
                </a:cubicBezTo>
                <a:cubicBezTo>
                  <a:pt x="156841" y="1189450"/>
                  <a:pt x="163144" y="1189055"/>
                  <a:pt x="168168" y="1190730"/>
                </a:cubicBezTo>
                <a:cubicBezTo>
                  <a:pt x="173252" y="1185646"/>
                  <a:pt x="187360" y="1172852"/>
                  <a:pt x="188265" y="1165609"/>
                </a:cubicBezTo>
                <a:cubicBezTo>
                  <a:pt x="189324" y="1157135"/>
                  <a:pt x="184916" y="1148862"/>
                  <a:pt x="183241" y="1140488"/>
                </a:cubicBezTo>
                <a:cubicBezTo>
                  <a:pt x="184916" y="1135464"/>
                  <a:pt x="183955" y="1128493"/>
                  <a:pt x="188265" y="1125415"/>
                </a:cubicBezTo>
                <a:cubicBezTo>
                  <a:pt x="196884" y="1119259"/>
                  <a:pt x="209597" y="1121242"/>
                  <a:pt x="218410" y="1115367"/>
                </a:cubicBezTo>
                <a:cubicBezTo>
                  <a:pt x="223434" y="1112018"/>
                  <a:pt x="228768" y="1109091"/>
                  <a:pt x="233483" y="1105319"/>
                </a:cubicBezTo>
                <a:cubicBezTo>
                  <a:pt x="237182" y="1102360"/>
                  <a:pt x="239469" y="1097707"/>
                  <a:pt x="243531" y="1095270"/>
                </a:cubicBezTo>
                <a:cubicBezTo>
                  <a:pt x="248072" y="1092545"/>
                  <a:pt x="253579" y="1091921"/>
                  <a:pt x="258603" y="1090246"/>
                </a:cubicBezTo>
                <a:cubicBezTo>
                  <a:pt x="272001" y="1091921"/>
                  <a:pt x="286333" y="1090077"/>
                  <a:pt x="298797" y="1095270"/>
                </a:cubicBezTo>
                <a:cubicBezTo>
                  <a:pt x="307542" y="1098914"/>
                  <a:pt x="318894" y="1115367"/>
                  <a:pt x="318894" y="1115367"/>
                </a:cubicBezTo>
                <a:cubicBezTo>
                  <a:pt x="320569" y="1120391"/>
                  <a:pt x="321193" y="1125898"/>
                  <a:pt x="323918" y="1130439"/>
                </a:cubicBezTo>
                <a:cubicBezTo>
                  <a:pt x="327715" y="1136768"/>
                  <a:pt x="343435" y="1148046"/>
                  <a:pt x="349039" y="1150536"/>
                </a:cubicBezTo>
                <a:cubicBezTo>
                  <a:pt x="389758" y="1168633"/>
                  <a:pt x="412989" y="1162573"/>
                  <a:pt x="464595" y="1165609"/>
                </a:cubicBezTo>
                <a:cubicBezTo>
                  <a:pt x="471032" y="1167218"/>
                  <a:pt x="492558" y="1172054"/>
                  <a:pt x="499764" y="1175657"/>
                </a:cubicBezTo>
                <a:cubicBezTo>
                  <a:pt x="505165" y="1178357"/>
                  <a:pt x="509812" y="1182356"/>
                  <a:pt x="514836" y="1185705"/>
                </a:cubicBezTo>
                <a:cubicBezTo>
                  <a:pt x="524884" y="1184030"/>
                  <a:pt x="535443" y="1184258"/>
                  <a:pt x="544981" y="1180681"/>
                </a:cubicBezTo>
                <a:cubicBezTo>
                  <a:pt x="549416" y="1179018"/>
                  <a:pt x="550435" y="1171782"/>
                  <a:pt x="555030" y="1170633"/>
                </a:cubicBezTo>
                <a:cubicBezTo>
                  <a:pt x="571358" y="1166551"/>
                  <a:pt x="588525" y="1167284"/>
                  <a:pt x="605272" y="1165609"/>
                </a:cubicBezTo>
                <a:cubicBezTo>
                  <a:pt x="655145" y="1148981"/>
                  <a:pt x="578952" y="1176880"/>
                  <a:pt x="635417" y="1145512"/>
                </a:cubicBezTo>
                <a:cubicBezTo>
                  <a:pt x="644676" y="1140368"/>
                  <a:pt x="665562" y="1135464"/>
                  <a:pt x="665562" y="1135464"/>
                </a:cubicBezTo>
                <a:cubicBezTo>
                  <a:pt x="682515" y="1084604"/>
                  <a:pt x="665049" y="1104507"/>
                  <a:pt x="740924" y="1110343"/>
                </a:cubicBezTo>
                <a:cubicBezTo>
                  <a:pt x="744274" y="1113692"/>
                  <a:pt x="748014" y="1116692"/>
                  <a:pt x="750973" y="1120391"/>
                </a:cubicBezTo>
                <a:cubicBezTo>
                  <a:pt x="754745" y="1125106"/>
                  <a:pt x="756306" y="1131692"/>
                  <a:pt x="761021" y="1135464"/>
                </a:cubicBezTo>
                <a:cubicBezTo>
                  <a:pt x="765157" y="1138772"/>
                  <a:pt x="771070" y="1138813"/>
                  <a:pt x="776094" y="1140488"/>
                </a:cubicBezTo>
                <a:cubicBezTo>
                  <a:pt x="786142" y="1138813"/>
                  <a:pt x="796575" y="1138686"/>
                  <a:pt x="806239" y="1135464"/>
                </a:cubicBezTo>
                <a:cubicBezTo>
                  <a:pt x="817619" y="1131671"/>
                  <a:pt x="843606" y="1104533"/>
                  <a:pt x="846432" y="1100294"/>
                </a:cubicBezTo>
                <a:cubicBezTo>
                  <a:pt x="853131" y="1090246"/>
                  <a:pt x="856481" y="1076848"/>
                  <a:pt x="866529" y="1070149"/>
                </a:cubicBezTo>
                <a:cubicBezTo>
                  <a:pt x="871553" y="1066800"/>
                  <a:pt x="876083" y="1062553"/>
                  <a:pt x="881601" y="1060101"/>
                </a:cubicBezTo>
                <a:cubicBezTo>
                  <a:pt x="891280" y="1055799"/>
                  <a:pt x="911746" y="1050053"/>
                  <a:pt x="911746" y="1050053"/>
                </a:cubicBezTo>
                <a:cubicBezTo>
                  <a:pt x="913421" y="1045029"/>
                  <a:pt x="916770" y="1040276"/>
                  <a:pt x="916770" y="1034980"/>
                </a:cubicBezTo>
                <a:cubicBezTo>
                  <a:pt x="916770" y="1027386"/>
                  <a:pt x="902283" y="986493"/>
                  <a:pt x="901698" y="984738"/>
                </a:cubicBezTo>
                <a:lnTo>
                  <a:pt x="896674" y="969666"/>
                </a:lnTo>
                <a:cubicBezTo>
                  <a:pt x="892722" y="957809"/>
                  <a:pt x="893097" y="951442"/>
                  <a:pt x="881601" y="944545"/>
                </a:cubicBezTo>
                <a:cubicBezTo>
                  <a:pt x="877060" y="941820"/>
                  <a:pt x="871553" y="941196"/>
                  <a:pt x="866529" y="939521"/>
                </a:cubicBezTo>
                <a:cubicBezTo>
                  <a:pt x="894465" y="911582"/>
                  <a:pt x="853080" y="948682"/>
                  <a:pt x="931843" y="924448"/>
                </a:cubicBezTo>
                <a:cubicBezTo>
                  <a:pt x="937614" y="922672"/>
                  <a:pt x="938542" y="914400"/>
                  <a:pt x="941891" y="909376"/>
                </a:cubicBezTo>
                <a:cubicBezTo>
                  <a:pt x="957680" y="911130"/>
                  <a:pt x="992803" y="903349"/>
                  <a:pt x="997157" y="929472"/>
                </a:cubicBezTo>
                <a:cubicBezTo>
                  <a:pt x="998028" y="934696"/>
                  <a:pt x="993808" y="939521"/>
                  <a:pt x="992133" y="944545"/>
                </a:cubicBezTo>
                <a:cubicBezTo>
                  <a:pt x="993808" y="957943"/>
                  <a:pt x="995666" y="971319"/>
                  <a:pt x="997157" y="984738"/>
                </a:cubicBezTo>
                <a:cubicBezTo>
                  <a:pt x="999016" y="1001466"/>
                  <a:pt x="998099" y="1018652"/>
                  <a:pt x="1002181" y="1034980"/>
                </a:cubicBezTo>
                <a:cubicBezTo>
                  <a:pt x="1003330" y="1039575"/>
                  <a:pt x="1009271" y="1041329"/>
                  <a:pt x="1012230" y="1045028"/>
                </a:cubicBezTo>
                <a:cubicBezTo>
                  <a:pt x="1016002" y="1049743"/>
                  <a:pt x="1018008" y="1055831"/>
                  <a:pt x="1022278" y="1060101"/>
                </a:cubicBezTo>
                <a:cubicBezTo>
                  <a:pt x="1048399" y="1086222"/>
                  <a:pt x="1027506" y="1055331"/>
                  <a:pt x="1047399" y="1080198"/>
                </a:cubicBezTo>
                <a:cubicBezTo>
                  <a:pt x="1063925" y="1100857"/>
                  <a:pt x="1048613" y="1092326"/>
                  <a:pt x="1072520" y="1100294"/>
                </a:cubicBezTo>
                <a:cubicBezTo>
                  <a:pt x="1070845" y="1113692"/>
                  <a:pt x="1064848" y="1127248"/>
                  <a:pt x="1067496" y="1140488"/>
                </a:cubicBezTo>
                <a:cubicBezTo>
                  <a:pt x="1068680" y="1146409"/>
                  <a:pt x="1074844" y="1130816"/>
                  <a:pt x="1077544" y="1125415"/>
                </a:cubicBezTo>
                <a:cubicBezTo>
                  <a:pt x="1079912" y="1120678"/>
                  <a:pt x="1079843" y="1114884"/>
                  <a:pt x="1082568" y="1110343"/>
                </a:cubicBezTo>
                <a:cubicBezTo>
                  <a:pt x="1085005" y="1106281"/>
                  <a:pt x="1088380" y="1102413"/>
                  <a:pt x="1092617" y="1100294"/>
                </a:cubicBezTo>
                <a:cubicBezTo>
                  <a:pt x="1102091" y="1095557"/>
                  <a:pt x="1122762" y="1090246"/>
                  <a:pt x="1122762" y="1090246"/>
                </a:cubicBezTo>
                <a:cubicBezTo>
                  <a:pt x="1129998" y="1079392"/>
                  <a:pt x="1135943" y="1073337"/>
                  <a:pt x="1137834" y="1060101"/>
                </a:cubicBezTo>
                <a:cubicBezTo>
                  <a:pt x="1146922" y="996483"/>
                  <a:pt x="1128846" y="1018845"/>
                  <a:pt x="1152907" y="994787"/>
                </a:cubicBezTo>
                <a:lnTo>
                  <a:pt x="1162955" y="964642"/>
                </a:lnTo>
                <a:cubicBezTo>
                  <a:pt x="1165693" y="956428"/>
                  <a:pt x="1169824" y="939624"/>
                  <a:pt x="1178028" y="934497"/>
                </a:cubicBezTo>
                <a:cubicBezTo>
                  <a:pt x="1187010" y="928883"/>
                  <a:pt x="1208173" y="924448"/>
                  <a:pt x="1208173" y="924448"/>
                </a:cubicBezTo>
                <a:cubicBezTo>
                  <a:pt x="1209848" y="919424"/>
                  <a:pt x="1211913" y="914514"/>
                  <a:pt x="1213197" y="909376"/>
                </a:cubicBezTo>
                <a:cubicBezTo>
                  <a:pt x="1215268" y="901091"/>
                  <a:pt x="1215223" y="892251"/>
                  <a:pt x="1218221" y="884255"/>
                </a:cubicBezTo>
                <a:cubicBezTo>
                  <a:pt x="1220341" y="878601"/>
                  <a:pt x="1225817" y="874700"/>
                  <a:pt x="1228269" y="869182"/>
                </a:cubicBezTo>
                <a:cubicBezTo>
                  <a:pt x="1232571" y="859503"/>
                  <a:pt x="1234968" y="849085"/>
                  <a:pt x="1238318" y="839037"/>
                </a:cubicBezTo>
                <a:lnTo>
                  <a:pt x="1248366" y="808892"/>
                </a:lnTo>
                <a:lnTo>
                  <a:pt x="1253390" y="793820"/>
                </a:lnTo>
                <a:cubicBezTo>
                  <a:pt x="1251715" y="773723"/>
                  <a:pt x="1250867" y="753541"/>
                  <a:pt x="1248366" y="733530"/>
                </a:cubicBezTo>
                <a:cubicBezTo>
                  <a:pt x="1247104" y="723436"/>
                  <a:pt x="1241655" y="708371"/>
                  <a:pt x="1238318" y="698360"/>
                </a:cubicBezTo>
                <a:cubicBezTo>
                  <a:pt x="1239993" y="683288"/>
                  <a:pt x="1241036" y="668132"/>
                  <a:pt x="1243342" y="653143"/>
                </a:cubicBezTo>
                <a:cubicBezTo>
                  <a:pt x="1245144" y="641427"/>
                  <a:pt x="1249639" y="629228"/>
                  <a:pt x="1253390" y="617973"/>
                </a:cubicBezTo>
                <a:cubicBezTo>
                  <a:pt x="1255065" y="599551"/>
                  <a:pt x="1255798" y="581020"/>
                  <a:pt x="1258414" y="562708"/>
                </a:cubicBezTo>
                <a:cubicBezTo>
                  <a:pt x="1259163" y="557465"/>
                  <a:pt x="1260501" y="552042"/>
                  <a:pt x="1263439" y="547635"/>
                </a:cubicBezTo>
                <a:cubicBezTo>
                  <a:pt x="1267380" y="541723"/>
                  <a:pt x="1273962" y="538020"/>
                  <a:pt x="1278511" y="532562"/>
                </a:cubicBezTo>
                <a:cubicBezTo>
                  <a:pt x="1285359" y="524344"/>
                  <a:pt x="1288861" y="513290"/>
                  <a:pt x="1298608" y="507442"/>
                </a:cubicBezTo>
                <a:cubicBezTo>
                  <a:pt x="1303149" y="504717"/>
                  <a:pt x="1308656" y="504092"/>
                  <a:pt x="1313680" y="502417"/>
                </a:cubicBezTo>
                <a:cubicBezTo>
                  <a:pt x="1317030" y="499068"/>
                  <a:pt x="1319492" y="494487"/>
                  <a:pt x="1323729" y="492369"/>
                </a:cubicBezTo>
                <a:cubicBezTo>
                  <a:pt x="1333203" y="487632"/>
                  <a:pt x="1353874" y="482321"/>
                  <a:pt x="1353874" y="482321"/>
                </a:cubicBezTo>
                <a:cubicBezTo>
                  <a:pt x="1376598" y="448234"/>
                  <a:pt x="1365431" y="460715"/>
                  <a:pt x="1384019" y="442127"/>
                </a:cubicBezTo>
                <a:cubicBezTo>
                  <a:pt x="1388819" y="427727"/>
                  <a:pt x="1394797" y="418101"/>
                  <a:pt x="1384019" y="401934"/>
                </a:cubicBezTo>
                <a:cubicBezTo>
                  <a:pt x="1381081" y="397527"/>
                  <a:pt x="1373970" y="398585"/>
                  <a:pt x="1368946" y="396910"/>
                </a:cubicBezTo>
                <a:cubicBezTo>
                  <a:pt x="1365597" y="393560"/>
                  <a:pt x="1362597" y="389820"/>
                  <a:pt x="1358898" y="386861"/>
                </a:cubicBezTo>
                <a:cubicBezTo>
                  <a:pt x="1354183" y="383089"/>
                  <a:pt x="1347597" y="381528"/>
                  <a:pt x="1343825" y="376813"/>
                </a:cubicBezTo>
                <a:cubicBezTo>
                  <a:pt x="1340517" y="372678"/>
                  <a:pt x="1343110" y="364819"/>
                  <a:pt x="1338801" y="361741"/>
                </a:cubicBezTo>
                <a:cubicBezTo>
                  <a:pt x="1330182" y="355585"/>
                  <a:pt x="1308656" y="351692"/>
                  <a:pt x="1308656" y="351692"/>
                </a:cubicBezTo>
                <a:cubicBezTo>
                  <a:pt x="1303632" y="348343"/>
                  <a:pt x="1296784" y="346764"/>
                  <a:pt x="1293584" y="341644"/>
                </a:cubicBezTo>
                <a:cubicBezTo>
                  <a:pt x="1287970" y="332662"/>
                  <a:pt x="1286104" y="321775"/>
                  <a:pt x="1283535" y="311499"/>
                </a:cubicBezTo>
                <a:cubicBezTo>
                  <a:pt x="1277432" y="287086"/>
                  <a:pt x="1277593" y="290001"/>
                  <a:pt x="1273487" y="261257"/>
                </a:cubicBezTo>
                <a:cubicBezTo>
                  <a:pt x="1271654" y="248428"/>
                  <a:pt x="1266285" y="200123"/>
                  <a:pt x="1263439" y="185894"/>
                </a:cubicBezTo>
                <a:cubicBezTo>
                  <a:pt x="1262400" y="180701"/>
                  <a:pt x="1259869" y="175914"/>
                  <a:pt x="1258414" y="170822"/>
                </a:cubicBezTo>
                <a:cubicBezTo>
                  <a:pt x="1257219" y="166640"/>
                  <a:pt x="1251652" y="141130"/>
                  <a:pt x="1248366" y="135653"/>
                </a:cubicBezTo>
                <a:cubicBezTo>
                  <a:pt x="1245929" y="131591"/>
                  <a:pt x="1241277" y="129303"/>
                  <a:pt x="1238318" y="125604"/>
                </a:cubicBezTo>
                <a:cubicBezTo>
                  <a:pt x="1234546" y="120889"/>
                  <a:pt x="1231619" y="115556"/>
                  <a:pt x="1228269" y="110532"/>
                </a:cubicBezTo>
                <a:cubicBezTo>
                  <a:pt x="1222963" y="94612"/>
                  <a:pt x="1224328" y="94300"/>
                  <a:pt x="1213197" y="80387"/>
                </a:cubicBezTo>
                <a:cubicBezTo>
                  <a:pt x="1210238" y="76688"/>
                  <a:pt x="1206107" y="74037"/>
                  <a:pt x="1203148" y="70338"/>
                </a:cubicBezTo>
                <a:cubicBezTo>
                  <a:pt x="1196831" y="62441"/>
                  <a:pt x="1192381" y="50815"/>
                  <a:pt x="1183052" y="45217"/>
                </a:cubicBezTo>
                <a:cubicBezTo>
                  <a:pt x="1178511" y="42492"/>
                  <a:pt x="1173003" y="41868"/>
                  <a:pt x="1167979" y="40193"/>
                </a:cubicBezTo>
                <a:cubicBezTo>
                  <a:pt x="1166304" y="35169"/>
                  <a:pt x="1167361" y="28058"/>
                  <a:pt x="1162955" y="25121"/>
                </a:cubicBezTo>
                <a:cubicBezTo>
                  <a:pt x="1155850" y="20384"/>
                  <a:pt x="1146118" y="22168"/>
                  <a:pt x="1137834" y="20097"/>
                </a:cubicBezTo>
                <a:cubicBezTo>
                  <a:pt x="1132696" y="18812"/>
                  <a:pt x="1127786" y="16747"/>
                  <a:pt x="1122762" y="15072"/>
                </a:cubicBezTo>
                <a:cubicBezTo>
                  <a:pt x="1111529" y="3840"/>
                  <a:pt x="1112713" y="9761"/>
                  <a:pt x="1112713" y="0"/>
                </a:cubicBezTo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66" name="Freeform 65"/>
          <p:cNvSpPr/>
          <p:nvPr/>
        </p:nvSpPr>
        <p:spPr>
          <a:xfrm>
            <a:off x="4956181" y="2567517"/>
            <a:ext cx="1108075" cy="827616"/>
          </a:xfrm>
          <a:custGeom>
            <a:avLst/>
            <a:gdLst>
              <a:gd name="connsiteX0" fmla="*/ 1088728 w 1106819"/>
              <a:gd name="connsiteY0" fmla="*/ 713583 h 825925"/>
              <a:gd name="connsiteX1" fmla="*/ 1078861 w 1106819"/>
              <a:gd name="connsiteY1" fmla="*/ 664245 h 825925"/>
              <a:gd name="connsiteX2" fmla="*/ 1068993 w 1106819"/>
              <a:gd name="connsiteY2" fmla="*/ 644510 h 825925"/>
              <a:gd name="connsiteX3" fmla="*/ 1059126 w 1106819"/>
              <a:gd name="connsiteY3" fmla="*/ 641221 h 825925"/>
              <a:gd name="connsiteX4" fmla="*/ 1026234 w 1106819"/>
              <a:gd name="connsiteY4" fmla="*/ 631353 h 825925"/>
              <a:gd name="connsiteX5" fmla="*/ 1016366 w 1106819"/>
              <a:gd name="connsiteY5" fmla="*/ 628064 h 825925"/>
              <a:gd name="connsiteX6" fmla="*/ 1006498 w 1106819"/>
              <a:gd name="connsiteY6" fmla="*/ 605039 h 825925"/>
              <a:gd name="connsiteX7" fmla="*/ 999920 w 1106819"/>
              <a:gd name="connsiteY7" fmla="*/ 585304 h 825925"/>
              <a:gd name="connsiteX8" fmla="*/ 993341 w 1106819"/>
              <a:gd name="connsiteY8" fmla="*/ 565569 h 825925"/>
              <a:gd name="connsiteX9" fmla="*/ 986763 w 1106819"/>
              <a:gd name="connsiteY9" fmla="*/ 558990 h 825925"/>
              <a:gd name="connsiteX10" fmla="*/ 980185 w 1106819"/>
              <a:gd name="connsiteY10" fmla="*/ 539255 h 825925"/>
              <a:gd name="connsiteX11" fmla="*/ 976895 w 1106819"/>
              <a:gd name="connsiteY11" fmla="*/ 529388 h 825925"/>
              <a:gd name="connsiteX12" fmla="*/ 970317 w 1106819"/>
              <a:gd name="connsiteY12" fmla="*/ 522809 h 825925"/>
              <a:gd name="connsiteX13" fmla="*/ 957160 w 1106819"/>
              <a:gd name="connsiteY13" fmla="*/ 506363 h 825925"/>
              <a:gd name="connsiteX14" fmla="*/ 944003 w 1106819"/>
              <a:gd name="connsiteY14" fmla="*/ 503074 h 825925"/>
              <a:gd name="connsiteX15" fmla="*/ 937425 w 1106819"/>
              <a:gd name="connsiteY15" fmla="*/ 496495 h 825925"/>
              <a:gd name="connsiteX16" fmla="*/ 927557 w 1106819"/>
              <a:gd name="connsiteY16" fmla="*/ 489917 h 825925"/>
              <a:gd name="connsiteX17" fmla="*/ 920979 w 1106819"/>
              <a:gd name="connsiteY17" fmla="*/ 480049 h 825925"/>
              <a:gd name="connsiteX18" fmla="*/ 914400 w 1106819"/>
              <a:gd name="connsiteY18" fmla="*/ 473471 h 825925"/>
              <a:gd name="connsiteX19" fmla="*/ 907822 w 1106819"/>
              <a:gd name="connsiteY19" fmla="*/ 463603 h 825925"/>
              <a:gd name="connsiteX20" fmla="*/ 904533 w 1106819"/>
              <a:gd name="connsiteY20" fmla="*/ 453736 h 825925"/>
              <a:gd name="connsiteX21" fmla="*/ 884798 w 1106819"/>
              <a:gd name="connsiteY21" fmla="*/ 447157 h 825925"/>
              <a:gd name="connsiteX22" fmla="*/ 874930 w 1106819"/>
              <a:gd name="connsiteY22" fmla="*/ 443868 h 825925"/>
              <a:gd name="connsiteX23" fmla="*/ 848616 w 1106819"/>
              <a:gd name="connsiteY23" fmla="*/ 437290 h 825925"/>
              <a:gd name="connsiteX24" fmla="*/ 838749 w 1106819"/>
              <a:gd name="connsiteY24" fmla="*/ 434000 h 825925"/>
              <a:gd name="connsiteX25" fmla="*/ 835459 w 1106819"/>
              <a:gd name="connsiteY25" fmla="*/ 410976 h 825925"/>
              <a:gd name="connsiteX26" fmla="*/ 838749 w 1106819"/>
              <a:gd name="connsiteY26" fmla="*/ 401108 h 825925"/>
              <a:gd name="connsiteX27" fmla="*/ 858484 w 1106819"/>
              <a:gd name="connsiteY27" fmla="*/ 394530 h 825925"/>
              <a:gd name="connsiteX28" fmla="*/ 868351 w 1106819"/>
              <a:gd name="connsiteY28" fmla="*/ 391241 h 825925"/>
              <a:gd name="connsiteX29" fmla="*/ 884798 w 1106819"/>
              <a:gd name="connsiteY29" fmla="*/ 381373 h 825925"/>
              <a:gd name="connsiteX30" fmla="*/ 904533 w 1106819"/>
              <a:gd name="connsiteY30" fmla="*/ 371506 h 825925"/>
              <a:gd name="connsiteX31" fmla="*/ 920979 w 1106819"/>
              <a:gd name="connsiteY31" fmla="*/ 348481 h 825925"/>
              <a:gd name="connsiteX32" fmla="*/ 924268 w 1106819"/>
              <a:gd name="connsiteY32" fmla="*/ 259672 h 825925"/>
              <a:gd name="connsiteX33" fmla="*/ 927557 w 1106819"/>
              <a:gd name="connsiteY33" fmla="*/ 249805 h 825925"/>
              <a:gd name="connsiteX34" fmla="*/ 924268 w 1106819"/>
              <a:gd name="connsiteY34" fmla="*/ 184021 h 825925"/>
              <a:gd name="connsiteX35" fmla="*/ 917690 w 1106819"/>
              <a:gd name="connsiteY35" fmla="*/ 177442 h 825925"/>
              <a:gd name="connsiteX36" fmla="*/ 897954 w 1106819"/>
              <a:gd name="connsiteY36" fmla="*/ 170864 h 825925"/>
              <a:gd name="connsiteX37" fmla="*/ 888087 w 1106819"/>
              <a:gd name="connsiteY37" fmla="*/ 167575 h 825925"/>
              <a:gd name="connsiteX38" fmla="*/ 878219 w 1106819"/>
              <a:gd name="connsiteY38" fmla="*/ 164285 h 825925"/>
              <a:gd name="connsiteX39" fmla="*/ 868351 w 1106819"/>
              <a:gd name="connsiteY39" fmla="*/ 160996 h 825925"/>
              <a:gd name="connsiteX40" fmla="*/ 848616 w 1106819"/>
              <a:gd name="connsiteY40" fmla="*/ 121526 h 825925"/>
              <a:gd name="connsiteX41" fmla="*/ 845327 w 1106819"/>
              <a:gd name="connsiteY41" fmla="*/ 111658 h 825925"/>
              <a:gd name="connsiteX42" fmla="*/ 842038 w 1106819"/>
              <a:gd name="connsiteY42" fmla="*/ 88634 h 825925"/>
              <a:gd name="connsiteX43" fmla="*/ 838749 w 1106819"/>
              <a:gd name="connsiteY43" fmla="*/ 6403 h 825925"/>
              <a:gd name="connsiteX44" fmla="*/ 819013 w 1106819"/>
              <a:gd name="connsiteY44" fmla="*/ 9693 h 825925"/>
              <a:gd name="connsiteX45" fmla="*/ 799278 w 1106819"/>
              <a:gd name="connsiteY45" fmla="*/ 6403 h 825925"/>
              <a:gd name="connsiteX46" fmla="*/ 792700 w 1106819"/>
              <a:gd name="connsiteY46" fmla="*/ 12982 h 825925"/>
              <a:gd name="connsiteX47" fmla="*/ 782832 w 1106819"/>
              <a:gd name="connsiteY47" fmla="*/ 16271 h 825925"/>
              <a:gd name="connsiteX48" fmla="*/ 749940 w 1106819"/>
              <a:gd name="connsiteY48" fmla="*/ 19560 h 825925"/>
              <a:gd name="connsiteX49" fmla="*/ 740072 w 1106819"/>
              <a:gd name="connsiteY49" fmla="*/ 22849 h 825925"/>
              <a:gd name="connsiteX50" fmla="*/ 733494 w 1106819"/>
              <a:gd name="connsiteY50" fmla="*/ 29428 h 825925"/>
              <a:gd name="connsiteX51" fmla="*/ 743362 w 1106819"/>
              <a:gd name="connsiteY51" fmla="*/ 45874 h 825925"/>
              <a:gd name="connsiteX52" fmla="*/ 749940 w 1106819"/>
              <a:gd name="connsiteY52" fmla="*/ 55741 h 825925"/>
              <a:gd name="connsiteX53" fmla="*/ 756518 w 1106819"/>
              <a:gd name="connsiteY53" fmla="*/ 78766 h 825925"/>
              <a:gd name="connsiteX54" fmla="*/ 763097 w 1106819"/>
              <a:gd name="connsiteY54" fmla="*/ 88634 h 825925"/>
              <a:gd name="connsiteX55" fmla="*/ 766386 w 1106819"/>
              <a:gd name="connsiteY55" fmla="*/ 111658 h 825925"/>
              <a:gd name="connsiteX56" fmla="*/ 772964 w 1106819"/>
              <a:gd name="connsiteY56" fmla="*/ 121526 h 825925"/>
              <a:gd name="connsiteX57" fmla="*/ 766386 w 1106819"/>
              <a:gd name="connsiteY57" fmla="*/ 131393 h 825925"/>
              <a:gd name="connsiteX58" fmla="*/ 743362 w 1106819"/>
              <a:gd name="connsiteY58" fmla="*/ 147839 h 825925"/>
              <a:gd name="connsiteX59" fmla="*/ 717048 w 1106819"/>
              <a:gd name="connsiteY59" fmla="*/ 167575 h 825925"/>
              <a:gd name="connsiteX60" fmla="*/ 710469 w 1106819"/>
              <a:gd name="connsiteY60" fmla="*/ 174153 h 825925"/>
              <a:gd name="connsiteX61" fmla="*/ 700602 w 1106819"/>
              <a:gd name="connsiteY61" fmla="*/ 180731 h 825925"/>
              <a:gd name="connsiteX62" fmla="*/ 697313 w 1106819"/>
              <a:gd name="connsiteY62" fmla="*/ 190599 h 825925"/>
              <a:gd name="connsiteX63" fmla="*/ 690734 w 1106819"/>
              <a:gd name="connsiteY63" fmla="*/ 197177 h 825925"/>
              <a:gd name="connsiteX64" fmla="*/ 674288 w 1106819"/>
              <a:gd name="connsiteY64" fmla="*/ 220202 h 825925"/>
              <a:gd name="connsiteX65" fmla="*/ 654553 w 1106819"/>
              <a:gd name="connsiteY65" fmla="*/ 226780 h 825925"/>
              <a:gd name="connsiteX66" fmla="*/ 644685 w 1106819"/>
              <a:gd name="connsiteY66" fmla="*/ 230070 h 825925"/>
              <a:gd name="connsiteX67" fmla="*/ 611793 w 1106819"/>
              <a:gd name="connsiteY67" fmla="*/ 223491 h 825925"/>
              <a:gd name="connsiteX68" fmla="*/ 601926 w 1106819"/>
              <a:gd name="connsiteY68" fmla="*/ 220202 h 825925"/>
              <a:gd name="connsiteX69" fmla="*/ 592058 w 1106819"/>
              <a:gd name="connsiteY69" fmla="*/ 213624 h 825925"/>
              <a:gd name="connsiteX70" fmla="*/ 582190 w 1106819"/>
              <a:gd name="connsiteY70" fmla="*/ 210334 h 825925"/>
              <a:gd name="connsiteX71" fmla="*/ 562455 w 1106819"/>
              <a:gd name="connsiteY71" fmla="*/ 200467 h 825925"/>
              <a:gd name="connsiteX72" fmla="*/ 522985 w 1106819"/>
              <a:gd name="connsiteY72" fmla="*/ 213624 h 825925"/>
              <a:gd name="connsiteX73" fmla="*/ 516406 w 1106819"/>
              <a:gd name="connsiteY73" fmla="*/ 220202 h 825925"/>
              <a:gd name="connsiteX74" fmla="*/ 513117 w 1106819"/>
              <a:gd name="connsiteY74" fmla="*/ 230070 h 825925"/>
              <a:gd name="connsiteX75" fmla="*/ 499960 w 1106819"/>
              <a:gd name="connsiteY75" fmla="*/ 233359 h 825925"/>
              <a:gd name="connsiteX76" fmla="*/ 483514 w 1106819"/>
              <a:gd name="connsiteY76" fmla="*/ 236648 h 825925"/>
              <a:gd name="connsiteX77" fmla="*/ 473646 w 1106819"/>
              <a:gd name="connsiteY77" fmla="*/ 243226 h 825925"/>
              <a:gd name="connsiteX78" fmla="*/ 453911 w 1106819"/>
              <a:gd name="connsiteY78" fmla="*/ 249805 h 825925"/>
              <a:gd name="connsiteX79" fmla="*/ 411151 w 1106819"/>
              <a:gd name="connsiteY79" fmla="*/ 256383 h 825925"/>
              <a:gd name="connsiteX80" fmla="*/ 365103 w 1106819"/>
              <a:gd name="connsiteY80" fmla="*/ 259672 h 825925"/>
              <a:gd name="connsiteX81" fmla="*/ 312475 w 1106819"/>
              <a:gd name="connsiteY81" fmla="*/ 253094 h 825925"/>
              <a:gd name="connsiteX82" fmla="*/ 292740 w 1106819"/>
              <a:gd name="connsiteY82" fmla="*/ 246516 h 825925"/>
              <a:gd name="connsiteX83" fmla="*/ 200642 w 1106819"/>
              <a:gd name="connsiteY83" fmla="*/ 239937 h 825925"/>
              <a:gd name="connsiteX84" fmla="*/ 187485 w 1106819"/>
              <a:gd name="connsiteY84" fmla="*/ 236648 h 825925"/>
              <a:gd name="connsiteX85" fmla="*/ 180907 w 1106819"/>
              <a:gd name="connsiteY85" fmla="*/ 226780 h 825925"/>
              <a:gd name="connsiteX86" fmla="*/ 174328 w 1106819"/>
              <a:gd name="connsiteY86" fmla="*/ 220202 h 825925"/>
              <a:gd name="connsiteX87" fmla="*/ 151304 w 1106819"/>
              <a:gd name="connsiteY87" fmla="*/ 193888 h 825925"/>
              <a:gd name="connsiteX88" fmla="*/ 62495 w 1106819"/>
              <a:gd name="connsiteY88" fmla="*/ 197177 h 825925"/>
              <a:gd name="connsiteX89" fmla="*/ 55917 w 1106819"/>
              <a:gd name="connsiteY89" fmla="*/ 203756 h 825925"/>
              <a:gd name="connsiteX90" fmla="*/ 46049 w 1106819"/>
              <a:gd name="connsiteY90" fmla="*/ 210334 h 825925"/>
              <a:gd name="connsiteX91" fmla="*/ 36182 w 1106819"/>
              <a:gd name="connsiteY91" fmla="*/ 239937 h 825925"/>
              <a:gd name="connsiteX92" fmla="*/ 32892 w 1106819"/>
              <a:gd name="connsiteY92" fmla="*/ 249805 h 825925"/>
              <a:gd name="connsiteX93" fmla="*/ 29603 w 1106819"/>
              <a:gd name="connsiteY93" fmla="*/ 259672 h 825925"/>
              <a:gd name="connsiteX94" fmla="*/ 23025 w 1106819"/>
              <a:gd name="connsiteY94" fmla="*/ 266251 h 825925"/>
              <a:gd name="connsiteX95" fmla="*/ 16446 w 1106819"/>
              <a:gd name="connsiteY95" fmla="*/ 285986 h 825925"/>
              <a:gd name="connsiteX96" fmla="*/ 13157 w 1106819"/>
              <a:gd name="connsiteY96" fmla="*/ 295854 h 825925"/>
              <a:gd name="connsiteX97" fmla="*/ 9868 w 1106819"/>
              <a:gd name="connsiteY97" fmla="*/ 312300 h 825925"/>
              <a:gd name="connsiteX98" fmla="*/ 3290 w 1106819"/>
              <a:gd name="connsiteY98" fmla="*/ 332035 h 825925"/>
              <a:gd name="connsiteX99" fmla="*/ 0 w 1106819"/>
              <a:gd name="connsiteY99" fmla="*/ 341903 h 825925"/>
              <a:gd name="connsiteX100" fmla="*/ 3290 w 1106819"/>
              <a:gd name="connsiteY100" fmla="*/ 358349 h 825925"/>
              <a:gd name="connsiteX101" fmla="*/ 6579 w 1106819"/>
              <a:gd name="connsiteY101" fmla="*/ 368216 h 825925"/>
              <a:gd name="connsiteX102" fmla="*/ 59206 w 1106819"/>
              <a:gd name="connsiteY102" fmla="*/ 378084 h 825925"/>
              <a:gd name="connsiteX103" fmla="*/ 62495 w 1106819"/>
              <a:gd name="connsiteY103" fmla="*/ 387952 h 825925"/>
              <a:gd name="connsiteX104" fmla="*/ 65785 w 1106819"/>
              <a:gd name="connsiteY104" fmla="*/ 414265 h 825925"/>
              <a:gd name="connsiteX105" fmla="*/ 75652 w 1106819"/>
              <a:gd name="connsiteY105" fmla="*/ 417554 h 825925"/>
              <a:gd name="connsiteX106" fmla="*/ 101966 w 1106819"/>
              <a:gd name="connsiteY106" fmla="*/ 430711 h 825925"/>
              <a:gd name="connsiteX107" fmla="*/ 121701 w 1106819"/>
              <a:gd name="connsiteY107" fmla="*/ 437290 h 825925"/>
              <a:gd name="connsiteX108" fmla="*/ 131569 w 1106819"/>
              <a:gd name="connsiteY108" fmla="*/ 440579 h 825925"/>
              <a:gd name="connsiteX109" fmla="*/ 154593 w 1106819"/>
              <a:gd name="connsiteY109" fmla="*/ 447157 h 825925"/>
              <a:gd name="connsiteX110" fmla="*/ 157882 w 1106819"/>
              <a:gd name="connsiteY110" fmla="*/ 476760 h 825925"/>
              <a:gd name="connsiteX111" fmla="*/ 174328 w 1106819"/>
              <a:gd name="connsiteY111" fmla="*/ 493206 h 825925"/>
              <a:gd name="connsiteX112" fmla="*/ 180907 w 1106819"/>
              <a:gd name="connsiteY112" fmla="*/ 499785 h 825925"/>
              <a:gd name="connsiteX113" fmla="*/ 200642 w 1106819"/>
              <a:gd name="connsiteY113" fmla="*/ 512941 h 825925"/>
              <a:gd name="connsiteX114" fmla="*/ 217088 w 1106819"/>
              <a:gd name="connsiteY114" fmla="*/ 522809 h 825925"/>
              <a:gd name="connsiteX115" fmla="*/ 223667 w 1106819"/>
              <a:gd name="connsiteY115" fmla="*/ 529388 h 825925"/>
              <a:gd name="connsiteX116" fmla="*/ 233534 w 1106819"/>
              <a:gd name="connsiteY116" fmla="*/ 535966 h 825925"/>
              <a:gd name="connsiteX117" fmla="*/ 253269 w 1106819"/>
              <a:gd name="connsiteY117" fmla="*/ 558990 h 825925"/>
              <a:gd name="connsiteX118" fmla="*/ 259848 w 1106819"/>
              <a:gd name="connsiteY118" fmla="*/ 578726 h 825925"/>
              <a:gd name="connsiteX119" fmla="*/ 263137 w 1106819"/>
              <a:gd name="connsiteY119" fmla="*/ 588593 h 825925"/>
              <a:gd name="connsiteX120" fmla="*/ 279583 w 1106819"/>
              <a:gd name="connsiteY120" fmla="*/ 601750 h 825925"/>
              <a:gd name="connsiteX121" fmla="*/ 286162 w 1106819"/>
              <a:gd name="connsiteY121" fmla="*/ 608329 h 825925"/>
              <a:gd name="connsiteX122" fmla="*/ 305897 w 1106819"/>
              <a:gd name="connsiteY122" fmla="*/ 618196 h 825925"/>
              <a:gd name="connsiteX123" fmla="*/ 312475 w 1106819"/>
              <a:gd name="connsiteY123" fmla="*/ 624775 h 825925"/>
              <a:gd name="connsiteX124" fmla="*/ 322343 w 1106819"/>
              <a:gd name="connsiteY124" fmla="*/ 628064 h 825925"/>
              <a:gd name="connsiteX125" fmla="*/ 332210 w 1106819"/>
              <a:gd name="connsiteY125" fmla="*/ 634642 h 825925"/>
              <a:gd name="connsiteX126" fmla="*/ 338789 w 1106819"/>
              <a:gd name="connsiteY126" fmla="*/ 654377 h 825925"/>
              <a:gd name="connsiteX127" fmla="*/ 348657 w 1106819"/>
              <a:gd name="connsiteY127" fmla="*/ 697137 h 825925"/>
              <a:gd name="connsiteX128" fmla="*/ 365103 w 1106819"/>
              <a:gd name="connsiteY128" fmla="*/ 710294 h 825925"/>
              <a:gd name="connsiteX129" fmla="*/ 381549 w 1106819"/>
              <a:gd name="connsiteY129" fmla="*/ 726740 h 825925"/>
              <a:gd name="connsiteX130" fmla="*/ 391416 w 1106819"/>
              <a:gd name="connsiteY130" fmla="*/ 736608 h 825925"/>
              <a:gd name="connsiteX131" fmla="*/ 394705 w 1106819"/>
              <a:gd name="connsiteY131" fmla="*/ 746475 h 825925"/>
              <a:gd name="connsiteX132" fmla="*/ 397995 w 1106819"/>
              <a:gd name="connsiteY132" fmla="*/ 766211 h 825925"/>
              <a:gd name="connsiteX133" fmla="*/ 407862 w 1106819"/>
              <a:gd name="connsiteY133" fmla="*/ 772789 h 825925"/>
              <a:gd name="connsiteX134" fmla="*/ 430887 w 1106819"/>
              <a:gd name="connsiteY134" fmla="*/ 769500 h 825925"/>
              <a:gd name="connsiteX135" fmla="*/ 444044 w 1106819"/>
              <a:gd name="connsiteY135" fmla="*/ 756343 h 825925"/>
              <a:gd name="connsiteX136" fmla="*/ 453911 w 1106819"/>
              <a:gd name="connsiteY136" fmla="*/ 753054 h 825925"/>
              <a:gd name="connsiteX137" fmla="*/ 476936 w 1106819"/>
              <a:gd name="connsiteY137" fmla="*/ 756343 h 825925"/>
              <a:gd name="connsiteX138" fmla="*/ 493382 w 1106819"/>
              <a:gd name="connsiteY138" fmla="*/ 759632 h 825925"/>
              <a:gd name="connsiteX139" fmla="*/ 509828 w 1106819"/>
              <a:gd name="connsiteY139" fmla="*/ 756343 h 825925"/>
              <a:gd name="connsiteX140" fmla="*/ 516406 w 1106819"/>
              <a:gd name="connsiteY140" fmla="*/ 746475 h 825925"/>
              <a:gd name="connsiteX141" fmla="*/ 559166 w 1106819"/>
              <a:gd name="connsiteY141" fmla="*/ 743186 h 825925"/>
              <a:gd name="connsiteX142" fmla="*/ 575612 w 1106819"/>
              <a:gd name="connsiteY142" fmla="*/ 769500 h 825925"/>
              <a:gd name="connsiteX143" fmla="*/ 575612 w 1106819"/>
              <a:gd name="connsiteY143" fmla="*/ 769500 h 825925"/>
              <a:gd name="connsiteX144" fmla="*/ 585480 w 1106819"/>
              <a:gd name="connsiteY144" fmla="*/ 779367 h 825925"/>
              <a:gd name="connsiteX145" fmla="*/ 598636 w 1106819"/>
              <a:gd name="connsiteY145" fmla="*/ 799103 h 825925"/>
              <a:gd name="connsiteX146" fmla="*/ 618372 w 1106819"/>
              <a:gd name="connsiteY146" fmla="*/ 805681 h 825925"/>
              <a:gd name="connsiteX147" fmla="*/ 634818 w 1106819"/>
              <a:gd name="connsiteY147" fmla="*/ 818838 h 825925"/>
              <a:gd name="connsiteX148" fmla="*/ 644685 w 1106819"/>
              <a:gd name="connsiteY148" fmla="*/ 825416 h 825925"/>
              <a:gd name="connsiteX149" fmla="*/ 657842 w 1106819"/>
              <a:gd name="connsiteY149" fmla="*/ 822127 h 825925"/>
              <a:gd name="connsiteX150" fmla="*/ 667710 w 1106819"/>
              <a:gd name="connsiteY150" fmla="*/ 815549 h 825925"/>
              <a:gd name="connsiteX151" fmla="*/ 677577 w 1106819"/>
              <a:gd name="connsiteY151" fmla="*/ 812259 h 825925"/>
              <a:gd name="connsiteX152" fmla="*/ 736783 w 1106819"/>
              <a:gd name="connsiteY152" fmla="*/ 815549 h 825925"/>
              <a:gd name="connsiteX153" fmla="*/ 749940 w 1106819"/>
              <a:gd name="connsiteY153" fmla="*/ 818838 h 825925"/>
              <a:gd name="connsiteX154" fmla="*/ 786121 w 1106819"/>
              <a:gd name="connsiteY154" fmla="*/ 815549 h 825925"/>
              <a:gd name="connsiteX155" fmla="*/ 845327 w 1106819"/>
              <a:gd name="connsiteY155" fmla="*/ 812259 h 825925"/>
              <a:gd name="connsiteX156" fmla="*/ 855195 w 1106819"/>
              <a:gd name="connsiteY156" fmla="*/ 805681 h 825925"/>
              <a:gd name="connsiteX157" fmla="*/ 865062 w 1106819"/>
              <a:gd name="connsiteY157" fmla="*/ 795813 h 825925"/>
              <a:gd name="connsiteX158" fmla="*/ 874930 w 1106819"/>
              <a:gd name="connsiteY158" fmla="*/ 792524 h 825925"/>
              <a:gd name="connsiteX159" fmla="*/ 894665 w 1106819"/>
              <a:gd name="connsiteY159" fmla="*/ 782657 h 825925"/>
              <a:gd name="connsiteX160" fmla="*/ 901244 w 1106819"/>
              <a:gd name="connsiteY160" fmla="*/ 776078 h 825925"/>
              <a:gd name="connsiteX161" fmla="*/ 914400 w 1106819"/>
              <a:gd name="connsiteY161" fmla="*/ 746475 h 825925"/>
              <a:gd name="connsiteX162" fmla="*/ 934136 w 1106819"/>
              <a:gd name="connsiteY162" fmla="*/ 739897 h 825925"/>
              <a:gd name="connsiteX163" fmla="*/ 944003 w 1106819"/>
              <a:gd name="connsiteY163" fmla="*/ 733318 h 825925"/>
              <a:gd name="connsiteX164" fmla="*/ 960449 w 1106819"/>
              <a:gd name="connsiteY164" fmla="*/ 720162 h 825925"/>
              <a:gd name="connsiteX165" fmla="*/ 970317 w 1106819"/>
              <a:gd name="connsiteY165" fmla="*/ 716872 h 825925"/>
              <a:gd name="connsiteX166" fmla="*/ 1088728 w 1106819"/>
              <a:gd name="connsiteY166" fmla="*/ 713583 h 825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</a:cxnLst>
            <a:rect l="l" t="t" r="r" b="b"/>
            <a:pathLst>
              <a:path w="1106819" h="825925">
                <a:moveTo>
                  <a:pt x="1088728" y="713583"/>
                </a:moveTo>
                <a:cubicBezTo>
                  <a:pt x="1106819" y="704812"/>
                  <a:pt x="1088579" y="693400"/>
                  <a:pt x="1078861" y="664245"/>
                </a:cubicBezTo>
                <a:cubicBezTo>
                  <a:pt x="1076694" y="657743"/>
                  <a:pt x="1074791" y="649148"/>
                  <a:pt x="1068993" y="644510"/>
                </a:cubicBezTo>
                <a:cubicBezTo>
                  <a:pt x="1066286" y="642344"/>
                  <a:pt x="1062459" y="642174"/>
                  <a:pt x="1059126" y="641221"/>
                </a:cubicBezTo>
                <a:cubicBezTo>
                  <a:pt x="1024321" y="631276"/>
                  <a:pt x="1073144" y="646989"/>
                  <a:pt x="1026234" y="631353"/>
                </a:cubicBezTo>
                <a:lnTo>
                  <a:pt x="1016366" y="628064"/>
                </a:lnTo>
                <a:cubicBezTo>
                  <a:pt x="1004753" y="616451"/>
                  <a:pt x="1012344" y="626475"/>
                  <a:pt x="1006498" y="605039"/>
                </a:cubicBezTo>
                <a:cubicBezTo>
                  <a:pt x="1004674" y="598349"/>
                  <a:pt x="1002113" y="591882"/>
                  <a:pt x="999920" y="585304"/>
                </a:cubicBezTo>
                <a:lnTo>
                  <a:pt x="993341" y="565569"/>
                </a:lnTo>
                <a:lnTo>
                  <a:pt x="986763" y="558990"/>
                </a:lnTo>
                <a:lnTo>
                  <a:pt x="980185" y="539255"/>
                </a:lnTo>
                <a:cubicBezTo>
                  <a:pt x="979089" y="535966"/>
                  <a:pt x="979346" y="531840"/>
                  <a:pt x="976895" y="529388"/>
                </a:cubicBezTo>
                <a:cubicBezTo>
                  <a:pt x="974702" y="527195"/>
                  <a:pt x="972254" y="525231"/>
                  <a:pt x="970317" y="522809"/>
                </a:cubicBezTo>
                <a:cubicBezTo>
                  <a:pt x="967217" y="518933"/>
                  <a:pt x="962457" y="509011"/>
                  <a:pt x="957160" y="506363"/>
                </a:cubicBezTo>
                <a:cubicBezTo>
                  <a:pt x="953117" y="504341"/>
                  <a:pt x="948389" y="504170"/>
                  <a:pt x="944003" y="503074"/>
                </a:cubicBezTo>
                <a:cubicBezTo>
                  <a:pt x="941810" y="500881"/>
                  <a:pt x="939847" y="498432"/>
                  <a:pt x="937425" y="496495"/>
                </a:cubicBezTo>
                <a:cubicBezTo>
                  <a:pt x="934338" y="494025"/>
                  <a:pt x="930352" y="492712"/>
                  <a:pt x="927557" y="489917"/>
                </a:cubicBezTo>
                <a:cubicBezTo>
                  <a:pt x="924762" y="487122"/>
                  <a:pt x="923449" y="483136"/>
                  <a:pt x="920979" y="480049"/>
                </a:cubicBezTo>
                <a:cubicBezTo>
                  <a:pt x="919042" y="477627"/>
                  <a:pt x="916337" y="475893"/>
                  <a:pt x="914400" y="473471"/>
                </a:cubicBezTo>
                <a:cubicBezTo>
                  <a:pt x="911930" y="470384"/>
                  <a:pt x="909590" y="467139"/>
                  <a:pt x="907822" y="463603"/>
                </a:cubicBezTo>
                <a:cubicBezTo>
                  <a:pt x="906272" y="460502"/>
                  <a:pt x="907354" y="455751"/>
                  <a:pt x="904533" y="453736"/>
                </a:cubicBezTo>
                <a:cubicBezTo>
                  <a:pt x="898890" y="449706"/>
                  <a:pt x="891376" y="449350"/>
                  <a:pt x="884798" y="447157"/>
                </a:cubicBezTo>
                <a:cubicBezTo>
                  <a:pt x="881509" y="446061"/>
                  <a:pt x="878294" y="444709"/>
                  <a:pt x="874930" y="443868"/>
                </a:cubicBezTo>
                <a:cubicBezTo>
                  <a:pt x="866159" y="441675"/>
                  <a:pt x="857193" y="440150"/>
                  <a:pt x="848616" y="437290"/>
                </a:cubicBezTo>
                <a:lnTo>
                  <a:pt x="838749" y="434000"/>
                </a:lnTo>
                <a:cubicBezTo>
                  <a:pt x="828649" y="423902"/>
                  <a:pt x="830782" y="429683"/>
                  <a:pt x="835459" y="410976"/>
                </a:cubicBezTo>
                <a:cubicBezTo>
                  <a:pt x="836300" y="407612"/>
                  <a:pt x="835927" y="403123"/>
                  <a:pt x="838749" y="401108"/>
                </a:cubicBezTo>
                <a:cubicBezTo>
                  <a:pt x="844392" y="397078"/>
                  <a:pt x="851906" y="396723"/>
                  <a:pt x="858484" y="394530"/>
                </a:cubicBezTo>
                <a:lnTo>
                  <a:pt x="868351" y="391241"/>
                </a:lnTo>
                <a:cubicBezTo>
                  <a:pt x="881201" y="378391"/>
                  <a:pt x="867718" y="389913"/>
                  <a:pt x="884798" y="381373"/>
                </a:cubicBezTo>
                <a:cubicBezTo>
                  <a:pt x="910303" y="368621"/>
                  <a:pt x="879729" y="379773"/>
                  <a:pt x="904533" y="371506"/>
                </a:cubicBezTo>
                <a:cubicBezTo>
                  <a:pt x="920142" y="355897"/>
                  <a:pt x="915729" y="364233"/>
                  <a:pt x="920979" y="348481"/>
                </a:cubicBezTo>
                <a:cubicBezTo>
                  <a:pt x="922075" y="318878"/>
                  <a:pt x="922298" y="289230"/>
                  <a:pt x="924268" y="259672"/>
                </a:cubicBezTo>
                <a:cubicBezTo>
                  <a:pt x="924499" y="256213"/>
                  <a:pt x="927557" y="253272"/>
                  <a:pt x="927557" y="249805"/>
                </a:cubicBezTo>
                <a:cubicBezTo>
                  <a:pt x="927557" y="227850"/>
                  <a:pt x="927234" y="205775"/>
                  <a:pt x="924268" y="184021"/>
                </a:cubicBezTo>
                <a:cubicBezTo>
                  <a:pt x="923849" y="180948"/>
                  <a:pt x="920464" y="178829"/>
                  <a:pt x="917690" y="177442"/>
                </a:cubicBezTo>
                <a:cubicBezTo>
                  <a:pt x="911488" y="174341"/>
                  <a:pt x="904533" y="173057"/>
                  <a:pt x="897954" y="170864"/>
                </a:cubicBezTo>
                <a:lnTo>
                  <a:pt x="888087" y="167575"/>
                </a:lnTo>
                <a:lnTo>
                  <a:pt x="878219" y="164285"/>
                </a:lnTo>
                <a:lnTo>
                  <a:pt x="868351" y="160996"/>
                </a:lnTo>
                <a:cubicBezTo>
                  <a:pt x="851350" y="135493"/>
                  <a:pt x="857694" y="148759"/>
                  <a:pt x="848616" y="121526"/>
                </a:cubicBezTo>
                <a:lnTo>
                  <a:pt x="845327" y="111658"/>
                </a:lnTo>
                <a:cubicBezTo>
                  <a:pt x="844231" y="103983"/>
                  <a:pt x="842522" y="96371"/>
                  <a:pt x="842038" y="88634"/>
                </a:cubicBezTo>
                <a:cubicBezTo>
                  <a:pt x="840327" y="61255"/>
                  <a:pt x="846430" y="32738"/>
                  <a:pt x="838749" y="6403"/>
                </a:cubicBezTo>
                <a:cubicBezTo>
                  <a:pt x="836882" y="0"/>
                  <a:pt x="825592" y="8596"/>
                  <a:pt x="819013" y="9693"/>
                </a:cubicBezTo>
                <a:cubicBezTo>
                  <a:pt x="812435" y="8596"/>
                  <a:pt x="805896" y="5576"/>
                  <a:pt x="799278" y="6403"/>
                </a:cubicBezTo>
                <a:cubicBezTo>
                  <a:pt x="796201" y="6788"/>
                  <a:pt x="795359" y="11386"/>
                  <a:pt x="792700" y="12982"/>
                </a:cubicBezTo>
                <a:cubicBezTo>
                  <a:pt x="789727" y="14766"/>
                  <a:pt x="786259" y="15744"/>
                  <a:pt x="782832" y="16271"/>
                </a:cubicBezTo>
                <a:cubicBezTo>
                  <a:pt x="771941" y="17946"/>
                  <a:pt x="760904" y="18464"/>
                  <a:pt x="749940" y="19560"/>
                </a:cubicBezTo>
                <a:cubicBezTo>
                  <a:pt x="746651" y="20656"/>
                  <a:pt x="743045" y="21065"/>
                  <a:pt x="740072" y="22849"/>
                </a:cubicBezTo>
                <a:cubicBezTo>
                  <a:pt x="737413" y="24445"/>
                  <a:pt x="734102" y="26387"/>
                  <a:pt x="733494" y="29428"/>
                </a:cubicBezTo>
                <a:cubicBezTo>
                  <a:pt x="731895" y="37425"/>
                  <a:pt x="739582" y="41149"/>
                  <a:pt x="743362" y="45874"/>
                </a:cubicBezTo>
                <a:cubicBezTo>
                  <a:pt x="745831" y="48961"/>
                  <a:pt x="747747" y="52452"/>
                  <a:pt x="749940" y="55741"/>
                </a:cubicBezTo>
                <a:cubicBezTo>
                  <a:pt x="750993" y="59955"/>
                  <a:pt x="754159" y="74048"/>
                  <a:pt x="756518" y="78766"/>
                </a:cubicBezTo>
                <a:cubicBezTo>
                  <a:pt x="758286" y="82302"/>
                  <a:pt x="760904" y="85345"/>
                  <a:pt x="763097" y="88634"/>
                </a:cubicBezTo>
                <a:cubicBezTo>
                  <a:pt x="764193" y="96309"/>
                  <a:pt x="764158" y="104232"/>
                  <a:pt x="766386" y="111658"/>
                </a:cubicBezTo>
                <a:cubicBezTo>
                  <a:pt x="767522" y="115444"/>
                  <a:pt x="772964" y="117573"/>
                  <a:pt x="772964" y="121526"/>
                </a:cubicBezTo>
                <a:cubicBezTo>
                  <a:pt x="772964" y="125479"/>
                  <a:pt x="768959" y="128392"/>
                  <a:pt x="766386" y="131393"/>
                </a:cubicBezTo>
                <a:cubicBezTo>
                  <a:pt x="753899" y="145961"/>
                  <a:pt x="757368" y="143170"/>
                  <a:pt x="743362" y="147839"/>
                </a:cubicBezTo>
                <a:cubicBezTo>
                  <a:pt x="724464" y="166737"/>
                  <a:pt x="734271" y="161833"/>
                  <a:pt x="717048" y="167575"/>
                </a:cubicBezTo>
                <a:cubicBezTo>
                  <a:pt x="714855" y="169768"/>
                  <a:pt x="712891" y="172216"/>
                  <a:pt x="710469" y="174153"/>
                </a:cubicBezTo>
                <a:cubicBezTo>
                  <a:pt x="707382" y="176622"/>
                  <a:pt x="703071" y="177644"/>
                  <a:pt x="700602" y="180731"/>
                </a:cubicBezTo>
                <a:cubicBezTo>
                  <a:pt x="698436" y="183439"/>
                  <a:pt x="699097" y="187626"/>
                  <a:pt x="697313" y="190599"/>
                </a:cubicBezTo>
                <a:cubicBezTo>
                  <a:pt x="695717" y="193258"/>
                  <a:pt x="692927" y="194984"/>
                  <a:pt x="690734" y="197177"/>
                </a:cubicBezTo>
                <a:cubicBezTo>
                  <a:pt x="687665" y="206385"/>
                  <a:pt x="685995" y="216300"/>
                  <a:pt x="674288" y="220202"/>
                </a:cubicBezTo>
                <a:lnTo>
                  <a:pt x="654553" y="226780"/>
                </a:lnTo>
                <a:lnTo>
                  <a:pt x="644685" y="230070"/>
                </a:lnTo>
                <a:cubicBezTo>
                  <a:pt x="629183" y="227486"/>
                  <a:pt x="625528" y="227415"/>
                  <a:pt x="611793" y="223491"/>
                </a:cubicBezTo>
                <a:cubicBezTo>
                  <a:pt x="608459" y="222539"/>
                  <a:pt x="605027" y="221752"/>
                  <a:pt x="601926" y="220202"/>
                </a:cubicBezTo>
                <a:cubicBezTo>
                  <a:pt x="598390" y="218434"/>
                  <a:pt x="595594" y="215392"/>
                  <a:pt x="592058" y="213624"/>
                </a:cubicBezTo>
                <a:cubicBezTo>
                  <a:pt x="588957" y="212073"/>
                  <a:pt x="585291" y="211885"/>
                  <a:pt x="582190" y="210334"/>
                </a:cubicBezTo>
                <a:cubicBezTo>
                  <a:pt x="556693" y="197585"/>
                  <a:pt x="587253" y="208732"/>
                  <a:pt x="562455" y="200467"/>
                </a:cubicBezTo>
                <a:cubicBezTo>
                  <a:pt x="501777" y="205983"/>
                  <a:pt x="536128" y="191720"/>
                  <a:pt x="522985" y="213624"/>
                </a:cubicBezTo>
                <a:cubicBezTo>
                  <a:pt x="521389" y="216283"/>
                  <a:pt x="518599" y="218009"/>
                  <a:pt x="516406" y="220202"/>
                </a:cubicBezTo>
                <a:cubicBezTo>
                  <a:pt x="515310" y="223491"/>
                  <a:pt x="515824" y="227904"/>
                  <a:pt x="513117" y="230070"/>
                </a:cubicBezTo>
                <a:cubicBezTo>
                  <a:pt x="509587" y="232894"/>
                  <a:pt x="504373" y="232378"/>
                  <a:pt x="499960" y="233359"/>
                </a:cubicBezTo>
                <a:cubicBezTo>
                  <a:pt x="494503" y="234572"/>
                  <a:pt x="488996" y="235552"/>
                  <a:pt x="483514" y="236648"/>
                </a:cubicBezTo>
                <a:cubicBezTo>
                  <a:pt x="480225" y="238841"/>
                  <a:pt x="477258" y="241620"/>
                  <a:pt x="473646" y="243226"/>
                </a:cubicBezTo>
                <a:cubicBezTo>
                  <a:pt x="467309" y="246042"/>
                  <a:pt x="460489" y="247612"/>
                  <a:pt x="453911" y="249805"/>
                </a:cubicBezTo>
                <a:cubicBezTo>
                  <a:pt x="434354" y="256324"/>
                  <a:pt x="445066" y="253557"/>
                  <a:pt x="411151" y="256383"/>
                </a:cubicBezTo>
                <a:cubicBezTo>
                  <a:pt x="395816" y="257661"/>
                  <a:pt x="380452" y="258576"/>
                  <a:pt x="365103" y="259672"/>
                </a:cubicBezTo>
                <a:cubicBezTo>
                  <a:pt x="353665" y="258528"/>
                  <a:pt x="326077" y="256494"/>
                  <a:pt x="312475" y="253094"/>
                </a:cubicBezTo>
                <a:cubicBezTo>
                  <a:pt x="305748" y="251412"/>
                  <a:pt x="299659" y="246977"/>
                  <a:pt x="292740" y="246516"/>
                </a:cubicBezTo>
                <a:lnTo>
                  <a:pt x="200642" y="239937"/>
                </a:lnTo>
                <a:cubicBezTo>
                  <a:pt x="196256" y="238841"/>
                  <a:pt x="191246" y="239156"/>
                  <a:pt x="187485" y="236648"/>
                </a:cubicBezTo>
                <a:cubicBezTo>
                  <a:pt x="184196" y="234455"/>
                  <a:pt x="183377" y="229867"/>
                  <a:pt x="180907" y="226780"/>
                </a:cubicBezTo>
                <a:cubicBezTo>
                  <a:pt x="178970" y="224358"/>
                  <a:pt x="176189" y="222683"/>
                  <a:pt x="174328" y="220202"/>
                </a:cubicBezTo>
                <a:cubicBezTo>
                  <a:pt x="155140" y="194618"/>
                  <a:pt x="169670" y="206133"/>
                  <a:pt x="151304" y="193888"/>
                </a:cubicBezTo>
                <a:cubicBezTo>
                  <a:pt x="121701" y="194984"/>
                  <a:pt x="91961" y="194129"/>
                  <a:pt x="62495" y="197177"/>
                </a:cubicBezTo>
                <a:cubicBezTo>
                  <a:pt x="59410" y="197496"/>
                  <a:pt x="58339" y="201819"/>
                  <a:pt x="55917" y="203756"/>
                </a:cubicBezTo>
                <a:cubicBezTo>
                  <a:pt x="52830" y="206226"/>
                  <a:pt x="49338" y="208141"/>
                  <a:pt x="46049" y="210334"/>
                </a:cubicBezTo>
                <a:lnTo>
                  <a:pt x="36182" y="239937"/>
                </a:lnTo>
                <a:lnTo>
                  <a:pt x="32892" y="249805"/>
                </a:lnTo>
                <a:cubicBezTo>
                  <a:pt x="31796" y="253094"/>
                  <a:pt x="32054" y="257220"/>
                  <a:pt x="29603" y="259672"/>
                </a:cubicBezTo>
                <a:lnTo>
                  <a:pt x="23025" y="266251"/>
                </a:lnTo>
                <a:lnTo>
                  <a:pt x="16446" y="285986"/>
                </a:lnTo>
                <a:cubicBezTo>
                  <a:pt x="15350" y="289275"/>
                  <a:pt x="13837" y="292454"/>
                  <a:pt x="13157" y="295854"/>
                </a:cubicBezTo>
                <a:cubicBezTo>
                  <a:pt x="12061" y="301336"/>
                  <a:pt x="11339" y="306906"/>
                  <a:pt x="9868" y="312300"/>
                </a:cubicBezTo>
                <a:cubicBezTo>
                  <a:pt x="8044" y="318990"/>
                  <a:pt x="5483" y="325457"/>
                  <a:pt x="3290" y="332035"/>
                </a:cubicBezTo>
                <a:lnTo>
                  <a:pt x="0" y="341903"/>
                </a:lnTo>
                <a:cubicBezTo>
                  <a:pt x="1097" y="347385"/>
                  <a:pt x="1934" y="352925"/>
                  <a:pt x="3290" y="358349"/>
                </a:cubicBezTo>
                <a:cubicBezTo>
                  <a:pt x="4131" y="361712"/>
                  <a:pt x="4413" y="365509"/>
                  <a:pt x="6579" y="368216"/>
                </a:cubicBezTo>
                <a:cubicBezTo>
                  <a:pt x="17520" y="381893"/>
                  <a:pt x="51632" y="377501"/>
                  <a:pt x="59206" y="378084"/>
                </a:cubicBezTo>
                <a:cubicBezTo>
                  <a:pt x="60302" y="381373"/>
                  <a:pt x="61875" y="384541"/>
                  <a:pt x="62495" y="387952"/>
                </a:cubicBezTo>
                <a:cubicBezTo>
                  <a:pt x="64076" y="396649"/>
                  <a:pt x="62195" y="406188"/>
                  <a:pt x="65785" y="414265"/>
                </a:cubicBezTo>
                <a:cubicBezTo>
                  <a:pt x="67193" y="417433"/>
                  <a:pt x="72363" y="416458"/>
                  <a:pt x="75652" y="417554"/>
                </a:cubicBezTo>
                <a:cubicBezTo>
                  <a:pt x="87134" y="429036"/>
                  <a:pt x="79289" y="423152"/>
                  <a:pt x="101966" y="430711"/>
                </a:cubicBezTo>
                <a:lnTo>
                  <a:pt x="121701" y="437290"/>
                </a:lnTo>
                <a:cubicBezTo>
                  <a:pt x="124990" y="438387"/>
                  <a:pt x="128205" y="439738"/>
                  <a:pt x="131569" y="440579"/>
                </a:cubicBezTo>
                <a:cubicBezTo>
                  <a:pt x="148089" y="444709"/>
                  <a:pt x="140437" y="442438"/>
                  <a:pt x="154593" y="447157"/>
                </a:cubicBezTo>
                <a:cubicBezTo>
                  <a:pt x="155689" y="457025"/>
                  <a:pt x="153971" y="467634"/>
                  <a:pt x="157882" y="476760"/>
                </a:cubicBezTo>
                <a:cubicBezTo>
                  <a:pt x="160936" y="483886"/>
                  <a:pt x="168846" y="487724"/>
                  <a:pt x="174328" y="493206"/>
                </a:cubicBezTo>
                <a:cubicBezTo>
                  <a:pt x="176521" y="495399"/>
                  <a:pt x="178326" y="498065"/>
                  <a:pt x="180907" y="499785"/>
                </a:cubicBezTo>
                <a:cubicBezTo>
                  <a:pt x="187485" y="504170"/>
                  <a:pt x="195052" y="507351"/>
                  <a:pt x="200642" y="512941"/>
                </a:cubicBezTo>
                <a:cubicBezTo>
                  <a:pt x="209672" y="521971"/>
                  <a:pt x="204279" y="518539"/>
                  <a:pt x="217088" y="522809"/>
                </a:cubicBezTo>
                <a:cubicBezTo>
                  <a:pt x="219281" y="525002"/>
                  <a:pt x="221245" y="527451"/>
                  <a:pt x="223667" y="529388"/>
                </a:cubicBezTo>
                <a:cubicBezTo>
                  <a:pt x="226754" y="531857"/>
                  <a:pt x="230533" y="533393"/>
                  <a:pt x="233534" y="535966"/>
                </a:cubicBezTo>
                <a:cubicBezTo>
                  <a:pt x="239386" y="540982"/>
                  <a:pt x="249688" y="550932"/>
                  <a:pt x="253269" y="558990"/>
                </a:cubicBezTo>
                <a:cubicBezTo>
                  <a:pt x="256085" y="565327"/>
                  <a:pt x="257655" y="572147"/>
                  <a:pt x="259848" y="578726"/>
                </a:cubicBezTo>
                <a:cubicBezTo>
                  <a:pt x="260944" y="582015"/>
                  <a:pt x="260686" y="586142"/>
                  <a:pt x="263137" y="588593"/>
                </a:cubicBezTo>
                <a:cubicBezTo>
                  <a:pt x="279023" y="604479"/>
                  <a:pt x="258836" y="585152"/>
                  <a:pt x="279583" y="601750"/>
                </a:cubicBezTo>
                <a:cubicBezTo>
                  <a:pt x="282005" y="603687"/>
                  <a:pt x="283740" y="606392"/>
                  <a:pt x="286162" y="608329"/>
                </a:cubicBezTo>
                <a:cubicBezTo>
                  <a:pt x="295271" y="615616"/>
                  <a:pt x="295475" y="614722"/>
                  <a:pt x="305897" y="618196"/>
                </a:cubicBezTo>
                <a:cubicBezTo>
                  <a:pt x="308090" y="620389"/>
                  <a:pt x="309816" y="623179"/>
                  <a:pt x="312475" y="624775"/>
                </a:cubicBezTo>
                <a:cubicBezTo>
                  <a:pt x="315448" y="626559"/>
                  <a:pt x="319242" y="626513"/>
                  <a:pt x="322343" y="628064"/>
                </a:cubicBezTo>
                <a:cubicBezTo>
                  <a:pt x="325879" y="629832"/>
                  <a:pt x="328921" y="632449"/>
                  <a:pt x="332210" y="634642"/>
                </a:cubicBezTo>
                <a:cubicBezTo>
                  <a:pt x="334403" y="641220"/>
                  <a:pt x="338099" y="647477"/>
                  <a:pt x="338789" y="654377"/>
                </a:cubicBezTo>
                <a:cubicBezTo>
                  <a:pt x="341461" y="681104"/>
                  <a:pt x="336327" y="681725"/>
                  <a:pt x="348657" y="697137"/>
                </a:cubicBezTo>
                <a:cubicBezTo>
                  <a:pt x="357212" y="707830"/>
                  <a:pt x="353698" y="700315"/>
                  <a:pt x="365103" y="710294"/>
                </a:cubicBezTo>
                <a:cubicBezTo>
                  <a:pt x="370938" y="715399"/>
                  <a:pt x="376067" y="721258"/>
                  <a:pt x="381549" y="726740"/>
                </a:cubicBezTo>
                <a:lnTo>
                  <a:pt x="391416" y="736608"/>
                </a:lnTo>
                <a:cubicBezTo>
                  <a:pt x="392512" y="739897"/>
                  <a:pt x="393953" y="743091"/>
                  <a:pt x="394705" y="746475"/>
                </a:cubicBezTo>
                <a:cubicBezTo>
                  <a:pt x="396152" y="752986"/>
                  <a:pt x="395012" y="760246"/>
                  <a:pt x="397995" y="766211"/>
                </a:cubicBezTo>
                <a:cubicBezTo>
                  <a:pt x="399763" y="769747"/>
                  <a:pt x="404573" y="770596"/>
                  <a:pt x="407862" y="772789"/>
                </a:cubicBezTo>
                <a:cubicBezTo>
                  <a:pt x="415537" y="771693"/>
                  <a:pt x="423829" y="772708"/>
                  <a:pt x="430887" y="769500"/>
                </a:cubicBezTo>
                <a:cubicBezTo>
                  <a:pt x="436533" y="766934"/>
                  <a:pt x="438160" y="758304"/>
                  <a:pt x="444044" y="756343"/>
                </a:cubicBezTo>
                <a:lnTo>
                  <a:pt x="453911" y="753054"/>
                </a:lnTo>
                <a:cubicBezTo>
                  <a:pt x="461586" y="754150"/>
                  <a:pt x="469289" y="755069"/>
                  <a:pt x="476936" y="756343"/>
                </a:cubicBezTo>
                <a:cubicBezTo>
                  <a:pt x="482450" y="757262"/>
                  <a:pt x="487791" y="759632"/>
                  <a:pt x="493382" y="759632"/>
                </a:cubicBezTo>
                <a:cubicBezTo>
                  <a:pt x="498973" y="759632"/>
                  <a:pt x="504346" y="757439"/>
                  <a:pt x="509828" y="756343"/>
                </a:cubicBezTo>
                <a:cubicBezTo>
                  <a:pt x="512021" y="753054"/>
                  <a:pt x="513936" y="749562"/>
                  <a:pt x="516406" y="746475"/>
                </a:cubicBezTo>
                <a:cubicBezTo>
                  <a:pt x="528724" y="731078"/>
                  <a:pt x="530927" y="740619"/>
                  <a:pt x="559166" y="743186"/>
                </a:cubicBezTo>
                <a:cubicBezTo>
                  <a:pt x="574803" y="753612"/>
                  <a:pt x="567784" y="746015"/>
                  <a:pt x="575612" y="769500"/>
                </a:cubicBezTo>
                <a:lnTo>
                  <a:pt x="575612" y="769500"/>
                </a:lnTo>
                <a:lnTo>
                  <a:pt x="585480" y="779367"/>
                </a:lnTo>
                <a:cubicBezTo>
                  <a:pt x="588570" y="788638"/>
                  <a:pt x="588557" y="793504"/>
                  <a:pt x="598636" y="799103"/>
                </a:cubicBezTo>
                <a:cubicBezTo>
                  <a:pt x="604698" y="802471"/>
                  <a:pt x="618372" y="805681"/>
                  <a:pt x="618372" y="805681"/>
                </a:cubicBezTo>
                <a:cubicBezTo>
                  <a:pt x="648739" y="825925"/>
                  <a:pt x="611385" y="800091"/>
                  <a:pt x="634818" y="818838"/>
                </a:cubicBezTo>
                <a:cubicBezTo>
                  <a:pt x="637905" y="821307"/>
                  <a:pt x="641396" y="823223"/>
                  <a:pt x="644685" y="825416"/>
                </a:cubicBezTo>
                <a:cubicBezTo>
                  <a:pt x="649071" y="824320"/>
                  <a:pt x="653687" y="823908"/>
                  <a:pt x="657842" y="822127"/>
                </a:cubicBezTo>
                <a:cubicBezTo>
                  <a:pt x="661476" y="820570"/>
                  <a:pt x="664174" y="817317"/>
                  <a:pt x="667710" y="815549"/>
                </a:cubicBezTo>
                <a:cubicBezTo>
                  <a:pt x="670811" y="813998"/>
                  <a:pt x="674288" y="813356"/>
                  <a:pt x="677577" y="812259"/>
                </a:cubicBezTo>
                <a:cubicBezTo>
                  <a:pt x="697312" y="813356"/>
                  <a:pt x="717098" y="813759"/>
                  <a:pt x="736783" y="815549"/>
                </a:cubicBezTo>
                <a:cubicBezTo>
                  <a:pt x="741285" y="815958"/>
                  <a:pt x="745419" y="818838"/>
                  <a:pt x="749940" y="818838"/>
                </a:cubicBezTo>
                <a:cubicBezTo>
                  <a:pt x="762050" y="818838"/>
                  <a:pt x="774040" y="816382"/>
                  <a:pt x="786121" y="815549"/>
                </a:cubicBezTo>
                <a:cubicBezTo>
                  <a:pt x="805840" y="814189"/>
                  <a:pt x="825592" y="813356"/>
                  <a:pt x="845327" y="812259"/>
                </a:cubicBezTo>
                <a:cubicBezTo>
                  <a:pt x="848616" y="810066"/>
                  <a:pt x="852158" y="808212"/>
                  <a:pt x="855195" y="805681"/>
                </a:cubicBezTo>
                <a:cubicBezTo>
                  <a:pt x="858768" y="802703"/>
                  <a:pt x="861192" y="798393"/>
                  <a:pt x="865062" y="795813"/>
                </a:cubicBezTo>
                <a:cubicBezTo>
                  <a:pt x="867947" y="793890"/>
                  <a:pt x="871829" y="794074"/>
                  <a:pt x="874930" y="792524"/>
                </a:cubicBezTo>
                <a:cubicBezTo>
                  <a:pt x="900438" y="779771"/>
                  <a:pt x="869861" y="790925"/>
                  <a:pt x="894665" y="782657"/>
                </a:cubicBezTo>
                <a:cubicBezTo>
                  <a:pt x="896858" y="780464"/>
                  <a:pt x="899857" y="778852"/>
                  <a:pt x="901244" y="776078"/>
                </a:cubicBezTo>
                <a:cubicBezTo>
                  <a:pt x="903128" y="772309"/>
                  <a:pt x="907364" y="750872"/>
                  <a:pt x="914400" y="746475"/>
                </a:cubicBezTo>
                <a:cubicBezTo>
                  <a:pt x="920280" y="742800"/>
                  <a:pt x="934136" y="739897"/>
                  <a:pt x="934136" y="739897"/>
                </a:cubicBezTo>
                <a:cubicBezTo>
                  <a:pt x="937425" y="737704"/>
                  <a:pt x="940916" y="735787"/>
                  <a:pt x="944003" y="733318"/>
                </a:cubicBezTo>
                <a:cubicBezTo>
                  <a:pt x="954197" y="725162"/>
                  <a:pt x="946956" y="726909"/>
                  <a:pt x="960449" y="720162"/>
                </a:cubicBezTo>
                <a:cubicBezTo>
                  <a:pt x="963550" y="718611"/>
                  <a:pt x="967028" y="717969"/>
                  <a:pt x="970317" y="716872"/>
                </a:cubicBezTo>
                <a:cubicBezTo>
                  <a:pt x="1087631" y="720225"/>
                  <a:pt x="1070637" y="722354"/>
                  <a:pt x="1088728" y="713583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68" name="Freeform 67"/>
          <p:cNvSpPr/>
          <p:nvPr/>
        </p:nvSpPr>
        <p:spPr>
          <a:xfrm>
            <a:off x="5792788" y="2360087"/>
            <a:ext cx="1306512" cy="1018116"/>
          </a:xfrm>
          <a:custGeom>
            <a:avLst/>
            <a:gdLst>
              <a:gd name="connsiteX0" fmla="*/ 1282934 w 1307603"/>
              <a:gd name="connsiteY0" fmla="*/ 579832 h 1017684"/>
              <a:gd name="connsiteX1" fmla="*/ 1125052 w 1307603"/>
              <a:gd name="connsiteY1" fmla="*/ 579832 h 1017684"/>
              <a:gd name="connsiteX2" fmla="*/ 1111895 w 1307603"/>
              <a:gd name="connsiteY2" fmla="*/ 576542 h 1017684"/>
              <a:gd name="connsiteX3" fmla="*/ 1082292 w 1307603"/>
              <a:gd name="connsiteY3" fmla="*/ 566675 h 1017684"/>
              <a:gd name="connsiteX4" fmla="*/ 1059268 w 1307603"/>
              <a:gd name="connsiteY4" fmla="*/ 560096 h 1017684"/>
              <a:gd name="connsiteX5" fmla="*/ 1039532 w 1307603"/>
              <a:gd name="connsiteY5" fmla="*/ 553518 h 1017684"/>
              <a:gd name="connsiteX6" fmla="*/ 1019797 w 1307603"/>
              <a:gd name="connsiteY6" fmla="*/ 546939 h 1017684"/>
              <a:gd name="connsiteX7" fmla="*/ 1009929 w 1307603"/>
              <a:gd name="connsiteY7" fmla="*/ 543650 h 1017684"/>
              <a:gd name="connsiteX8" fmla="*/ 996773 w 1307603"/>
              <a:gd name="connsiteY8" fmla="*/ 540361 h 1017684"/>
              <a:gd name="connsiteX9" fmla="*/ 986905 w 1307603"/>
              <a:gd name="connsiteY9" fmla="*/ 533783 h 1017684"/>
              <a:gd name="connsiteX10" fmla="*/ 980327 w 1307603"/>
              <a:gd name="connsiteY10" fmla="*/ 527204 h 1017684"/>
              <a:gd name="connsiteX11" fmla="*/ 960591 w 1307603"/>
              <a:gd name="connsiteY11" fmla="*/ 520626 h 1017684"/>
              <a:gd name="connsiteX12" fmla="*/ 950724 w 1307603"/>
              <a:gd name="connsiteY12" fmla="*/ 517337 h 1017684"/>
              <a:gd name="connsiteX13" fmla="*/ 940856 w 1307603"/>
              <a:gd name="connsiteY13" fmla="*/ 514047 h 1017684"/>
              <a:gd name="connsiteX14" fmla="*/ 921121 w 1307603"/>
              <a:gd name="connsiteY14" fmla="*/ 500891 h 1017684"/>
              <a:gd name="connsiteX15" fmla="*/ 914542 w 1307603"/>
              <a:gd name="connsiteY15" fmla="*/ 494312 h 1017684"/>
              <a:gd name="connsiteX16" fmla="*/ 904675 w 1307603"/>
              <a:gd name="connsiteY16" fmla="*/ 491023 h 1017684"/>
              <a:gd name="connsiteX17" fmla="*/ 898096 w 1307603"/>
              <a:gd name="connsiteY17" fmla="*/ 484444 h 1017684"/>
              <a:gd name="connsiteX18" fmla="*/ 878361 w 1307603"/>
              <a:gd name="connsiteY18" fmla="*/ 477866 h 1017684"/>
              <a:gd name="connsiteX19" fmla="*/ 871783 w 1307603"/>
              <a:gd name="connsiteY19" fmla="*/ 467998 h 1017684"/>
              <a:gd name="connsiteX20" fmla="*/ 865204 w 1307603"/>
              <a:gd name="connsiteY20" fmla="*/ 461420 h 1017684"/>
              <a:gd name="connsiteX21" fmla="*/ 861915 w 1307603"/>
              <a:gd name="connsiteY21" fmla="*/ 451552 h 1017684"/>
              <a:gd name="connsiteX22" fmla="*/ 842180 w 1307603"/>
              <a:gd name="connsiteY22" fmla="*/ 438396 h 1017684"/>
              <a:gd name="connsiteX23" fmla="*/ 835601 w 1307603"/>
              <a:gd name="connsiteY23" fmla="*/ 431817 h 1017684"/>
              <a:gd name="connsiteX24" fmla="*/ 822445 w 1307603"/>
              <a:gd name="connsiteY24" fmla="*/ 415371 h 1017684"/>
              <a:gd name="connsiteX25" fmla="*/ 819155 w 1307603"/>
              <a:gd name="connsiteY25" fmla="*/ 405503 h 1017684"/>
              <a:gd name="connsiteX26" fmla="*/ 809288 w 1307603"/>
              <a:gd name="connsiteY26" fmla="*/ 369322 h 1017684"/>
              <a:gd name="connsiteX27" fmla="*/ 812577 w 1307603"/>
              <a:gd name="connsiteY27" fmla="*/ 346298 h 1017684"/>
              <a:gd name="connsiteX28" fmla="*/ 832312 w 1307603"/>
              <a:gd name="connsiteY28" fmla="*/ 339719 h 1017684"/>
              <a:gd name="connsiteX29" fmla="*/ 842180 w 1307603"/>
              <a:gd name="connsiteY29" fmla="*/ 333141 h 1017684"/>
              <a:gd name="connsiteX30" fmla="*/ 838891 w 1307603"/>
              <a:gd name="connsiteY30" fmla="*/ 316695 h 1017684"/>
              <a:gd name="connsiteX31" fmla="*/ 829023 w 1307603"/>
              <a:gd name="connsiteY31" fmla="*/ 313406 h 1017684"/>
              <a:gd name="connsiteX32" fmla="*/ 799420 w 1307603"/>
              <a:gd name="connsiteY32" fmla="*/ 316695 h 1017684"/>
              <a:gd name="connsiteX33" fmla="*/ 776396 w 1307603"/>
              <a:gd name="connsiteY33" fmla="*/ 323273 h 1017684"/>
              <a:gd name="connsiteX34" fmla="*/ 766528 w 1307603"/>
              <a:gd name="connsiteY34" fmla="*/ 326562 h 1017684"/>
              <a:gd name="connsiteX35" fmla="*/ 743504 w 1307603"/>
              <a:gd name="connsiteY35" fmla="*/ 333141 h 1017684"/>
              <a:gd name="connsiteX36" fmla="*/ 727058 w 1307603"/>
              <a:gd name="connsiteY36" fmla="*/ 270646 h 1017684"/>
              <a:gd name="connsiteX37" fmla="*/ 730347 w 1307603"/>
              <a:gd name="connsiteY37" fmla="*/ 247621 h 1017684"/>
              <a:gd name="connsiteX38" fmla="*/ 740214 w 1307603"/>
              <a:gd name="connsiteY38" fmla="*/ 231175 h 1017684"/>
              <a:gd name="connsiteX39" fmla="*/ 750082 w 1307603"/>
              <a:gd name="connsiteY39" fmla="*/ 227886 h 1017684"/>
              <a:gd name="connsiteX40" fmla="*/ 766528 w 1307603"/>
              <a:gd name="connsiteY40" fmla="*/ 214729 h 1017684"/>
              <a:gd name="connsiteX41" fmla="*/ 769817 w 1307603"/>
              <a:gd name="connsiteY41" fmla="*/ 181837 h 1017684"/>
              <a:gd name="connsiteX42" fmla="*/ 759950 w 1307603"/>
              <a:gd name="connsiteY42" fmla="*/ 175259 h 1017684"/>
              <a:gd name="connsiteX43" fmla="*/ 750082 w 1307603"/>
              <a:gd name="connsiteY43" fmla="*/ 171970 h 1017684"/>
              <a:gd name="connsiteX44" fmla="*/ 736925 w 1307603"/>
              <a:gd name="connsiteY44" fmla="*/ 158813 h 1017684"/>
              <a:gd name="connsiteX45" fmla="*/ 730347 w 1307603"/>
              <a:gd name="connsiteY45" fmla="*/ 152234 h 1017684"/>
              <a:gd name="connsiteX46" fmla="*/ 710611 w 1307603"/>
              <a:gd name="connsiteY46" fmla="*/ 142367 h 1017684"/>
              <a:gd name="connsiteX47" fmla="*/ 704033 w 1307603"/>
              <a:gd name="connsiteY47" fmla="*/ 135788 h 1017684"/>
              <a:gd name="connsiteX48" fmla="*/ 684298 w 1307603"/>
              <a:gd name="connsiteY48" fmla="*/ 119342 h 1017684"/>
              <a:gd name="connsiteX49" fmla="*/ 674430 w 1307603"/>
              <a:gd name="connsiteY49" fmla="*/ 102896 h 1017684"/>
              <a:gd name="connsiteX50" fmla="*/ 667852 w 1307603"/>
              <a:gd name="connsiteY50" fmla="*/ 93029 h 1017684"/>
              <a:gd name="connsiteX51" fmla="*/ 651406 w 1307603"/>
              <a:gd name="connsiteY51" fmla="*/ 79872 h 1017684"/>
              <a:gd name="connsiteX52" fmla="*/ 648117 w 1307603"/>
              <a:gd name="connsiteY52" fmla="*/ 70004 h 1017684"/>
              <a:gd name="connsiteX53" fmla="*/ 638249 w 1307603"/>
              <a:gd name="connsiteY53" fmla="*/ 63426 h 1017684"/>
              <a:gd name="connsiteX54" fmla="*/ 621803 w 1307603"/>
              <a:gd name="connsiteY54" fmla="*/ 53558 h 1017684"/>
              <a:gd name="connsiteX55" fmla="*/ 605357 w 1307603"/>
              <a:gd name="connsiteY55" fmla="*/ 40401 h 1017684"/>
              <a:gd name="connsiteX56" fmla="*/ 595489 w 1307603"/>
              <a:gd name="connsiteY56" fmla="*/ 37112 h 1017684"/>
              <a:gd name="connsiteX57" fmla="*/ 523127 w 1307603"/>
              <a:gd name="connsiteY57" fmla="*/ 40401 h 1017684"/>
              <a:gd name="connsiteX58" fmla="*/ 500102 w 1307603"/>
              <a:gd name="connsiteY58" fmla="*/ 37112 h 1017684"/>
              <a:gd name="connsiteX59" fmla="*/ 493524 w 1307603"/>
              <a:gd name="connsiteY59" fmla="*/ 27244 h 1017684"/>
              <a:gd name="connsiteX60" fmla="*/ 483656 w 1307603"/>
              <a:gd name="connsiteY60" fmla="*/ 23955 h 1017684"/>
              <a:gd name="connsiteX61" fmla="*/ 477078 w 1307603"/>
              <a:gd name="connsiteY61" fmla="*/ 30534 h 1017684"/>
              <a:gd name="connsiteX62" fmla="*/ 467210 w 1307603"/>
              <a:gd name="connsiteY62" fmla="*/ 33823 h 1017684"/>
              <a:gd name="connsiteX63" fmla="*/ 457342 w 1307603"/>
              <a:gd name="connsiteY63" fmla="*/ 40401 h 1017684"/>
              <a:gd name="connsiteX64" fmla="*/ 417872 w 1307603"/>
              <a:gd name="connsiteY64" fmla="*/ 37112 h 1017684"/>
              <a:gd name="connsiteX65" fmla="*/ 411293 w 1307603"/>
              <a:gd name="connsiteY65" fmla="*/ 27244 h 1017684"/>
              <a:gd name="connsiteX66" fmla="*/ 401426 w 1307603"/>
              <a:gd name="connsiteY66" fmla="*/ 7509 h 1017684"/>
              <a:gd name="connsiteX67" fmla="*/ 384980 w 1307603"/>
              <a:gd name="connsiteY67" fmla="*/ 17377 h 1017684"/>
              <a:gd name="connsiteX68" fmla="*/ 375112 w 1307603"/>
              <a:gd name="connsiteY68" fmla="*/ 46980 h 1017684"/>
              <a:gd name="connsiteX69" fmla="*/ 371823 w 1307603"/>
              <a:gd name="connsiteY69" fmla="*/ 56847 h 1017684"/>
              <a:gd name="connsiteX70" fmla="*/ 365245 w 1307603"/>
              <a:gd name="connsiteY70" fmla="*/ 63426 h 1017684"/>
              <a:gd name="connsiteX71" fmla="*/ 348799 w 1307603"/>
              <a:gd name="connsiteY71" fmla="*/ 60137 h 1017684"/>
              <a:gd name="connsiteX72" fmla="*/ 342220 w 1307603"/>
              <a:gd name="connsiteY72" fmla="*/ 53558 h 1017684"/>
              <a:gd name="connsiteX73" fmla="*/ 319196 w 1307603"/>
              <a:gd name="connsiteY73" fmla="*/ 56847 h 1017684"/>
              <a:gd name="connsiteX74" fmla="*/ 309328 w 1307603"/>
              <a:gd name="connsiteY74" fmla="*/ 60137 h 1017684"/>
              <a:gd name="connsiteX75" fmla="*/ 273147 w 1307603"/>
              <a:gd name="connsiteY75" fmla="*/ 63426 h 1017684"/>
              <a:gd name="connsiteX76" fmla="*/ 269858 w 1307603"/>
              <a:gd name="connsiteY76" fmla="*/ 96318 h 1017684"/>
              <a:gd name="connsiteX77" fmla="*/ 263279 w 1307603"/>
              <a:gd name="connsiteY77" fmla="*/ 116053 h 1017684"/>
              <a:gd name="connsiteX78" fmla="*/ 259990 w 1307603"/>
              <a:gd name="connsiteY78" fmla="*/ 125921 h 1017684"/>
              <a:gd name="connsiteX79" fmla="*/ 256701 w 1307603"/>
              <a:gd name="connsiteY79" fmla="*/ 175259 h 1017684"/>
              <a:gd name="connsiteX80" fmla="*/ 253411 w 1307603"/>
              <a:gd name="connsiteY80" fmla="*/ 185126 h 1017684"/>
              <a:gd name="connsiteX81" fmla="*/ 246833 w 1307603"/>
              <a:gd name="connsiteY81" fmla="*/ 191705 h 1017684"/>
              <a:gd name="connsiteX82" fmla="*/ 233676 w 1307603"/>
              <a:gd name="connsiteY82" fmla="*/ 211440 h 1017684"/>
              <a:gd name="connsiteX83" fmla="*/ 230387 w 1307603"/>
              <a:gd name="connsiteY83" fmla="*/ 224597 h 1017684"/>
              <a:gd name="connsiteX84" fmla="*/ 220519 w 1307603"/>
              <a:gd name="connsiteY84" fmla="*/ 231175 h 1017684"/>
              <a:gd name="connsiteX85" fmla="*/ 204073 w 1307603"/>
              <a:gd name="connsiteY85" fmla="*/ 244332 h 1017684"/>
              <a:gd name="connsiteX86" fmla="*/ 200784 w 1307603"/>
              <a:gd name="connsiteY86" fmla="*/ 254200 h 1017684"/>
              <a:gd name="connsiteX87" fmla="*/ 194206 w 1307603"/>
              <a:gd name="connsiteY87" fmla="*/ 264067 h 1017684"/>
              <a:gd name="connsiteX88" fmla="*/ 181049 w 1307603"/>
              <a:gd name="connsiteY88" fmla="*/ 293670 h 1017684"/>
              <a:gd name="connsiteX89" fmla="*/ 174470 w 1307603"/>
              <a:gd name="connsiteY89" fmla="*/ 316695 h 1017684"/>
              <a:gd name="connsiteX90" fmla="*/ 167892 w 1307603"/>
              <a:gd name="connsiteY90" fmla="*/ 336430 h 1017684"/>
              <a:gd name="connsiteX91" fmla="*/ 161314 w 1307603"/>
              <a:gd name="connsiteY91" fmla="*/ 356165 h 1017684"/>
              <a:gd name="connsiteX92" fmla="*/ 148157 w 1307603"/>
              <a:gd name="connsiteY92" fmla="*/ 372611 h 1017684"/>
              <a:gd name="connsiteX93" fmla="*/ 131711 w 1307603"/>
              <a:gd name="connsiteY93" fmla="*/ 385768 h 1017684"/>
              <a:gd name="connsiteX94" fmla="*/ 115265 w 1307603"/>
              <a:gd name="connsiteY94" fmla="*/ 402214 h 1017684"/>
              <a:gd name="connsiteX95" fmla="*/ 108686 w 1307603"/>
              <a:gd name="connsiteY95" fmla="*/ 408793 h 1017684"/>
              <a:gd name="connsiteX96" fmla="*/ 105397 w 1307603"/>
              <a:gd name="connsiteY96" fmla="*/ 418660 h 1017684"/>
              <a:gd name="connsiteX97" fmla="*/ 98819 w 1307603"/>
              <a:gd name="connsiteY97" fmla="*/ 425239 h 1017684"/>
              <a:gd name="connsiteX98" fmla="*/ 95529 w 1307603"/>
              <a:gd name="connsiteY98" fmla="*/ 448263 h 1017684"/>
              <a:gd name="connsiteX99" fmla="*/ 88951 w 1307603"/>
              <a:gd name="connsiteY99" fmla="*/ 471288 h 1017684"/>
              <a:gd name="connsiteX100" fmla="*/ 82373 w 1307603"/>
              <a:gd name="connsiteY100" fmla="*/ 540361 h 1017684"/>
              <a:gd name="connsiteX101" fmla="*/ 79083 w 1307603"/>
              <a:gd name="connsiteY101" fmla="*/ 550229 h 1017684"/>
              <a:gd name="connsiteX102" fmla="*/ 75794 w 1307603"/>
              <a:gd name="connsiteY102" fmla="*/ 579832 h 1017684"/>
              <a:gd name="connsiteX103" fmla="*/ 65927 w 1307603"/>
              <a:gd name="connsiteY103" fmla="*/ 586410 h 1017684"/>
              <a:gd name="connsiteX104" fmla="*/ 46191 w 1307603"/>
              <a:gd name="connsiteY104" fmla="*/ 592988 h 1017684"/>
              <a:gd name="connsiteX105" fmla="*/ 39613 w 1307603"/>
              <a:gd name="connsiteY105" fmla="*/ 599567 h 1017684"/>
              <a:gd name="connsiteX106" fmla="*/ 19878 w 1307603"/>
              <a:gd name="connsiteY106" fmla="*/ 606145 h 1017684"/>
              <a:gd name="connsiteX107" fmla="*/ 13299 w 1307603"/>
              <a:gd name="connsiteY107" fmla="*/ 612724 h 1017684"/>
              <a:gd name="connsiteX108" fmla="*/ 3432 w 1307603"/>
              <a:gd name="connsiteY108" fmla="*/ 619302 h 1017684"/>
              <a:gd name="connsiteX109" fmla="*/ 142 w 1307603"/>
              <a:gd name="connsiteY109" fmla="*/ 632459 h 1017684"/>
              <a:gd name="connsiteX110" fmla="*/ 3432 w 1307603"/>
              <a:gd name="connsiteY110" fmla="*/ 645616 h 1017684"/>
              <a:gd name="connsiteX111" fmla="*/ 23167 w 1307603"/>
              <a:gd name="connsiteY111" fmla="*/ 652194 h 1017684"/>
              <a:gd name="connsiteX112" fmla="*/ 33034 w 1307603"/>
              <a:gd name="connsiteY112" fmla="*/ 655483 h 1017684"/>
              <a:gd name="connsiteX113" fmla="*/ 42902 w 1307603"/>
              <a:gd name="connsiteY113" fmla="*/ 658773 h 1017684"/>
              <a:gd name="connsiteX114" fmla="*/ 52770 w 1307603"/>
              <a:gd name="connsiteY114" fmla="*/ 662062 h 1017684"/>
              <a:gd name="connsiteX115" fmla="*/ 62637 w 1307603"/>
              <a:gd name="connsiteY115" fmla="*/ 668640 h 1017684"/>
              <a:gd name="connsiteX116" fmla="*/ 72505 w 1307603"/>
              <a:gd name="connsiteY116" fmla="*/ 671929 h 1017684"/>
              <a:gd name="connsiteX117" fmla="*/ 85662 w 1307603"/>
              <a:gd name="connsiteY117" fmla="*/ 685086 h 1017684"/>
              <a:gd name="connsiteX118" fmla="*/ 92240 w 1307603"/>
              <a:gd name="connsiteY118" fmla="*/ 691665 h 1017684"/>
              <a:gd name="connsiteX119" fmla="*/ 108686 w 1307603"/>
              <a:gd name="connsiteY119" fmla="*/ 704821 h 1017684"/>
              <a:gd name="connsiteX120" fmla="*/ 118554 w 1307603"/>
              <a:gd name="connsiteY120" fmla="*/ 708111 h 1017684"/>
              <a:gd name="connsiteX121" fmla="*/ 138289 w 1307603"/>
              <a:gd name="connsiteY121" fmla="*/ 721267 h 1017684"/>
              <a:gd name="connsiteX122" fmla="*/ 148157 w 1307603"/>
              <a:gd name="connsiteY122" fmla="*/ 737714 h 1017684"/>
              <a:gd name="connsiteX123" fmla="*/ 158024 w 1307603"/>
              <a:gd name="connsiteY123" fmla="*/ 754160 h 1017684"/>
              <a:gd name="connsiteX124" fmla="*/ 164603 w 1307603"/>
              <a:gd name="connsiteY124" fmla="*/ 790341 h 1017684"/>
              <a:gd name="connsiteX125" fmla="*/ 167892 w 1307603"/>
              <a:gd name="connsiteY125" fmla="*/ 800208 h 1017684"/>
              <a:gd name="connsiteX126" fmla="*/ 181049 w 1307603"/>
              <a:gd name="connsiteY126" fmla="*/ 813365 h 1017684"/>
              <a:gd name="connsiteX127" fmla="*/ 207363 w 1307603"/>
              <a:gd name="connsiteY127" fmla="*/ 839679 h 1017684"/>
              <a:gd name="connsiteX128" fmla="*/ 217230 w 1307603"/>
              <a:gd name="connsiteY128" fmla="*/ 842968 h 1017684"/>
              <a:gd name="connsiteX129" fmla="*/ 227098 w 1307603"/>
              <a:gd name="connsiteY129" fmla="*/ 846257 h 1017684"/>
              <a:gd name="connsiteX130" fmla="*/ 236965 w 1307603"/>
              <a:gd name="connsiteY130" fmla="*/ 849547 h 1017684"/>
              <a:gd name="connsiteX131" fmla="*/ 250122 w 1307603"/>
              <a:gd name="connsiteY131" fmla="*/ 865993 h 1017684"/>
              <a:gd name="connsiteX132" fmla="*/ 253411 w 1307603"/>
              <a:gd name="connsiteY132" fmla="*/ 875860 h 1017684"/>
              <a:gd name="connsiteX133" fmla="*/ 263279 w 1307603"/>
              <a:gd name="connsiteY133" fmla="*/ 882439 h 1017684"/>
              <a:gd name="connsiteX134" fmla="*/ 266568 w 1307603"/>
              <a:gd name="connsiteY134" fmla="*/ 892306 h 1017684"/>
              <a:gd name="connsiteX135" fmla="*/ 269858 w 1307603"/>
              <a:gd name="connsiteY135" fmla="*/ 925198 h 1017684"/>
              <a:gd name="connsiteX136" fmla="*/ 276436 w 1307603"/>
              <a:gd name="connsiteY136" fmla="*/ 931777 h 1017684"/>
              <a:gd name="connsiteX137" fmla="*/ 296171 w 1307603"/>
              <a:gd name="connsiteY137" fmla="*/ 938355 h 1017684"/>
              <a:gd name="connsiteX138" fmla="*/ 312617 w 1307603"/>
              <a:gd name="connsiteY138" fmla="*/ 951512 h 1017684"/>
              <a:gd name="connsiteX139" fmla="*/ 319196 w 1307603"/>
              <a:gd name="connsiteY139" fmla="*/ 958091 h 1017684"/>
              <a:gd name="connsiteX140" fmla="*/ 325774 w 1307603"/>
              <a:gd name="connsiteY140" fmla="*/ 967958 h 1017684"/>
              <a:gd name="connsiteX141" fmla="*/ 335642 w 1307603"/>
              <a:gd name="connsiteY141" fmla="*/ 971247 h 1017684"/>
              <a:gd name="connsiteX142" fmla="*/ 342220 w 1307603"/>
              <a:gd name="connsiteY142" fmla="*/ 977826 h 1017684"/>
              <a:gd name="connsiteX143" fmla="*/ 371823 w 1307603"/>
              <a:gd name="connsiteY143" fmla="*/ 987693 h 1017684"/>
              <a:gd name="connsiteX144" fmla="*/ 381691 w 1307603"/>
              <a:gd name="connsiteY144" fmla="*/ 990983 h 1017684"/>
              <a:gd name="connsiteX145" fmla="*/ 391558 w 1307603"/>
              <a:gd name="connsiteY145" fmla="*/ 994272 h 1017684"/>
              <a:gd name="connsiteX146" fmla="*/ 408004 w 1307603"/>
              <a:gd name="connsiteY146" fmla="*/ 1004139 h 1017684"/>
              <a:gd name="connsiteX147" fmla="*/ 424450 w 1307603"/>
              <a:gd name="connsiteY147" fmla="*/ 1014007 h 1017684"/>
              <a:gd name="connsiteX148" fmla="*/ 592200 w 1307603"/>
              <a:gd name="connsiteY148" fmla="*/ 1010718 h 1017684"/>
              <a:gd name="connsiteX149" fmla="*/ 611935 w 1307603"/>
              <a:gd name="connsiteY149" fmla="*/ 987693 h 1017684"/>
              <a:gd name="connsiteX150" fmla="*/ 618514 w 1307603"/>
              <a:gd name="connsiteY150" fmla="*/ 981115 h 1017684"/>
              <a:gd name="connsiteX151" fmla="*/ 631670 w 1307603"/>
              <a:gd name="connsiteY151" fmla="*/ 964669 h 1017684"/>
              <a:gd name="connsiteX152" fmla="*/ 651406 w 1307603"/>
              <a:gd name="connsiteY152" fmla="*/ 958091 h 1017684"/>
              <a:gd name="connsiteX153" fmla="*/ 687587 w 1307603"/>
              <a:gd name="connsiteY153" fmla="*/ 961380 h 1017684"/>
              <a:gd name="connsiteX154" fmla="*/ 707322 w 1307603"/>
              <a:gd name="connsiteY154" fmla="*/ 967958 h 1017684"/>
              <a:gd name="connsiteX155" fmla="*/ 717190 w 1307603"/>
              <a:gd name="connsiteY155" fmla="*/ 971247 h 1017684"/>
              <a:gd name="connsiteX156" fmla="*/ 773106 w 1307603"/>
              <a:gd name="connsiteY156" fmla="*/ 967958 h 1017684"/>
              <a:gd name="connsiteX157" fmla="*/ 805999 w 1307603"/>
              <a:gd name="connsiteY157" fmla="*/ 958091 h 1017684"/>
              <a:gd name="connsiteX158" fmla="*/ 815866 w 1307603"/>
              <a:gd name="connsiteY158" fmla="*/ 954801 h 1017684"/>
              <a:gd name="connsiteX159" fmla="*/ 825734 w 1307603"/>
              <a:gd name="connsiteY159" fmla="*/ 948223 h 1017684"/>
              <a:gd name="connsiteX160" fmla="*/ 838891 w 1307603"/>
              <a:gd name="connsiteY160" fmla="*/ 944934 h 1017684"/>
              <a:gd name="connsiteX161" fmla="*/ 858626 w 1307603"/>
              <a:gd name="connsiteY161" fmla="*/ 938355 h 1017684"/>
              <a:gd name="connsiteX162" fmla="*/ 868493 w 1307603"/>
              <a:gd name="connsiteY162" fmla="*/ 935066 h 1017684"/>
              <a:gd name="connsiteX163" fmla="*/ 878361 w 1307603"/>
              <a:gd name="connsiteY163" fmla="*/ 931777 h 1017684"/>
              <a:gd name="connsiteX164" fmla="*/ 894807 w 1307603"/>
              <a:gd name="connsiteY164" fmla="*/ 921909 h 1017684"/>
              <a:gd name="connsiteX165" fmla="*/ 907964 w 1307603"/>
              <a:gd name="connsiteY165" fmla="*/ 908752 h 1017684"/>
              <a:gd name="connsiteX166" fmla="*/ 930988 w 1307603"/>
              <a:gd name="connsiteY166" fmla="*/ 885728 h 1017684"/>
              <a:gd name="connsiteX167" fmla="*/ 950724 w 1307603"/>
              <a:gd name="connsiteY167" fmla="*/ 879150 h 1017684"/>
              <a:gd name="connsiteX168" fmla="*/ 1059268 w 1307603"/>
              <a:gd name="connsiteY168" fmla="*/ 872571 h 1017684"/>
              <a:gd name="connsiteX169" fmla="*/ 1072424 w 1307603"/>
              <a:gd name="connsiteY169" fmla="*/ 852836 h 1017684"/>
              <a:gd name="connsiteX170" fmla="*/ 1079003 w 1307603"/>
              <a:gd name="connsiteY170" fmla="*/ 833101 h 1017684"/>
              <a:gd name="connsiteX171" fmla="*/ 1088870 w 1307603"/>
              <a:gd name="connsiteY171" fmla="*/ 813365 h 1017684"/>
              <a:gd name="connsiteX172" fmla="*/ 1102027 w 1307603"/>
              <a:gd name="connsiteY172" fmla="*/ 800208 h 1017684"/>
              <a:gd name="connsiteX173" fmla="*/ 1128341 w 1307603"/>
              <a:gd name="connsiteY173" fmla="*/ 780473 h 1017684"/>
              <a:gd name="connsiteX174" fmla="*/ 1141498 w 1307603"/>
              <a:gd name="connsiteY174" fmla="*/ 760738 h 1017684"/>
              <a:gd name="connsiteX175" fmla="*/ 1151365 w 1307603"/>
              <a:gd name="connsiteY175" fmla="*/ 727846 h 1017684"/>
              <a:gd name="connsiteX176" fmla="*/ 1161233 w 1307603"/>
              <a:gd name="connsiteY176" fmla="*/ 708111 h 1017684"/>
              <a:gd name="connsiteX177" fmla="*/ 1174390 w 1307603"/>
              <a:gd name="connsiteY177" fmla="*/ 694954 h 1017684"/>
              <a:gd name="connsiteX178" fmla="*/ 1187547 w 1307603"/>
              <a:gd name="connsiteY178" fmla="*/ 681797 h 1017684"/>
              <a:gd name="connsiteX179" fmla="*/ 1197414 w 1307603"/>
              <a:gd name="connsiteY179" fmla="*/ 678508 h 1017684"/>
              <a:gd name="connsiteX180" fmla="*/ 1217150 w 1307603"/>
              <a:gd name="connsiteY180" fmla="*/ 665351 h 1017684"/>
              <a:gd name="connsiteX181" fmla="*/ 1227017 w 1307603"/>
              <a:gd name="connsiteY181" fmla="*/ 658773 h 1017684"/>
              <a:gd name="connsiteX182" fmla="*/ 1243463 w 1307603"/>
              <a:gd name="connsiteY182" fmla="*/ 645616 h 1017684"/>
              <a:gd name="connsiteX183" fmla="*/ 1246752 w 1307603"/>
              <a:gd name="connsiteY183" fmla="*/ 635748 h 1017684"/>
              <a:gd name="connsiteX184" fmla="*/ 1253331 w 1307603"/>
              <a:gd name="connsiteY184" fmla="*/ 629170 h 1017684"/>
              <a:gd name="connsiteX185" fmla="*/ 1266488 w 1307603"/>
              <a:gd name="connsiteY185" fmla="*/ 612724 h 1017684"/>
              <a:gd name="connsiteX186" fmla="*/ 1273066 w 1307603"/>
              <a:gd name="connsiteY186" fmla="*/ 589699 h 1017684"/>
              <a:gd name="connsiteX187" fmla="*/ 1282934 w 1307603"/>
              <a:gd name="connsiteY187" fmla="*/ 579832 h 1017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1307603" h="1017684">
                <a:moveTo>
                  <a:pt x="1282934" y="579832"/>
                </a:moveTo>
                <a:cubicBezTo>
                  <a:pt x="1258265" y="578188"/>
                  <a:pt x="1260376" y="585591"/>
                  <a:pt x="1125052" y="579832"/>
                </a:cubicBezTo>
                <a:cubicBezTo>
                  <a:pt x="1120535" y="579640"/>
                  <a:pt x="1116225" y="577841"/>
                  <a:pt x="1111895" y="576542"/>
                </a:cubicBezTo>
                <a:cubicBezTo>
                  <a:pt x="1101932" y="573553"/>
                  <a:pt x="1092160" y="569964"/>
                  <a:pt x="1082292" y="566675"/>
                </a:cubicBezTo>
                <a:cubicBezTo>
                  <a:pt x="1049134" y="555622"/>
                  <a:pt x="1100560" y="572483"/>
                  <a:pt x="1059268" y="560096"/>
                </a:cubicBezTo>
                <a:cubicBezTo>
                  <a:pt x="1052626" y="558104"/>
                  <a:pt x="1046111" y="555711"/>
                  <a:pt x="1039532" y="553518"/>
                </a:cubicBezTo>
                <a:lnTo>
                  <a:pt x="1019797" y="546939"/>
                </a:lnTo>
                <a:cubicBezTo>
                  <a:pt x="1016508" y="545843"/>
                  <a:pt x="1013293" y="544491"/>
                  <a:pt x="1009929" y="543650"/>
                </a:cubicBezTo>
                <a:lnTo>
                  <a:pt x="996773" y="540361"/>
                </a:lnTo>
                <a:cubicBezTo>
                  <a:pt x="993484" y="538168"/>
                  <a:pt x="989992" y="536253"/>
                  <a:pt x="986905" y="533783"/>
                </a:cubicBezTo>
                <a:cubicBezTo>
                  <a:pt x="984483" y="531846"/>
                  <a:pt x="983101" y="528591"/>
                  <a:pt x="980327" y="527204"/>
                </a:cubicBezTo>
                <a:cubicBezTo>
                  <a:pt x="974125" y="524103"/>
                  <a:pt x="967170" y="522819"/>
                  <a:pt x="960591" y="520626"/>
                </a:cubicBezTo>
                <a:lnTo>
                  <a:pt x="950724" y="517337"/>
                </a:lnTo>
                <a:cubicBezTo>
                  <a:pt x="947435" y="516240"/>
                  <a:pt x="943741" y="515970"/>
                  <a:pt x="940856" y="514047"/>
                </a:cubicBezTo>
                <a:cubicBezTo>
                  <a:pt x="934278" y="509662"/>
                  <a:pt x="926711" y="506481"/>
                  <a:pt x="921121" y="500891"/>
                </a:cubicBezTo>
                <a:cubicBezTo>
                  <a:pt x="918928" y="498698"/>
                  <a:pt x="917201" y="495908"/>
                  <a:pt x="914542" y="494312"/>
                </a:cubicBezTo>
                <a:cubicBezTo>
                  <a:pt x="911569" y="492528"/>
                  <a:pt x="907964" y="492119"/>
                  <a:pt x="904675" y="491023"/>
                </a:cubicBezTo>
                <a:cubicBezTo>
                  <a:pt x="902482" y="488830"/>
                  <a:pt x="900870" y="485831"/>
                  <a:pt x="898096" y="484444"/>
                </a:cubicBezTo>
                <a:cubicBezTo>
                  <a:pt x="891894" y="481343"/>
                  <a:pt x="878361" y="477866"/>
                  <a:pt x="878361" y="477866"/>
                </a:cubicBezTo>
                <a:cubicBezTo>
                  <a:pt x="876168" y="474577"/>
                  <a:pt x="874253" y="471085"/>
                  <a:pt x="871783" y="467998"/>
                </a:cubicBezTo>
                <a:cubicBezTo>
                  <a:pt x="869846" y="465576"/>
                  <a:pt x="866800" y="464079"/>
                  <a:pt x="865204" y="461420"/>
                </a:cubicBezTo>
                <a:cubicBezTo>
                  <a:pt x="863420" y="458447"/>
                  <a:pt x="864367" y="454004"/>
                  <a:pt x="861915" y="451552"/>
                </a:cubicBezTo>
                <a:cubicBezTo>
                  <a:pt x="856325" y="445962"/>
                  <a:pt x="847770" y="443986"/>
                  <a:pt x="842180" y="438396"/>
                </a:cubicBezTo>
                <a:cubicBezTo>
                  <a:pt x="839987" y="436203"/>
                  <a:pt x="837538" y="434239"/>
                  <a:pt x="835601" y="431817"/>
                </a:cubicBezTo>
                <a:cubicBezTo>
                  <a:pt x="818998" y="411064"/>
                  <a:pt x="838333" y="431261"/>
                  <a:pt x="822445" y="415371"/>
                </a:cubicBezTo>
                <a:cubicBezTo>
                  <a:pt x="821348" y="412082"/>
                  <a:pt x="820067" y="408848"/>
                  <a:pt x="819155" y="405503"/>
                </a:cubicBezTo>
                <a:cubicBezTo>
                  <a:pt x="808020" y="364678"/>
                  <a:pt x="816861" y="392042"/>
                  <a:pt x="809288" y="369322"/>
                </a:cubicBezTo>
                <a:cubicBezTo>
                  <a:pt x="810384" y="361647"/>
                  <a:pt x="807817" y="352418"/>
                  <a:pt x="812577" y="346298"/>
                </a:cubicBezTo>
                <a:cubicBezTo>
                  <a:pt x="816834" y="340824"/>
                  <a:pt x="826542" y="343565"/>
                  <a:pt x="832312" y="339719"/>
                </a:cubicBezTo>
                <a:lnTo>
                  <a:pt x="842180" y="333141"/>
                </a:lnTo>
                <a:cubicBezTo>
                  <a:pt x="841084" y="327659"/>
                  <a:pt x="841992" y="321347"/>
                  <a:pt x="838891" y="316695"/>
                </a:cubicBezTo>
                <a:cubicBezTo>
                  <a:pt x="836968" y="313810"/>
                  <a:pt x="832490" y="313406"/>
                  <a:pt x="829023" y="313406"/>
                </a:cubicBezTo>
                <a:cubicBezTo>
                  <a:pt x="819095" y="313406"/>
                  <a:pt x="809288" y="315599"/>
                  <a:pt x="799420" y="316695"/>
                </a:cubicBezTo>
                <a:cubicBezTo>
                  <a:pt x="775759" y="324581"/>
                  <a:pt x="805307" y="315013"/>
                  <a:pt x="776396" y="323273"/>
                </a:cubicBezTo>
                <a:cubicBezTo>
                  <a:pt x="773062" y="324225"/>
                  <a:pt x="769862" y="325609"/>
                  <a:pt x="766528" y="326562"/>
                </a:cubicBezTo>
                <a:cubicBezTo>
                  <a:pt x="737626" y="334820"/>
                  <a:pt x="767155" y="325257"/>
                  <a:pt x="743504" y="333141"/>
                </a:cubicBezTo>
                <a:cubicBezTo>
                  <a:pt x="711981" y="325261"/>
                  <a:pt x="727058" y="333481"/>
                  <a:pt x="727058" y="270646"/>
                </a:cubicBezTo>
                <a:cubicBezTo>
                  <a:pt x="727058" y="262893"/>
                  <a:pt x="728827" y="255223"/>
                  <a:pt x="730347" y="247621"/>
                </a:cubicBezTo>
                <a:cubicBezTo>
                  <a:pt x="731758" y="240566"/>
                  <a:pt x="733742" y="235058"/>
                  <a:pt x="740214" y="231175"/>
                </a:cubicBezTo>
                <a:cubicBezTo>
                  <a:pt x="743187" y="229391"/>
                  <a:pt x="746981" y="229436"/>
                  <a:pt x="750082" y="227886"/>
                </a:cubicBezTo>
                <a:cubicBezTo>
                  <a:pt x="758383" y="223736"/>
                  <a:pt x="760408" y="220850"/>
                  <a:pt x="766528" y="214729"/>
                </a:cubicBezTo>
                <a:cubicBezTo>
                  <a:pt x="770300" y="203414"/>
                  <a:pt x="777549" y="193436"/>
                  <a:pt x="769817" y="181837"/>
                </a:cubicBezTo>
                <a:cubicBezTo>
                  <a:pt x="767624" y="178548"/>
                  <a:pt x="763486" y="177027"/>
                  <a:pt x="759950" y="175259"/>
                </a:cubicBezTo>
                <a:cubicBezTo>
                  <a:pt x="756849" y="173708"/>
                  <a:pt x="753371" y="173066"/>
                  <a:pt x="750082" y="171970"/>
                </a:cubicBezTo>
                <a:lnTo>
                  <a:pt x="736925" y="158813"/>
                </a:lnTo>
                <a:cubicBezTo>
                  <a:pt x="734732" y="156620"/>
                  <a:pt x="733289" y="153215"/>
                  <a:pt x="730347" y="152234"/>
                </a:cubicBezTo>
                <a:cubicBezTo>
                  <a:pt x="719926" y="148761"/>
                  <a:pt x="719718" y="149653"/>
                  <a:pt x="710611" y="142367"/>
                </a:cubicBezTo>
                <a:cubicBezTo>
                  <a:pt x="708189" y="140430"/>
                  <a:pt x="706455" y="137725"/>
                  <a:pt x="704033" y="135788"/>
                </a:cubicBezTo>
                <a:cubicBezTo>
                  <a:pt x="681134" y="117469"/>
                  <a:pt x="707739" y="142785"/>
                  <a:pt x="684298" y="119342"/>
                </a:cubicBezTo>
                <a:cubicBezTo>
                  <a:pt x="678586" y="102207"/>
                  <a:pt x="684750" y="115796"/>
                  <a:pt x="674430" y="102896"/>
                </a:cubicBezTo>
                <a:cubicBezTo>
                  <a:pt x="671961" y="99809"/>
                  <a:pt x="670321" y="96116"/>
                  <a:pt x="667852" y="93029"/>
                </a:cubicBezTo>
                <a:cubicBezTo>
                  <a:pt x="662495" y="86333"/>
                  <a:pt x="658733" y="84757"/>
                  <a:pt x="651406" y="79872"/>
                </a:cubicBezTo>
                <a:cubicBezTo>
                  <a:pt x="650310" y="76583"/>
                  <a:pt x="650283" y="72711"/>
                  <a:pt x="648117" y="70004"/>
                </a:cubicBezTo>
                <a:cubicBezTo>
                  <a:pt x="645647" y="66917"/>
                  <a:pt x="641336" y="65895"/>
                  <a:pt x="638249" y="63426"/>
                </a:cubicBezTo>
                <a:cubicBezTo>
                  <a:pt x="625347" y="53105"/>
                  <a:pt x="638940" y="59270"/>
                  <a:pt x="621803" y="53558"/>
                </a:cubicBezTo>
                <a:cubicBezTo>
                  <a:pt x="615686" y="47442"/>
                  <a:pt x="613652" y="44549"/>
                  <a:pt x="605357" y="40401"/>
                </a:cubicBezTo>
                <a:cubicBezTo>
                  <a:pt x="602256" y="38850"/>
                  <a:pt x="598778" y="38208"/>
                  <a:pt x="595489" y="37112"/>
                </a:cubicBezTo>
                <a:cubicBezTo>
                  <a:pt x="571368" y="38208"/>
                  <a:pt x="547273" y="40401"/>
                  <a:pt x="523127" y="40401"/>
                </a:cubicBezTo>
                <a:cubicBezTo>
                  <a:pt x="515374" y="40401"/>
                  <a:pt x="507187" y="40261"/>
                  <a:pt x="500102" y="37112"/>
                </a:cubicBezTo>
                <a:cubicBezTo>
                  <a:pt x="496490" y="35506"/>
                  <a:pt x="496611" y="29714"/>
                  <a:pt x="493524" y="27244"/>
                </a:cubicBezTo>
                <a:cubicBezTo>
                  <a:pt x="490817" y="25078"/>
                  <a:pt x="486945" y="25051"/>
                  <a:pt x="483656" y="23955"/>
                </a:cubicBezTo>
                <a:cubicBezTo>
                  <a:pt x="481463" y="26148"/>
                  <a:pt x="479737" y="28938"/>
                  <a:pt x="477078" y="30534"/>
                </a:cubicBezTo>
                <a:cubicBezTo>
                  <a:pt x="474105" y="32318"/>
                  <a:pt x="470311" y="32273"/>
                  <a:pt x="467210" y="33823"/>
                </a:cubicBezTo>
                <a:cubicBezTo>
                  <a:pt x="463674" y="35591"/>
                  <a:pt x="460631" y="38208"/>
                  <a:pt x="457342" y="40401"/>
                </a:cubicBezTo>
                <a:cubicBezTo>
                  <a:pt x="444185" y="39305"/>
                  <a:pt x="430566" y="40739"/>
                  <a:pt x="417872" y="37112"/>
                </a:cubicBezTo>
                <a:cubicBezTo>
                  <a:pt x="414071" y="36026"/>
                  <a:pt x="413061" y="30780"/>
                  <a:pt x="411293" y="27244"/>
                </a:cubicBezTo>
                <a:cubicBezTo>
                  <a:pt x="397670" y="0"/>
                  <a:pt x="420285" y="35800"/>
                  <a:pt x="401426" y="7509"/>
                </a:cubicBezTo>
                <a:cubicBezTo>
                  <a:pt x="394672" y="9760"/>
                  <a:pt x="388593" y="10152"/>
                  <a:pt x="384980" y="17377"/>
                </a:cubicBezTo>
                <a:cubicBezTo>
                  <a:pt x="384975" y="17387"/>
                  <a:pt x="376758" y="42041"/>
                  <a:pt x="375112" y="46980"/>
                </a:cubicBezTo>
                <a:cubicBezTo>
                  <a:pt x="374016" y="50269"/>
                  <a:pt x="374274" y="54395"/>
                  <a:pt x="371823" y="56847"/>
                </a:cubicBezTo>
                <a:lnTo>
                  <a:pt x="365245" y="63426"/>
                </a:lnTo>
                <a:cubicBezTo>
                  <a:pt x="359763" y="62330"/>
                  <a:pt x="353938" y="62339"/>
                  <a:pt x="348799" y="60137"/>
                </a:cubicBezTo>
                <a:cubicBezTo>
                  <a:pt x="345948" y="58915"/>
                  <a:pt x="345302" y="53901"/>
                  <a:pt x="342220" y="53558"/>
                </a:cubicBezTo>
                <a:cubicBezTo>
                  <a:pt x="334515" y="52702"/>
                  <a:pt x="326871" y="55751"/>
                  <a:pt x="319196" y="56847"/>
                </a:cubicBezTo>
                <a:cubicBezTo>
                  <a:pt x="315907" y="57944"/>
                  <a:pt x="312760" y="59647"/>
                  <a:pt x="309328" y="60137"/>
                </a:cubicBezTo>
                <a:cubicBezTo>
                  <a:pt x="297340" y="61850"/>
                  <a:pt x="282074" y="55243"/>
                  <a:pt x="273147" y="63426"/>
                </a:cubicBezTo>
                <a:cubicBezTo>
                  <a:pt x="265025" y="70872"/>
                  <a:pt x="271889" y="85488"/>
                  <a:pt x="269858" y="96318"/>
                </a:cubicBezTo>
                <a:cubicBezTo>
                  <a:pt x="268580" y="103133"/>
                  <a:pt x="265472" y="109475"/>
                  <a:pt x="263279" y="116053"/>
                </a:cubicBezTo>
                <a:lnTo>
                  <a:pt x="259990" y="125921"/>
                </a:lnTo>
                <a:cubicBezTo>
                  <a:pt x="258894" y="142367"/>
                  <a:pt x="258521" y="158877"/>
                  <a:pt x="256701" y="175259"/>
                </a:cubicBezTo>
                <a:cubicBezTo>
                  <a:pt x="256318" y="178705"/>
                  <a:pt x="255195" y="182153"/>
                  <a:pt x="253411" y="185126"/>
                </a:cubicBezTo>
                <a:cubicBezTo>
                  <a:pt x="251815" y="187785"/>
                  <a:pt x="248694" y="189224"/>
                  <a:pt x="246833" y="191705"/>
                </a:cubicBezTo>
                <a:cubicBezTo>
                  <a:pt x="242089" y="198030"/>
                  <a:pt x="233676" y="211440"/>
                  <a:pt x="233676" y="211440"/>
                </a:cubicBezTo>
                <a:cubicBezTo>
                  <a:pt x="232580" y="215826"/>
                  <a:pt x="232895" y="220836"/>
                  <a:pt x="230387" y="224597"/>
                </a:cubicBezTo>
                <a:cubicBezTo>
                  <a:pt x="228194" y="227886"/>
                  <a:pt x="223606" y="228705"/>
                  <a:pt x="220519" y="231175"/>
                </a:cubicBezTo>
                <a:cubicBezTo>
                  <a:pt x="197085" y="249923"/>
                  <a:pt x="234446" y="224086"/>
                  <a:pt x="204073" y="244332"/>
                </a:cubicBezTo>
                <a:cubicBezTo>
                  <a:pt x="202977" y="247621"/>
                  <a:pt x="202335" y="251099"/>
                  <a:pt x="200784" y="254200"/>
                </a:cubicBezTo>
                <a:cubicBezTo>
                  <a:pt x="199016" y="257736"/>
                  <a:pt x="195811" y="260455"/>
                  <a:pt x="194206" y="264067"/>
                </a:cubicBezTo>
                <a:cubicBezTo>
                  <a:pt x="178549" y="299295"/>
                  <a:pt x="195936" y="271340"/>
                  <a:pt x="181049" y="293670"/>
                </a:cubicBezTo>
                <a:cubicBezTo>
                  <a:pt x="169993" y="326842"/>
                  <a:pt x="186865" y="275381"/>
                  <a:pt x="174470" y="316695"/>
                </a:cubicBezTo>
                <a:cubicBezTo>
                  <a:pt x="172477" y="323337"/>
                  <a:pt x="170085" y="329852"/>
                  <a:pt x="167892" y="336430"/>
                </a:cubicBezTo>
                <a:lnTo>
                  <a:pt x="161314" y="356165"/>
                </a:lnTo>
                <a:cubicBezTo>
                  <a:pt x="145428" y="372051"/>
                  <a:pt x="164755" y="351864"/>
                  <a:pt x="148157" y="372611"/>
                </a:cubicBezTo>
                <a:cubicBezTo>
                  <a:pt x="139606" y="383299"/>
                  <a:pt x="143109" y="375795"/>
                  <a:pt x="131711" y="385768"/>
                </a:cubicBezTo>
                <a:cubicBezTo>
                  <a:pt x="125876" y="390873"/>
                  <a:pt x="120747" y="396732"/>
                  <a:pt x="115265" y="402214"/>
                </a:cubicBezTo>
                <a:lnTo>
                  <a:pt x="108686" y="408793"/>
                </a:lnTo>
                <a:cubicBezTo>
                  <a:pt x="107590" y="412082"/>
                  <a:pt x="107181" y="415687"/>
                  <a:pt x="105397" y="418660"/>
                </a:cubicBezTo>
                <a:cubicBezTo>
                  <a:pt x="103802" y="421319"/>
                  <a:pt x="99800" y="422297"/>
                  <a:pt x="98819" y="425239"/>
                </a:cubicBezTo>
                <a:cubicBezTo>
                  <a:pt x="96367" y="432594"/>
                  <a:pt x="96916" y="440635"/>
                  <a:pt x="95529" y="448263"/>
                </a:cubicBezTo>
                <a:cubicBezTo>
                  <a:pt x="93877" y="457351"/>
                  <a:pt x="91769" y="462832"/>
                  <a:pt x="88951" y="471288"/>
                </a:cubicBezTo>
                <a:cubicBezTo>
                  <a:pt x="87079" y="501242"/>
                  <a:pt x="88547" y="515666"/>
                  <a:pt x="82373" y="540361"/>
                </a:cubicBezTo>
                <a:cubicBezTo>
                  <a:pt x="81532" y="543725"/>
                  <a:pt x="80180" y="546940"/>
                  <a:pt x="79083" y="550229"/>
                </a:cubicBezTo>
                <a:cubicBezTo>
                  <a:pt x="77987" y="560097"/>
                  <a:pt x="79187" y="570501"/>
                  <a:pt x="75794" y="579832"/>
                </a:cubicBezTo>
                <a:cubicBezTo>
                  <a:pt x="74443" y="583547"/>
                  <a:pt x="69539" y="584805"/>
                  <a:pt x="65927" y="586410"/>
                </a:cubicBezTo>
                <a:cubicBezTo>
                  <a:pt x="59590" y="589226"/>
                  <a:pt x="46191" y="592988"/>
                  <a:pt x="46191" y="592988"/>
                </a:cubicBezTo>
                <a:cubicBezTo>
                  <a:pt x="43998" y="595181"/>
                  <a:pt x="42387" y="598180"/>
                  <a:pt x="39613" y="599567"/>
                </a:cubicBezTo>
                <a:cubicBezTo>
                  <a:pt x="33411" y="602668"/>
                  <a:pt x="19878" y="606145"/>
                  <a:pt x="19878" y="606145"/>
                </a:cubicBezTo>
                <a:cubicBezTo>
                  <a:pt x="17685" y="608338"/>
                  <a:pt x="15721" y="610787"/>
                  <a:pt x="13299" y="612724"/>
                </a:cubicBezTo>
                <a:cubicBezTo>
                  <a:pt x="10212" y="615193"/>
                  <a:pt x="5625" y="616013"/>
                  <a:pt x="3432" y="619302"/>
                </a:cubicBezTo>
                <a:cubicBezTo>
                  <a:pt x="924" y="623063"/>
                  <a:pt x="1239" y="628073"/>
                  <a:pt x="142" y="632459"/>
                </a:cubicBezTo>
                <a:cubicBezTo>
                  <a:pt x="1239" y="636845"/>
                  <a:pt x="0" y="642674"/>
                  <a:pt x="3432" y="645616"/>
                </a:cubicBezTo>
                <a:cubicBezTo>
                  <a:pt x="8697" y="650129"/>
                  <a:pt x="16589" y="650001"/>
                  <a:pt x="23167" y="652194"/>
                </a:cubicBezTo>
                <a:lnTo>
                  <a:pt x="33034" y="655483"/>
                </a:lnTo>
                <a:lnTo>
                  <a:pt x="42902" y="658773"/>
                </a:lnTo>
                <a:lnTo>
                  <a:pt x="52770" y="662062"/>
                </a:lnTo>
                <a:cubicBezTo>
                  <a:pt x="56059" y="664255"/>
                  <a:pt x="59101" y="666872"/>
                  <a:pt x="62637" y="668640"/>
                </a:cubicBezTo>
                <a:cubicBezTo>
                  <a:pt x="65738" y="670191"/>
                  <a:pt x="69684" y="669914"/>
                  <a:pt x="72505" y="671929"/>
                </a:cubicBezTo>
                <a:cubicBezTo>
                  <a:pt x="77552" y="675534"/>
                  <a:pt x="81276" y="680700"/>
                  <a:pt x="85662" y="685086"/>
                </a:cubicBezTo>
                <a:lnTo>
                  <a:pt x="92240" y="691665"/>
                </a:lnTo>
                <a:cubicBezTo>
                  <a:pt x="98357" y="697782"/>
                  <a:pt x="100391" y="700673"/>
                  <a:pt x="108686" y="704821"/>
                </a:cubicBezTo>
                <a:cubicBezTo>
                  <a:pt x="111787" y="706372"/>
                  <a:pt x="115523" y="706427"/>
                  <a:pt x="118554" y="708111"/>
                </a:cubicBezTo>
                <a:cubicBezTo>
                  <a:pt x="125465" y="711950"/>
                  <a:pt x="138289" y="721267"/>
                  <a:pt x="138289" y="721267"/>
                </a:cubicBezTo>
                <a:cubicBezTo>
                  <a:pt x="147605" y="749217"/>
                  <a:pt x="134613" y="715141"/>
                  <a:pt x="148157" y="737714"/>
                </a:cubicBezTo>
                <a:cubicBezTo>
                  <a:pt x="160969" y="759067"/>
                  <a:pt x="141353" y="737487"/>
                  <a:pt x="158024" y="754160"/>
                </a:cubicBezTo>
                <a:cubicBezTo>
                  <a:pt x="160686" y="772789"/>
                  <a:pt x="160173" y="774835"/>
                  <a:pt x="164603" y="790341"/>
                </a:cubicBezTo>
                <a:cubicBezTo>
                  <a:pt x="165555" y="793675"/>
                  <a:pt x="165877" y="797387"/>
                  <a:pt x="167892" y="800208"/>
                </a:cubicBezTo>
                <a:cubicBezTo>
                  <a:pt x="171497" y="805255"/>
                  <a:pt x="181049" y="813365"/>
                  <a:pt x="181049" y="813365"/>
                </a:cubicBezTo>
                <a:cubicBezTo>
                  <a:pt x="189820" y="839680"/>
                  <a:pt x="181048" y="830908"/>
                  <a:pt x="207363" y="839679"/>
                </a:cubicBezTo>
                <a:lnTo>
                  <a:pt x="217230" y="842968"/>
                </a:lnTo>
                <a:lnTo>
                  <a:pt x="227098" y="846257"/>
                </a:lnTo>
                <a:lnTo>
                  <a:pt x="236965" y="849547"/>
                </a:lnTo>
                <a:cubicBezTo>
                  <a:pt x="243086" y="855667"/>
                  <a:pt x="245971" y="857692"/>
                  <a:pt x="250122" y="865993"/>
                </a:cubicBezTo>
                <a:cubicBezTo>
                  <a:pt x="251672" y="869094"/>
                  <a:pt x="251245" y="873153"/>
                  <a:pt x="253411" y="875860"/>
                </a:cubicBezTo>
                <a:cubicBezTo>
                  <a:pt x="255881" y="878947"/>
                  <a:pt x="259990" y="880246"/>
                  <a:pt x="263279" y="882439"/>
                </a:cubicBezTo>
                <a:cubicBezTo>
                  <a:pt x="264375" y="885728"/>
                  <a:pt x="266041" y="888879"/>
                  <a:pt x="266568" y="892306"/>
                </a:cubicBezTo>
                <a:cubicBezTo>
                  <a:pt x="268244" y="903197"/>
                  <a:pt x="267186" y="914508"/>
                  <a:pt x="269858" y="925198"/>
                </a:cubicBezTo>
                <a:cubicBezTo>
                  <a:pt x="270610" y="928207"/>
                  <a:pt x="273662" y="930390"/>
                  <a:pt x="276436" y="931777"/>
                </a:cubicBezTo>
                <a:cubicBezTo>
                  <a:pt x="282638" y="934878"/>
                  <a:pt x="296171" y="938355"/>
                  <a:pt x="296171" y="938355"/>
                </a:cubicBezTo>
                <a:cubicBezTo>
                  <a:pt x="312057" y="954241"/>
                  <a:pt x="291870" y="934914"/>
                  <a:pt x="312617" y="951512"/>
                </a:cubicBezTo>
                <a:cubicBezTo>
                  <a:pt x="315039" y="953449"/>
                  <a:pt x="317259" y="955669"/>
                  <a:pt x="319196" y="958091"/>
                </a:cubicBezTo>
                <a:cubicBezTo>
                  <a:pt x="321665" y="961178"/>
                  <a:pt x="322687" y="965489"/>
                  <a:pt x="325774" y="967958"/>
                </a:cubicBezTo>
                <a:cubicBezTo>
                  <a:pt x="328482" y="970124"/>
                  <a:pt x="332353" y="970151"/>
                  <a:pt x="335642" y="971247"/>
                </a:cubicBezTo>
                <a:cubicBezTo>
                  <a:pt x="337835" y="973440"/>
                  <a:pt x="339446" y="976439"/>
                  <a:pt x="342220" y="977826"/>
                </a:cubicBezTo>
                <a:cubicBezTo>
                  <a:pt x="342225" y="977829"/>
                  <a:pt x="366887" y="986047"/>
                  <a:pt x="371823" y="987693"/>
                </a:cubicBezTo>
                <a:lnTo>
                  <a:pt x="381691" y="990983"/>
                </a:lnTo>
                <a:lnTo>
                  <a:pt x="391558" y="994272"/>
                </a:lnTo>
                <a:cubicBezTo>
                  <a:pt x="408231" y="1010943"/>
                  <a:pt x="386651" y="991327"/>
                  <a:pt x="408004" y="1004139"/>
                </a:cubicBezTo>
                <a:cubicBezTo>
                  <a:pt x="430578" y="1017684"/>
                  <a:pt x="396501" y="1004691"/>
                  <a:pt x="424450" y="1014007"/>
                </a:cubicBezTo>
                <a:lnTo>
                  <a:pt x="592200" y="1010718"/>
                </a:lnTo>
                <a:cubicBezTo>
                  <a:pt x="599033" y="1010097"/>
                  <a:pt x="607729" y="992950"/>
                  <a:pt x="611935" y="987693"/>
                </a:cubicBezTo>
                <a:cubicBezTo>
                  <a:pt x="613872" y="985271"/>
                  <a:pt x="616321" y="983308"/>
                  <a:pt x="618514" y="981115"/>
                </a:cubicBezTo>
                <a:cubicBezTo>
                  <a:pt x="622080" y="970415"/>
                  <a:pt x="620027" y="969843"/>
                  <a:pt x="631670" y="964669"/>
                </a:cubicBezTo>
                <a:cubicBezTo>
                  <a:pt x="638007" y="961853"/>
                  <a:pt x="651406" y="958091"/>
                  <a:pt x="651406" y="958091"/>
                </a:cubicBezTo>
                <a:cubicBezTo>
                  <a:pt x="663466" y="959187"/>
                  <a:pt x="675661" y="959276"/>
                  <a:pt x="687587" y="961380"/>
                </a:cubicBezTo>
                <a:cubicBezTo>
                  <a:pt x="694416" y="962585"/>
                  <a:pt x="700744" y="965765"/>
                  <a:pt x="707322" y="967958"/>
                </a:cubicBezTo>
                <a:lnTo>
                  <a:pt x="717190" y="971247"/>
                </a:lnTo>
                <a:cubicBezTo>
                  <a:pt x="735829" y="970151"/>
                  <a:pt x="754519" y="969728"/>
                  <a:pt x="773106" y="967958"/>
                </a:cubicBezTo>
                <a:cubicBezTo>
                  <a:pt x="780065" y="967295"/>
                  <a:pt x="801802" y="959490"/>
                  <a:pt x="805999" y="958091"/>
                </a:cubicBezTo>
                <a:cubicBezTo>
                  <a:pt x="809288" y="956995"/>
                  <a:pt x="812981" y="956724"/>
                  <a:pt x="815866" y="954801"/>
                </a:cubicBezTo>
                <a:cubicBezTo>
                  <a:pt x="819155" y="952608"/>
                  <a:pt x="822100" y="949780"/>
                  <a:pt x="825734" y="948223"/>
                </a:cubicBezTo>
                <a:cubicBezTo>
                  <a:pt x="829889" y="946442"/>
                  <a:pt x="834561" y="946233"/>
                  <a:pt x="838891" y="944934"/>
                </a:cubicBezTo>
                <a:cubicBezTo>
                  <a:pt x="845533" y="942941"/>
                  <a:pt x="852048" y="940548"/>
                  <a:pt x="858626" y="938355"/>
                </a:cubicBezTo>
                <a:lnTo>
                  <a:pt x="868493" y="935066"/>
                </a:lnTo>
                <a:lnTo>
                  <a:pt x="878361" y="931777"/>
                </a:lnTo>
                <a:cubicBezTo>
                  <a:pt x="902671" y="907467"/>
                  <a:pt x="864918" y="943259"/>
                  <a:pt x="894807" y="921909"/>
                </a:cubicBezTo>
                <a:cubicBezTo>
                  <a:pt x="899854" y="918304"/>
                  <a:pt x="907964" y="908752"/>
                  <a:pt x="907964" y="908752"/>
                </a:cubicBezTo>
                <a:cubicBezTo>
                  <a:pt x="912513" y="895105"/>
                  <a:pt x="911196" y="892325"/>
                  <a:pt x="930988" y="885728"/>
                </a:cubicBezTo>
                <a:lnTo>
                  <a:pt x="950724" y="879150"/>
                </a:lnTo>
                <a:cubicBezTo>
                  <a:pt x="991824" y="865449"/>
                  <a:pt x="957009" y="875979"/>
                  <a:pt x="1059268" y="872571"/>
                </a:cubicBezTo>
                <a:cubicBezTo>
                  <a:pt x="1063653" y="865993"/>
                  <a:pt x="1069924" y="860336"/>
                  <a:pt x="1072424" y="852836"/>
                </a:cubicBezTo>
                <a:lnTo>
                  <a:pt x="1079003" y="833101"/>
                </a:lnTo>
                <a:cubicBezTo>
                  <a:pt x="1082187" y="823550"/>
                  <a:pt x="1081914" y="821481"/>
                  <a:pt x="1088870" y="813365"/>
                </a:cubicBezTo>
                <a:cubicBezTo>
                  <a:pt x="1092906" y="808656"/>
                  <a:pt x="1096866" y="803648"/>
                  <a:pt x="1102027" y="800208"/>
                </a:cubicBezTo>
                <a:cubicBezTo>
                  <a:pt x="1108840" y="795667"/>
                  <a:pt x="1122254" y="788589"/>
                  <a:pt x="1128341" y="780473"/>
                </a:cubicBezTo>
                <a:cubicBezTo>
                  <a:pt x="1133085" y="774148"/>
                  <a:pt x="1141498" y="760738"/>
                  <a:pt x="1141498" y="760738"/>
                </a:cubicBezTo>
                <a:cubicBezTo>
                  <a:pt x="1146467" y="740859"/>
                  <a:pt x="1143360" y="751862"/>
                  <a:pt x="1151365" y="727846"/>
                </a:cubicBezTo>
                <a:cubicBezTo>
                  <a:pt x="1154548" y="718297"/>
                  <a:pt x="1154279" y="716224"/>
                  <a:pt x="1161233" y="708111"/>
                </a:cubicBezTo>
                <a:cubicBezTo>
                  <a:pt x="1165269" y="703402"/>
                  <a:pt x="1170004" y="699340"/>
                  <a:pt x="1174390" y="694954"/>
                </a:cubicBezTo>
                <a:lnTo>
                  <a:pt x="1187547" y="681797"/>
                </a:lnTo>
                <a:lnTo>
                  <a:pt x="1197414" y="678508"/>
                </a:lnTo>
                <a:lnTo>
                  <a:pt x="1217150" y="665351"/>
                </a:lnTo>
                <a:cubicBezTo>
                  <a:pt x="1220439" y="663158"/>
                  <a:pt x="1224222" y="661568"/>
                  <a:pt x="1227017" y="658773"/>
                </a:cubicBezTo>
                <a:cubicBezTo>
                  <a:pt x="1236391" y="649399"/>
                  <a:pt x="1231016" y="653914"/>
                  <a:pt x="1243463" y="645616"/>
                </a:cubicBezTo>
                <a:cubicBezTo>
                  <a:pt x="1244559" y="642327"/>
                  <a:pt x="1244968" y="638721"/>
                  <a:pt x="1246752" y="635748"/>
                </a:cubicBezTo>
                <a:cubicBezTo>
                  <a:pt x="1248348" y="633089"/>
                  <a:pt x="1251394" y="631592"/>
                  <a:pt x="1253331" y="629170"/>
                </a:cubicBezTo>
                <a:cubicBezTo>
                  <a:pt x="1269928" y="608424"/>
                  <a:pt x="1250603" y="628607"/>
                  <a:pt x="1266488" y="612724"/>
                </a:cubicBezTo>
                <a:cubicBezTo>
                  <a:pt x="1268567" y="604408"/>
                  <a:pt x="1269921" y="597563"/>
                  <a:pt x="1273066" y="589699"/>
                </a:cubicBezTo>
                <a:cubicBezTo>
                  <a:pt x="1273976" y="587423"/>
                  <a:pt x="1307603" y="581477"/>
                  <a:pt x="1282934" y="579832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71" name="Freeform 70"/>
          <p:cNvSpPr/>
          <p:nvPr/>
        </p:nvSpPr>
        <p:spPr>
          <a:xfrm>
            <a:off x="6489703" y="2550584"/>
            <a:ext cx="842963" cy="1295400"/>
          </a:xfrm>
          <a:custGeom>
            <a:avLst/>
            <a:gdLst>
              <a:gd name="connsiteX0" fmla="*/ 167749 w 842945"/>
              <a:gd name="connsiteY0" fmla="*/ 107830 h 1294424"/>
              <a:gd name="connsiteX1" fmla="*/ 161171 w 842945"/>
              <a:gd name="connsiteY1" fmla="*/ 124276 h 1294424"/>
              <a:gd name="connsiteX2" fmla="*/ 154592 w 842945"/>
              <a:gd name="connsiteY2" fmla="*/ 130854 h 1294424"/>
              <a:gd name="connsiteX3" fmla="*/ 148014 w 842945"/>
              <a:gd name="connsiteY3" fmla="*/ 150589 h 1294424"/>
              <a:gd name="connsiteX4" fmla="*/ 128279 w 842945"/>
              <a:gd name="connsiteY4" fmla="*/ 173614 h 1294424"/>
              <a:gd name="connsiteX5" fmla="*/ 124990 w 842945"/>
              <a:gd name="connsiteY5" fmla="*/ 183481 h 1294424"/>
              <a:gd name="connsiteX6" fmla="*/ 128279 w 842945"/>
              <a:gd name="connsiteY6" fmla="*/ 206506 h 1294424"/>
              <a:gd name="connsiteX7" fmla="*/ 131568 w 842945"/>
              <a:gd name="connsiteY7" fmla="*/ 216373 h 1294424"/>
              <a:gd name="connsiteX8" fmla="*/ 141436 w 842945"/>
              <a:gd name="connsiteY8" fmla="*/ 222952 h 1294424"/>
              <a:gd name="connsiteX9" fmla="*/ 154592 w 842945"/>
              <a:gd name="connsiteY9" fmla="*/ 242687 h 1294424"/>
              <a:gd name="connsiteX10" fmla="*/ 161171 w 842945"/>
              <a:gd name="connsiteY10" fmla="*/ 249266 h 1294424"/>
              <a:gd name="connsiteX11" fmla="*/ 174328 w 842945"/>
              <a:gd name="connsiteY11" fmla="*/ 265712 h 1294424"/>
              <a:gd name="connsiteX12" fmla="*/ 177617 w 842945"/>
              <a:gd name="connsiteY12" fmla="*/ 275579 h 1294424"/>
              <a:gd name="connsiteX13" fmla="*/ 197352 w 842945"/>
              <a:gd name="connsiteY13" fmla="*/ 288736 h 1294424"/>
              <a:gd name="connsiteX14" fmla="*/ 223666 w 842945"/>
              <a:gd name="connsiteY14" fmla="*/ 308471 h 1294424"/>
              <a:gd name="connsiteX15" fmla="*/ 233533 w 842945"/>
              <a:gd name="connsiteY15" fmla="*/ 311761 h 1294424"/>
              <a:gd name="connsiteX16" fmla="*/ 259847 w 842945"/>
              <a:gd name="connsiteY16" fmla="*/ 331496 h 1294424"/>
              <a:gd name="connsiteX17" fmla="*/ 319053 w 842945"/>
              <a:gd name="connsiteY17" fmla="*/ 351231 h 1294424"/>
              <a:gd name="connsiteX18" fmla="*/ 328920 w 842945"/>
              <a:gd name="connsiteY18" fmla="*/ 354520 h 1294424"/>
              <a:gd name="connsiteX19" fmla="*/ 355234 w 842945"/>
              <a:gd name="connsiteY19" fmla="*/ 361099 h 1294424"/>
              <a:gd name="connsiteX20" fmla="*/ 374969 w 842945"/>
              <a:gd name="connsiteY20" fmla="*/ 367677 h 1294424"/>
              <a:gd name="connsiteX21" fmla="*/ 384837 w 842945"/>
              <a:gd name="connsiteY21" fmla="*/ 374255 h 1294424"/>
              <a:gd name="connsiteX22" fmla="*/ 414440 w 842945"/>
              <a:gd name="connsiteY22" fmla="*/ 384123 h 1294424"/>
              <a:gd name="connsiteX23" fmla="*/ 424308 w 842945"/>
              <a:gd name="connsiteY23" fmla="*/ 387412 h 1294424"/>
              <a:gd name="connsiteX24" fmla="*/ 434175 w 842945"/>
              <a:gd name="connsiteY24" fmla="*/ 390702 h 1294424"/>
              <a:gd name="connsiteX25" fmla="*/ 549297 w 842945"/>
              <a:gd name="connsiteY25" fmla="*/ 393991 h 1294424"/>
              <a:gd name="connsiteX26" fmla="*/ 569033 w 842945"/>
              <a:gd name="connsiteY26" fmla="*/ 400569 h 1294424"/>
              <a:gd name="connsiteX27" fmla="*/ 578900 w 842945"/>
              <a:gd name="connsiteY27" fmla="*/ 403858 h 1294424"/>
              <a:gd name="connsiteX28" fmla="*/ 582190 w 842945"/>
              <a:gd name="connsiteY28" fmla="*/ 413726 h 1294424"/>
              <a:gd name="connsiteX29" fmla="*/ 572322 w 842945"/>
              <a:gd name="connsiteY29" fmla="*/ 433461 h 1294424"/>
              <a:gd name="connsiteX30" fmla="*/ 549297 w 842945"/>
              <a:gd name="connsiteY30" fmla="*/ 453196 h 1294424"/>
              <a:gd name="connsiteX31" fmla="*/ 542719 w 842945"/>
              <a:gd name="connsiteY31" fmla="*/ 459775 h 1294424"/>
              <a:gd name="connsiteX32" fmla="*/ 532851 w 842945"/>
              <a:gd name="connsiteY32" fmla="*/ 466353 h 1294424"/>
              <a:gd name="connsiteX33" fmla="*/ 526273 w 842945"/>
              <a:gd name="connsiteY33" fmla="*/ 472932 h 1294424"/>
              <a:gd name="connsiteX34" fmla="*/ 516405 w 842945"/>
              <a:gd name="connsiteY34" fmla="*/ 479510 h 1294424"/>
              <a:gd name="connsiteX35" fmla="*/ 509827 w 842945"/>
              <a:gd name="connsiteY35" fmla="*/ 486089 h 1294424"/>
              <a:gd name="connsiteX36" fmla="*/ 490092 w 842945"/>
              <a:gd name="connsiteY36" fmla="*/ 499245 h 1294424"/>
              <a:gd name="connsiteX37" fmla="*/ 483513 w 842945"/>
              <a:gd name="connsiteY37" fmla="*/ 505824 h 1294424"/>
              <a:gd name="connsiteX38" fmla="*/ 463778 w 842945"/>
              <a:gd name="connsiteY38" fmla="*/ 518981 h 1294424"/>
              <a:gd name="connsiteX39" fmla="*/ 453910 w 842945"/>
              <a:gd name="connsiteY39" fmla="*/ 561740 h 1294424"/>
              <a:gd name="connsiteX40" fmla="*/ 437464 w 842945"/>
              <a:gd name="connsiteY40" fmla="*/ 591343 h 1294424"/>
              <a:gd name="connsiteX41" fmla="*/ 430886 w 842945"/>
              <a:gd name="connsiteY41" fmla="*/ 597922 h 1294424"/>
              <a:gd name="connsiteX42" fmla="*/ 424308 w 842945"/>
              <a:gd name="connsiteY42" fmla="*/ 607789 h 1294424"/>
              <a:gd name="connsiteX43" fmla="*/ 407862 w 842945"/>
              <a:gd name="connsiteY43" fmla="*/ 620946 h 1294424"/>
              <a:gd name="connsiteX44" fmla="*/ 401283 w 842945"/>
              <a:gd name="connsiteY44" fmla="*/ 630814 h 1294424"/>
              <a:gd name="connsiteX45" fmla="*/ 391415 w 842945"/>
              <a:gd name="connsiteY45" fmla="*/ 634103 h 1294424"/>
              <a:gd name="connsiteX46" fmla="*/ 381548 w 842945"/>
              <a:gd name="connsiteY46" fmla="*/ 640681 h 1294424"/>
              <a:gd name="connsiteX47" fmla="*/ 368391 w 842945"/>
              <a:gd name="connsiteY47" fmla="*/ 657127 h 1294424"/>
              <a:gd name="connsiteX48" fmla="*/ 351945 w 842945"/>
              <a:gd name="connsiteY48" fmla="*/ 680152 h 1294424"/>
              <a:gd name="connsiteX49" fmla="*/ 312474 w 842945"/>
              <a:gd name="connsiteY49" fmla="*/ 683441 h 1294424"/>
              <a:gd name="connsiteX50" fmla="*/ 282872 w 842945"/>
              <a:gd name="connsiteY50" fmla="*/ 693309 h 1294424"/>
              <a:gd name="connsiteX51" fmla="*/ 273004 w 842945"/>
              <a:gd name="connsiteY51" fmla="*/ 696598 h 1294424"/>
              <a:gd name="connsiteX52" fmla="*/ 233533 w 842945"/>
              <a:gd name="connsiteY52" fmla="*/ 699887 h 1294424"/>
              <a:gd name="connsiteX53" fmla="*/ 223666 w 842945"/>
              <a:gd name="connsiteY53" fmla="*/ 703176 h 1294424"/>
              <a:gd name="connsiteX54" fmla="*/ 213798 w 842945"/>
              <a:gd name="connsiteY54" fmla="*/ 722912 h 1294424"/>
              <a:gd name="connsiteX55" fmla="*/ 203931 w 842945"/>
              <a:gd name="connsiteY55" fmla="*/ 729490 h 1294424"/>
              <a:gd name="connsiteX56" fmla="*/ 187485 w 842945"/>
              <a:gd name="connsiteY56" fmla="*/ 739358 h 1294424"/>
              <a:gd name="connsiteX57" fmla="*/ 161171 w 842945"/>
              <a:gd name="connsiteY57" fmla="*/ 752514 h 1294424"/>
              <a:gd name="connsiteX58" fmla="*/ 121700 w 842945"/>
              <a:gd name="connsiteY58" fmla="*/ 765671 h 1294424"/>
              <a:gd name="connsiteX59" fmla="*/ 101965 w 842945"/>
              <a:gd name="connsiteY59" fmla="*/ 772250 h 1294424"/>
              <a:gd name="connsiteX60" fmla="*/ 92097 w 842945"/>
              <a:gd name="connsiteY60" fmla="*/ 775539 h 1294424"/>
              <a:gd name="connsiteX61" fmla="*/ 75651 w 842945"/>
              <a:gd name="connsiteY61" fmla="*/ 788696 h 1294424"/>
              <a:gd name="connsiteX62" fmla="*/ 65784 w 842945"/>
              <a:gd name="connsiteY62" fmla="*/ 805142 h 1294424"/>
              <a:gd name="connsiteX63" fmla="*/ 59205 w 842945"/>
              <a:gd name="connsiteY63" fmla="*/ 824877 h 1294424"/>
              <a:gd name="connsiteX64" fmla="*/ 46049 w 842945"/>
              <a:gd name="connsiteY64" fmla="*/ 844612 h 1294424"/>
              <a:gd name="connsiteX65" fmla="*/ 32892 w 842945"/>
              <a:gd name="connsiteY65" fmla="*/ 861058 h 1294424"/>
              <a:gd name="connsiteX66" fmla="*/ 29603 w 842945"/>
              <a:gd name="connsiteY66" fmla="*/ 870926 h 1294424"/>
              <a:gd name="connsiteX67" fmla="*/ 16446 w 842945"/>
              <a:gd name="connsiteY67" fmla="*/ 884083 h 1294424"/>
              <a:gd name="connsiteX68" fmla="*/ 13156 w 842945"/>
              <a:gd name="connsiteY68" fmla="*/ 897240 h 1294424"/>
              <a:gd name="connsiteX69" fmla="*/ 6578 w 842945"/>
              <a:gd name="connsiteY69" fmla="*/ 916975 h 1294424"/>
              <a:gd name="connsiteX70" fmla="*/ 0 w 842945"/>
              <a:gd name="connsiteY70" fmla="*/ 943289 h 1294424"/>
              <a:gd name="connsiteX71" fmla="*/ 3289 w 842945"/>
              <a:gd name="connsiteY71" fmla="*/ 1038676 h 1294424"/>
              <a:gd name="connsiteX72" fmla="*/ 6578 w 842945"/>
              <a:gd name="connsiteY72" fmla="*/ 1209714 h 1294424"/>
              <a:gd name="connsiteX73" fmla="*/ 13156 w 842945"/>
              <a:gd name="connsiteY73" fmla="*/ 1229450 h 1294424"/>
              <a:gd name="connsiteX74" fmla="*/ 26313 w 842945"/>
              <a:gd name="connsiteY74" fmla="*/ 1242607 h 1294424"/>
              <a:gd name="connsiteX75" fmla="*/ 32892 w 842945"/>
              <a:gd name="connsiteY75" fmla="*/ 1262342 h 1294424"/>
              <a:gd name="connsiteX76" fmla="*/ 36181 w 842945"/>
              <a:gd name="connsiteY76" fmla="*/ 1272209 h 1294424"/>
              <a:gd name="connsiteX77" fmla="*/ 52627 w 842945"/>
              <a:gd name="connsiteY77" fmla="*/ 1285366 h 1294424"/>
              <a:gd name="connsiteX78" fmla="*/ 62495 w 842945"/>
              <a:gd name="connsiteY78" fmla="*/ 1288655 h 1294424"/>
              <a:gd name="connsiteX79" fmla="*/ 72362 w 842945"/>
              <a:gd name="connsiteY79" fmla="*/ 1268920 h 1294424"/>
              <a:gd name="connsiteX80" fmla="*/ 82230 w 842945"/>
              <a:gd name="connsiteY80" fmla="*/ 1252474 h 1294424"/>
              <a:gd name="connsiteX81" fmla="*/ 92097 w 842945"/>
              <a:gd name="connsiteY81" fmla="*/ 1229450 h 1294424"/>
              <a:gd name="connsiteX82" fmla="*/ 101965 w 842945"/>
              <a:gd name="connsiteY82" fmla="*/ 1226161 h 1294424"/>
              <a:gd name="connsiteX83" fmla="*/ 108544 w 842945"/>
              <a:gd name="connsiteY83" fmla="*/ 1219582 h 1294424"/>
              <a:gd name="connsiteX84" fmla="*/ 118411 w 842945"/>
              <a:gd name="connsiteY84" fmla="*/ 1213004 h 1294424"/>
              <a:gd name="connsiteX85" fmla="*/ 124990 w 842945"/>
              <a:gd name="connsiteY85" fmla="*/ 1203136 h 1294424"/>
              <a:gd name="connsiteX86" fmla="*/ 141436 w 842945"/>
              <a:gd name="connsiteY86" fmla="*/ 1173533 h 1294424"/>
              <a:gd name="connsiteX87" fmla="*/ 148014 w 842945"/>
              <a:gd name="connsiteY87" fmla="*/ 1163666 h 1294424"/>
              <a:gd name="connsiteX88" fmla="*/ 157882 w 842945"/>
              <a:gd name="connsiteY88" fmla="*/ 1160376 h 1294424"/>
              <a:gd name="connsiteX89" fmla="*/ 167749 w 842945"/>
              <a:gd name="connsiteY89" fmla="*/ 1150509 h 1294424"/>
              <a:gd name="connsiteX90" fmla="*/ 174328 w 842945"/>
              <a:gd name="connsiteY90" fmla="*/ 1140641 h 1294424"/>
              <a:gd name="connsiteX91" fmla="*/ 184195 w 842945"/>
              <a:gd name="connsiteY91" fmla="*/ 1134063 h 1294424"/>
              <a:gd name="connsiteX92" fmla="*/ 190774 w 842945"/>
              <a:gd name="connsiteY92" fmla="*/ 1127484 h 1294424"/>
              <a:gd name="connsiteX93" fmla="*/ 200641 w 842945"/>
              <a:gd name="connsiteY93" fmla="*/ 1120906 h 1294424"/>
              <a:gd name="connsiteX94" fmla="*/ 213798 w 842945"/>
              <a:gd name="connsiteY94" fmla="*/ 1104460 h 1294424"/>
              <a:gd name="connsiteX95" fmla="*/ 230244 w 842945"/>
              <a:gd name="connsiteY95" fmla="*/ 1088014 h 1294424"/>
              <a:gd name="connsiteX96" fmla="*/ 236823 w 842945"/>
              <a:gd name="connsiteY96" fmla="*/ 1081435 h 1294424"/>
              <a:gd name="connsiteX97" fmla="*/ 240112 w 842945"/>
              <a:gd name="connsiteY97" fmla="*/ 1071568 h 1294424"/>
              <a:gd name="connsiteX98" fmla="*/ 253269 w 842945"/>
              <a:gd name="connsiteY98" fmla="*/ 1058411 h 1294424"/>
              <a:gd name="connsiteX99" fmla="*/ 259847 w 842945"/>
              <a:gd name="connsiteY99" fmla="*/ 1051832 h 1294424"/>
              <a:gd name="connsiteX100" fmla="*/ 269715 w 842945"/>
              <a:gd name="connsiteY100" fmla="*/ 1048543 h 1294424"/>
              <a:gd name="connsiteX101" fmla="*/ 279582 w 842945"/>
              <a:gd name="connsiteY101" fmla="*/ 1041965 h 1294424"/>
              <a:gd name="connsiteX102" fmla="*/ 296028 w 842945"/>
              <a:gd name="connsiteY102" fmla="*/ 1028808 h 1294424"/>
              <a:gd name="connsiteX103" fmla="*/ 299318 w 842945"/>
              <a:gd name="connsiteY103" fmla="*/ 1018940 h 1294424"/>
              <a:gd name="connsiteX104" fmla="*/ 309185 w 842945"/>
              <a:gd name="connsiteY104" fmla="*/ 1012362 h 1294424"/>
              <a:gd name="connsiteX105" fmla="*/ 315764 w 842945"/>
              <a:gd name="connsiteY105" fmla="*/ 1005784 h 1294424"/>
              <a:gd name="connsiteX106" fmla="*/ 325631 w 842945"/>
              <a:gd name="connsiteY106" fmla="*/ 999205 h 1294424"/>
              <a:gd name="connsiteX107" fmla="*/ 332210 w 842945"/>
              <a:gd name="connsiteY107" fmla="*/ 992627 h 1294424"/>
              <a:gd name="connsiteX108" fmla="*/ 342077 w 842945"/>
              <a:gd name="connsiteY108" fmla="*/ 989337 h 1294424"/>
              <a:gd name="connsiteX109" fmla="*/ 358523 w 842945"/>
              <a:gd name="connsiteY109" fmla="*/ 976181 h 1294424"/>
              <a:gd name="connsiteX110" fmla="*/ 365102 w 842945"/>
              <a:gd name="connsiteY110" fmla="*/ 969602 h 1294424"/>
              <a:gd name="connsiteX111" fmla="*/ 374969 w 842945"/>
              <a:gd name="connsiteY111" fmla="*/ 966313 h 1294424"/>
              <a:gd name="connsiteX112" fmla="*/ 394705 w 842945"/>
              <a:gd name="connsiteY112" fmla="*/ 939999 h 1294424"/>
              <a:gd name="connsiteX113" fmla="*/ 404572 w 842945"/>
              <a:gd name="connsiteY113" fmla="*/ 933421 h 1294424"/>
              <a:gd name="connsiteX114" fmla="*/ 417729 w 842945"/>
              <a:gd name="connsiteY114" fmla="*/ 920264 h 1294424"/>
              <a:gd name="connsiteX115" fmla="*/ 424308 w 842945"/>
              <a:gd name="connsiteY115" fmla="*/ 913686 h 1294424"/>
              <a:gd name="connsiteX116" fmla="*/ 437464 w 842945"/>
              <a:gd name="connsiteY116" fmla="*/ 897240 h 1294424"/>
              <a:gd name="connsiteX117" fmla="*/ 440754 w 842945"/>
              <a:gd name="connsiteY117" fmla="*/ 887372 h 1294424"/>
              <a:gd name="connsiteX118" fmla="*/ 463778 w 842945"/>
              <a:gd name="connsiteY118" fmla="*/ 864348 h 1294424"/>
              <a:gd name="connsiteX119" fmla="*/ 480224 w 842945"/>
              <a:gd name="connsiteY119" fmla="*/ 854480 h 1294424"/>
              <a:gd name="connsiteX120" fmla="*/ 493381 w 842945"/>
              <a:gd name="connsiteY120" fmla="*/ 841323 h 1294424"/>
              <a:gd name="connsiteX121" fmla="*/ 503249 w 842945"/>
              <a:gd name="connsiteY121" fmla="*/ 834745 h 1294424"/>
              <a:gd name="connsiteX122" fmla="*/ 519695 w 842945"/>
              <a:gd name="connsiteY122" fmla="*/ 818299 h 1294424"/>
              <a:gd name="connsiteX123" fmla="*/ 532851 w 842945"/>
              <a:gd name="connsiteY123" fmla="*/ 801853 h 1294424"/>
              <a:gd name="connsiteX124" fmla="*/ 539430 w 842945"/>
              <a:gd name="connsiteY124" fmla="*/ 795274 h 1294424"/>
              <a:gd name="connsiteX125" fmla="*/ 546008 w 842945"/>
              <a:gd name="connsiteY125" fmla="*/ 785407 h 1294424"/>
              <a:gd name="connsiteX126" fmla="*/ 562454 w 842945"/>
              <a:gd name="connsiteY126" fmla="*/ 768961 h 1294424"/>
              <a:gd name="connsiteX127" fmla="*/ 565744 w 842945"/>
              <a:gd name="connsiteY127" fmla="*/ 759093 h 1294424"/>
              <a:gd name="connsiteX128" fmla="*/ 572322 w 842945"/>
              <a:gd name="connsiteY128" fmla="*/ 752514 h 1294424"/>
              <a:gd name="connsiteX129" fmla="*/ 585479 w 842945"/>
              <a:gd name="connsiteY129" fmla="*/ 736068 h 1294424"/>
              <a:gd name="connsiteX130" fmla="*/ 595346 w 842945"/>
              <a:gd name="connsiteY130" fmla="*/ 719622 h 1294424"/>
              <a:gd name="connsiteX131" fmla="*/ 605214 w 842945"/>
              <a:gd name="connsiteY131" fmla="*/ 703176 h 1294424"/>
              <a:gd name="connsiteX132" fmla="*/ 615082 w 842945"/>
              <a:gd name="connsiteY132" fmla="*/ 686730 h 1294424"/>
              <a:gd name="connsiteX133" fmla="*/ 618371 w 842945"/>
              <a:gd name="connsiteY133" fmla="*/ 676863 h 1294424"/>
              <a:gd name="connsiteX134" fmla="*/ 631528 w 842945"/>
              <a:gd name="connsiteY134" fmla="*/ 660417 h 1294424"/>
              <a:gd name="connsiteX135" fmla="*/ 638106 w 842945"/>
              <a:gd name="connsiteY135" fmla="*/ 650549 h 1294424"/>
              <a:gd name="connsiteX136" fmla="*/ 641395 w 842945"/>
              <a:gd name="connsiteY136" fmla="*/ 640681 h 1294424"/>
              <a:gd name="connsiteX137" fmla="*/ 651263 w 842945"/>
              <a:gd name="connsiteY137" fmla="*/ 634103 h 1294424"/>
              <a:gd name="connsiteX138" fmla="*/ 697312 w 842945"/>
              <a:gd name="connsiteY138" fmla="*/ 495956 h 1294424"/>
              <a:gd name="connsiteX139" fmla="*/ 703890 w 842945"/>
              <a:gd name="connsiteY139" fmla="*/ 476221 h 1294424"/>
              <a:gd name="connsiteX140" fmla="*/ 707179 w 842945"/>
              <a:gd name="connsiteY140" fmla="*/ 466353 h 1294424"/>
              <a:gd name="connsiteX141" fmla="*/ 713758 w 842945"/>
              <a:gd name="connsiteY141" fmla="*/ 443329 h 1294424"/>
              <a:gd name="connsiteX142" fmla="*/ 720336 w 842945"/>
              <a:gd name="connsiteY142" fmla="*/ 436750 h 1294424"/>
              <a:gd name="connsiteX143" fmla="*/ 730204 w 842945"/>
              <a:gd name="connsiteY143" fmla="*/ 407148 h 1294424"/>
              <a:gd name="connsiteX144" fmla="*/ 733493 w 842945"/>
              <a:gd name="connsiteY144" fmla="*/ 397280 h 1294424"/>
              <a:gd name="connsiteX145" fmla="*/ 740072 w 842945"/>
              <a:gd name="connsiteY145" fmla="*/ 390702 h 1294424"/>
              <a:gd name="connsiteX146" fmla="*/ 743361 w 842945"/>
              <a:gd name="connsiteY146" fmla="*/ 380834 h 1294424"/>
              <a:gd name="connsiteX147" fmla="*/ 756518 w 842945"/>
              <a:gd name="connsiteY147" fmla="*/ 367677 h 1294424"/>
              <a:gd name="connsiteX148" fmla="*/ 759807 w 842945"/>
              <a:gd name="connsiteY148" fmla="*/ 357809 h 1294424"/>
              <a:gd name="connsiteX149" fmla="*/ 776253 w 842945"/>
              <a:gd name="connsiteY149" fmla="*/ 341363 h 1294424"/>
              <a:gd name="connsiteX150" fmla="*/ 789410 w 842945"/>
              <a:gd name="connsiteY150" fmla="*/ 315050 h 1294424"/>
              <a:gd name="connsiteX151" fmla="*/ 792699 w 842945"/>
              <a:gd name="connsiteY151" fmla="*/ 301893 h 1294424"/>
              <a:gd name="connsiteX152" fmla="*/ 799277 w 842945"/>
              <a:gd name="connsiteY152" fmla="*/ 282158 h 1294424"/>
              <a:gd name="connsiteX153" fmla="*/ 805856 w 842945"/>
              <a:gd name="connsiteY153" fmla="*/ 262422 h 1294424"/>
              <a:gd name="connsiteX154" fmla="*/ 812434 w 842945"/>
              <a:gd name="connsiteY154" fmla="*/ 242687 h 1294424"/>
              <a:gd name="connsiteX155" fmla="*/ 815723 w 842945"/>
              <a:gd name="connsiteY155" fmla="*/ 232820 h 1294424"/>
              <a:gd name="connsiteX156" fmla="*/ 812434 w 842945"/>
              <a:gd name="connsiteY156" fmla="*/ 203217 h 1294424"/>
              <a:gd name="connsiteX157" fmla="*/ 805856 w 842945"/>
              <a:gd name="connsiteY157" fmla="*/ 183481 h 1294424"/>
              <a:gd name="connsiteX158" fmla="*/ 815723 w 842945"/>
              <a:gd name="connsiteY158" fmla="*/ 157168 h 1294424"/>
              <a:gd name="connsiteX159" fmla="*/ 825591 w 842945"/>
              <a:gd name="connsiteY159" fmla="*/ 153878 h 1294424"/>
              <a:gd name="connsiteX160" fmla="*/ 832169 w 842945"/>
              <a:gd name="connsiteY160" fmla="*/ 144011 h 1294424"/>
              <a:gd name="connsiteX161" fmla="*/ 825591 w 842945"/>
              <a:gd name="connsiteY161" fmla="*/ 104540 h 1294424"/>
              <a:gd name="connsiteX162" fmla="*/ 819013 w 842945"/>
              <a:gd name="connsiteY162" fmla="*/ 94673 h 1294424"/>
              <a:gd name="connsiteX163" fmla="*/ 825591 w 842945"/>
              <a:gd name="connsiteY163" fmla="*/ 35467 h 1294424"/>
              <a:gd name="connsiteX164" fmla="*/ 835459 w 842945"/>
              <a:gd name="connsiteY164" fmla="*/ 15732 h 1294424"/>
              <a:gd name="connsiteX165" fmla="*/ 838748 w 842945"/>
              <a:gd name="connsiteY165" fmla="*/ 2575 h 1294424"/>
              <a:gd name="connsiteX166" fmla="*/ 819013 w 842945"/>
              <a:gd name="connsiteY166" fmla="*/ 9153 h 1294424"/>
              <a:gd name="connsiteX167" fmla="*/ 795988 w 842945"/>
              <a:gd name="connsiteY167" fmla="*/ 15732 h 1294424"/>
              <a:gd name="connsiteX168" fmla="*/ 786120 w 842945"/>
              <a:gd name="connsiteY168" fmla="*/ 22310 h 1294424"/>
              <a:gd name="connsiteX169" fmla="*/ 776253 w 842945"/>
              <a:gd name="connsiteY169" fmla="*/ 25599 h 1294424"/>
              <a:gd name="connsiteX170" fmla="*/ 763096 w 842945"/>
              <a:gd name="connsiteY170" fmla="*/ 42045 h 1294424"/>
              <a:gd name="connsiteX171" fmla="*/ 743361 w 842945"/>
              <a:gd name="connsiteY171" fmla="*/ 55202 h 1294424"/>
              <a:gd name="connsiteX172" fmla="*/ 713758 w 842945"/>
              <a:gd name="connsiteY172" fmla="*/ 65070 h 1294424"/>
              <a:gd name="connsiteX173" fmla="*/ 703890 w 842945"/>
              <a:gd name="connsiteY173" fmla="*/ 68359 h 1294424"/>
              <a:gd name="connsiteX174" fmla="*/ 684155 w 842945"/>
              <a:gd name="connsiteY174" fmla="*/ 71648 h 1294424"/>
              <a:gd name="connsiteX175" fmla="*/ 664420 w 842945"/>
              <a:gd name="connsiteY175" fmla="*/ 78227 h 1294424"/>
              <a:gd name="connsiteX176" fmla="*/ 654552 w 842945"/>
              <a:gd name="connsiteY176" fmla="*/ 81516 h 1294424"/>
              <a:gd name="connsiteX177" fmla="*/ 628238 w 842945"/>
              <a:gd name="connsiteY177" fmla="*/ 84805 h 1294424"/>
              <a:gd name="connsiteX178" fmla="*/ 588768 w 842945"/>
              <a:gd name="connsiteY178" fmla="*/ 94673 h 1294424"/>
              <a:gd name="connsiteX179" fmla="*/ 578900 w 842945"/>
              <a:gd name="connsiteY179" fmla="*/ 97962 h 1294424"/>
              <a:gd name="connsiteX180" fmla="*/ 513116 w 842945"/>
              <a:gd name="connsiteY180" fmla="*/ 101251 h 1294424"/>
              <a:gd name="connsiteX181" fmla="*/ 496670 w 842945"/>
              <a:gd name="connsiteY181" fmla="*/ 111119 h 1294424"/>
              <a:gd name="connsiteX182" fmla="*/ 476935 w 842945"/>
              <a:gd name="connsiteY182" fmla="*/ 124276 h 1294424"/>
              <a:gd name="connsiteX183" fmla="*/ 460489 w 842945"/>
              <a:gd name="connsiteY183" fmla="*/ 140722 h 1294424"/>
              <a:gd name="connsiteX184" fmla="*/ 374969 w 842945"/>
              <a:gd name="connsiteY184" fmla="*/ 150589 h 1294424"/>
              <a:gd name="connsiteX185" fmla="*/ 358523 w 842945"/>
              <a:gd name="connsiteY185" fmla="*/ 153878 h 1294424"/>
              <a:gd name="connsiteX186" fmla="*/ 338788 w 842945"/>
              <a:gd name="connsiteY186" fmla="*/ 160457 h 1294424"/>
              <a:gd name="connsiteX187" fmla="*/ 328920 w 842945"/>
              <a:gd name="connsiteY187" fmla="*/ 163746 h 1294424"/>
              <a:gd name="connsiteX188" fmla="*/ 309185 w 842945"/>
              <a:gd name="connsiteY188" fmla="*/ 170325 h 1294424"/>
              <a:gd name="connsiteX189" fmla="*/ 299318 w 842945"/>
              <a:gd name="connsiteY189" fmla="*/ 173614 h 1294424"/>
              <a:gd name="connsiteX190" fmla="*/ 292739 w 842945"/>
              <a:gd name="connsiteY190" fmla="*/ 180192 h 1294424"/>
              <a:gd name="connsiteX191" fmla="*/ 246690 w 842945"/>
              <a:gd name="connsiteY191" fmla="*/ 180192 h 1294424"/>
              <a:gd name="connsiteX192" fmla="*/ 230244 w 842945"/>
              <a:gd name="connsiteY192" fmla="*/ 167035 h 1294424"/>
              <a:gd name="connsiteX193" fmla="*/ 223666 w 842945"/>
              <a:gd name="connsiteY193" fmla="*/ 157168 h 1294424"/>
              <a:gd name="connsiteX194" fmla="*/ 217087 w 842945"/>
              <a:gd name="connsiteY194" fmla="*/ 150589 h 1294424"/>
              <a:gd name="connsiteX195" fmla="*/ 210509 w 842945"/>
              <a:gd name="connsiteY195" fmla="*/ 140722 h 1294424"/>
              <a:gd name="connsiteX196" fmla="*/ 200641 w 842945"/>
              <a:gd name="connsiteY196" fmla="*/ 137432 h 1294424"/>
              <a:gd name="connsiteX197" fmla="*/ 184195 w 842945"/>
              <a:gd name="connsiteY197" fmla="*/ 120986 h 1294424"/>
              <a:gd name="connsiteX198" fmla="*/ 167749 w 842945"/>
              <a:gd name="connsiteY198" fmla="*/ 107830 h 1294424"/>
              <a:gd name="connsiteX199" fmla="*/ 167749 w 842945"/>
              <a:gd name="connsiteY199" fmla="*/ 107830 h 1294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842945" h="1294424">
                <a:moveTo>
                  <a:pt x="167749" y="107830"/>
                </a:moveTo>
                <a:cubicBezTo>
                  <a:pt x="166653" y="110571"/>
                  <a:pt x="164100" y="119150"/>
                  <a:pt x="161171" y="124276"/>
                </a:cubicBezTo>
                <a:cubicBezTo>
                  <a:pt x="159632" y="126969"/>
                  <a:pt x="155979" y="128080"/>
                  <a:pt x="154592" y="130854"/>
                </a:cubicBezTo>
                <a:cubicBezTo>
                  <a:pt x="151491" y="137056"/>
                  <a:pt x="152917" y="145686"/>
                  <a:pt x="148014" y="150589"/>
                </a:cubicBezTo>
                <a:cubicBezTo>
                  <a:pt x="139919" y="158684"/>
                  <a:pt x="133289" y="163593"/>
                  <a:pt x="128279" y="173614"/>
                </a:cubicBezTo>
                <a:cubicBezTo>
                  <a:pt x="126729" y="176715"/>
                  <a:pt x="126086" y="180192"/>
                  <a:pt x="124990" y="183481"/>
                </a:cubicBezTo>
                <a:cubicBezTo>
                  <a:pt x="126086" y="191156"/>
                  <a:pt x="126759" y="198904"/>
                  <a:pt x="128279" y="206506"/>
                </a:cubicBezTo>
                <a:cubicBezTo>
                  <a:pt x="128959" y="209906"/>
                  <a:pt x="129402" y="213666"/>
                  <a:pt x="131568" y="216373"/>
                </a:cubicBezTo>
                <a:cubicBezTo>
                  <a:pt x="134038" y="219460"/>
                  <a:pt x="138147" y="220759"/>
                  <a:pt x="141436" y="222952"/>
                </a:cubicBezTo>
                <a:cubicBezTo>
                  <a:pt x="145821" y="229530"/>
                  <a:pt x="149002" y="237097"/>
                  <a:pt x="154592" y="242687"/>
                </a:cubicBezTo>
                <a:cubicBezTo>
                  <a:pt x="156785" y="244880"/>
                  <a:pt x="159234" y="246844"/>
                  <a:pt x="161171" y="249266"/>
                </a:cubicBezTo>
                <a:cubicBezTo>
                  <a:pt x="177769" y="270013"/>
                  <a:pt x="158442" y="249826"/>
                  <a:pt x="174328" y="265712"/>
                </a:cubicBezTo>
                <a:cubicBezTo>
                  <a:pt x="175424" y="269001"/>
                  <a:pt x="175166" y="273128"/>
                  <a:pt x="177617" y="275579"/>
                </a:cubicBezTo>
                <a:cubicBezTo>
                  <a:pt x="183208" y="281170"/>
                  <a:pt x="191761" y="283146"/>
                  <a:pt x="197352" y="288736"/>
                </a:cubicBezTo>
                <a:cubicBezTo>
                  <a:pt x="205145" y="296528"/>
                  <a:pt x="212510" y="304751"/>
                  <a:pt x="223666" y="308471"/>
                </a:cubicBezTo>
                <a:lnTo>
                  <a:pt x="233533" y="311761"/>
                </a:lnTo>
                <a:cubicBezTo>
                  <a:pt x="241325" y="319552"/>
                  <a:pt x="248693" y="327778"/>
                  <a:pt x="259847" y="331496"/>
                </a:cubicBezTo>
                <a:lnTo>
                  <a:pt x="319053" y="351231"/>
                </a:lnTo>
                <a:cubicBezTo>
                  <a:pt x="322342" y="352327"/>
                  <a:pt x="325557" y="353679"/>
                  <a:pt x="328920" y="354520"/>
                </a:cubicBezTo>
                <a:cubicBezTo>
                  <a:pt x="337691" y="356713"/>
                  <a:pt x="346657" y="358240"/>
                  <a:pt x="355234" y="361099"/>
                </a:cubicBezTo>
                <a:cubicBezTo>
                  <a:pt x="361812" y="363292"/>
                  <a:pt x="369199" y="363831"/>
                  <a:pt x="374969" y="367677"/>
                </a:cubicBezTo>
                <a:cubicBezTo>
                  <a:pt x="378258" y="369870"/>
                  <a:pt x="381225" y="372649"/>
                  <a:pt x="384837" y="374255"/>
                </a:cubicBezTo>
                <a:cubicBezTo>
                  <a:pt x="384851" y="374261"/>
                  <a:pt x="409499" y="382476"/>
                  <a:pt x="414440" y="384123"/>
                </a:cubicBezTo>
                <a:lnTo>
                  <a:pt x="424308" y="387412"/>
                </a:lnTo>
                <a:cubicBezTo>
                  <a:pt x="427597" y="388508"/>
                  <a:pt x="430709" y="390603"/>
                  <a:pt x="434175" y="390702"/>
                </a:cubicBezTo>
                <a:lnTo>
                  <a:pt x="549297" y="393991"/>
                </a:lnTo>
                <a:lnTo>
                  <a:pt x="569033" y="400569"/>
                </a:lnTo>
                <a:lnTo>
                  <a:pt x="578900" y="403858"/>
                </a:lnTo>
                <a:cubicBezTo>
                  <a:pt x="579997" y="407147"/>
                  <a:pt x="582190" y="410259"/>
                  <a:pt x="582190" y="413726"/>
                </a:cubicBezTo>
                <a:cubicBezTo>
                  <a:pt x="582190" y="419561"/>
                  <a:pt x="575647" y="429582"/>
                  <a:pt x="572322" y="433461"/>
                </a:cubicBezTo>
                <a:cubicBezTo>
                  <a:pt x="555041" y="453622"/>
                  <a:pt x="565173" y="440495"/>
                  <a:pt x="549297" y="453196"/>
                </a:cubicBezTo>
                <a:cubicBezTo>
                  <a:pt x="546875" y="455133"/>
                  <a:pt x="545141" y="457838"/>
                  <a:pt x="542719" y="459775"/>
                </a:cubicBezTo>
                <a:cubicBezTo>
                  <a:pt x="539632" y="462245"/>
                  <a:pt x="535938" y="463883"/>
                  <a:pt x="532851" y="466353"/>
                </a:cubicBezTo>
                <a:cubicBezTo>
                  <a:pt x="530429" y="468290"/>
                  <a:pt x="528695" y="470995"/>
                  <a:pt x="526273" y="472932"/>
                </a:cubicBezTo>
                <a:cubicBezTo>
                  <a:pt x="523186" y="475402"/>
                  <a:pt x="519492" y="477040"/>
                  <a:pt x="516405" y="479510"/>
                </a:cubicBezTo>
                <a:cubicBezTo>
                  <a:pt x="513983" y="481447"/>
                  <a:pt x="512308" y="484228"/>
                  <a:pt x="509827" y="486089"/>
                </a:cubicBezTo>
                <a:cubicBezTo>
                  <a:pt x="503502" y="490833"/>
                  <a:pt x="495682" y="493655"/>
                  <a:pt x="490092" y="499245"/>
                </a:cubicBezTo>
                <a:cubicBezTo>
                  <a:pt x="487899" y="501438"/>
                  <a:pt x="485994" y="503963"/>
                  <a:pt x="483513" y="505824"/>
                </a:cubicBezTo>
                <a:cubicBezTo>
                  <a:pt x="477188" y="510568"/>
                  <a:pt x="463778" y="518981"/>
                  <a:pt x="463778" y="518981"/>
                </a:cubicBezTo>
                <a:cubicBezTo>
                  <a:pt x="450163" y="539403"/>
                  <a:pt x="460171" y="521049"/>
                  <a:pt x="453910" y="561740"/>
                </a:cubicBezTo>
                <a:cubicBezTo>
                  <a:pt x="452406" y="571518"/>
                  <a:pt x="442774" y="586032"/>
                  <a:pt x="437464" y="591343"/>
                </a:cubicBezTo>
                <a:cubicBezTo>
                  <a:pt x="435271" y="593536"/>
                  <a:pt x="432823" y="595500"/>
                  <a:pt x="430886" y="597922"/>
                </a:cubicBezTo>
                <a:cubicBezTo>
                  <a:pt x="428417" y="601009"/>
                  <a:pt x="426777" y="604702"/>
                  <a:pt x="424308" y="607789"/>
                </a:cubicBezTo>
                <a:cubicBezTo>
                  <a:pt x="418951" y="614485"/>
                  <a:pt x="415189" y="616061"/>
                  <a:pt x="407862" y="620946"/>
                </a:cubicBezTo>
                <a:cubicBezTo>
                  <a:pt x="405669" y="624235"/>
                  <a:pt x="404370" y="628344"/>
                  <a:pt x="401283" y="630814"/>
                </a:cubicBezTo>
                <a:cubicBezTo>
                  <a:pt x="398576" y="632980"/>
                  <a:pt x="394516" y="632552"/>
                  <a:pt x="391415" y="634103"/>
                </a:cubicBezTo>
                <a:cubicBezTo>
                  <a:pt x="387879" y="635871"/>
                  <a:pt x="384635" y="638212"/>
                  <a:pt x="381548" y="640681"/>
                </a:cubicBezTo>
                <a:cubicBezTo>
                  <a:pt x="374852" y="646038"/>
                  <a:pt x="373276" y="649800"/>
                  <a:pt x="368391" y="657127"/>
                </a:cubicBezTo>
                <a:cubicBezTo>
                  <a:pt x="363011" y="673269"/>
                  <a:pt x="367244" y="678112"/>
                  <a:pt x="351945" y="680152"/>
                </a:cubicBezTo>
                <a:cubicBezTo>
                  <a:pt x="338858" y="681897"/>
                  <a:pt x="325631" y="682345"/>
                  <a:pt x="312474" y="683441"/>
                </a:cubicBezTo>
                <a:lnTo>
                  <a:pt x="282872" y="693309"/>
                </a:lnTo>
                <a:cubicBezTo>
                  <a:pt x="279583" y="694405"/>
                  <a:pt x="276459" y="696310"/>
                  <a:pt x="273004" y="696598"/>
                </a:cubicBezTo>
                <a:lnTo>
                  <a:pt x="233533" y="699887"/>
                </a:lnTo>
                <a:cubicBezTo>
                  <a:pt x="230244" y="700983"/>
                  <a:pt x="226373" y="701010"/>
                  <a:pt x="223666" y="703176"/>
                </a:cubicBezTo>
                <a:cubicBezTo>
                  <a:pt x="208260" y="715501"/>
                  <a:pt x="224392" y="709668"/>
                  <a:pt x="213798" y="722912"/>
                </a:cubicBezTo>
                <a:cubicBezTo>
                  <a:pt x="211329" y="725999"/>
                  <a:pt x="207018" y="727021"/>
                  <a:pt x="203931" y="729490"/>
                </a:cubicBezTo>
                <a:cubicBezTo>
                  <a:pt x="191031" y="739810"/>
                  <a:pt x="204620" y="733645"/>
                  <a:pt x="187485" y="739358"/>
                </a:cubicBezTo>
                <a:cubicBezTo>
                  <a:pt x="176002" y="750839"/>
                  <a:pt x="183849" y="744954"/>
                  <a:pt x="161171" y="752514"/>
                </a:cubicBezTo>
                <a:lnTo>
                  <a:pt x="121700" y="765671"/>
                </a:lnTo>
                <a:lnTo>
                  <a:pt x="101965" y="772250"/>
                </a:lnTo>
                <a:lnTo>
                  <a:pt x="92097" y="775539"/>
                </a:lnTo>
                <a:cubicBezTo>
                  <a:pt x="87614" y="778527"/>
                  <a:pt x="78776" y="783488"/>
                  <a:pt x="75651" y="788696"/>
                </a:cubicBezTo>
                <a:cubicBezTo>
                  <a:pt x="62839" y="810049"/>
                  <a:pt x="82455" y="788469"/>
                  <a:pt x="65784" y="805142"/>
                </a:cubicBezTo>
                <a:cubicBezTo>
                  <a:pt x="63591" y="811720"/>
                  <a:pt x="63051" y="819107"/>
                  <a:pt x="59205" y="824877"/>
                </a:cubicBezTo>
                <a:cubicBezTo>
                  <a:pt x="54820" y="831455"/>
                  <a:pt x="51639" y="839022"/>
                  <a:pt x="46049" y="844612"/>
                </a:cubicBezTo>
                <a:cubicBezTo>
                  <a:pt x="36675" y="853986"/>
                  <a:pt x="41190" y="848611"/>
                  <a:pt x="32892" y="861058"/>
                </a:cubicBezTo>
                <a:cubicBezTo>
                  <a:pt x="31796" y="864347"/>
                  <a:pt x="31618" y="868105"/>
                  <a:pt x="29603" y="870926"/>
                </a:cubicBezTo>
                <a:cubicBezTo>
                  <a:pt x="25998" y="875973"/>
                  <a:pt x="16446" y="884083"/>
                  <a:pt x="16446" y="884083"/>
                </a:cubicBezTo>
                <a:cubicBezTo>
                  <a:pt x="15349" y="888469"/>
                  <a:pt x="14455" y="892910"/>
                  <a:pt x="13156" y="897240"/>
                </a:cubicBezTo>
                <a:cubicBezTo>
                  <a:pt x="11163" y="903882"/>
                  <a:pt x="7938" y="910176"/>
                  <a:pt x="6578" y="916975"/>
                </a:cubicBezTo>
                <a:cubicBezTo>
                  <a:pt x="2609" y="936821"/>
                  <a:pt x="5057" y="928117"/>
                  <a:pt x="0" y="943289"/>
                </a:cubicBezTo>
                <a:cubicBezTo>
                  <a:pt x="1096" y="975085"/>
                  <a:pt x="2504" y="1006871"/>
                  <a:pt x="3289" y="1038676"/>
                </a:cubicBezTo>
                <a:cubicBezTo>
                  <a:pt x="4696" y="1095682"/>
                  <a:pt x="3633" y="1152767"/>
                  <a:pt x="6578" y="1209714"/>
                </a:cubicBezTo>
                <a:cubicBezTo>
                  <a:pt x="6936" y="1216639"/>
                  <a:pt x="8253" y="1224547"/>
                  <a:pt x="13156" y="1229450"/>
                </a:cubicBezTo>
                <a:lnTo>
                  <a:pt x="26313" y="1242607"/>
                </a:lnTo>
                <a:lnTo>
                  <a:pt x="32892" y="1262342"/>
                </a:lnTo>
                <a:cubicBezTo>
                  <a:pt x="33988" y="1265631"/>
                  <a:pt x="33730" y="1269757"/>
                  <a:pt x="36181" y="1272209"/>
                </a:cubicBezTo>
                <a:cubicBezTo>
                  <a:pt x="42301" y="1278330"/>
                  <a:pt x="44326" y="1281216"/>
                  <a:pt x="52627" y="1285366"/>
                </a:cubicBezTo>
                <a:cubicBezTo>
                  <a:pt x="55728" y="1286916"/>
                  <a:pt x="59206" y="1287559"/>
                  <a:pt x="62495" y="1288655"/>
                </a:cubicBezTo>
                <a:cubicBezTo>
                  <a:pt x="70762" y="1263855"/>
                  <a:pt x="59611" y="1294424"/>
                  <a:pt x="72362" y="1268920"/>
                </a:cubicBezTo>
                <a:cubicBezTo>
                  <a:pt x="80901" y="1251842"/>
                  <a:pt x="69381" y="1265323"/>
                  <a:pt x="82230" y="1252474"/>
                </a:cubicBezTo>
                <a:cubicBezTo>
                  <a:pt x="84205" y="1244574"/>
                  <a:pt x="84999" y="1235128"/>
                  <a:pt x="92097" y="1229450"/>
                </a:cubicBezTo>
                <a:cubicBezTo>
                  <a:pt x="94805" y="1227284"/>
                  <a:pt x="98676" y="1227257"/>
                  <a:pt x="101965" y="1226161"/>
                </a:cubicBezTo>
                <a:cubicBezTo>
                  <a:pt x="104158" y="1223968"/>
                  <a:pt x="106122" y="1221519"/>
                  <a:pt x="108544" y="1219582"/>
                </a:cubicBezTo>
                <a:cubicBezTo>
                  <a:pt x="111631" y="1217113"/>
                  <a:pt x="115616" y="1215799"/>
                  <a:pt x="118411" y="1213004"/>
                </a:cubicBezTo>
                <a:cubicBezTo>
                  <a:pt x="121206" y="1210209"/>
                  <a:pt x="122797" y="1206425"/>
                  <a:pt x="124990" y="1203136"/>
                </a:cubicBezTo>
                <a:cubicBezTo>
                  <a:pt x="130779" y="1185767"/>
                  <a:pt x="126356" y="1196153"/>
                  <a:pt x="141436" y="1173533"/>
                </a:cubicBezTo>
                <a:cubicBezTo>
                  <a:pt x="143629" y="1170244"/>
                  <a:pt x="144264" y="1164916"/>
                  <a:pt x="148014" y="1163666"/>
                </a:cubicBezTo>
                <a:lnTo>
                  <a:pt x="157882" y="1160376"/>
                </a:lnTo>
                <a:cubicBezTo>
                  <a:pt x="161171" y="1157087"/>
                  <a:pt x="164771" y="1154082"/>
                  <a:pt x="167749" y="1150509"/>
                </a:cubicBezTo>
                <a:cubicBezTo>
                  <a:pt x="170280" y="1147472"/>
                  <a:pt x="171533" y="1143436"/>
                  <a:pt x="174328" y="1140641"/>
                </a:cubicBezTo>
                <a:cubicBezTo>
                  <a:pt x="177123" y="1137846"/>
                  <a:pt x="181108" y="1136532"/>
                  <a:pt x="184195" y="1134063"/>
                </a:cubicBezTo>
                <a:cubicBezTo>
                  <a:pt x="186617" y="1132126"/>
                  <a:pt x="188352" y="1129421"/>
                  <a:pt x="190774" y="1127484"/>
                </a:cubicBezTo>
                <a:cubicBezTo>
                  <a:pt x="193861" y="1125015"/>
                  <a:pt x="197554" y="1123375"/>
                  <a:pt x="200641" y="1120906"/>
                </a:cubicBezTo>
                <a:cubicBezTo>
                  <a:pt x="211329" y="1112355"/>
                  <a:pt x="203825" y="1115858"/>
                  <a:pt x="213798" y="1104460"/>
                </a:cubicBezTo>
                <a:cubicBezTo>
                  <a:pt x="218903" y="1098625"/>
                  <a:pt x="224762" y="1093496"/>
                  <a:pt x="230244" y="1088014"/>
                </a:cubicBezTo>
                <a:lnTo>
                  <a:pt x="236823" y="1081435"/>
                </a:lnTo>
                <a:cubicBezTo>
                  <a:pt x="237919" y="1078146"/>
                  <a:pt x="238097" y="1074389"/>
                  <a:pt x="240112" y="1071568"/>
                </a:cubicBezTo>
                <a:cubicBezTo>
                  <a:pt x="243717" y="1066521"/>
                  <a:pt x="248883" y="1062797"/>
                  <a:pt x="253269" y="1058411"/>
                </a:cubicBezTo>
                <a:cubicBezTo>
                  <a:pt x="255462" y="1056218"/>
                  <a:pt x="256905" y="1052813"/>
                  <a:pt x="259847" y="1051832"/>
                </a:cubicBezTo>
                <a:lnTo>
                  <a:pt x="269715" y="1048543"/>
                </a:lnTo>
                <a:cubicBezTo>
                  <a:pt x="273004" y="1046350"/>
                  <a:pt x="276495" y="1044434"/>
                  <a:pt x="279582" y="1041965"/>
                </a:cubicBezTo>
                <a:cubicBezTo>
                  <a:pt x="303015" y="1023218"/>
                  <a:pt x="265661" y="1049052"/>
                  <a:pt x="296028" y="1028808"/>
                </a:cubicBezTo>
                <a:cubicBezTo>
                  <a:pt x="297125" y="1025519"/>
                  <a:pt x="297152" y="1021648"/>
                  <a:pt x="299318" y="1018940"/>
                </a:cubicBezTo>
                <a:cubicBezTo>
                  <a:pt x="301787" y="1015853"/>
                  <a:pt x="306098" y="1014831"/>
                  <a:pt x="309185" y="1012362"/>
                </a:cubicBezTo>
                <a:cubicBezTo>
                  <a:pt x="311607" y="1010425"/>
                  <a:pt x="313342" y="1007721"/>
                  <a:pt x="315764" y="1005784"/>
                </a:cubicBezTo>
                <a:cubicBezTo>
                  <a:pt x="318851" y="1003315"/>
                  <a:pt x="322544" y="1001674"/>
                  <a:pt x="325631" y="999205"/>
                </a:cubicBezTo>
                <a:cubicBezTo>
                  <a:pt x="328053" y="997268"/>
                  <a:pt x="329551" y="994223"/>
                  <a:pt x="332210" y="992627"/>
                </a:cubicBezTo>
                <a:cubicBezTo>
                  <a:pt x="335183" y="990843"/>
                  <a:pt x="338788" y="990434"/>
                  <a:pt x="342077" y="989337"/>
                </a:cubicBezTo>
                <a:cubicBezTo>
                  <a:pt x="357967" y="973449"/>
                  <a:pt x="337770" y="992784"/>
                  <a:pt x="358523" y="976181"/>
                </a:cubicBezTo>
                <a:cubicBezTo>
                  <a:pt x="360945" y="974244"/>
                  <a:pt x="362443" y="971198"/>
                  <a:pt x="365102" y="969602"/>
                </a:cubicBezTo>
                <a:cubicBezTo>
                  <a:pt x="368075" y="967818"/>
                  <a:pt x="371680" y="967409"/>
                  <a:pt x="374969" y="966313"/>
                </a:cubicBezTo>
                <a:cubicBezTo>
                  <a:pt x="380982" y="957293"/>
                  <a:pt x="386013" y="946953"/>
                  <a:pt x="394705" y="939999"/>
                </a:cubicBezTo>
                <a:cubicBezTo>
                  <a:pt x="397792" y="937530"/>
                  <a:pt x="401571" y="935994"/>
                  <a:pt x="404572" y="933421"/>
                </a:cubicBezTo>
                <a:cubicBezTo>
                  <a:pt x="409281" y="929385"/>
                  <a:pt x="413343" y="924650"/>
                  <a:pt x="417729" y="920264"/>
                </a:cubicBezTo>
                <a:lnTo>
                  <a:pt x="424308" y="913686"/>
                </a:lnTo>
                <a:cubicBezTo>
                  <a:pt x="432574" y="888884"/>
                  <a:pt x="420462" y="918492"/>
                  <a:pt x="437464" y="897240"/>
                </a:cubicBezTo>
                <a:cubicBezTo>
                  <a:pt x="439630" y="894532"/>
                  <a:pt x="439070" y="890403"/>
                  <a:pt x="440754" y="887372"/>
                </a:cubicBezTo>
                <a:cubicBezTo>
                  <a:pt x="452750" y="865780"/>
                  <a:pt x="447762" y="869686"/>
                  <a:pt x="463778" y="864348"/>
                </a:cubicBezTo>
                <a:cubicBezTo>
                  <a:pt x="488076" y="840047"/>
                  <a:pt x="450343" y="875823"/>
                  <a:pt x="480224" y="854480"/>
                </a:cubicBezTo>
                <a:cubicBezTo>
                  <a:pt x="485271" y="850875"/>
                  <a:pt x="488220" y="844763"/>
                  <a:pt x="493381" y="841323"/>
                </a:cubicBezTo>
                <a:lnTo>
                  <a:pt x="503249" y="834745"/>
                </a:lnTo>
                <a:cubicBezTo>
                  <a:pt x="514527" y="817827"/>
                  <a:pt x="504031" y="830831"/>
                  <a:pt x="519695" y="818299"/>
                </a:cubicBezTo>
                <a:cubicBezTo>
                  <a:pt x="528516" y="811242"/>
                  <a:pt x="525256" y="811347"/>
                  <a:pt x="532851" y="801853"/>
                </a:cubicBezTo>
                <a:cubicBezTo>
                  <a:pt x="534788" y="799431"/>
                  <a:pt x="537493" y="797696"/>
                  <a:pt x="539430" y="795274"/>
                </a:cubicBezTo>
                <a:cubicBezTo>
                  <a:pt x="541899" y="792187"/>
                  <a:pt x="543405" y="788382"/>
                  <a:pt x="546008" y="785407"/>
                </a:cubicBezTo>
                <a:cubicBezTo>
                  <a:pt x="551113" y="779572"/>
                  <a:pt x="562454" y="768961"/>
                  <a:pt x="562454" y="768961"/>
                </a:cubicBezTo>
                <a:cubicBezTo>
                  <a:pt x="563551" y="765672"/>
                  <a:pt x="563960" y="762066"/>
                  <a:pt x="565744" y="759093"/>
                </a:cubicBezTo>
                <a:cubicBezTo>
                  <a:pt x="567339" y="756434"/>
                  <a:pt x="570385" y="754936"/>
                  <a:pt x="572322" y="752514"/>
                </a:cubicBezTo>
                <a:cubicBezTo>
                  <a:pt x="588914" y="731773"/>
                  <a:pt x="569598" y="751949"/>
                  <a:pt x="585479" y="736068"/>
                </a:cubicBezTo>
                <a:cubicBezTo>
                  <a:pt x="594794" y="708123"/>
                  <a:pt x="581804" y="742191"/>
                  <a:pt x="595346" y="719622"/>
                </a:cubicBezTo>
                <a:cubicBezTo>
                  <a:pt x="608156" y="698273"/>
                  <a:pt x="588547" y="719846"/>
                  <a:pt x="605214" y="703176"/>
                </a:cubicBezTo>
                <a:cubicBezTo>
                  <a:pt x="614530" y="675227"/>
                  <a:pt x="601537" y="709304"/>
                  <a:pt x="615082" y="686730"/>
                </a:cubicBezTo>
                <a:cubicBezTo>
                  <a:pt x="616866" y="683757"/>
                  <a:pt x="616821" y="679964"/>
                  <a:pt x="618371" y="676863"/>
                </a:cubicBezTo>
                <a:cubicBezTo>
                  <a:pt x="625123" y="663358"/>
                  <a:pt x="623366" y="670619"/>
                  <a:pt x="631528" y="660417"/>
                </a:cubicBezTo>
                <a:cubicBezTo>
                  <a:pt x="633998" y="657330"/>
                  <a:pt x="636338" y="654085"/>
                  <a:pt x="638106" y="650549"/>
                </a:cubicBezTo>
                <a:cubicBezTo>
                  <a:pt x="639656" y="647448"/>
                  <a:pt x="639229" y="643388"/>
                  <a:pt x="641395" y="640681"/>
                </a:cubicBezTo>
                <a:cubicBezTo>
                  <a:pt x="643865" y="637594"/>
                  <a:pt x="647974" y="636296"/>
                  <a:pt x="651263" y="634103"/>
                </a:cubicBezTo>
                <a:lnTo>
                  <a:pt x="697312" y="495956"/>
                </a:lnTo>
                <a:lnTo>
                  <a:pt x="703890" y="476221"/>
                </a:lnTo>
                <a:cubicBezTo>
                  <a:pt x="704986" y="472932"/>
                  <a:pt x="706338" y="469717"/>
                  <a:pt x="707179" y="466353"/>
                </a:cubicBezTo>
                <a:cubicBezTo>
                  <a:pt x="707793" y="463898"/>
                  <a:pt x="711737" y="446698"/>
                  <a:pt x="713758" y="443329"/>
                </a:cubicBezTo>
                <a:cubicBezTo>
                  <a:pt x="715353" y="440670"/>
                  <a:pt x="718143" y="438943"/>
                  <a:pt x="720336" y="436750"/>
                </a:cubicBezTo>
                <a:lnTo>
                  <a:pt x="730204" y="407148"/>
                </a:lnTo>
                <a:cubicBezTo>
                  <a:pt x="731300" y="403859"/>
                  <a:pt x="731041" y="399732"/>
                  <a:pt x="733493" y="397280"/>
                </a:cubicBezTo>
                <a:lnTo>
                  <a:pt x="740072" y="390702"/>
                </a:lnTo>
                <a:cubicBezTo>
                  <a:pt x="741168" y="387413"/>
                  <a:pt x="741346" y="383655"/>
                  <a:pt x="743361" y="380834"/>
                </a:cubicBezTo>
                <a:cubicBezTo>
                  <a:pt x="746966" y="375787"/>
                  <a:pt x="756518" y="367677"/>
                  <a:pt x="756518" y="367677"/>
                </a:cubicBezTo>
                <a:cubicBezTo>
                  <a:pt x="757614" y="364388"/>
                  <a:pt x="757727" y="360583"/>
                  <a:pt x="759807" y="357809"/>
                </a:cubicBezTo>
                <a:cubicBezTo>
                  <a:pt x="764459" y="351607"/>
                  <a:pt x="776253" y="341363"/>
                  <a:pt x="776253" y="341363"/>
                </a:cubicBezTo>
                <a:cubicBezTo>
                  <a:pt x="783812" y="318686"/>
                  <a:pt x="777927" y="326531"/>
                  <a:pt x="789410" y="315050"/>
                </a:cubicBezTo>
                <a:cubicBezTo>
                  <a:pt x="790506" y="310664"/>
                  <a:pt x="791400" y="306223"/>
                  <a:pt x="792699" y="301893"/>
                </a:cubicBezTo>
                <a:cubicBezTo>
                  <a:pt x="794691" y="295251"/>
                  <a:pt x="797084" y="288736"/>
                  <a:pt x="799277" y="282158"/>
                </a:cubicBezTo>
                <a:lnTo>
                  <a:pt x="805856" y="262422"/>
                </a:lnTo>
                <a:lnTo>
                  <a:pt x="812434" y="242687"/>
                </a:lnTo>
                <a:lnTo>
                  <a:pt x="815723" y="232820"/>
                </a:lnTo>
                <a:cubicBezTo>
                  <a:pt x="814627" y="222952"/>
                  <a:pt x="814381" y="212953"/>
                  <a:pt x="812434" y="203217"/>
                </a:cubicBezTo>
                <a:cubicBezTo>
                  <a:pt x="811074" y="196417"/>
                  <a:pt x="805856" y="183481"/>
                  <a:pt x="805856" y="183481"/>
                </a:cubicBezTo>
                <a:cubicBezTo>
                  <a:pt x="807639" y="174566"/>
                  <a:pt x="807657" y="163621"/>
                  <a:pt x="815723" y="157168"/>
                </a:cubicBezTo>
                <a:cubicBezTo>
                  <a:pt x="818431" y="155002"/>
                  <a:pt x="822302" y="154975"/>
                  <a:pt x="825591" y="153878"/>
                </a:cubicBezTo>
                <a:cubicBezTo>
                  <a:pt x="827784" y="150589"/>
                  <a:pt x="831841" y="147950"/>
                  <a:pt x="832169" y="144011"/>
                </a:cubicBezTo>
                <a:cubicBezTo>
                  <a:pt x="832690" y="137759"/>
                  <a:pt x="830555" y="114469"/>
                  <a:pt x="825591" y="104540"/>
                </a:cubicBezTo>
                <a:cubicBezTo>
                  <a:pt x="823823" y="101004"/>
                  <a:pt x="821206" y="97962"/>
                  <a:pt x="819013" y="94673"/>
                </a:cubicBezTo>
                <a:cubicBezTo>
                  <a:pt x="819424" y="88508"/>
                  <a:pt x="817744" y="51162"/>
                  <a:pt x="825591" y="35467"/>
                </a:cubicBezTo>
                <a:cubicBezTo>
                  <a:pt x="835199" y="16249"/>
                  <a:pt x="829948" y="35019"/>
                  <a:pt x="835459" y="15732"/>
                </a:cubicBezTo>
                <a:cubicBezTo>
                  <a:pt x="836701" y="11385"/>
                  <a:pt x="842945" y="4254"/>
                  <a:pt x="838748" y="2575"/>
                </a:cubicBezTo>
                <a:cubicBezTo>
                  <a:pt x="832310" y="0"/>
                  <a:pt x="825591" y="6960"/>
                  <a:pt x="819013" y="9153"/>
                </a:cubicBezTo>
                <a:cubicBezTo>
                  <a:pt x="804847" y="13875"/>
                  <a:pt x="812521" y="11599"/>
                  <a:pt x="795988" y="15732"/>
                </a:cubicBezTo>
                <a:cubicBezTo>
                  <a:pt x="792699" y="17925"/>
                  <a:pt x="789656" y="20542"/>
                  <a:pt x="786120" y="22310"/>
                </a:cubicBezTo>
                <a:cubicBezTo>
                  <a:pt x="783019" y="23860"/>
                  <a:pt x="779226" y="23815"/>
                  <a:pt x="776253" y="25599"/>
                </a:cubicBezTo>
                <a:cubicBezTo>
                  <a:pt x="765716" y="31921"/>
                  <a:pt x="772876" y="33487"/>
                  <a:pt x="763096" y="42045"/>
                </a:cubicBezTo>
                <a:cubicBezTo>
                  <a:pt x="757146" y="47251"/>
                  <a:pt x="750861" y="52702"/>
                  <a:pt x="743361" y="55202"/>
                </a:cubicBezTo>
                <a:lnTo>
                  <a:pt x="713758" y="65070"/>
                </a:lnTo>
                <a:cubicBezTo>
                  <a:pt x="710469" y="66166"/>
                  <a:pt x="707310" y="67789"/>
                  <a:pt x="703890" y="68359"/>
                </a:cubicBezTo>
                <a:cubicBezTo>
                  <a:pt x="697312" y="69455"/>
                  <a:pt x="690625" y="70030"/>
                  <a:pt x="684155" y="71648"/>
                </a:cubicBezTo>
                <a:cubicBezTo>
                  <a:pt x="677428" y="73330"/>
                  <a:pt x="670998" y="76034"/>
                  <a:pt x="664420" y="78227"/>
                </a:cubicBezTo>
                <a:cubicBezTo>
                  <a:pt x="661131" y="79323"/>
                  <a:pt x="657992" y="81086"/>
                  <a:pt x="654552" y="81516"/>
                </a:cubicBezTo>
                <a:lnTo>
                  <a:pt x="628238" y="84805"/>
                </a:lnTo>
                <a:cubicBezTo>
                  <a:pt x="588368" y="98096"/>
                  <a:pt x="628623" y="85817"/>
                  <a:pt x="588768" y="94673"/>
                </a:cubicBezTo>
                <a:cubicBezTo>
                  <a:pt x="585383" y="95425"/>
                  <a:pt x="582354" y="97662"/>
                  <a:pt x="578900" y="97962"/>
                </a:cubicBezTo>
                <a:cubicBezTo>
                  <a:pt x="557027" y="99864"/>
                  <a:pt x="535044" y="100155"/>
                  <a:pt x="513116" y="101251"/>
                </a:cubicBezTo>
                <a:cubicBezTo>
                  <a:pt x="492635" y="121735"/>
                  <a:pt x="522283" y="94045"/>
                  <a:pt x="496670" y="111119"/>
                </a:cubicBezTo>
                <a:cubicBezTo>
                  <a:pt x="472027" y="127547"/>
                  <a:pt x="500402" y="116452"/>
                  <a:pt x="476935" y="124276"/>
                </a:cubicBezTo>
                <a:cubicBezTo>
                  <a:pt x="471453" y="129758"/>
                  <a:pt x="467844" y="138270"/>
                  <a:pt x="460489" y="140722"/>
                </a:cubicBezTo>
                <a:cubicBezTo>
                  <a:pt x="419925" y="154243"/>
                  <a:pt x="447679" y="146954"/>
                  <a:pt x="374969" y="150589"/>
                </a:cubicBezTo>
                <a:cubicBezTo>
                  <a:pt x="369487" y="151685"/>
                  <a:pt x="363917" y="152407"/>
                  <a:pt x="358523" y="153878"/>
                </a:cubicBezTo>
                <a:cubicBezTo>
                  <a:pt x="351833" y="155703"/>
                  <a:pt x="345366" y="158264"/>
                  <a:pt x="338788" y="160457"/>
                </a:cubicBezTo>
                <a:lnTo>
                  <a:pt x="328920" y="163746"/>
                </a:lnTo>
                <a:lnTo>
                  <a:pt x="309185" y="170325"/>
                </a:lnTo>
                <a:lnTo>
                  <a:pt x="299318" y="173614"/>
                </a:lnTo>
                <a:cubicBezTo>
                  <a:pt x="297125" y="175807"/>
                  <a:pt x="295398" y="178597"/>
                  <a:pt x="292739" y="180192"/>
                </a:cubicBezTo>
                <a:cubicBezTo>
                  <a:pt x="279625" y="188060"/>
                  <a:pt x="257534" y="181178"/>
                  <a:pt x="246690" y="180192"/>
                </a:cubicBezTo>
                <a:cubicBezTo>
                  <a:pt x="239363" y="175307"/>
                  <a:pt x="235601" y="173731"/>
                  <a:pt x="230244" y="167035"/>
                </a:cubicBezTo>
                <a:cubicBezTo>
                  <a:pt x="227775" y="163948"/>
                  <a:pt x="226135" y="160255"/>
                  <a:pt x="223666" y="157168"/>
                </a:cubicBezTo>
                <a:cubicBezTo>
                  <a:pt x="221729" y="154746"/>
                  <a:pt x="219024" y="153011"/>
                  <a:pt x="217087" y="150589"/>
                </a:cubicBezTo>
                <a:cubicBezTo>
                  <a:pt x="214618" y="147502"/>
                  <a:pt x="213596" y="143191"/>
                  <a:pt x="210509" y="140722"/>
                </a:cubicBezTo>
                <a:cubicBezTo>
                  <a:pt x="207801" y="138556"/>
                  <a:pt x="203930" y="138529"/>
                  <a:pt x="200641" y="137432"/>
                </a:cubicBezTo>
                <a:cubicBezTo>
                  <a:pt x="195159" y="131950"/>
                  <a:pt x="190646" y="125286"/>
                  <a:pt x="184195" y="120986"/>
                </a:cubicBezTo>
                <a:cubicBezTo>
                  <a:pt x="171748" y="112688"/>
                  <a:pt x="177123" y="117203"/>
                  <a:pt x="167749" y="107830"/>
                </a:cubicBezTo>
                <a:lnTo>
                  <a:pt x="167749" y="107830"/>
                </a:lnTo>
                <a:close/>
              </a:path>
            </a:pathLst>
          </a:custGeom>
          <a:solidFill>
            <a:srgbClr val="00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72" name="Subtitle 2"/>
          <p:cNvSpPr txBox="1">
            <a:spLocks/>
          </p:cNvSpPr>
          <p:nvPr/>
        </p:nvSpPr>
        <p:spPr bwMode="auto">
          <a:xfrm rot="-2759937">
            <a:off x="6257402" y="3028951"/>
            <a:ext cx="1401233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400">
                <a:solidFill>
                  <a:srgbClr val="FFFF00"/>
                </a:solidFill>
                <a:latin typeface="Ramabhadra" pitchFamily="2" charset="0"/>
                <a:cs typeface="Ramabhadra" pitchFamily="2" charset="0"/>
              </a:rPr>
              <a:t>సోమాలియా</a:t>
            </a:r>
          </a:p>
        </p:txBody>
      </p:sp>
      <p:sp>
        <p:nvSpPr>
          <p:cNvPr id="73" name="Freeform 72"/>
          <p:cNvSpPr/>
          <p:nvPr/>
        </p:nvSpPr>
        <p:spPr>
          <a:xfrm>
            <a:off x="5880106" y="3289304"/>
            <a:ext cx="688975" cy="829733"/>
          </a:xfrm>
          <a:custGeom>
            <a:avLst/>
            <a:gdLst>
              <a:gd name="connsiteX0" fmla="*/ 662558 w 689800"/>
              <a:gd name="connsiteY0" fmla="*/ 546185 h 828483"/>
              <a:gd name="connsiteX1" fmla="*/ 647216 w 689800"/>
              <a:gd name="connsiteY1" fmla="*/ 533912 h 828483"/>
              <a:gd name="connsiteX2" fmla="*/ 638010 w 689800"/>
              <a:gd name="connsiteY2" fmla="*/ 527775 h 828483"/>
              <a:gd name="connsiteX3" fmla="*/ 631873 w 689800"/>
              <a:gd name="connsiteY3" fmla="*/ 518569 h 828483"/>
              <a:gd name="connsiteX4" fmla="*/ 622668 w 689800"/>
              <a:gd name="connsiteY4" fmla="*/ 490953 h 828483"/>
              <a:gd name="connsiteX5" fmla="*/ 619600 w 689800"/>
              <a:gd name="connsiteY5" fmla="*/ 481748 h 828483"/>
              <a:gd name="connsiteX6" fmla="*/ 616531 w 689800"/>
              <a:gd name="connsiteY6" fmla="*/ 472543 h 828483"/>
              <a:gd name="connsiteX7" fmla="*/ 613463 w 689800"/>
              <a:gd name="connsiteY7" fmla="*/ 270024 h 828483"/>
              <a:gd name="connsiteX8" fmla="*/ 616531 w 689800"/>
              <a:gd name="connsiteY8" fmla="*/ 153423 h 828483"/>
              <a:gd name="connsiteX9" fmla="*/ 619600 w 689800"/>
              <a:gd name="connsiteY9" fmla="*/ 144218 h 828483"/>
              <a:gd name="connsiteX10" fmla="*/ 628805 w 689800"/>
              <a:gd name="connsiteY10" fmla="*/ 138081 h 828483"/>
              <a:gd name="connsiteX11" fmla="*/ 641079 w 689800"/>
              <a:gd name="connsiteY11" fmla="*/ 119670 h 828483"/>
              <a:gd name="connsiteX12" fmla="*/ 659490 w 689800"/>
              <a:gd name="connsiteY12" fmla="*/ 101259 h 828483"/>
              <a:gd name="connsiteX13" fmla="*/ 662558 w 689800"/>
              <a:gd name="connsiteY13" fmla="*/ 92054 h 828483"/>
              <a:gd name="connsiteX14" fmla="*/ 674832 w 689800"/>
              <a:gd name="connsiteY14" fmla="*/ 73643 h 828483"/>
              <a:gd name="connsiteX15" fmla="*/ 677900 w 689800"/>
              <a:gd name="connsiteY15" fmla="*/ 64438 h 828483"/>
              <a:gd name="connsiteX16" fmla="*/ 687106 w 689800"/>
              <a:gd name="connsiteY16" fmla="*/ 46027 h 828483"/>
              <a:gd name="connsiteX17" fmla="*/ 604257 w 689800"/>
              <a:gd name="connsiteY17" fmla="*/ 33753 h 828483"/>
              <a:gd name="connsiteX18" fmla="*/ 582778 w 689800"/>
              <a:gd name="connsiteY18" fmla="*/ 30685 h 828483"/>
              <a:gd name="connsiteX19" fmla="*/ 549025 w 689800"/>
              <a:gd name="connsiteY19" fmla="*/ 33753 h 828483"/>
              <a:gd name="connsiteX20" fmla="*/ 530614 w 689800"/>
              <a:gd name="connsiteY20" fmla="*/ 46027 h 828483"/>
              <a:gd name="connsiteX21" fmla="*/ 518341 w 689800"/>
              <a:gd name="connsiteY21" fmla="*/ 64438 h 828483"/>
              <a:gd name="connsiteX22" fmla="*/ 481519 w 689800"/>
              <a:gd name="connsiteY22" fmla="*/ 82849 h 828483"/>
              <a:gd name="connsiteX23" fmla="*/ 463108 w 689800"/>
              <a:gd name="connsiteY23" fmla="*/ 88985 h 828483"/>
              <a:gd name="connsiteX24" fmla="*/ 453903 w 689800"/>
              <a:gd name="connsiteY24" fmla="*/ 92054 h 828483"/>
              <a:gd name="connsiteX25" fmla="*/ 343439 w 689800"/>
              <a:gd name="connsiteY25" fmla="*/ 85917 h 828483"/>
              <a:gd name="connsiteX26" fmla="*/ 306617 w 689800"/>
              <a:gd name="connsiteY26" fmla="*/ 82849 h 828483"/>
              <a:gd name="connsiteX27" fmla="*/ 297412 w 689800"/>
              <a:gd name="connsiteY27" fmla="*/ 79780 h 828483"/>
              <a:gd name="connsiteX28" fmla="*/ 288206 w 689800"/>
              <a:gd name="connsiteY28" fmla="*/ 73643 h 828483"/>
              <a:gd name="connsiteX29" fmla="*/ 269796 w 689800"/>
              <a:gd name="connsiteY29" fmla="*/ 67506 h 828483"/>
              <a:gd name="connsiteX30" fmla="*/ 254453 w 689800"/>
              <a:gd name="connsiteY30" fmla="*/ 55232 h 828483"/>
              <a:gd name="connsiteX31" fmla="*/ 236043 w 689800"/>
              <a:gd name="connsiteY31" fmla="*/ 42959 h 828483"/>
              <a:gd name="connsiteX32" fmla="*/ 223769 w 689800"/>
              <a:gd name="connsiteY32" fmla="*/ 30685 h 828483"/>
              <a:gd name="connsiteX33" fmla="*/ 217632 w 689800"/>
              <a:gd name="connsiteY33" fmla="*/ 21479 h 828483"/>
              <a:gd name="connsiteX34" fmla="*/ 199221 w 689800"/>
              <a:gd name="connsiteY34" fmla="*/ 12274 h 828483"/>
              <a:gd name="connsiteX35" fmla="*/ 190016 w 689800"/>
              <a:gd name="connsiteY35" fmla="*/ 6137 h 828483"/>
              <a:gd name="connsiteX36" fmla="*/ 171605 w 689800"/>
              <a:gd name="connsiteY36" fmla="*/ 0 h 828483"/>
              <a:gd name="connsiteX37" fmla="*/ 51935 w 689800"/>
              <a:gd name="connsiteY37" fmla="*/ 3069 h 828483"/>
              <a:gd name="connsiteX38" fmla="*/ 33524 w 689800"/>
              <a:gd name="connsiteY38" fmla="*/ 9206 h 828483"/>
              <a:gd name="connsiteX39" fmla="*/ 24319 w 689800"/>
              <a:gd name="connsiteY39" fmla="*/ 12274 h 828483"/>
              <a:gd name="connsiteX40" fmla="*/ 18182 w 689800"/>
              <a:gd name="connsiteY40" fmla="*/ 21479 h 828483"/>
              <a:gd name="connsiteX41" fmla="*/ 18182 w 689800"/>
              <a:gd name="connsiteY41" fmla="*/ 49096 h 828483"/>
              <a:gd name="connsiteX42" fmla="*/ 30456 w 689800"/>
              <a:gd name="connsiteY42" fmla="*/ 67506 h 828483"/>
              <a:gd name="connsiteX43" fmla="*/ 36593 w 689800"/>
              <a:gd name="connsiteY43" fmla="*/ 76712 h 828483"/>
              <a:gd name="connsiteX44" fmla="*/ 42730 w 689800"/>
              <a:gd name="connsiteY44" fmla="*/ 95122 h 828483"/>
              <a:gd name="connsiteX45" fmla="*/ 45798 w 689800"/>
              <a:gd name="connsiteY45" fmla="*/ 104328 h 828483"/>
              <a:gd name="connsiteX46" fmla="*/ 64209 w 689800"/>
              <a:gd name="connsiteY46" fmla="*/ 131944 h 828483"/>
              <a:gd name="connsiteX47" fmla="*/ 76483 w 689800"/>
              <a:gd name="connsiteY47" fmla="*/ 150355 h 828483"/>
              <a:gd name="connsiteX48" fmla="*/ 82620 w 689800"/>
              <a:gd name="connsiteY48" fmla="*/ 159560 h 828483"/>
              <a:gd name="connsiteX49" fmla="*/ 85688 w 689800"/>
              <a:gd name="connsiteY49" fmla="*/ 168765 h 828483"/>
              <a:gd name="connsiteX50" fmla="*/ 94894 w 689800"/>
              <a:gd name="connsiteY50" fmla="*/ 187176 h 828483"/>
              <a:gd name="connsiteX51" fmla="*/ 91825 w 689800"/>
              <a:gd name="connsiteY51" fmla="*/ 297641 h 828483"/>
              <a:gd name="connsiteX52" fmla="*/ 73414 w 689800"/>
              <a:gd name="connsiteY52" fmla="*/ 309914 h 828483"/>
              <a:gd name="connsiteX53" fmla="*/ 55004 w 689800"/>
              <a:gd name="connsiteY53" fmla="*/ 322188 h 828483"/>
              <a:gd name="connsiteX54" fmla="*/ 45798 w 689800"/>
              <a:gd name="connsiteY54" fmla="*/ 328325 h 828483"/>
              <a:gd name="connsiteX55" fmla="*/ 36593 w 689800"/>
              <a:gd name="connsiteY55" fmla="*/ 337530 h 828483"/>
              <a:gd name="connsiteX56" fmla="*/ 24319 w 689800"/>
              <a:gd name="connsiteY56" fmla="*/ 355941 h 828483"/>
              <a:gd name="connsiteX57" fmla="*/ 12045 w 689800"/>
              <a:gd name="connsiteY57" fmla="*/ 383557 h 828483"/>
              <a:gd name="connsiteX58" fmla="*/ 8977 w 689800"/>
              <a:gd name="connsiteY58" fmla="*/ 420379 h 828483"/>
              <a:gd name="connsiteX59" fmla="*/ 27388 w 689800"/>
              <a:gd name="connsiteY59" fmla="*/ 426516 h 828483"/>
              <a:gd name="connsiteX60" fmla="*/ 36593 w 689800"/>
              <a:gd name="connsiteY60" fmla="*/ 429584 h 828483"/>
              <a:gd name="connsiteX61" fmla="*/ 45798 w 689800"/>
              <a:gd name="connsiteY61" fmla="*/ 432653 h 828483"/>
              <a:gd name="connsiteX62" fmla="*/ 58072 w 689800"/>
              <a:gd name="connsiteY62" fmla="*/ 435721 h 828483"/>
              <a:gd name="connsiteX63" fmla="*/ 76483 w 689800"/>
              <a:gd name="connsiteY63" fmla="*/ 441858 h 828483"/>
              <a:gd name="connsiteX64" fmla="*/ 67277 w 689800"/>
              <a:gd name="connsiteY64" fmla="*/ 447995 h 828483"/>
              <a:gd name="connsiteX65" fmla="*/ 24319 w 689800"/>
              <a:gd name="connsiteY65" fmla="*/ 454132 h 828483"/>
              <a:gd name="connsiteX66" fmla="*/ 18182 w 689800"/>
              <a:gd name="connsiteY66" fmla="*/ 463337 h 828483"/>
              <a:gd name="connsiteX67" fmla="*/ 12045 w 689800"/>
              <a:gd name="connsiteY67" fmla="*/ 481748 h 828483"/>
              <a:gd name="connsiteX68" fmla="*/ 24319 w 689800"/>
              <a:gd name="connsiteY68" fmla="*/ 494022 h 828483"/>
              <a:gd name="connsiteX69" fmla="*/ 45798 w 689800"/>
              <a:gd name="connsiteY69" fmla="*/ 518569 h 828483"/>
              <a:gd name="connsiteX70" fmla="*/ 58072 w 689800"/>
              <a:gd name="connsiteY70" fmla="*/ 536980 h 828483"/>
              <a:gd name="connsiteX71" fmla="*/ 76483 w 689800"/>
              <a:gd name="connsiteY71" fmla="*/ 546185 h 828483"/>
              <a:gd name="connsiteX72" fmla="*/ 85688 w 689800"/>
              <a:gd name="connsiteY72" fmla="*/ 549254 h 828483"/>
              <a:gd name="connsiteX73" fmla="*/ 104099 w 689800"/>
              <a:gd name="connsiteY73" fmla="*/ 561528 h 828483"/>
              <a:gd name="connsiteX74" fmla="*/ 122510 w 689800"/>
              <a:gd name="connsiteY74" fmla="*/ 573802 h 828483"/>
              <a:gd name="connsiteX75" fmla="*/ 150126 w 689800"/>
              <a:gd name="connsiteY75" fmla="*/ 586075 h 828483"/>
              <a:gd name="connsiteX76" fmla="*/ 159331 w 689800"/>
              <a:gd name="connsiteY76" fmla="*/ 589144 h 828483"/>
              <a:gd name="connsiteX77" fmla="*/ 177742 w 689800"/>
              <a:gd name="connsiteY77" fmla="*/ 601418 h 828483"/>
              <a:gd name="connsiteX78" fmla="*/ 205358 w 689800"/>
              <a:gd name="connsiteY78" fmla="*/ 616760 h 828483"/>
              <a:gd name="connsiteX79" fmla="*/ 232974 w 689800"/>
              <a:gd name="connsiteY79" fmla="*/ 629034 h 828483"/>
              <a:gd name="connsiteX80" fmla="*/ 242179 w 689800"/>
              <a:gd name="connsiteY80" fmla="*/ 632102 h 828483"/>
              <a:gd name="connsiteX81" fmla="*/ 269796 w 689800"/>
              <a:gd name="connsiteY81" fmla="*/ 647445 h 828483"/>
              <a:gd name="connsiteX82" fmla="*/ 279001 w 689800"/>
              <a:gd name="connsiteY82" fmla="*/ 650513 h 828483"/>
              <a:gd name="connsiteX83" fmla="*/ 288206 w 689800"/>
              <a:gd name="connsiteY83" fmla="*/ 653581 h 828483"/>
              <a:gd name="connsiteX84" fmla="*/ 297412 w 689800"/>
              <a:gd name="connsiteY84" fmla="*/ 659718 h 828483"/>
              <a:gd name="connsiteX85" fmla="*/ 306617 w 689800"/>
              <a:gd name="connsiteY85" fmla="*/ 662787 h 828483"/>
              <a:gd name="connsiteX86" fmla="*/ 334233 w 689800"/>
              <a:gd name="connsiteY86" fmla="*/ 678129 h 828483"/>
              <a:gd name="connsiteX87" fmla="*/ 331165 w 689800"/>
              <a:gd name="connsiteY87" fmla="*/ 708814 h 828483"/>
              <a:gd name="connsiteX88" fmla="*/ 325028 w 689800"/>
              <a:gd name="connsiteY88" fmla="*/ 718019 h 828483"/>
              <a:gd name="connsiteX89" fmla="*/ 321959 w 689800"/>
              <a:gd name="connsiteY89" fmla="*/ 727224 h 828483"/>
              <a:gd name="connsiteX90" fmla="*/ 334233 w 689800"/>
              <a:gd name="connsiteY90" fmla="*/ 745635 h 828483"/>
              <a:gd name="connsiteX91" fmla="*/ 361849 w 689800"/>
              <a:gd name="connsiteY91" fmla="*/ 760977 h 828483"/>
              <a:gd name="connsiteX92" fmla="*/ 380260 w 689800"/>
              <a:gd name="connsiteY92" fmla="*/ 773251 h 828483"/>
              <a:gd name="connsiteX93" fmla="*/ 417081 w 689800"/>
              <a:gd name="connsiteY93" fmla="*/ 797799 h 828483"/>
              <a:gd name="connsiteX94" fmla="*/ 426287 w 689800"/>
              <a:gd name="connsiteY94" fmla="*/ 803936 h 828483"/>
              <a:gd name="connsiteX95" fmla="*/ 435492 w 689800"/>
              <a:gd name="connsiteY95" fmla="*/ 810073 h 828483"/>
              <a:gd name="connsiteX96" fmla="*/ 444698 w 689800"/>
              <a:gd name="connsiteY96" fmla="*/ 813141 h 828483"/>
              <a:gd name="connsiteX97" fmla="*/ 450835 w 689800"/>
              <a:gd name="connsiteY97" fmla="*/ 822347 h 828483"/>
              <a:gd name="connsiteX98" fmla="*/ 469245 w 689800"/>
              <a:gd name="connsiteY98" fmla="*/ 828483 h 828483"/>
              <a:gd name="connsiteX99" fmla="*/ 472314 w 689800"/>
              <a:gd name="connsiteY99" fmla="*/ 819278 h 828483"/>
              <a:gd name="connsiteX100" fmla="*/ 481519 w 689800"/>
              <a:gd name="connsiteY100" fmla="*/ 813141 h 828483"/>
              <a:gd name="connsiteX101" fmla="*/ 487656 w 689800"/>
              <a:gd name="connsiteY101" fmla="*/ 803936 h 828483"/>
              <a:gd name="connsiteX102" fmla="*/ 502998 w 689800"/>
              <a:gd name="connsiteY102" fmla="*/ 776320 h 828483"/>
              <a:gd name="connsiteX103" fmla="*/ 512204 w 689800"/>
              <a:gd name="connsiteY103" fmla="*/ 770183 h 828483"/>
              <a:gd name="connsiteX104" fmla="*/ 527546 w 689800"/>
              <a:gd name="connsiteY104" fmla="*/ 751772 h 828483"/>
              <a:gd name="connsiteX105" fmla="*/ 542888 w 689800"/>
              <a:gd name="connsiteY105" fmla="*/ 733361 h 828483"/>
              <a:gd name="connsiteX106" fmla="*/ 545957 w 689800"/>
              <a:gd name="connsiteY106" fmla="*/ 721087 h 828483"/>
              <a:gd name="connsiteX107" fmla="*/ 549025 w 689800"/>
              <a:gd name="connsiteY107" fmla="*/ 711882 h 828483"/>
              <a:gd name="connsiteX108" fmla="*/ 561299 w 689800"/>
              <a:gd name="connsiteY108" fmla="*/ 650513 h 828483"/>
              <a:gd name="connsiteX109" fmla="*/ 588915 w 689800"/>
              <a:gd name="connsiteY109" fmla="*/ 629034 h 828483"/>
              <a:gd name="connsiteX110" fmla="*/ 595052 w 689800"/>
              <a:gd name="connsiteY110" fmla="*/ 619828 h 828483"/>
              <a:gd name="connsiteX111" fmla="*/ 604257 w 689800"/>
              <a:gd name="connsiteY111" fmla="*/ 610623 h 828483"/>
              <a:gd name="connsiteX112" fmla="*/ 610394 w 689800"/>
              <a:gd name="connsiteY112" fmla="*/ 601418 h 828483"/>
              <a:gd name="connsiteX113" fmla="*/ 619600 w 689800"/>
              <a:gd name="connsiteY113" fmla="*/ 595281 h 828483"/>
              <a:gd name="connsiteX114" fmla="*/ 625737 w 689800"/>
              <a:gd name="connsiteY114" fmla="*/ 586075 h 828483"/>
              <a:gd name="connsiteX115" fmla="*/ 644147 w 689800"/>
              <a:gd name="connsiteY115" fmla="*/ 573802 h 828483"/>
              <a:gd name="connsiteX116" fmla="*/ 653353 w 689800"/>
              <a:gd name="connsiteY116" fmla="*/ 564596 h 828483"/>
              <a:gd name="connsiteX117" fmla="*/ 665626 w 689800"/>
              <a:gd name="connsiteY117" fmla="*/ 552322 h 828483"/>
              <a:gd name="connsiteX118" fmla="*/ 662558 w 689800"/>
              <a:gd name="connsiteY118" fmla="*/ 546185 h 828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689800" h="828483">
                <a:moveTo>
                  <a:pt x="662558" y="546185"/>
                </a:moveTo>
                <a:cubicBezTo>
                  <a:pt x="659490" y="543117"/>
                  <a:pt x="652455" y="537841"/>
                  <a:pt x="647216" y="533912"/>
                </a:cubicBezTo>
                <a:cubicBezTo>
                  <a:pt x="644266" y="531699"/>
                  <a:pt x="640618" y="530383"/>
                  <a:pt x="638010" y="527775"/>
                </a:cubicBezTo>
                <a:cubicBezTo>
                  <a:pt x="635402" y="525167"/>
                  <a:pt x="633919" y="521638"/>
                  <a:pt x="631873" y="518569"/>
                </a:cubicBezTo>
                <a:lnTo>
                  <a:pt x="622668" y="490953"/>
                </a:lnTo>
                <a:lnTo>
                  <a:pt x="619600" y="481748"/>
                </a:lnTo>
                <a:lnTo>
                  <a:pt x="616531" y="472543"/>
                </a:lnTo>
                <a:cubicBezTo>
                  <a:pt x="615508" y="405037"/>
                  <a:pt x="613463" y="337538"/>
                  <a:pt x="613463" y="270024"/>
                </a:cubicBezTo>
                <a:cubicBezTo>
                  <a:pt x="613463" y="231144"/>
                  <a:pt x="614637" y="192257"/>
                  <a:pt x="616531" y="153423"/>
                </a:cubicBezTo>
                <a:cubicBezTo>
                  <a:pt x="616689" y="150192"/>
                  <a:pt x="617579" y="146744"/>
                  <a:pt x="619600" y="144218"/>
                </a:cubicBezTo>
                <a:cubicBezTo>
                  <a:pt x="621904" y="141338"/>
                  <a:pt x="625737" y="140127"/>
                  <a:pt x="628805" y="138081"/>
                </a:cubicBezTo>
                <a:cubicBezTo>
                  <a:pt x="632896" y="131944"/>
                  <a:pt x="635864" y="124885"/>
                  <a:pt x="641079" y="119670"/>
                </a:cubicBezTo>
                <a:lnTo>
                  <a:pt x="659490" y="101259"/>
                </a:lnTo>
                <a:cubicBezTo>
                  <a:pt x="660513" y="98191"/>
                  <a:pt x="660987" y="94881"/>
                  <a:pt x="662558" y="92054"/>
                </a:cubicBezTo>
                <a:cubicBezTo>
                  <a:pt x="666140" y="85606"/>
                  <a:pt x="674832" y="73643"/>
                  <a:pt x="674832" y="73643"/>
                </a:cubicBezTo>
                <a:cubicBezTo>
                  <a:pt x="675855" y="70575"/>
                  <a:pt x="676454" y="67331"/>
                  <a:pt x="677900" y="64438"/>
                </a:cubicBezTo>
                <a:cubicBezTo>
                  <a:pt x="689800" y="40637"/>
                  <a:pt x="679390" y="69170"/>
                  <a:pt x="687106" y="46027"/>
                </a:cubicBezTo>
                <a:cubicBezTo>
                  <a:pt x="675544" y="11347"/>
                  <a:pt x="687894" y="38822"/>
                  <a:pt x="604257" y="33753"/>
                </a:cubicBezTo>
                <a:cubicBezTo>
                  <a:pt x="597038" y="33315"/>
                  <a:pt x="589938" y="31708"/>
                  <a:pt x="582778" y="30685"/>
                </a:cubicBezTo>
                <a:cubicBezTo>
                  <a:pt x="571527" y="31708"/>
                  <a:pt x="559863" y="30565"/>
                  <a:pt x="549025" y="33753"/>
                </a:cubicBezTo>
                <a:cubicBezTo>
                  <a:pt x="541949" y="35834"/>
                  <a:pt x="530614" y="46027"/>
                  <a:pt x="530614" y="46027"/>
                </a:cubicBezTo>
                <a:cubicBezTo>
                  <a:pt x="526523" y="52164"/>
                  <a:pt x="524478" y="60347"/>
                  <a:pt x="518341" y="64438"/>
                </a:cubicBezTo>
                <a:cubicBezTo>
                  <a:pt x="494549" y="80300"/>
                  <a:pt x="506926" y="74380"/>
                  <a:pt x="481519" y="82849"/>
                </a:cubicBezTo>
                <a:lnTo>
                  <a:pt x="463108" y="88985"/>
                </a:lnTo>
                <a:lnTo>
                  <a:pt x="453903" y="92054"/>
                </a:lnTo>
                <a:cubicBezTo>
                  <a:pt x="333260" y="83435"/>
                  <a:pt x="511925" y="95826"/>
                  <a:pt x="343439" y="85917"/>
                </a:cubicBezTo>
                <a:cubicBezTo>
                  <a:pt x="331144" y="85194"/>
                  <a:pt x="318891" y="83872"/>
                  <a:pt x="306617" y="82849"/>
                </a:cubicBezTo>
                <a:cubicBezTo>
                  <a:pt x="303549" y="81826"/>
                  <a:pt x="300305" y="81227"/>
                  <a:pt x="297412" y="79780"/>
                </a:cubicBezTo>
                <a:cubicBezTo>
                  <a:pt x="294113" y="78131"/>
                  <a:pt x="291576" y="75141"/>
                  <a:pt x="288206" y="73643"/>
                </a:cubicBezTo>
                <a:cubicBezTo>
                  <a:pt x="282295" y="71016"/>
                  <a:pt x="269796" y="67506"/>
                  <a:pt x="269796" y="67506"/>
                </a:cubicBezTo>
                <a:cubicBezTo>
                  <a:pt x="258457" y="50499"/>
                  <a:pt x="270146" y="63950"/>
                  <a:pt x="254453" y="55232"/>
                </a:cubicBezTo>
                <a:cubicBezTo>
                  <a:pt x="248006" y="51650"/>
                  <a:pt x="236043" y="42959"/>
                  <a:pt x="236043" y="42959"/>
                </a:cubicBezTo>
                <a:cubicBezTo>
                  <a:pt x="229347" y="22872"/>
                  <a:pt x="238647" y="42588"/>
                  <a:pt x="223769" y="30685"/>
                </a:cubicBezTo>
                <a:cubicBezTo>
                  <a:pt x="220889" y="28381"/>
                  <a:pt x="220240" y="24087"/>
                  <a:pt x="217632" y="21479"/>
                </a:cubicBezTo>
                <a:cubicBezTo>
                  <a:pt x="208841" y="12689"/>
                  <a:pt x="209200" y="17264"/>
                  <a:pt x="199221" y="12274"/>
                </a:cubicBezTo>
                <a:cubicBezTo>
                  <a:pt x="195923" y="10625"/>
                  <a:pt x="193386" y="7635"/>
                  <a:pt x="190016" y="6137"/>
                </a:cubicBezTo>
                <a:cubicBezTo>
                  <a:pt x="184105" y="3510"/>
                  <a:pt x="171605" y="0"/>
                  <a:pt x="171605" y="0"/>
                </a:cubicBezTo>
                <a:cubicBezTo>
                  <a:pt x="131715" y="1023"/>
                  <a:pt x="91750" y="415"/>
                  <a:pt x="51935" y="3069"/>
                </a:cubicBezTo>
                <a:cubicBezTo>
                  <a:pt x="45480" y="3499"/>
                  <a:pt x="39661" y="7160"/>
                  <a:pt x="33524" y="9206"/>
                </a:cubicBezTo>
                <a:lnTo>
                  <a:pt x="24319" y="12274"/>
                </a:lnTo>
                <a:cubicBezTo>
                  <a:pt x="22273" y="15342"/>
                  <a:pt x="19831" y="18181"/>
                  <a:pt x="18182" y="21479"/>
                </a:cubicBezTo>
                <a:cubicBezTo>
                  <a:pt x="13534" y="30776"/>
                  <a:pt x="13839" y="38672"/>
                  <a:pt x="18182" y="49096"/>
                </a:cubicBezTo>
                <a:cubicBezTo>
                  <a:pt x="21019" y="55904"/>
                  <a:pt x="26365" y="61369"/>
                  <a:pt x="30456" y="67506"/>
                </a:cubicBezTo>
                <a:lnTo>
                  <a:pt x="36593" y="76712"/>
                </a:lnTo>
                <a:lnTo>
                  <a:pt x="42730" y="95122"/>
                </a:lnTo>
                <a:cubicBezTo>
                  <a:pt x="43753" y="98191"/>
                  <a:pt x="44004" y="101637"/>
                  <a:pt x="45798" y="104328"/>
                </a:cubicBezTo>
                <a:lnTo>
                  <a:pt x="64209" y="131944"/>
                </a:lnTo>
                <a:lnTo>
                  <a:pt x="76483" y="150355"/>
                </a:lnTo>
                <a:lnTo>
                  <a:pt x="82620" y="159560"/>
                </a:lnTo>
                <a:cubicBezTo>
                  <a:pt x="83643" y="162628"/>
                  <a:pt x="84242" y="165872"/>
                  <a:pt x="85688" y="168765"/>
                </a:cubicBezTo>
                <a:cubicBezTo>
                  <a:pt x="97588" y="192566"/>
                  <a:pt x="87178" y="164033"/>
                  <a:pt x="94894" y="187176"/>
                </a:cubicBezTo>
                <a:cubicBezTo>
                  <a:pt x="93871" y="223998"/>
                  <a:pt x="98175" y="261357"/>
                  <a:pt x="91825" y="297641"/>
                </a:cubicBezTo>
                <a:cubicBezTo>
                  <a:pt x="90554" y="304906"/>
                  <a:pt x="79551" y="305823"/>
                  <a:pt x="73414" y="309914"/>
                </a:cubicBezTo>
                <a:lnTo>
                  <a:pt x="55004" y="322188"/>
                </a:lnTo>
                <a:cubicBezTo>
                  <a:pt x="51935" y="324234"/>
                  <a:pt x="48406" y="325717"/>
                  <a:pt x="45798" y="328325"/>
                </a:cubicBezTo>
                <a:cubicBezTo>
                  <a:pt x="42730" y="331393"/>
                  <a:pt x="39257" y="334105"/>
                  <a:pt x="36593" y="337530"/>
                </a:cubicBezTo>
                <a:cubicBezTo>
                  <a:pt x="32065" y="343352"/>
                  <a:pt x="24319" y="355941"/>
                  <a:pt x="24319" y="355941"/>
                </a:cubicBezTo>
                <a:cubicBezTo>
                  <a:pt x="17016" y="377850"/>
                  <a:pt x="21770" y="368970"/>
                  <a:pt x="12045" y="383557"/>
                </a:cubicBezTo>
                <a:cubicBezTo>
                  <a:pt x="8977" y="392760"/>
                  <a:pt x="0" y="410120"/>
                  <a:pt x="8977" y="420379"/>
                </a:cubicBezTo>
                <a:cubicBezTo>
                  <a:pt x="13237" y="425247"/>
                  <a:pt x="21251" y="424470"/>
                  <a:pt x="27388" y="426516"/>
                </a:cubicBezTo>
                <a:lnTo>
                  <a:pt x="36593" y="429584"/>
                </a:lnTo>
                <a:cubicBezTo>
                  <a:pt x="39661" y="430607"/>
                  <a:pt x="42660" y="431869"/>
                  <a:pt x="45798" y="432653"/>
                </a:cubicBezTo>
                <a:cubicBezTo>
                  <a:pt x="49889" y="433676"/>
                  <a:pt x="54033" y="434509"/>
                  <a:pt x="58072" y="435721"/>
                </a:cubicBezTo>
                <a:cubicBezTo>
                  <a:pt x="64268" y="437580"/>
                  <a:pt x="76483" y="441858"/>
                  <a:pt x="76483" y="441858"/>
                </a:cubicBezTo>
                <a:cubicBezTo>
                  <a:pt x="73414" y="443904"/>
                  <a:pt x="70576" y="446346"/>
                  <a:pt x="67277" y="447995"/>
                </a:cubicBezTo>
                <a:cubicBezTo>
                  <a:pt x="55472" y="453897"/>
                  <a:pt x="32937" y="453348"/>
                  <a:pt x="24319" y="454132"/>
                </a:cubicBezTo>
                <a:cubicBezTo>
                  <a:pt x="22273" y="457200"/>
                  <a:pt x="19680" y="459967"/>
                  <a:pt x="18182" y="463337"/>
                </a:cubicBezTo>
                <a:cubicBezTo>
                  <a:pt x="15555" y="469248"/>
                  <a:pt x="12045" y="481748"/>
                  <a:pt x="12045" y="481748"/>
                </a:cubicBezTo>
                <a:cubicBezTo>
                  <a:pt x="20229" y="506295"/>
                  <a:pt x="7954" y="477657"/>
                  <a:pt x="24319" y="494022"/>
                </a:cubicBezTo>
                <a:cubicBezTo>
                  <a:pt x="60117" y="529820"/>
                  <a:pt x="19717" y="501181"/>
                  <a:pt x="45798" y="518569"/>
                </a:cubicBezTo>
                <a:cubicBezTo>
                  <a:pt x="49889" y="524706"/>
                  <a:pt x="51075" y="534647"/>
                  <a:pt x="58072" y="536980"/>
                </a:cubicBezTo>
                <a:cubicBezTo>
                  <a:pt x="81209" y="544694"/>
                  <a:pt x="52690" y="534289"/>
                  <a:pt x="76483" y="546185"/>
                </a:cubicBezTo>
                <a:cubicBezTo>
                  <a:pt x="79376" y="547631"/>
                  <a:pt x="82861" y="547683"/>
                  <a:pt x="85688" y="549254"/>
                </a:cubicBezTo>
                <a:cubicBezTo>
                  <a:pt x="92135" y="552836"/>
                  <a:pt x="97962" y="557437"/>
                  <a:pt x="104099" y="561528"/>
                </a:cubicBezTo>
                <a:lnTo>
                  <a:pt x="122510" y="573802"/>
                </a:lnTo>
                <a:cubicBezTo>
                  <a:pt x="137098" y="583526"/>
                  <a:pt x="128216" y="578771"/>
                  <a:pt x="150126" y="586075"/>
                </a:cubicBezTo>
                <a:lnTo>
                  <a:pt x="159331" y="589144"/>
                </a:lnTo>
                <a:cubicBezTo>
                  <a:pt x="171273" y="607056"/>
                  <a:pt x="157928" y="591510"/>
                  <a:pt x="177742" y="601418"/>
                </a:cubicBezTo>
                <a:cubicBezTo>
                  <a:pt x="219937" y="622516"/>
                  <a:pt x="179906" y="608277"/>
                  <a:pt x="205358" y="616760"/>
                </a:cubicBezTo>
                <a:cubicBezTo>
                  <a:pt x="219945" y="626485"/>
                  <a:pt x="211065" y="621731"/>
                  <a:pt x="232974" y="629034"/>
                </a:cubicBezTo>
                <a:lnTo>
                  <a:pt x="242179" y="632102"/>
                </a:lnTo>
                <a:cubicBezTo>
                  <a:pt x="255959" y="645882"/>
                  <a:pt x="247268" y="639936"/>
                  <a:pt x="269796" y="647445"/>
                </a:cubicBezTo>
                <a:lnTo>
                  <a:pt x="279001" y="650513"/>
                </a:lnTo>
                <a:lnTo>
                  <a:pt x="288206" y="653581"/>
                </a:lnTo>
                <a:cubicBezTo>
                  <a:pt x="291275" y="655627"/>
                  <a:pt x="294113" y="658069"/>
                  <a:pt x="297412" y="659718"/>
                </a:cubicBezTo>
                <a:cubicBezTo>
                  <a:pt x="300305" y="661165"/>
                  <a:pt x="303790" y="661216"/>
                  <a:pt x="306617" y="662787"/>
                </a:cubicBezTo>
                <a:cubicBezTo>
                  <a:pt x="338264" y="680370"/>
                  <a:pt x="313407" y="671188"/>
                  <a:pt x="334233" y="678129"/>
                </a:cubicBezTo>
                <a:cubicBezTo>
                  <a:pt x="333210" y="688357"/>
                  <a:pt x="333476" y="698798"/>
                  <a:pt x="331165" y="708814"/>
                </a:cubicBezTo>
                <a:cubicBezTo>
                  <a:pt x="330336" y="712407"/>
                  <a:pt x="326677" y="714721"/>
                  <a:pt x="325028" y="718019"/>
                </a:cubicBezTo>
                <a:cubicBezTo>
                  <a:pt x="323581" y="720912"/>
                  <a:pt x="322982" y="724156"/>
                  <a:pt x="321959" y="727224"/>
                </a:cubicBezTo>
                <a:cubicBezTo>
                  <a:pt x="326050" y="733361"/>
                  <a:pt x="327236" y="743302"/>
                  <a:pt x="334233" y="745635"/>
                </a:cubicBezTo>
                <a:cubicBezTo>
                  <a:pt x="345808" y="749494"/>
                  <a:pt x="351299" y="750427"/>
                  <a:pt x="361849" y="760977"/>
                </a:cubicBezTo>
                <a:cubicBezTo>
                  <a:pt x="373342" y="772470"/>
                  <a:pt x="366938" y="768811"/>
                  <a:pt x="380260" y="773251"/>
                </a:cubicBezTo>
                <a:lnTo>
                  <a:pt x="417081" y="797799"/>
                </a:lnTo>
                <a:lnTo>
                  <a:pt x="426287" y="803936"/>
                </a:lnTo>
                <a:cubicBezTo>
                  <a:pt x="429355" y="805982"/>
                  <a:pt x="431993" y="808907"/>
                  <a:pt x="435492" y="810073"/>
                </a:cubicBezTo>
                <a:lnTo>
                  <a:pt x="444698" y="813141"/>
                </a:lnTo>
                <a:cubicBezTo>
                  <a:pt x="446744" y="816210"/>
                  <a:pt x="447708" y="820392"/>
                  <a:pt x="450835" y="822347"/>
                </a:cubicBezTo>
                <a:cubicBezTo>
                  <a:pt x="456320" y="825775"/>
                  <a:pt x="469245" y="828483"/>
                  <a:pt x="469245" y="828483"/>
                </a:cubicBezTo>
                <a:cubicBezTo>
                  <a:pt x="470268" y="825415"/>
                  <a:pt x="470293" y="821804"/>
                  <a:pt x="472314" y="819278"/>
                </a:cubicBezTo>
                <a:cubicBezTo>
                  <a:pt x="474618" y="816398"/>
                  <a:pt x="478911" y="815749"/>
                  <a:pt x="481519" y="813141"/>
                </a:cubicBezTo>
                <a:cubicBezTo>
                  <a:pt x="484127" y="810533"/>
                  <a:pt x="485610" y="807004"/>
                  <a:pt x="487656" y="803936"/>
                </a:cubicBezTo>
                <a:cubicBezTo>
                  <a:pt x="490853" y="794342"/>
                  <a:pt x="493952" y="782350"/>
                  <a:pt x="502998" y="776320"/>
                </a:cubicBezTo>
                <a:lnTo>
                  <a:pt x="512204" y="770183"/>
                </a:lnTo>
                <a:cubicBezTo>
                  <a:pt x="527438" y="747331"/>
                  <a:pt x="507862" y="775393"/>
                  <a:pt x="527546" y="751772"/>
                </a:cubicBezTo>
                <a:cubicBezTo>
                  <a:pt x="548913" y="726132"/>
                  <a:pt x="515987" y="760265"/>
                  <a:pt x="542888" y="733361"/>
                </a:cubicBezTo>
                <a:cubicBezTo>
                  <a:pt x="543911" y="729270"/>
                  <a:pt x="544798" y="725142"/>
                  <a:pt x="545957" y="721087"/>
                </a:cubicBezTo>
                <a:cubicBezTo>
                  <a:pt x="546846" y="717977"/>
                  <a:pt x="548732" y="715103"/>
                  <a:pt x="549025" y="711882"/>
                </a:cubicBezTo>
                <a:cubicBezTo>
                  <a:pt x="554692" y="649542"/>
                  <a:pt x="533228" y="659869"/>
                  <a:pt x="561299" y="650513"/>
                </a:cubicBezTo>
                <a:cubicBezTo>
                  <a:pt x="574128" y="641961"/>
                  <a:pt x="579903" y="639849"/>
                  <a:pt x="588915" y="629034"/>
                </a:cubicBezTo>
                <a:cubicBezTo>
                  <a:pt x="591276" y="626201"/>
                  <a:pt x="592691" y="622661"/>
                  <a:pt x="595052" y="619828"/>
                </a:cubicBezTo>
                <a:cubicBezTo>
                  <a:pt x="597830" y="616494"/>
                  <a:pt x="601479" y="613956"/>
                  <a:pt x="604257" y="610623"/>
                </a:cubicBezTo>
                <a:cubicBezTo>
                  <a:pt x="606618" y="607790"/>
                  <a:pt x="607786" y="604026"/>
                  <a:pt x="610394" y="601418"/>
                </a:cubicBezTo>
                <a:cubicBezTo>
                  <a:pt x="613002" y="598810"/>
                  <a:pt x="616531" y="597327"/>
                  <a:pt x="619600" y="595281"/>
                </a:cubicBezTo>
                <a:cubicBezTo>
                  <a:pt x="621646" y="592212"/>
                  <a:pt x="622962" y="588504"/>
                  <a:pt x="625737" y="586075"/>
                </a:cubicBezTo>
                <a:cubicBezTo>
                  <a:pt x="631287" y="581218"/>
                  <a:pt x="638932" y="579017"/>
                  <a:pt x="644147" y="573802"/>
                </a:cubicBezTo>
                <a:lnTo>
                  <a:pt x="653353" y="564596"/>
                </a:lnTo>
                <a:cubicBezTo>
                  <a:pt x="660046" y="544514"/>
                  <a:pt x="650750" y="564223"/>
                  <a:pt x="665626" y="552322"/>
                </a:cubicBezTo>
                <a:cubicBezTo>
                  <a:pt x="668506" y="550018"/>
                  <a:pt x="665626" y="549253"/>
                  <a:pt x="662558" y="546185"/>
                </a:cubicBezTo>
                <a:close/>
              </a:path>
            </a:pathLst>
          </a:custGeom>
          <a:solidFill>
            <a:srgbClr val="FF0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75" name="Freeform 74"/>
          <p:cNvSpPr/>
          <p:nvPr/>
        </p:nvSpPr>
        <p:spPr>
          <a:xfrm>
            <a:off x="5481638" y="3316822"/>
            <a:ext cx="493712" cy="537633"/>
          </a:xfrm>
          <a:custGeom>
            <a:avLst/>
            <a:gdLst>
              <a:gd name="connsiteX0" fmla="*/ 401343 w 493840"/>
              <a:gd name="connsiteY0" fmla="*/ 385845 h 538344"/>
              <a:gd name="connsiteX1" fmla="*/ 409272 w 493840"/>
              <a:gd name="connsiteY1" fmla="*/ 372631 h 538344"/>
              <a:gd name="connsiteX2" fmla="*/ 414557 w 493840"/>
              <a:gd name="connsiteY2" fmla="*/ 346204 h 538344"/>
              <a:gd name="connsiteX3" fmla="*/ 422485 w 493840"/>
              <a:gd name="connsiteY3" fmla="*/ 338275 h 538344"/>
              <a:gd name="connsiteX4" fmla="*/ 427771 w 493840"/>
              <a:gd name="connsiteY4" fmla="*/ 330347 h 538344"/>
              <a:gd name="connsiteX5" fmla="*/ 430414 w 493840"/>
              <a:gd name="connsiteY5" fmla="*/ 317133 h 538344"/>
              <a:gd name="connsiteX6" fmla="*/ 446270 w 493840"/>
              <a:gd name="connsiteY6" fmla="*/ 309205 h 538344"/>
              <a:gd name="connsiteX7" fmla="*/ 451556 w 493840"/>
              <a:gd name="connsiteY7" fmla="*/ 301276 h 538344"/>
              <a:gd name="connsiteX8" fmla="*/ 475341 w 493840"/>
              <a:gd name="connsiteY8" fmla="*/ 288063 h 538344"/>
              <a:gd name="connsiteX9" fmla="*/ 485912 w 493840"/>
              <a:gd name="connsiteY9" fmla="*/ 272206 h 538344"/>
              <a:gd name="connsiteX10" fmla="*/ 488555 w 493840"/>
              <a:gd name="connsiteY10" fmla="*/ 261635 h 538344"/>
              <a:gd name="connsiteX11" fmla="*/ 493840 w 493840"/>
              <a:gd name="connsiteY11" fmla="*/ 245778 h 538344"/>
              <a:gd name="connsiteX12" fmla="*/ 491198 w 493840"/>
              <a:gd name="connsiteY12" fmla="*/ 161209 h 538344"/>
              <a:gd name="connsiteX13" fmla="*/ 485912 w 493840"/>
              <a:gd name="connsiteY13" fmla="*/ 145353 h 538344"/>
              <a:gd name="connsiteX14" fmla="*/ 483269 w 493840"/>
              <a:gd name="connsiteY14" fmla="*/ 137424 h 538344"/>
              <a:gd name="connsiteX15" fmla="*/ 477984 w 493840"/>
              <a:gd name="connsiteY15" fmla="*/ 129496 h 538344"/>
              <a:gd name="connsiteX16" fmla="*/ 475341 w 493840"/>
              <a:gd name="connsiteY16" fmla="*/ 121568 h 538344"/>
              <a:gd name="connsiteX17" fmla="*/ 467413 w 493840"/>
              <a:gd name="connsiteY17" fmla="*/ 118925 h 538344"/>
              <a:gd name="connsiteX18" fmla="*/ 456841 w 493840"/>
              <a:gd name="connsiteY18" fmla="*/ 103068 h 538344"/>
              <a:gd name="connsiteX19" fmla="*/ 440985 w 493840"/>
              <a:gd name="connsiteY19" fmla="*/ 71355 h 538344"/>
              <a:gd name="connsiteX20" fmla="*/ 435699 w 493840"/>
              <a:gd name="connsiteY20" fmla="*/ 63427 h 538344"/>
              <a:gd name="connsiteX21" fmla="*/ 430414 w 493840"/>
              <a:gd name="connsiteY21" fmla="*/ 55498 h 538344"/>
              <a:gd name="connsiteX22" fmla="*/ 417200 w 493840"/>
              <a:gd name="connsiteY22" fmla="*/ 39642 h 538344"/>
              <a:gd name="connsiteX23" fmla="*/ 409272 w 493840"/>
              <a:gd name="connsiteY23" fmla="*/ 15857 h 538344"/>
              <a:gd name="connsiteX24" fmla="*/ 406629 w 493840"/>
              <a:gd name="connsiteY24" fmla="*/ 7928 h 538344"/>
              <a:gd name="connsiteX25" fmla="*/ 403986 w 493840"/>
              <a:gd name="connsiteY25" fmla="*/ 0 h 538344"/>
              <a:gd name="connsiteX26" fmla="*/ 396058 w 493840"/>
              <a:gd name="connsiteY26" fmla="*/ 5286 h 538344"/>
              <a:gd name="connsiteX27" fmla="*/ 385487 w 493840"/>
              <a:gd name="connsiteY27" fmla="*/ 21142 h 538344"/>
              <a:gd name="connsiteX28" fmla="*/ 369630 w 493840"/>
              <a:gd name="connsiteY28" fmla="*/ 31713 h 538344"/>
              <a:gd name="connsiteX29" fmla="*/ 345845 w 493840"/>
              <a:gd name="connsiteY29" fmla="*/ 42284 h 538344"/>
              <a:gd name="connsiteX30" fmla="*/ 337917 w 493840"/>
              <a:gd name="connsiteY30" fmla="*/ 44927 h 538344"/>
              <a:gd name="connsiteX31" fmla="*/ 329988 w 493840"/>
              <a:gd name="connsiteY31" fmla="*/ 50213 h 538344"/>
              <a:gd name="connsiteX32" fmla="*/ 322060 w 493840"/>
              <a:gd name="connsiteY32" fmla="*/ 58141 h 538344"/>
              <a:gd name="connsiteX33" fmla="*/ 306203 w 493840"/>
              <a:gd name="connsiteY33" fmla="*/ 63427 h 538344"/>
              <a:gd name="connsiteX34" fmla="*/ 298275 w 493840"/>
              <a:gd name="connsiteY34" fmla="*/ 66069 h 538344"/>
              <a:gd name="connsiteX35" fmla="*/ 221635 w 493840"/>
              <a:gd name="connsiteY35" fmla="*/ 71355 h 538344"/>
              <a:gd name="connsiteX36" fmla="*/ 179350 w 493840"/>
              <a:gd name="connsiteY36" fmla="*/ 73998 h 538344"/>
              <a:gd name="connsiteX37" fmla="*/ 123852 w 493840"/>
              <a:gd name="connsiteY37" fmla="*/ 76641 h 538344"/>
              <a:gd name="connsiteX38" fmla="*/ 115924 w 493840"/>
              <a:gd name="connsiteY38" fmla="*/ 79283 h 538344"/>
              <a:gd name="connsiteX39" fmla="*/ 113281 w 493840"/>
              <a:gd name="connsiteY39" fmla="*/ 137424 h 538344"/>
              <a:gd name="connsiteX40" fmla="*/ 118566 w 493840"/>
              <a:gd name="connsiteY40" fmla="*/ 153281 h 538344"/>
              <a:gd name="connsiteX41" fmla="*/ 110638 w 493840"/>
              <a:gd name="connsiteY41" fmla="*/ 169138 h 538344"/>
              <a:gd name="connsiteX42" fmla="*/ 115924 w 493840"/>
              <a:gd name="connsiteY42" fmla="*/ 184994 h 538344"/>
              <a:gd name="connsiteX43" fmla="*/ 123852 w 493840"/>
              <a:gd name="connsiteY43" fmla="*/ 187637 h 538344"/>
              <a:gd name="connsiteX44" fmla="*/ 139709 w 493840"/>
              <a:gd name="connsiteY44" fmla="*/ 198208 h 538344"/>
              <a:gd name="connsiteX45" fmla="*/ 144994 w 493840"/>
              <a:gd name="connsiteY45" fmla="*/ 206136 h 538344"/>
              <a:gd name="connsiteX46" fmla="*/ 142351 w 493840"/>
              <a:gd name="connsiteY46" fmla="*/ 221993 h 538344"/>
              <a:gd name="connsiteX47" fmla="*/ 126495 w 493840"/>
              <a:gd name="connsiteY47" fmla="*/ 229921 h 538344"/>
              <a:gd name="connsiteX48" fmla="*/ 118566 w 493840"/>
              <a:gd name="connsiteY48" fmla="*/ 237850 h 538344"/>
              <a:gd name="connsiteX49" fmla="*/ 110638 w 493840"/>
              <a:gd name="connsiteY49" fmla="*/ 240493 h 538344"/>
              <a:gd name="connsiteX50" fmla="*/ 94781 w 493840"/>
              <a:gd name="connsiteY50" fmla="*/ 264278 h 538344"/>
              <a:gd name="connsiteX51" fmla="*/ 89496 w 493840"/>
              <a:gd name="connsiteY51" fmla="*/ 272206 h 538344"/>
              <a:gd name="connsiteX52" fmla="*/ 73639 w 493840"/>
              <a:gd name="connsiteY52" fmla="*/ 282777 h 538344"/>
              <a:gd name="connsiteX53" fmla="*/ 65711 w 493840"/>
              <a:gd name="connsiteY53" fmla="*/ 288063 h 538344"/>
              <a:gd name="connsiteX54" fmla="*/ 49854 w 493840"/>
              <a:gd name="connsiteY54" fmla="*/ 311847 h 538344"/>
              <a:gd name="connsiteX55" fmla="*/ 44569 w 493840"/>
              <a:gd name="connsiteY55" fmla="*/ 319776 h 538344"/>
              <a:gd name="connsiteX56" fmla="*/ 39283 w 493840"/>
              <a:gd name="connsiteY56" fmla="*/ 335632 h 538344"/>
              <a:gd name="connsiteX57" fmla="*/ 33998 w 493840"/>
              <a:gd name="connsiteY57" fmla="*/ 351489 h 538344"/>
              <a:gd name="connsiteX58" fmla="*/ 31355 w 493840"/>
              <a:gd name="connsiteY58" fmla="*/ 359417 h 538344"/>
              <a:gd name="connsiteX59" fmla="*/ 28712 w 493840"/>
              <a:gd name="connsiteY59" fmla="*/ 377917 h 538344"/>
              <a:gd name="connsiteX60" fmla="*/ 23426 w 493840"/>
              <a:gd name="connsiteY60" fmla="*/ 409630 h 538344"/>
              <a:gd name="connsiteX61" fmla="*/ 20784 w 493840"/>
              <a:gd name="connsiteY61" fmla="*/ 459843 h 538344"/>
              <a:gd name="connsiteX62" fmla="*/ 18141 w 493840"/>
              <a:gd name="connsiteY62" fmla="*/ 467771 h 538344"/>
              <a:gd name="connsiteX63" fmla="*/ 15498 w 493840"/>
              <a:gd name="connsiteY63" fmla="*/ 483628 h 538344"/>
              <a:gd name="connsiteX64" fmla="*/ 33998 w 493840"/>
              <a:gd name="connsiteY64" fmla="*/ 520627 h 538344"/>
              <a:gd name="connsiteX65" fmla="*/ 44569 w 493840"/>
              <a:gd name="connsiteY65" fmla="*/ 523269 h 538344"/>
              <a:gd name="connsiteX66" fmla="*/ 57782 w 493840"/>
              <a:gd name="connsiteY66" fmla="*/ 520627 h 538344"/>
              <a:gd name="connsiteX67" fmla="*/ 73639 w 493840"/>
              <a:gd name="connsiteY67" fmla="*/ 515341 h 538344"/>
              <a:gd name="connsiteX68" fmla="*/ 81567 w 493840"/>
              <a:gd name="connsiteY68" fmla="*/ 507413 h 538344"/>
              <a:gd name="connsiteX69" fmla="*/ 92139 w 493840"/>
              <a:gd name="connsiteY69" fmla="*/ 491556 h 538344"/>
              <a:gd name="connsiteX70" fmla="*/ 100067 w 493840"/>
              <a:gd name="connsiteY70" fmla="*/ 488913 h 538344"/>
              <a:gd name="connsiteX71" fmla="*/ 105352 w 493840"/>
              <a:gd name="connsiteY71" fmla="*/ 480985 h 538344"/>
              <a:gd name="connsiteX72" fmla="*/ 137066 w 493840"/>
              <a:gd name="connsiteY72" fmla="*/ 480985 h 538344"/>
              <a:gd name="connsiteX73" fmla="*/ 152922 w 493840"/>
              <a:gd name="connsiteY73" fmla="*/ 486271 h 538344"/>
              <a:gd name="connsiteX74" fmla="*/ 184636 w 493840"/>
              <a:gd name="connsiteY74" fmla="*/ 491556 h 538344"/>
              <a:gd name="connsiteX75" fmla="*/ 213706 w 493840"/>
              <a:gd name="connsiteY75" fmla="*/ 462486 h 538344"/>
              <a:gd name="connsiteX76" fmla="*/ 211063 w 493840"/>
              <a:gd name="connsiteY76" fmla="*/ 454557 h 538344"/>
              <a:gd name="connsiteX77" fmla="*/ 213706 w 493840"/>
              <a:gd name="connsiteY77" fmla="*/ 441343 h 538344"/>
              <a:gd name="connsiteX78" fmla="*/ 232206 w 493840"/>
              <a:gd name="connsiteY78" fmla="*/ 433415 h 538344"/>
              <a:gd name="connsiteX79" fmla="*/ 234848 w 493840"/>
              <a:gd name="connsiteY79" fmla="*/ 414916 h 538344"/>
              <a:gd name="connsiteX80" fmla="*/ 253348 w 493840"/>
              <a:gd name="connsiteY80" fmla="*/ 406987 h 538344"/>
              <a:gd name="connsiteX81" fmla="*/ 282418 w 493840"/>
              <a:gd name="connsiteY81" fmla="*/ 399059 h 538344"/>
              <a:gd name="connsiteX82" fmla="*/ 290347 w 493840"/>
              <a:gd name="connsiteY82" fmla="*/ 393773 h 538344"/>
              <a:gd name="connsiteX83" fmla="*/ 303561 w 493840"/>
              <a:gd name="connsiteY83" fmla="*/ 380560 h 538344"/>
              <a:gd name="connsiteX84" fmla="*/ 319417 w 493840"/>
              <a:gd name="connsiteY84" fmla="*/ 385845 h 538344"/>
              <a:gd name="connsiteX85" fmla="*/ 332631 w 493840"/>
              <a:gd name="connsiteY85" fmla="*/ 375274 h 538344"/>
              <a:gd name="connsiteX86" fmla="*/ 340559 w 493840"/>
              <a:gd name="connsiteY86" fmla="*/ 377917 h 538344"/>
              <a:gd name="connsiteX87" fmla="*/ 356416 w 493840"/>
              <a:gd name="connsiteY87" fmla="*/ 375274 h 538344"/>
              <a:gd name="connsiteX88" fmla="*/ 359059 w 493840"/>
              <a:gd name="connsiteY88" fmla="*/ 367346 h 538344"/>
              <a:gd name="connsiteX89" fmla="*/ 372273 w 493840"/>
              <a:gd name="connsiteY89" fmla="*/ 356775 h 538344"/>
              <a:gd name="connsiteX90" fmla="*/ 380201 w 493840"/>
              <a:gd name="connsiteY90" fmla="*/ 359417 h 538344"/>
              <a:gd name="connsiteX91" fmla="*/ 382844 w 493840"/>
              <a:gd name="connsiteY91" fmla="*/ 367346 h 538344"/>
              <a:gd name="connsiteX92" fmla="*/ 385487 w 493840"/>
              <a:gd name="connsiteY92" fmla="*/ 385845 h 538344"/>
              <a:gd name="connsiteX93" fmla="*/ 401343 w 493840"/>
              <a:gd name="connsiteY93" fmla="*/ 385845 h 538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493840" h="538344">
                <a:moveTo>
                  <a:pt x="401343" y="385845"/>
                </a:moveTo>
                <a:cubicBezTo>
                  <a:pt x="405307" y="383643"/>
                  <a:pt x="407648" y="377504"/>
                  <a:pt x="409272" y="372631"/>
                </a:cubicBezTo>
                <a:cubicBezTo>
                  <a:pt x="410095" y="370161"/>
                  <a:pt x="410934" y="351639"/>
                  <a:pt x="414557" y="346204"/>
                </a:cubicBezTo>
                <a:cubicBezTo>
                  <a:pt x="416630" y="343094"/>
                  <a:pt x="420092" y="341146"/>
                  <a:pt x="422485" y="338275"/>
                </a:cubicBezTo>
                <a:cubicBezTo>
                  <a:pt x="424518" y="335835"/>
                  <a:pt x="426009" y="332990"/>
                  <a:pt x="427771" y="330347"/>
                </a:cubicBezTo>
                <a:cubicBezTo>
                  <a:pt x="428652" y="325942"/>
                  <a:pt x="428185" y="321033"/>
                  <a:pt x="430414" y="317133"/>
                </a:cubicBezTo>
                <a:cubicBezTo>
                  <a:pt x="432826" y="312912"/>
                  <a:pt x="442199" y="310562"/>
                  <a:pt x="446270" y="309205"/>
                </a:cubicBezTo>
                <a:cubicBezTo>
                  <a:pt x="448032" y="306562"/>
                  <a:pt x="449165" y="303368"/>
                  <a:pt x="451556" y="301276"/>
                </a:cubicBezTo>
                <a:cubicBezTo>
                  <a:pt x="462741" y="291489"/>
                  <a:pt x="464451" y="291692"/>
                  <a:pt x="475341" y="288063"/>
                </a:cubicBezTo>
                <a:cubicBezTo>
                  <a:pt x="483593" y="263308"/>
                  <a:pt x="470076" y="299919"/>
                  <a:pt x="485912" y="272206"/>
                </a:cubicBezTo>
                <a:cubicBezTo>
                  <a:pt x="487714" y="269052"/>
                  <a:pt x="487511" y="265114"/>
                  <a:pt x="488555" y="261635"/>
                </a:cubicBezTo>
                <a:cubicBezTo>
                  <a:pt x="490156" y="256298"/>
                  <a:pt x="493840" y="245778"/>
                  <a:pt x="493840" y="245778"/>
                </a:cubicBezTo>
                <a:cubicBezTo>
                  <a:pt x="492959" y="217588"/>
                  <a:pt x="493418" y="189325"/>
                  <a:pt x="491198" y="161209"/>
                </a:cubicBezTo>
                <a:cubicBezTo>
                  <a:pt x="490760" y="155655"/>
                  <a:pt x="487674" y="150638"/>
                  <a:pt x="485912" y="145353"/>
                </a:cubicBezTo>
                <a:cubicBezTo>
                  <a:pt x="485031" y="142710"/>
                  <a:pt x="484814" y="139742"/>
                  <a:pt x="483269" y="137424"/>
                </a:cubicBezTo>
                <a:cubicBezTo>
                  <a:pt x="481507" y="134781"/>
                  <a:pt x="479404" y="132337"/>
                  <a:pt x="477984" y="129496"/>
                </a:cubicBezTo>
                <a:cubicBezTo>
                  <a:pt x="476738" y="127004"/>
                  <a:pt x="477311" y="123538"/>
                  <a:pt x="475341" y="121568"/>
                </a:cubicBezTo>
                <a:cubicBezTo>
                  <a:pt x="473371" y="119598"/>
                  <a:pt x="470056" y="119806"/>
                  <a:pt x="467413" y="118925"/>
                </a:cubicBezTo>
                <a:cubicBezTo>
                  <a:pt x="463889" y="113639"/>
                  <a:pt x="458850" y="109095"/>
                  <a:pt x="456841" y="103068"/>
                </a:cubicBezTo>
                <a:cubicBezTo>
                  <a:pt x="449548" y="81187"/>
                  <a:pt x="454646" y="91845"/>
                  <a:pt x="440985" y="71355"/>
                </a:cubicBezTo>
                <a:lnTo>
                  <a:pt x="435699" y="63427"/>
                </a:lnTo>
                <a:cubicBezTo>
                  <a:pt x="433937" y="60784"/>
                  <a:pt x="432660" y="57744"/>
                  <a:pt x="430414" y="55498"/>
                </a:cubicBezTo>
                <a:cubicBezTo>
                  <a:pt x="425433" y="50518"/>
                  <a:pt x="420144" y="46267"/>
                  <a:pt x="417200" y="39642"/>
                </a:cubicBezTo>
                <a:cubicBezTo>
                  <a:pt x="417191" y="39622"/>
                  <a:pt x="410597" y="19832"/>
                  <a:pt x="409272" y="15857"/>
                </a:cubicBezTo>
                <a:lnTo>
                  <a:pt x="406629" y="7928"/>
                </a:lnTo>
                <a:lnTo>
                  <a:pt x="403986" y="0"/>
                </a:lnTo>
                <a:cubicBezTo>
                  <a:pt x="401343" y="1762"/>
                  <a:pt x="398150" y="2896"/>
                  <a:pt x="396058" y="5286"/>
                </a:cubicBezTo>
                <a:cubicBezTo>
                  <a:pt x="391875" y="10067"/>
                  <a:pt x="390772" y="17618"/>
                  <a:pt x="385487" y="21142"/>
                </a:cubicBezTo>
                <a:cubicBezTo>
                  <a:pt x="380201" y="24666"/>
                  <a:pt x="375656" y="29704"/>
                  <a:pt x="369630" y="31713"/>
                </a:cubicBezTo>
                <a:cubicBezTo>
                  <a:pt x="328722" y="45350"/>
                  <a:pt x="370971" y="29721"/>
                  <a:pt x="345845" y="42284"/>
                </a:cubicBezTo>
                <a:cubicBezTo>
                  <a:pt x="343353" y="43530"/>
                  <a:pt x="340409" y="43681"/>
                  <a:pt x="337917" y="44927"/>
                </a:cubicBezTo>
                <a:cubicBezTo>
                  <a:pt x="335076" y="46348"/>
                  <a:pt x="332428" y="48179"/>
                  <a:pt x="329988" y="50213"/>
                </a:cubicBezTo>
                <a:cubicBezTo>
                  <a:pt x="327117" y="52606"/>
                  <a:pt x="325327" y="56326"/>
                  <a:pt x="322060" y="58141"/>
                </a:cubicBezTo>
                <a:cubicBezTo>
                  <a:pt x="317190" y="60847"/>
                  <a:pt x="311489" y="61665"/>
                  <a:pt x="306203" y="63427"/>
                </a:cubicBezTo>
                <a:cubicBezTo>
                  <a:pt x="303560" y="64308"/>
                  <a:pt x="301006" y="65523"/>
                  <a:pt x="298275" y="66069"/>
                </a:cubicBezTo>
                <a:cubicBezTo>
                  <a:pt x="263511" y="73022"/>
                  <a:pt x="293322" y="67770"/>
                  <a:pt x="221635" y="71355"/>
                </a:cubicBezTo>
                <a:cubicBezTo>
                  <a:pt x="207530" y="72060"/>
                  <a:pt x="193452" y="73236"/>
                  <a:pt x="179350" y="73998"/>
                </a:cubicBezTo>
                <a:lnTo>
                  <a:pt x="123852" y="76641"/>
                </a:lnTo>
                <a:cubicBezTo>
                  <a:pt x="121209" y="77522"/>
                  <a:pt x="118099" y="77543"/>
                  <a:pt x="115924" y="79283"/>
                </a:cubicBezTo>
                <a:cubicBezTo>
                  <a:pt x="100845" y="91346"/>
                  <a:pt x="113087" y="135810"/>
                  <a:pt x="113281" y="137424"/>
                </a:cubicBezTo>
                <a:cubicBezTo>
                  <a:pt x="113945" y="142956"/>
                  <a:pt x="118566" y="153281"/>
                  <a:pt x="118566" y="153281"/>
                </a:cubicBezTo>
                <a:cubicBezTo>
                  <a:pt x="116488" y="156399"/>
                  <a:pt x="110117" y="164449"/>
                  <a:pt x="110638" y="169138"/>
                </a:cubicBezTo>
                <a:cubicBezTo>
                  <a:pt x="111253" y="174675"/>
                  <a:pt x="110639" y="183232"/>
                  <a:pt x="115924" y="184994"/>
                </a:cubicBezTo>
                <a:cubicBezTo>
                  <a:pt x="118567" y="185875"/>
                  <a:pt x="121417" y="186284"/>
                  <a:pt x="123852" y="187637"/>
                </a:cubicBezTo>
                <a:cubicBezTo>
                  <a:pt x="129405" y="190722"/>
                  <a:pt x="139709" y="198208"/>
                  <a:pt x="139709" y="198208"/>
                </a:cubicBezTo>
                <a:cubicBezTo>
                  <a:pt x="141471" y="200851"/>
                  <a:pt x="144643" y="202979"/>
                  <a:pt x="144994" y="206136"/>
                </a:cubicBezTo>
                <a:cubicBezTo>
                  <a:pt x="145586" y="211462"/>
                  <a:pt x="144747" y="217200"/>
                  <a:pt x="142351" y="221993"/>
                </a:cubicBezTo>
                <a:cubicBezTo>
                  <a:pt x="140301" y="226093"/>
                  <a:pt x="130249" y="228670"/>
                  <a:pt x="126495" y="229921"/>
                </a:cubicBezTo>
                <a:cubicBezTo>
                  <a:pt x="123852" y="232564"/>
                  <a:pt x="121676" y="235777"/>
                  <a:pt x="118566" y="237850"/>
                </a:cubicBezTo>
                <a:cubicBezTo>
                  <a:pt x="116248" y="239395"/>
                  <a:pt x="112608" y="238523"/>
                  <a:pt x="110638" y="240493"/>
                </a:cubicBezTo>
                <a:cubicBezTo>
                  <a:pt x="110637" y="240494"/>
                  <a:pt x="97424" y="260314"/>
                  <a:pt x="94781" y="264278"/>
                </a:cubicBezTo>
                <a:cubicBezTo>
                  <a:pt x="93019" y="266921"/>
                  <a:pt x="92139" y="270444"/>
                  <a:pt x="89496" y="272206"/>
                </a:cubicBezTo>
                <a:lnTo>
                  <a:pt x="73639" y="282777"/>
                </a:lnTo>
                <a:lnTo>
                  <a:pt x="65711" y="288063"/>
                </a:lnTo>
                <a:lnTo>
                  <a:pt x="49854" y="311847"/>
                </a:lnTo>
                <a:cubicBezTo>
                  <a:pt x="48092" y="314490"/>
                  <a:pt x="45574" y="316763"/>
                  <a:pt x="44569" y="319776"/>
                </a:cubicBezTo>
                <a:lnTo>
                  <a:pt x="39283" y="335632"/>
                </a:lnTo>
                <a:lnTo>
                  <a:pt x="33998" y="351489"/>
                </a:lnTo>
                <a:lnTo>
                  <a:pt x="31355" y="359417"/>
                </a:lnTo>
                <a:cubicBezTo>
                  <a:pt x="30474" y="365584"/>
                  <a:pt x="29485" y="371736"/>
                  <a:pt x="28712" y="377917"/>
                </a:cubicBezTo>
                <a:cubicBezTo>
                  <a:pt x="25171" y="406241"/>
                  <a:pt x="28798" y="393516"/>
                  <a:pt x="23426" y="409630"/>
                </a:cubicBezTo>
                <a:cubicBezTo>
                  <a:pt x="22545" y="426368"/>
                  <a:pt x="22301" y="443151"/>
                  <a:pt x="20784" y="459843"/>
                </a:cubicBezTo>
                <a:cubicBezTo>
                  <a:pt x="20532" y="462617"/>
                  <a:pt x="18745" y="465052"/>
                  <a:pt x="18141" y="467771"/>
                </a:cubicBezTo>
                <a:cubicBezTo>
                  <a:pt x="16978" y="473002"/>
                  <a:pt x="16379" y="478342"/>
                  <a:pt x="15498" y="483628"/>
                </a:cubicBezTo>
                <a:cubicBezTo>
                  <a:pt x="11850" y="538344"/>
                  <a:pt x="0" y="520627"/>
                  <a:pt x="33998" y="520627"/>
                </a:cubicBezTo>
                <a:cubicBezTo>
                  <a:pt x="37630" y="520627"/>
                  <a:pt x="41045" y="522388"/>
                  <a:pt x="44569" y="523269"/>
                </a:cubicBezTo>
                <a:cubicBezTo>
                  <a:pt x="48973" y="522388"/>
                  <a:pt x="53449" y="521809"/>
                  <a:pt x="57782" y="520627"/>
                </a:cubicBezTo>
                <a:cubicBezTo>
                  <a:pt x="63157" y="519161"/>
                  <a:pt x="73639" y="515341"/>
                  <a:pt x="73639" y="515341"/>
                </a:cubicBezTo>
                <a:cubicBezTo>
                  <a:pt x="76282" y="512698"/>
                  <a:pt x="79494" y="510523"/>
                  <a:pt x="81567" y="507413"/>
                </a:cubicBezTo>
                <a:cubicBezTo>
                  <a:pt x="89326" y="495775"/>
                  <a:pt x="76963" y="501673"/>
                  <a:pt x="92139" y="491556"/>
                </a:cubicBezTo>
                <a:cubicBezTo>
                  <a:pt x="94457" y="490011"/>
                  <a:pt x="97424" y="489794"/>
                  <a:pt x="100067" y="488913"/>
                </a:cubicBezTo>
                <a:cubicBezTo>
                  <a:pt x="101829" y="486270"/>
                  <a:pt x="102872" y="482969"/>
                  <a:pt x="105352" y="480985"/>
                </a:cubicBezTo>
                <a:cubicBezTo>
                  <a:pt x="112912" y="474937"/>
                  <a:pt x="133239" y="480560"/>
                  <a:pt x="137066" y="480985"/>
                </a:cubicBezTo>
                <a:cubicBezTo>
                  <a:pt x="142351" y="482747"/>
                  <a:pt x="147459" y="485179"/>
                  <a:pt x="152922" y="486271"/>
                </a:cubicBezTo>
                <a:cubicBezTo>
                  <a:pt x="172244" y="490134"/>
                  <a:pt x="161689" y="488278"/>
                  <a:pt x="184636" y="491556"/>
                </a:cubicBezTo>
                <a:cubicBezTo>
                  <a:pt x="222815" y="488374"/>
                  <a:pt x="219371" y="499304"/>
                  <a:pt x="213706" y="462486"/>
                </a:cubicBezTo>
                <a:cubicBezTo>
                  <a:pt x="213282" y="459732"/>
                  <a:pt x="211944" y="457200"/>
                  <a:pt x="211063" y="454557"/>
                </a:cubicBezTo>
                <a:cubicBezTo>
                  <a:pt x="211944" y="450152"/>
                  <a:pt x="211477" y="445243"/>
                  <a:pt x="213706" y="441343"/>
                </a:cubicBezTo>
                <a:cubicBezTo>
                  <a:pt x="216747" y="436021"/>
                  <a:pt x="227599" y="434567"/>
                  <a:pt x="232206" y="433415"/>
                </a:cubicBezTo>
                <a:cubicBezTo>
                  <a:pt x="233087" y="427249"/>
                  <a:pt x="232318" y="420608"/>
                  <a:pt x="234848" y="414916"/>
                </a:cubicBezTo>
                <a:cubicBezTo>
                  <a:pt x="237084" y="409884"/>
                  <a:pt x="249660" y="407806"/>
                  <a:pt x="253348" y="406987"/>
                </a:cubicBezTo>
                <a:cubicBezTo>
                  <a:pt x="260798" y="405332"/>
                  <a:pt x="276226" y="403187"/>
                  <a:pt x="282418" y="399059"/>
                </a:cubicBezTo>
                <a:lnTo>
                  <a:pt x="290347" y="393773"/>
                </a:lnTo>
                <a:cubicBezTo>
                  <a:pt x="292697" y="390248"/>
                  <a:pt x="297687" y="380560"/>
                  <a:pt x="303561" y="380560"/>
                </a:cubicBezTo>
                <a:cubicBezTo>
                  <a:pt x="309132" y="380560"/>
                  <a:pt x="319417" y="385845"/>
                  <a:pt x="319417" y="385845"/>
                </a:cubicBezTo>
                <a:cubicBezTo>
                  <a:pt x="323475" y="379758"/>
                  <a:pt x="324122" y="375274"/>
                  <a:pt x="332631" y="375274"/>
                </a:cubicBezTo>
                <a:cubicBezTo>
                  <a:pt x="335417" y="375274"/>
                  <a:pt x="337916" y="377036"/>
                  <a:pt x="340559" y="377917"/>
                </a:cubicBezTo>
                <a:cubicBezTo>
                  <a:pt x="345845" y="377036"/>
                  <a:pt x="351763" y="377933"/>
                  <a:pt x="356416" y="375274"/>
                </a:cubicBezTo>
                <a:cubicBezTo>
                  <a:pt x="358835" y="373892"/>
                  <a:pt x="357813" y="369838"/>
                  <a:pt x="359059" y="367346"/>
                </a:cubicBezTo>
                <a:cubicBezTo>
                  <a:pt x="363841" y="357781"/>
                  <a:pt x="363127" y="359823"/>
                  <a:pt x="372273" y="356775"/>
                </a:cubicBezTo>
                <a:cubicBezTo>
                  <a:pt x="374916" y="357656"/>
                  <a:pt x="378231" y="357447"/>
                  <a:pt x="380201" y="359417"/>
                </a:cubicBezTo>
                <a:cubicBezTo>
                  <a:pt x="382171" y="361387"/>
                  <a:pt x="382298" y="364614"/>
                  <a:pt x="382844" y="367346"/>
                </a:cubicBezTo>
                <a:cubicBezTo>
                  <a:pt x="384066" y="373454"/>
                  <a:pt x="382957" y="380153"/>
                  <a:pt x="385487" y="385845"/>
                </a:cubicBezTo>
                <a:cubicBezTo>
                  <a:pt x="386399" y="387897"/>
                  <a:pt x="397379" y="388047"/>
                  <a:pt x="401343" y="385845"/>
                </a:cubicBezTo>
                <a:close/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77" name="Freeform 76"/>
          <p:cNvSpPr/>
          <p:nvPr/>
        </p:nvSpPr>
        <p:spPr>
          <a:xfrm>
            <a:off x="5507039" y="3782488"/>
            <a:ext cx="906462" cy="948267"/>
          </a:xfrm>
          <a:custGeom>
            <a:avLst/>
            <a:gdLst>
              <a:gd name="connsiteX0" fmla="*/ 907092 w 907092"/>
              <a:gd name="connsiteY0" fmla="*/ 821133 h 947986"/>
              <a:gd name="connsiteX1" fmla="*/ 891235 w 907092"/>
              <a:gd name="connsiteY1" fmla="*/ 818491 h 947986"/>
              <a:gd name="connsiteX2" fmla="*/ 883307 w 907092"/>
              <a:gd name="connsiteY2" fmla="*/ 815848 h 947986"/>
              <a:gd name="connsiteX3" fmla="*/ 870093 w 907092"/>
              <a:gd name="connsiteY3" fmla="*/ 792063 h 947986"/>
              <a:gd name="connsiteX4" fmla="*/ 864807 w 907092"/>
              <a:gd name="connsiteY4" fmla="*/ 784134 h 947986"/>
              <a:gd name="connsiteX5" fmla="*/ 859522 w 907092"/>
              <a:gd name="connsiteY5" fmla="*/ 765635 h 947986"/>
              <a:gd name="connsiteX6" fmla="*/ 856879 w 907092"/>
              <a:gd name="connsiteY6" fmla="*/ 757707 h 947986"/>
              <a:gd name="connsiteX7" fmla="*/ 851594 w 907092"/>
              <a:gd name="connsiteY7" fmla="*/ 739207 h 947986"/>
              <a:gd name="connsiteX8" fmla="*/ 846308 w 907092"/>
              <a:gd name="connsiteY8" fmla="*/ 731279 h 947986"/>
              <a:gd name="connsiteX9" fmla="*/ 841023 w 907092"/>
              <a:gd name="connsiteY9" fmla="*/ 715422 h 947986"/>
              <a:gd name="connsiteX10" fmla="*/ 835737 w 907092"/>
              <a:gd name="connsiteY10" fmla="*/ 699566 h 947986"/>
              <a:gd name="connsiteX11" fmla="*/ 833094 w 907092"/>
              <a:gd name="connsiteY11" fmla="*/ 691637 h 947986"/>
              <a:gd name="connsiteX12" fmla="*/ 835737 w 907092"/>
              <a:gd name="connsiteY12" fmla="*/ 620282 h 947986"/>
              <a:gd name="connsiteX13" fmla="*/ 838380 w 907092"/>
              <a:gd name="connsiteY13" fmla="*/ 572712 h 947986"/>
              <a:gd name="connsiteX14" fmla="*/ 846308 w 907092"/>
              <a:gd name="connsiteY14" fmla="*/ 567427 h 947986"/>
              <a:gd name="connsiteX15" fmla="*/ 848951 w 907092"/>
              <a:gd name="connsiteY15" fmla="*/ 559499 h 947986"/>
              <a:gd name="connsiteX16" fmla="*/ 864807 w 907092"/>
              <a:gd name="connsiteY16" fmla="*/ 548928 h 947986"/>
              <a:gd name="connsiteX17" fmla="*/ 867450 w 907092"/>
              <a:gd name="connsiteY17" fmla="*/ 538356 h 947986"/>
              <a:gd name="connsiteX18" fmla="*/ 851594 w 907092"/>
              <a:gd name="connsiteY18" fmla="*/ 527785 h 947986"/>
              <a:gd name="connsiteX19" fmla="*/ 843665 w 907092"/>
              <a:gd name="connsiteY19" fmla="*/ 519857 h 947986"/>
              <a:gd name="connsiteX20" fmla="*/ 835737 w 907092"/>
              <a:gd name="connsiteY20" fmla="*/ 517214 h 947986"/>
              <a:gd name="connsiteX21" fmla="*/ 830451 w 907092"/>
              <a:gd name="connsiteY21" fmla="*/ 509286 h 947986"/>
              <a:gd name="connsiteX22" fmla="*/ 814595 w 907092"/>
              <a:gd name="connsiteY22" fmla="*/ 498715 h 947986"/>
              <a:gd name="connsiteX23" fmla="*/ 806666 w 907092"/>
              <a:gd name="connsiteY23" fmla="*/ 493429 h 947986"/>
              <a:gd name="connsiteX24" fmla="*/ 798738 w 907092"/>
              <a:gd name="connsiteY24" fmla="*/ 485501 h 947986"/>
              <a:gd name="connsiteX25" fmla="*/ 796095 w 907092"/>
              <a:gd name="connsiteY25" fmla="*/ 477573 h 947986"/>
              <a:gd name="connsiteX26" fmla="*/ 790810 w 907092"/>
              <a:gd name="connsiteY26" fmla="*/ 469644 h 947986"/>
              <a:gd name="connsiteX27" fmla="*/ 796095 w 907092"/>
              <a:gd name="connsiteY27" fmla="*/ 437931 h 947986"/>
              <a:gd name="connsiteX28" fmla="*/ 801381 w 907092"/>
              <a:gd name="connsiteY28" fmla="*/ 430003 h 947986"/>
              <a:gd name="connsiteX29" fmla="*/ 806666 w 907092"/>
              <a:gd name="connsiteY29" fmla="*/ 414146 h 947986"/>
              <a:gd name="connsiteX30" fmla="*/ 809309 w 907092"/>
              <a:gd name="connsiteY30" fmla="*/ 406218 h 947986"/>
              <a:gd name="connsiteX31" fmla="*/ 814595 w 907092"/>
              <a:gd name="connsiteY31" fmla="*/ 398289 h 947986"/>
              <a:gd name="connsiteX32" fmla="*/ 819880 w 907092"/>
              <a:gd name="connsiteY32" fmla="*/ 382433 h 947986"/>
              <a:gd name="connsiteX33" fmla="*/ 822523 w 907092"/>
              <a:gd name="connsiteY33" fmla="*/ 371862 h 947986"/>
              <a:gd name="connsiteX34" fmla="*/ 827809 w 907092"/>
              <a:gd name="connsiteY34" fmla="*/ 363933 h 947986"/>
              <a:gd name="connsiteX35" fmla="*/ 830451 w 907092"/>
              <a:gd name="connsiteY35" fmla="*/ 334863 h 947986"/>
              <a:gd name="connsiteX36" fmla="*/ 819880 w 907092"/>
              <a:gd name="connsiteY36" fmla="*/ 321649 h 947986"/>
              <a:gd name="connsiteX37" fmla="*/ 798738 w 907092"/>
              <a:gd name="connsiteY37" fmla="*/ 319006 h 947986"/>
              <a:gd name="connsiteX38" fmla="*/ 780239 w 907092"/>
              <a:gd name="connsiteY38" fmla="*/ 311078 h 947986"/>
              <a:gd name="connsiteX39" fmla="*/ 772310 w 907092"/>
              <a:gd name="connsiteY39" fmla="*/ 305792 h 947986"/>
              <a:gd name="connsiteX40" fmla="*/ 764382 w 907092"/>
              <a:gd name="connsiteY40" fmla="*/ 303149 h 947986"/>
              <a:gd name="connsiteX41" fmla="*/ 748525 w 907092"/>
              <a:gd name="connsiteY41" fmla="*/ 292578 h 947986"/>
              <a:gd name="connsiteX42" fmla="*/ 740597 w 907092"/>
              <a:gd name="connsiteY42" fmla="*/ 287293 h 947986"/>
              <a:gd name="connsiteX43" fmla="*/ 732669 w 907092"/>
              <a:gd name="connsiteY43" fmla="*/ 282007 h 947986"/>
              <a:gd name="connsiteX44" fmla="*/ 708884 w 907092"/>
              <a:gd name="connsiteY44" fmla="*/ 263508 h 947986"/>
              <a:gd name="connsiteX45" fmla="*/ 700955 w 907092"/>
              <a:gd name="connsiteY45" fmla="*/ 260865 h 947986"/>
              <a:gd name="connsiteX46" fmla="*/ 693027 w 907092"/>
              <a:gd name="connsiteY46" fmla="*/ 245008 h 947986"/>
              <a:gd name="connsiteX47" fmla="*/ 698313 w 907092"/>
              <a:gd name="connsiteY47" fmla="*/ 210652 h 947986"/>
              <a:gd name="connsiteX48" fmla="*/ 703598 w 907092"/>
              <a:gd name="connsiteY48" fmla="*/ 202724 h 947986"/>
              <a:gd name="connsiteX49" fmla="*/ 693027 w 907092"/>
              <a:gd name="connsiteY49" fmla="*/ 186867 h 947986"/>
              <a:gd name="connsiteX50" fmla="*/ 677170 w 907092"/>
              <a:gd name="connsiteY50" fmla="*/ 181582 h 947986"/>
              <a:gd name="connsiteX51" fmla="*/ 669242 w 907092"/>
              <a:gd name="connsiteY51" fmla="*/ 176296 h 947986"/>
              <a:gd name="connsiteX52" fmla="*/ 663957 w 907092"/>
              <a:gd name="connsiteY52" fmla="*/ 168368 h 947986"/>
              <a:gd name="connsiteX53" fmla="*/ 637529 w 907092"/>
              <a:gd name="connsiteY53" fmla="*/ 152511 h 947986"/>
              <a:gd name="connsiteX54" fmla="*/ 629601 w 907092"/>
              <a:gd name="connsiteY54" fmla="*/ 144583 h 947986"/>
              <a:gd name="connsiteX55" fmla="*/ 613744 w 907092"/>
              <a:gd name="connsiteY55" fmla="*/ 139297 h 947986"/>
              <a:gd name="connsiteX56" fmla="*/ 605816 w 907092"/>
              <a:gd name="connsiteY56" fmla="*/ 136655 h 947986"/>
              <a:gd name="connsiteX57" fmla="*/ 597887 w 907092"/>
              <a:gd name="connsiteY57" fmla="*/ 134012 h 947986"/>
              <a:gd name="connsiteX58" fmla="*/ 587316 w 907092"/>
              <a:gd name="connsiteY58" fmla="*/ 131369 h 947986"/>
              <a:gd name="connsiteX59" fmla="*/ 566174 w 907092"/>
              <a:gd name="connsiteY59" fmla="*/ 123441 h 947986"/>
              <a:gd name="connsiteX60" fmla="*/ 558246 w 907092"/>
              <a:gd name="connsiteY60" fmla="*/ 118155 h 947986"/>
              <a:gd name="connsiteX61" fmla="*/ 542389 w 907092"/>
              <a:gd name="connsiteY61" fmla="*/ 112870 h 947986"/>
              <a:gd name="connsiteX62" fmla="*/ 534461 w 907092"/>
              <a:gd name="connsiteY62" fmla="*/ 107584 h 947986"/>
              <a:gd name="connsiteX63" fmla="*/ 518604 w 907092"/>
              <a:gd name="connsiteY63" fmla="*/ 99656 h 947986"/>
              <a:gd name="connsiteX64" fmla="*/ 500105 w 907092"/>
              <a:gd name="connsiteY64" fmla="*/ 81156 h 947986"/>
              <a:gd name="connsiteX65" fmla="*/ 492176 w 907092"/>
              <a:gd name="connsiteY65" fmla="*/ 75871 h 947986"/>
              <a:gd name="connsiteX66" fmla="*/ 460463 w 907092"/>
              <a:gd name="connsiteY66" fmla="*/ 65300 h 947986"/>
              <a:gd name="connsiteX67" fmla="*/ 444606 w 907092"/>
              <a:gd name="connsiteY67" fmla="*/ 57371 h 947986"/>
              <a:gd name="connsiteX68" fmla="*/ 428750 w 907092"/>
              <a:gd name="connsiteY68" fmla="*/ 52086 h 947986"/>
              <a:gd name="connsiteX69" fmla="*/ 420821 w 907092"/>
              <a:gd name="connsiteY69" fmla="*/ 36229 h 947986"/>
              <a:gd name="connsiteX70" fmla="*/ 410250 w 907092"/>
              <a:gd name="connsiteY70" fmla="*/ 12444 h 947986"/>
              <a:gd name="connsiteX71" fmla="*/ 402322 w 907092"/>
              <a:gd name="connsiteY71" fmla="*/ 9802 h 947986"/>
              <a:gd name="connsiteX72" fmla="*/ 383823 w 907092"/>
              <a:gd name="connsiteY72" fmla="*/ 1873 h 947986"/>
              <a:gd name="connsiteX73" fmla="*/ 378537 w 907092"/>
              <a:gd name="connsiteY73" fmla="*/ 17730 h 947986"/>
              <a:gd name="connsiteX74" fmla="*/ 365323 w 907092"/>
              <a:gd name="connsiteY74" fmla="*/ 41515 h 947986"/>
              <a:gd name="connsiteX75" fmla="*/ 349466 w 907092"/>
              <a:gd name="connsiteY75" fmla="*/ 49443 h 947986"/>
              <a:gd name="connsiteX76" fmla="*/ 344181 w 907092"/>
              <a:gd name="connsiteY76" fmla="*/ 57371 h 947986"/>
              <a:gd name="connsiteX77" fmla="*/ 333610 w 907092"/>
              <a:gd name="connsiteY77" fmla="*/ 81156 h 947986"/>
              <a:gd name="connsiteX78" fmla="*/ 317753 w 907092"/>
              <a:gd name="connsiteY78" fmla="*/ 89085 h 947986"/>
              <a:gd name="connsiteX79" fmla="*/ 301896 w 907092"/>
              <a:gd name="connsiteY79" fmla="*/ 104941 h 947986"/>
              <a:gd name="connsiteX80" fmla="*/ 307182 w 907092"/>
              <a:gd name="connsiteY80" fmla="*/ 112870 h 947986"/>
              <a:gd name="connsiteX81" fmla="*/ 323039 w 907092"/>
              <a:gd name="connsiteY81" fmla="*/ 115512 h 947986"/>
              <a:gd name="connsiteX82" fmla="*/ 344181 w 907092"/>
              <a:gd name="connsiteY82" fmla="*/ 120798 h 947986"/>
              <a:gd name="connsiteX83" fmla="*/ 341538 w 907092"/>
              <a:gd name="connsiteY83" fmla="*/ 141940 h 947986"/>
              <a:gd name="connsiteX84" fmla="*/ 325681 w 907092"/>
              <a:gd name="connsiteY84" fmla="*/ 147226 h 947986"/>
              <a:gd name="connsiteX85" fmla="*/ 307182 w 907092"/>
              <a:gd name="connsiteY85" fmla="*/ 144583 h 947986"/>
              <a:gd name="connsiteX86" fmla="*/ 299254 w 907092"/>
              <a:gd name="connsiteY86" fmla="*/ 141940 h 947986"/>
              <a:gd name="connsiteX87" fmla="*/ 278112 w 907092"/>
              <a:gd name="connsiteY87" fmla="*/ 147226 h 947986"/>
              <a:gd name="connsiteX88" fmla="*/ 267540 w 907092"/>
              <a:gd name="connsiteY88" fmla="*/ 160440 h 947986"/>
              <a:gd name="connsiteX89" fmla="*/ 259612 w 907092"/>
              <a:gd name="connsiteY89" fmla="*/ 157797 h 947986"/>
              <a:gd name="connsiteX90" fmla="*/ 246398 w 907092"/>
              <a:gd name="connsiteY90" fmla="*/ 144583 h 947986"/>
              <a:gd name="connsiteX91" fmla="*/ 230542 w 907092"/>
              <a:gd name="connsiteY91" fmla="*/ 139297 h 947986"/>
              <a:gd name="connsiteX92" fmla="*/ 222613 w 907092"/>
              <a:gd name="connsiteY92" fmla="*/ 141940 h 947986"/>
              <a:gd name="connsiteX93" fmla="*/ 201471 w 907092"/>
              <a:gd name="connsiteY93" fmla="*/ 147226 h 947986"/>
              <a:gd name="connsiteX94" fmla="*/ 193543 w 907092"/>
              <a:gd name="connsiteY94" fmla="*/ 152511 h 947986"/>
              <a:gd name="connsiteX95" fmla="*/ 196186 w 907092"/>
              <a:gd name="connsiteY95" fmla="*/ 144583 h 947986"/>
              <a:gd name="connsiteX96" fmla="*/ 193543 w 907092"/>
              <a:gd name="connsiteY96" fmla="*/ 134012 h 947986"/>
              <a:gd name="connsiteX97" fmla="*/ 185614 w 907092"/>
              <a:gd name="connsiteY97" fmla="*/ 128726 h 947986"/>
              <a:gd name="connsiteX98" fmla="*/ 180329 w 907092"/>
              <a:gd name="connsiteY98" fmla="*/ 112870 h 947986"/>
              <a:gd name="connsiteX99" fmla="*/ 182972 w 907092"/>
              <a:gd name="connsiteY99" fmla="*/ 65300 h 947986"/>
              <a:gd name="connsiteX100" fmla="*/ 190900 w 907092"/>
              <a:gd name="connsiteY100" fmla="*/ 60014 h 947986"/>
              <a:gd name="connsiteX101" fmla="*/ 188257 w 907092"/>
              <a:gd name="connsiteY101" fmla="*/ 36229 h 947986"/>
              <a:gd name="connsiteX102" fmla="*/ 180329 w 907092"/>
              <a:gd name="connsiteY102" fmla="*/ 30944 h 947986"/>
              <a:gd name="connsiteX103" fmla="*/ 153901 w 907092"/>
              <a:gd name="connsiteY103" fmla="*/ 28301 h 947986"/>
              <a:gd name="connsiteX104" fmla="*/ 127473 w 907092"/>
              <a:gd name="connsiteY104" fmla="*/ 23015 h 947986"/>
              <a:gd name="connsiteX105" fmla="*/ 111617 w 907092"/>
              <a:gd name="connsiteY105" fmla="*/ 25658 h 947986"/>
              <a:gd name="connsiteX106" fmla="*/ 87832 w 907092"/>
              <a:gd name="connsiteY106" fmla="*/ 28301 h 947986"/>
              <a:gd name="connsiteX107" fmla="*/ 82546 w 907092"/>
              <a:gd name="connsiteY107" fmla="*/ 36229 h 947986"/>
              <a:gd name="connsiteX108" fmla="*/ 82546 w 907092"/>
              <a:gd name="connsiteY108" fmla="*/ 62657 h 947986"/>
              <a:gd name="connsiteX109" fmla="*/ 90475 w 907092"/>
              <a:gd name="connsiteY109" fmla="*/ 67943 h 947986"/>
              <a:gd name="connsiteX110" fmla="*/ 98403 w 907092"/>
              <a:gd name="connsiteY110" fmla="*/ 99656 h 947986"/>
              <a:gd name="connsiteX111" fmla="*/ 106331 w 907092"/>
              <a:gd name="connsiteY111" fmla="*/ 104941 h 947986"/>
              <a:gd name="connsiteX112" fmla="*/ 103688 w 907092"/>
              <a:gd name="connsiteY112" fmla="*/ 128726 h 947986"/>
              <a:gd name="connsiteX113" fmla="*/ 101046 w 907092"/>
              <a:gd name="connsiteY113" fmla="*/ 136655 h 947986"/>
              <a:gd name="connsiteX114" fmla="*/ 85189 w 907092"/>
              <a:gd name="connsiteY114" fmla="*/ 147226 h 947986"/>
              <a:gd name="connsiteX115" fmla="*/ 82546 w 907092"/>
              <a:gd name="connsiteY115" fmla="*/ 178939 h 947986"/>
              <a:gd name="connsiteX116" fmla="*/ 98403 w 907092"/>
              <a:gd name="connsiteY116" fmla="*/ 184225 h 947986"/>
              <a:gd name="connsiteX117" fmla="*/ 101046 w 907092"/>
              <a:gd name="connsiteY117" fmla="*/ 192153 h 947986"/>
              <a:gd name="connsiteX118" fmla="*/ 95760 w 907092"/>
              <a:gd name="connsiteY118" fmla="*/ 218581 h 947986"/>
              <a:gd name="connsiteX119" fmla="*/ 85189 w 907092"/>
              <a:gd name="connsiteY119" fmla="*/ 234437 h 947986"/>
              <a:gd name="connsiteX120" fmla="*/ 79903 w 907092"/>
              <a:gd name="connsiteY120" fmla="*/ 242366 h 947986"/>
              <a:gd name="connsiteX121" fmla="*/ 69332 w 907092"/>
              <a:gd name="connsiteY121" fmla="*/ 258222 h 947986"/>
              <a:gd name="connsiteX122" fmla="*/ 64047 w 907092"/>
              <a:gd name="connsiteY122" fmla="*/ 266151 h 947986"/>
              <a:gd name="connsiteX123" fmla="*/ 56118 w 907092"/>
              <a:gd name="connsiteY123" fmla="*/ 268793 h 947986"/>
              <a:gd name="connsiteX124" fmla="*/ 48190 w 907092"/>
              <a:gd name="connsiteY124" fmla="*/ 276722 h 947986"/>
              <a:gd name="connsiteX125" fmla="*/ 37619 w 907092"/>
              <a:gd name="connsiteY125" fmla="*/ 292578 h 947986"/>
              <a:gd name="connsiteX126" fmla="*/ 29691 w 907092"/>
              <a:gd name="connsiteY126" fmla="*/ 308435 h 947986"/>
              <a:gd name="connsiteX127" fmla="*/ 21762 w 907092"/>
              <a:gd name="connsiteY127" fmla="*/ 313721 h 947986"/>
              <a:gd name="connsiteX128" fmla="*/ 13834 w 907092"/>
              <a:gd name="connsiteY128" fmla="*/ 316363 h 947986"/>
              <a:gd name="connsiteX129" fmla="*/ 620 w 907092"/>
              <a:gd name="connsiteY129" fmla="*/ 332220 h 947986"/>
              <a:gd name="connsiteX130" fmla="*/ 3263 w 907092"/>
              <a:gd name="connsiteY130" fmla="*/ 350719 h 947986"/>
              <a:gd name="connsiteX131" fmla="*/ 8549 w 907092"/>
              <a:gd name="connsiteY131" fmla="*/ 390361 h 947986"/>
              <a:gd name="connsiteX132" fmla="*/ 13834 w 907092"/>
              <a:gd name="connsiteY132" fmla="*/ 406218 h 947986"/>
              <a:gd name="connsiteX133" fmla="*/ 24405 w 907092"/>
              <a:gd name="connsiteY133" fmla="*/ 422074 h 947986"/>
              <a:gd name="connsiteX134" fmla="*/ 29691 w 907092"/>
              <a:gd name="connsiteY134" fmla="*/ 430003 h 947986"/>
              <a:gd name="connsiteX135" fmla="*/ 21762 w 907092"/>
              <a:gd name="connsiteY135" fmla="*/ 456430 h 947986"/>
              <a:gd name="connsiteX136" fmla="*/ 19120 w 907092"/>
              <a:gd name="connsiteY136" fmla="*/ 464359 h 947986"/>
              <a:gd name="connsiteX137" fmla="*/ 21762 w 907092"/>
              <a:gd name="connsiteY137" fmla="*/ 480215 h 947986"/>
              <a:gd name="connsiteX138" fmla="*/ 24405 w 907092"/>
              <a:gd name="connsiteY138" fmla="*/ 488144 h 947986"/>
              <a:gd name="connsiteX139" fmla="*/ 32333 w 907092"/>
              <a:gd name="connsiteY139" fmla="*/ 490786 h 947986"/>
              <a:gd name="connsiteX140" fmla="*/ 40262 w 907092"/>
              <a:gd name="connsiteY140" fmla="*/ 498715 h 947986"/>
              <a:gd name="connsiteX141" fmla="*/ 64047 w 907092"/>
              <a:gd name="connsiteY141" fmla="*/ 517214 h 947986"/>
              <a:gd name="connsiteX142" fmla="*/ 74618 w 907092"/>
              <a:gd name="connsiteY142" fmla="*/ 548928 h 947986"/>
              <a:gd name="connsiteX143" fmla="*/ 77261 w 907092"/>
              <a:gd name="connsiteY143" fmla="*/ 556856 h 947986"/>
              <a:gd name="connsiteX144" fmla="*/ 85189 w 907092"/>
              <a:gd name="connsiteY144" fmla="*/ 562141 h 947986"/>
              <a:gd name="connsiteX145" fmla="*/ 87832 w 907092"/>
              <a:gd name="connsiteY145" fmla="*/ 577998 h 947986"/>
              <a:gd name="connsiteX146" fmla="*/ 93117 w 907092"/>
              <a:gd name="connsiteY146" fmla="*/ 593855 h 947986"/>
              <a:gd name="connsiteX147" fmla="*/ 98403 w 907092"/>
              <a:gd name="connsiteY147" fmla="*/ 609711 h 947986"/>
              <a:gd name="connsiteX148" fmla="*/ 101046 w 907092"/>
              <a:gd name="connsiteY148" fmla="*/ 617640 h 947986"/>
              <a:gd name="connsiteX149" fmla="*/ 103688 w 907092"/>
              <a:gd name="connsiteY149" fmla="*/ 625568 h 947986"/>
              <a:gd name="connsiteX150" fmla="*/ 108974 w 907092"/>
              <a:gd name="connsiteY150" fmla="*/ 633496 h 947986"/>
              <a:gd name="connsiteX151" fmla="*/ 114260 w 907092"/>
              <a:gd name="connsiteY151" fmla="*/ 644067 h 947986"/>
              <a:gd name="connsiteX152" fmla="*/ 127473 w 907092"/>
              <a:gd name="connsiteY152" fmla="*/ 659924 h 947986"/>
              <a:gd name="connsiteX153" fmla="*/ 143330 w 907092"/>
              <a:gd name="connsiteY153" fmla="*/ 691637 h 947986"/>
              <a:gd name="connsiteX154" fmla="*/ 151258 w 907092"/>
              <a:gd name="connsiteY154" fmla="*/ 699566 h 947986"/>
              <a:gd name="connsiteX155" fmla="*/ 182972 w 907092"/>
              <a:gd name="connsiteY155" fmla="*/ 707494 h 947986"/>
              <a:gd name="connsiteX156" fmla="*/ 190900 w 907092"/>
              <a:gd name="connsiteY156" fmla="*/ 710137 h 947986"/>
              <a:gd name="connsiteX157" fmla="*/ 206757 w 907092"/>
              <a:gd name="connsiteY157" fmla="*/ 720708 h 947986"/>
              <a:gd name="connsiteX158" fmla="*/ 214685 w 907092"/>
              <a:gd name="connsiteY158" fmla="*/ 725993 h 947986"/>
              <a:gd name="connsiteX159" fmla="*/ 222613 w 907092"/>
              <a:gd name="connsiteY159" fmla="*/ 731279 h 947986"/>
              <a:gd name="connsiteX160" fmla="*/ 238470 w 907092"/>
              <a:gd name="connsiteY160" fmla="*/ 736565 h 947986"/>
              <a:gd name="connsiteX161" fmla="*/ 256969 w 907092"/>
              <a:gd name="connsiteY161" fmla="*/ 747136 h 947986"/>
              <a:gd name="connsiteX162" fmla="*/ 283397 w 907092"/>
              <a:gd name="connsiteY162" fmla="*/ 755064 h 947986"/>
              <a:gd name="connsiteX163" fmla="*/ 291325 w 907092"/>
              <a:gd name="connsiteY163" fmla="*/ 757707 h 947986"/>
              <a:gd name="connsiteX164" fmla="*/ 309825 w 907092"/>
              <a:gd name="connsiteY164" fmla="*/ 760349 h 947986"/>
              <a:gd name="connsiteX165" fmla="*/ 325681 w 907092"/>
              <a:gd name="connsiteY165" fmla="*/ 765635 h 947986"/>
              <a:gd name="connsiteX166" fmla="*/ 333610 w 907092"/>
              <a:gd name="connsiteY166" fmla="*/ 768278 h 947986"/>
              <a:gd name="connsiteX167" fmla="*/ 362680 w 907092"/>
              <a:gd name="connsiteY167" fmla="*/ 765635 h 947986"/>
              <a:gd name="connsiteX168" fmla="*/ 373251 w 907092"/>
              <a:gd name="connsiteY168" fmla="*/ 762992 h 947986"/>
              <a:gd name="connsiteX169" fmla="*/ 386465 w 907092"/>
              <a:gd name="connsiteY169" fmla="*/ 765635 h 947986"/>
              <a:gd name="connsiteX170" fmla="*/ 394394 w 907092"/>
              <a:gd name="connsiteY170" fmla="*/ 770921 h 947986"/>
              <a:gd name="connsiteX171" fmla="*/ 402322 w 907092"/>
              <a:gd name="connsiteY171" fmla="*/ 789420 h 947986"/>
              <a:gd name="connsiteX172" fmla="*/ 407607 w 907092"/>
              <a:gd name="connsiteY172" fmla="*/ 807919 h 947986"/>
              <a:gd name="connsiteX173" fmla="*/ 410250 w 907092"/>
              <a:gd name="connsiteY173" fmla="*/ 826419 h 947986"/>
              <a:gd name="connsiteX174" fmla="*/ 415536 w 907092"/>
              <a:gd name="connsiteY174" fmla="*/ 842275 h 947986"/>
              <a:gd name="connsiteX175" fmla="*/ 423464 w 907092"/>
              <a:gd name="connsiteY175" fmla="*/ 866060 h 947986"/>
              <a:gd name="connsiteX176" fmla="*/ 426107 w 907092"/>
              <a:gd name="connsiteY176" fmla="*/ 873989 h 947986"/>
              <a:gd name="connsiteX177" fmla="*/ 431392 w 907092"/>
              <a:gd name="connsiteY177" fmla="*/ 905702 h 947986"/>
              <a:gd name="connsiteX178" fmla="*/ 436678 w 907092"/>
              <a:gd name="connsiteY178" fmla="*/ 921559 h 947986"/>
              <a:gd name="connsiteX179" fmla="*/ 439321 w 907092"/>
              <a:gd name="connsiteY179" fmla="*/ 929487 h 947986"/>
              <a:gd name="connsiteX180" fmla="*/ 489533 w 907092"/>
              <a:gd name="connsiteY180" fmla="*/ 926844 h 947986"/>
              <a:gd name="connsiteX181" fmla="*/ 505390 w 907092"/>
              <a:gd name="connsiteY181" fmla="*/ 921559 h 947986"/>
              <a:gd name="connsiteX182" fmla="*/ 539746 w 907092"/>
              <a:gd name="connsiteY182" fmla="*/ 924202 h 947986"/>
              <a:gd name="connsiteX183" fmla="*/ 555603 w 907092"/>
              <a:gd name="connsiteY183" fmla="*/ 932130 h 947986"/>
              <a:gd name="connsiteX184" fmla="*/ 576745 w 907092"/>
              <a:gd name="connsiteY184" fmla="*/ 937415 h 947986"/>
              <a:gd name="connsiteX185" fmla="*/ 584673 w 907092"/>
              <a:gd name="connsiteY185" fmla="*/ 940058 h 947986"/>
              <a:gd name="connsiteX186" fmla="*/ 592602 w 907092"/>
              <a:gd name="connsiteY186" fmla="*/ 945344 h 947986"/>
              <a:gd name="connsiteX187" fmla="*/ 605816 w 907092"/>
              <a:gd name="connsiteY187" fmla="*/ 947986 h 947986"/>
              <a:gd name="connsiteX188" fmla="*/ 640172 w 907092"/>
              <a:gd name="connsiteY188" fmla="*/ 945344 h 947986"/>
              <a:gd name="connsiteX189" fmla="*/ 656028 w 907092"/>
              <a:gd name="connsiteY189" fmla="*/ 940058 h 947986"/>
              <a:gd name="connsiteX190" fmla="*/ 663957 w 907092"/>
              <a:gd name="connsiteY190" fmla="*/ 932130 h 947986"/>
              <a:gd name="connsiteX191" fmla="*/ 671885 w 907092"/>
              <a:gd name="connsiteY191" fmla="*/ 929487 h 947986"/>
              <a:gd name="connsiteX192" fmla="*/ 679813 w 907092"/>
              <a:gd name="connsiteY192" fmla="*/ 924202 h 947986"/>
              <a:gd name="connsiteX193" fmla="*/ 695670 w 907092"/>
              <a:gd name="connsiteY193" fmla="*/ 918916 h 947986"/>
              <a:gd name="connsiteX194" fmla="*/ 703598 w 907092"/>
              <a:gd name="connsiteY194" fmla="*/ 916273 h 947986"/>
              <a:gd name="connsiteX195" fmla="*/ 735312 w 907092"/>
              <a:gd name="connsiteY195" fmla="*/ 905702 h 947986"/>
              <a:gd name="connsiteX196" fmla="*/ 751168 w 907092"/>
              <a:gd name="connsiteY196" fmla="*/ 900417 h 947986"/>
              <a:gd name="connsiteX197" fmla="*/ 793453 w 907092"/>
              <a:gd name="connsiteY197" fmla="*/ 897774 h 947986"/>
              <a:gd name="connsiteX198" fmla="*/ 819880 w 907092"/>
              <a:gd name="connsiteY198" fmla="*/ 889845 h 947986"/>
              <a:gd name="connsiteX199" fmla="*/ 835737 w 907092"/>
              <a:gd name="connsiteY199" fmla="*/ 881917 h 947986"/>
              <a:gd name="connsiteX200" fmla="*/ 851594 w 907092"/>
              <a:gd name="connsiteY200" fmla="*/ 873989 h 947986"/>
              <a:gd name="connsiteX201" fmla="*/ 867450 w 907092"/>
              <a:gd name="connsiteY201" fmla="*/ 863418 h 947986"/>
              <a:gd name="connsiteX202" fmla="*/ 875379 w 907092"/>
              <a:gd name="connsiteY202" fmla="*/ 858132 h 947986"/>
              <a:gd name="connsiteX203" fmla="*/ 883307 w 907092"/>
              <a:gd name="connsiteY203" fmla="*/ 850204 h 947986"/>
              <a:gd name="connsiteX204" fmla="*/ 885950 w 907092"/>
              <a:gd name="connsiteY204" fmla="*/ 842275 h 947986"/>
              <a:gd name="connsiteX205" fmla="*/ 901806 w 907092"/>
              <a:gd name="connsiteY205" fmla="*/ 831704 h 947986"/>
              <a:gd name="connsiteX206" fmla="*/ 907092 w 907092"/>
              <a:gd name="connsiteY206" fmla="*/ 821133 h 947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</a:cxnLst>
            <a:rect l="l" t="t" r="r" b="b"/>
            <a:pathLst>
              <a:path w="907092" h="947986">
                <a:moveTo>
                  <a:pt x="907092" y="821133"/>
                </a:moveTo>
                <a:cubicBezTo>
                  <a:pt x="901806" y="820252"/>
                  <a:pt x="896466" y="819653"/>
                  <a:pt x="891235" y="818491"/>
                </a:cubicBezTo>
                <a:cubicBezTo>
                  <a:pt x="888516" y="817887"/>
                  <a:pt x="885277" y="817818"/>
                  <a:pt x="883307" y="815848"/>
                </a:cubicBezTo>
                <a:cubicBezTo>
                  <a:pt x="866642" y="799182"/>
                  <a:pt x="876740" y="805356"/>
                  <a:pt x="870093" y="792063"/>
                </a:cubicBezTo>
                <a:cubicBezTo>
                  <a:pt x="868672" y="789222"/>
                  <a:pt x="866569" y="786777"/>
                  <a:pt x="864807" y="784134"/>
                </a:cubicBezTo>
                <a:cubicBezTo>
                  <a:pt x="858466" y="765105"/>
                  <a:pt x="866167" y="788889"/>
                  <a:pt x="859522" y="765635"/>
                </a:cubicBezTo>
                <a:cubicBezTo>
                  <a:pt x="858757" y="762957"/>
                  <a:pt x="857644" y="760385"/>
                  <a:pt x="856879" y="757707"/>
                </a:cubicBezTo>
                <a:cubicBezTo>
                  <a:pt x="855752" y="753765"/>
                  <a:pt x="853703" y="743425"/>
                  <a:pt x="851594" y="739207"/>
                </a:cubicBezTo>
                <a:cubicBezTo>
                  <a:pt x="850174" y="736366"/>
                  <a:pt x="847598" y="734181"/>
                  <a:pt x="846308" y="731279"/>
                </a:cubicBezTo>
                <a:cubicBezTo>
                  <a:pt x="844045" y="726188"/>
                  <a:pt x="842785" y="720708"/>
                  <a:pt x="841023" y="715422"/>
                </a:cubicBezTo>
                <a:lnTo>
                  <a:pt x="835737" y="699566"/>
                </a:lnTo>
                <a:lnTo>
                  <a:pt x="833094" y="691637"/>
                </a:lnTo>
                <a:cubicBezTo>
                  <a:pt x="833975" y="667852"/>
                  <a:pt x="834680" y="644060"/>
                  <a:pt x="835737" y="620282"/>
                </a:cubicBezTo>
                <a:cubicBezTo>
                  <a:pt x="836442" y="604417"/>
                  <a:pt x="835265" y="588285"/>
                  <a:pt x="838380" y="572712"/>
                </a:cubicBezTo>
                <a:cubicBezTo>
                  <a:pt x="839003" y="569598"/>
                  <a:pt x="843665" y="569189"/>
                  <a:pt x="846308" y="567427"/>
                </a:cubicBezTo>
                <a:cubicBezTo>
                  <a:pt x="847189" y="564784"/>
                  <a:pt x="846981" y="561469"/>
                  <a:pt x="848951" y="559499"/>
                </a:cubicBezTo>
                <a:cubicBezTo>
                  <a:pt x="853443" y="555007"/>
                  <a:pt x="864807" y="548928"/>
                  <a:pt x="864807" y="548928"/>
                </a:cubicBezTo>
                <a:cubicBezTo>
                  <a:pt x="865688" y="545404"/>
                  <a:pt x="868448" y="541849"/>
                  <a:pt x="867450" y="538356"/>
                </a:cubicBezTo>
                <a:cubicBezTo>
                  <a:pt x="865367" y="531063"/>
                  <a:pt x="857243" y="529668"/>
                  <a:pt x="851594" y="527785"/>
                </a:cubicBezTo>
                <a:cubicBezTo>
                  <a:pt x="848951" y="525142"/>
                  <a:pt x="846775" y="521930"/>
                  <a:pt x="843665" y="519857"/>
                </a:cubicBezTo>
                <a:cubicBezTo>
                  <a:pt x="841347" y="518312"/>
                  <a:pt x="837912" y="518954"/>
                  <a:pt x="835737" y="517214"/>
                </a:cubicBezTo>
                <a:cubicBezTo>
                  <a:pt x="833257" y="515230"/>
                  <a:pt x="832841" y="511378"/>
                  <a:pt x="830451" y="509286"/>
                </a:cubicBezTo>
                <a:cubicBezTo>
                  <a:pt x="825670" y="505103"/>
                  <a:pt x="819880" y="502239"/>
                  <a:pt x="814595" y="498715"/>
                </a:cubicBezTo>
                <a:cubicBezTo>
                  <a:pt x="811952" y="496953"/>
                  <a:pt x="808912" y="495675"/>
                  <a:pt x="806666" y="493429"/>
                </a:cubicBezTo>
                <a:lnTo>
                  <a:pt x="798738" y="485501"/>
                </a:lnTo>
                <a:cubicBezTo>
                  <a:pt x="797857" y="482858"/>
                  <a:pt x="797341" y="480065"/>
                  <a:pt x="796095" y="477573"/>
                </a:cubicBezTo>
                <a:cubicBezTo>
                  <a:pt x="794675" y="474732"/>
                  <a:pt x="791074" y="472809"/>
                  <a:pt x="790810" y="469644"/>
                </a:cubicBezTo>
                <a:cubicBezTo>
                  <a:pt x="790392" y="464627"/>
                  <a:pt x="792107" y="445906"/>
                  <a:pt x="796095" y="437931"/>
                </a:cubicBezTo>
                <a:cubicBezTo>
                  <a:pt x="797515" y="435090"/>
                  <a:pt x="799619" y="432646"/>
                  <a:pt x="801381" y="430003"/>
                </a:cubicBezTo>
                <a:lnTo>
                  <a:pt x="806666" y="414146"/>
                </a:lnTo>
                <a:cubicBezTo>
                  <a:pt x="807547" y="411503"/>
                  <a:pt x="807764" y="408536"/>
                  <a:pt x="809309" y="406218"/>
                </a:cubicBezTo>
                <a:cubicBezTo>
                  <a:pt x="811071" y="403575"/>
                  <a:pt x="813305" y="401192"/>
                  <a:pt x="814595" y="398289"/>
                </a:cubicBezTo>
                <a:cubicBezTo>
                  <a:pt x="816858" y="393198"/>
                  <a:pt x="818529" y="387838"/>
                  <a:pt x="819880" y="382433"/>
                </a:cubicBezTo>
                <a:cubicBezTo>
                  <a:pt x="820761" y="378909"/>
                  <a:pt x="821092" y="375200"/>
                  <a:pt x="822523" y="371862"/>
                </a:cubicBezTo>
                <a:cubicBezTo>
                  <a:pt x="823774" y="368942"/>
                  <a:pt x="826047" y="366576"/>
                  <a:pt x="827809" y="363933"/>
                </a:cubicBezTo>
                <a:cubicBezTo>
                  <a:pt x="833853" y="345799"/>
                  <a:pt x="834720" y="351941"/>
                  <a:pt x="830451" y="334863"/>
                </a:cubicBezTo>
                <a:cubicBezTo>
                  <a:pt x="828732" y="327986"/>
                  <a:pt x="827930" y="323844"/>
                  <a:pt x="819880" y="321649"/>
                </a:cubicBezTo>
                <a:cubicBezTo>
                  <a:pt x="813028" y="319780"/>
                  <a:pt x="805785" y="319887"/>
                  <a:pt x="798738" y="319006"/>
                </a:cubicBezTo>
                <a:cubicBezTo>
                  <a:pt x="778832" y="305736"/>
                  <a:pt x="804133" y="321319"/>
                  <a:pt x="780239" y="311078"/>
                </a:cubicBezTo>
                <a:cubicBezTo>
                  <a:pt x="777319" y="309827"/>
                  <a:pt x="775151" y="307213"/>
                  <a:pt x="772310" y="305792"/>
                </a:cubicBezTo>
                <a:cubicBezTo>
                  <a:pt x="769818" y="304546"/>
                  <a:pt x="766817" y="304502"/>
                  <a:pt x="764382" y="303149"/>
                </a:cubicBezTo>
                <a:cubicBezTo>
                  <a:pt x="758829" y="300064"/>
                  <a:pt x="753811" y="296102"/>
                  <a:pt x="748525" y="292578"/>
                </a:cubicBezTo>
                <a:lnTo>
                  <a:pt x="740597" y="287293"/>
                </a:lnTo>
                <a:cubicBezTo>
                  <a:pt x="737954" y="285531"/>
                  <a:pt x="734915" y="284253"/>
                  <a:pt x="732669" y="282007"/>
                </a:cubicBezTo>
                <a:cubicBezTo>
                  <a:pt x="725829" y="275168"/>
                  <a:pt x="718364" y="266668"/>
                  <a:pt x="708884" y="263508"/>
                </a:cubicBezTo>
                <a:lnTo>
                  <a:pt x="700955" y="260865"/>
                </a:lnTo>
                <a:cubicBezTo>
                  <a:pt x="698283" y="256856"/>
                  <a:pt x="693027" y="250479"/>
                  <a:pt x="693027" y="245008"/>
                </a:cubicBezTo>
                <a:cubicBezTo>
                  <a:pt x="693027" y="238942"/>
                  <a:pt x="693789" y="219700"/>
                  <a:pt x="698313" y="210652"/>
                </a:cubicBezTo>
                <a:cubicBezTo>
                  <a:pt x="699733" y="207811"/>
                  <a:pt x="701836" y="205367"/>
                  <a:pt x="703598" y="202724"/>
                </a:cubicBezTo>
                <a:cubicBezTo>
                  <a:pt x="700968" y="192203"/>
                  <a:pt x="703292" y="191429"/>
                  <a:pt x="693027" y="186867"/>
                </a:cubicBezTo>
                <a:cubicBezTo>
                  <a:pt x="687936" y="184604"/>
                  <a:pt x="677170" y="181582"/>
                  <a:pt x="677170" y="181582"/>
                </a:cubicBezTo>
                <a:cubicBezTo>
                  <a:pt x="674527" y="179820"/>
                  <a:pt x="671488" y="178542"/>
                  <a:pt x="669242" y="176296"/>
                </a:cubicBezTo>
                <a:cubicBezTo>
                  <a:pt x="666996" y="174050"/>
                  <a:pt x="666347" y="170459"/>
                  <a:pt x="663957" y="168368"/>
                </a:cubicBezTo>
                <a:cubicBezTo>
                  <a:pt x="634687" y="142757"/>
                  <a:pt x="660067" y="168610"/>
                  <a:pt x="637529" y="152511"/>
                </a:cubicBezTo>
                <a:cubicBezTo>
                  <a:pt x="634488" y="150339"/>
                  <a:pt x="632868" y="146398"/>
                  <a:pt x="629601" y="144583"/>
                </a:cubicBezTo>
                <a:cubicBezTo>
                  <a:pt x="624731" y="141877"/>
                  <a:pt x="619030" y="141059"/>
                  <a:pt x="613744" y="139297"/>
                </a:cubicBezTo>
                <a:lnTo>
                  <a:pt x="605816" y="136655"/>
                </a:lnTo>
                <a:cubicBezTo>
                  <a:pt x="603173" y="135774"/>
                  <a:pt x="600590" y="134688"/>
                  <a:pt x="597887" y="134012"/>
                </a:cubicBezTo>
                <a:lnTo>
                  <a:pt x="587316" y="131369"/>
                </a:lnTo>
                <a:cubicBezTo>
                  <a:pt x="568721" y="118973"/>
                  <a:pt x="592303" y="133240"/>
                  <a:pt x="566174" y="123441"/>
                </a:cubicBezTo>
                <a:cubicBezTo>
                  <a:pt x="563200" y="122326"/>
                  <a:pt x="561148" y="119445"/>
                  <a:pt x="558246" y="118155"/>
                </a:cubicBezTo>
                <a:cubicBezTo>
                  <a:pt x="553155" y="115892"/>
                  <a:pt x="542389" y="112870"/>
                  <a:pt x="542389" y="112870"/>
                </a:cubicBezTo>
                <a:cubicBezTo>
                  <a:pt x="539746" y="111108"/>
                  <a:pt x="537302" y="109005"/>
                  <a:pt x="534461" y="107584"/>
                </a:cubicBezTo>
                <a:cubicBezTo>
                  <a:pt x="512570" y="96638"/>
                  <a:pt x="541332" y="114807"/>
                  <a:pt x="518604" y="99656"/>
                </a:cubicBezTo>
                <a:cubicBezTo>
                  <a:pt x="513952" y="85702"/>
                  <a:pt x="518278" y="93272"/>
                  <a:pt x="500105" y="81156"/>
                </a:cubicBezTo>
                <a:cubicBezTo>
                  <a:pt x="497462" y="79394"/>
                  <a:pt x="495189" y="76876"/>
                  <a:pt x="492176" y="75871"/>
                </a:cubicBezTo>
                <a:lnTo>
                  <a:pt x="460463" y="65300"/>
                </a:lnTo>
                <a:cubicBezTo>
                  <a:pt x="431542" y="55658"/>
                  <a:pt x="475355" y="71037"/>
                  <a:pt x="444606" y="57371"/>
                </a:cubicBezTo>
                <a:cubicBezTo>
                  <a:pt x="439515" y="55108"/>
                  <a:pt x="428750" y="52086"/>
                  <a:pt x="428750" y="52086"/>
                </a:cubicBezTo>
                <a:cubicBezTo>
                  <a:pt x="419108" y="23165"/>
                  <a:pt x="434487" y="66978"/>
                  <a:pt x="420821" y="36229"/>
                </a:cubicBezTo>
                <a:cubicBezTo>
                  <a:pt x="418370" y="30714"/>
                  <a:pt x="416438" y="17394"/>
                  <a:pt x="410250" y="12444"/>
                </a:cubicBezTo>
                <a:cubicBezTo>
                  <a:pt x="408075" y="10704"/>
                  <a:pt x="404882" y="10899"/>
                  <a:pt x="402322" y="9802"/>
                </a:cubicBezTo>
                <a:cubicBezTo>
                  <a:pt x="379450" y="0"/>
                  <a:pt x="402425" y="8074"/>
                  <a:pt x="383823" y="1873"/>
                </a:cubicBezTo>
                <a:lnTo>
                  <a:pt x="378537" y="17730"/>
                </a:lnTo>
                <a:cubicBezTo>
                  <a:pt x="375783" y="25991"/>
                  <a:pt x="373111" y="36324"/>
                  <a:pt x="365323" y="41515"/>
                </a:cubicBezTo>
                <a:cubicBezTo>
                  <a:pt x="355077" y="48345"/>
                  <a:pt x="360408" y="45796"/>
                  <a:pt x="349466" y="49443"/>
                </a:cubicBezTo>
                <a:cubicBezTo>
                  <a:pt x="347704" y="52086"/>
                  <a:pt x="345471" y="54469"/>
                  <a:pt x="344181" y="57371"/>
                </a:cubicBezTo>
                <a:cubicBezTo>
                  <a:pt x="339996" y="66788"/>
                  <a:pt x="340786" y="73980"/>
                  <a:pt x="333610" y="81156"/>
                </a:cubicBezTo>
                <a:cubicBezTo>
                  <a:pt x="328487" y="86279"/>
                  <a:pt x="324201" y="86935"/>
                  <a:pt x="317753" y="89085"/>
                </a:cubicBezTo>
                <a:cubicBezTo>
                  <a:pt x="315360" y="90880"/>
                  <a:pt x="301896" y="99145"/>
                  <a:pt x="301896" y="104941"/>
                </a:cubicBezTo>
                <a:cubicBezTo>
                  <a:pt x="301896" y="108117"/>
                  <a:pt x="304341" y="111449"/>
                  <a:pt x="307182" y="112870"/>
                </a:cubicBezTo>
                <a:cubicBezTo>
                  <a:pt x="311975" y="115266"/>
                  <a:pt x="317799" y="114389"/>
                  <a:pt x="323039" y="115512"/>
                </a:cubicBezTo>
                <a:cubicBezTo>
                  <a:pt x="330142" y="117034"/>
                  <a:pt x="344181" y="120798"/>
                  <a:pt x="344181" y="120798"/>
                </a:cubicBezTo>
                <a:cubicBezTo>
                  <a:pt x="343300" y="127845"/>
                  <a:pt x="345611" y="136122"/>
                  <a:pt x="341538" y="141940"/>
                </a:cubicBezTo>
                <a:cubicBezTo>
                  <a:pt x="338343" y="146504"/>
                  <a:pt x="325681" y="147226"/>
                  <a:pt x="325681" y="147226"/>
                </a:cubicBezTo>
                <a:cubicBezTo>
                  <a:pt x="319515" y="146345"/>
                  <a:pt x="313290" y="145805"/>
                  <a:pt x="307182" y="144583"/>
                </a:cubicBezTo>
                <a:cubicBezTo>
                  <a:pt x="304450" y="144037"/>
                  <a:pt x="302040" y="141940"/>
                  <a:pt x="299254" y="141940"/>
                </a:cubicBezTo>
                <a:cubicBezTo>
                  <a:pt x="292875" y="141940"/>
                  <a:pt x="284368" y="145140"/>
                  <a:pt x="278112" y="147226"/>
                </a:cubicBezTo>
                <a:cubicBezTo>
                  <a:pt x="276050" y="153410"/>
                  <a:pt x="275978" y="159034"/>
                  <a:pt x="267540" y="160440"/>
                </a:cubicBezTo>
                <a:cubicBezTo>
                  <a:pt x="264792" y="160898"/>
                  <a:pt x="262255" y="158678"/>
                  <a:pt x="259612" y="157797"/>
                </a:cubicBezTo>
                <a:cubicBezTo>
                  <a:pt x="254790" y="150563"/>
                  <a:pt x="254745" y="148293"/>
                  <a:pt x="246398" y="144583"/>
                </a:cubicBezTo>
                <a:cubicBezTo>
                  <a:pt x="241307" y="142320"/>
                  <a:pt x="230542" y="139297"/>
                  <a:pt x="230542" y="139297"/>
                </a:cubicBezTo>
                <a:cubicBezTo>
                  <a:pt x="227899" y="140178"/>
                  <a:pt x="225301" y="141207"/>
                  <a:pt x="222613" y="141940"/>
                </a:cubicBezTo>
                <a:cubicBezTo>
                  <a:pt x="215605" y="143851"/>
                  <a:pt x="201471" y="147226"/>
                  <a:pt x="201471" y="147226"/>
                </a:cubicBezTo>
                <a:cubicBezTo>
                  <a:pt x="198828" y="148988"/>
                  <a:pt x="192539" y="155524"/>
                  <a:pt x="193543" y="152511"/>
                </a:cubicBezTo>
                <a:lnTo>
                  <a:pt x="196186" y="144583"/>
                </a:lnTo>
                <a:cubicBezTo>
                  <a:pt x="195305" y="141059"/>
                  <a:pt x="195558" y="137034"/>
                  <a:pt x="193543" y="134012"/>
                </a:cubicBezTo>
                <a:cubicBezTo>
                  <a:pt x="191781" y="131369"/>
                  <a:pt x="187298" y="131420"/>
                  <a:pt x="185614" y="128726"/>
                </a:cubicBezTo>
                <a:cubicBezTo>
                  <a:pt x="182661" y="124002"/>
                  <a:pt x="180329" y="112870"/>
                  <a:pt x="180329" y="112870"/>
                </a:cubicBezTo>
                <a:cubicBezTo>
                  <a:pt x="181210" y="97013"/>
                  <a:pt x="179858" y="80873"/>
                  <a:pt x="182972" y="65300"/>
                </a:cubicBezTo>
                <a:cubicBezTo>
                  <a:pt x="183595" y="62185"/>
                  <a:pt x="190332" y="63139"/>
                  <a:pt x="190900" y="60014"/>
                </a:cubicBezTo>
                <a:cubicBezTo>
                  <a:pt x="192327" y="52166"/>
                  <a:pt x="190983" y="43726"/>
                  <a:pt x="188257" y="36229"/>
                </a:cubicBezTo>
                <a:cubicBezTo>
                  <a:pt x="187172" y="33244"/>
                  <a:pt x="183424" y="31658"/>
                  <a:pt x="180329" y="30944"/>
                </a:cubicBezTo>
                <a:cubicBezTo>
                  <a:pt x="171702" y="28953"/>
                  <a:pt x="162710" y="29182"/>
                  <a:pt x="153901" y="28301"/>
                </a:cubicBezTo>
                <a:cubicBezTo>
                  <a:pt x="146916" y="26554"/>
                  <a:pt x="133953" y="23015"/>
                  <a:pt x="127473" y="23015"/>
                </a:cubicBezTo>
                <a:cubicBezTo>
                  <a:pt x="122115" y="23015"/>
                  <a:pt x="116928" y="24950"/>
                  <a:pt x="111617" y="25658"/>
                </a:cubicBezTo>
                <a:cubicBezTo>
                  <a:pt x="103710" y="26712"/>
                  <a:pt x="95760" y="27420"/>
                  <a:pt x="87832" y="28301"/>
                </a:cubicBezTo>
                <a:cubicBezTo>
                  <a:pt x="86070" y="30944"/>
                  <a:pt x="83967" y="33388"/>
                  <a:pt x="82546" y="36229"/>
                </a:cubicBezTo>
                <a:cubicBezTo>
                  <a:pt x="78366" y="44589"/>
                  <a:pt x="78542" y="53649"/>
                  <a:pt x="82546" y="62657"/>
                </a:cubicBezTo>
                <a:cubicBezTo>
                  <a:pt x="83836" y="65560"/>
                  <a:pt x="87832" y="66181"/>
                  <a:pt x="90475" y="67943"/>
                </a:cubicBezTo>
                <a:cubicBezTo>
                  <a:pt x="91944" y="81169"/>
                  <a:pt x="89298" y="90552"/>
                  <a:pt x="98403" y="99656"/>
                </a:cubicBezTo>
                <a:cubicBezTo>
                  <a:pt x="100649" y="101902"/>
                  <a:pt x="103688" y="103179"/>
                  <a:pt x="106331" y="104941"/>
                </a:cubicBezTo>
                <a:cubicBezTo>
                  <a:pt x="105450" y="112869"/>
                  <a:pt x="104999" y="120857"/>
                  <a:pt x="103688" y="128726"/>
                </a:cubicBezTo>
                <a:cubicBezTo>
                  <a:pt x="103230" y="131474"/>
                  <a:pt x="103016" y="134685"/>
                  <a:pt x="101046" y="136655"/>
                </a:cubicBezTo>
                <a:cubicBezTo>
                  <a:pt x="96554" y="141147"/>
                  <a:pt x="85189" y="147226"/>
                  <a:pt x="85189" y="147226"/>
                </a:cubicBezTo>
                <a:cubicBezTo>
                  <a:pt x="78361" y="157467"/>
                  <a:pt x="72312" y="162857"/>
                  <a:pt x="82546" y="178939"/>
                </a:cubicBezTo>
                <a:cubicBezTo>
                  <a:pt x="85537" y="183640"/>
                  <a:pt x="98403" y="184225"/>
                  <a:pt x="98403" y="184225"/>
                </a:cubicBezTo>
                <a:cubicBezTo>
                  <a:pt x="99284" y="186868"/>
                  <a:pt x="101046" y="189367"/>
                  <a:pt x="101046" y="192153"/>
                </a:cubicBezTo>
                <a:cubicBezTo>
                  <a:pt x="101046" y="195567"/>
                  <a:pt x="99014" y="212723"/>
                  <a:pt x="95760" y="218581"/>
                </a:cubicBezTo>
                <a:cubicBezTo>
                  <a:pt x="92675" y="224134"/>
                  <a:pt x="88713" y="229152"/>
                  <a:pt x="85189" y="234437"/>
                </a:cubicBezTo>
                <a:lnTo>
                  <a:pt x="79903" y="242366"/>
                </a:lnTo>
                <a:lnTo>
                  <a:pt x="69332" y="258222"/>
                </a:lnTo>
                <a:cubicBezTo>
                  <a:pt x="67570" y="260865"/>
                  <a:pt x="67060" y="265147"/>
                  <a:pt x="64047" y="266151"/>
                </a:cubicBezTo>
                <a:lnTo>
                  <a:pt x="56118" y="268793"/>
                </a:lnTo>
                <a:cubicBezTo>
                  <a:pt x="53475" y="271436"/>
                  <a:pt x="50485" y="273772"/>
                  <a:pt x="48190" y="276722"/>
                </a:cubicBezTo>
                <a:cubicBezTo>
                  <a:pt x="44290" y="281736"/>
                  <a:pt x="37619" y="292578"/>
                  <a:pt x="37619" y="292578"/>
                </a:cubicBezTo>
                <a:cubicBezTo>
                  <a:pt x="35470" y="299026"/>
                  <a:pt x="34813" y="303313"/>
                  <a:pt x="29691" y="308435"/>
                </a:cubicBezTo>
                <a:cubicBezTo>
                  <a:pt x="27445" y="310681"/>
                  <a:pt x="24603" y="312301"/>
                  <a:pt x="21762" y="313721"/>
                </a:cubicBezTo>
                <a:cubicBezTo>
                  <a:pt x="19271" y="314967"/>
                  <a:pt x="16477" y="315482"/>
                  <a:pt x="13834" y="316363"/>
                </a:cubicBezTo>
                <a:cubicBezTo>
                  <a:pt x="11839" y="318358"/>
                  <a:pt x="1029" y="328134"/>
                  <a:pt x="620" y="332220"/>
                </a:cubicBezTo>
                <a:cubicBezTo>
                  <a:pt x="0" y="338418"/>
                  <a:pt x="2440" y="344545"/>
                  <a:pt x="3263" y="350719"/>
                </a:cubicBezTo>
                <a:cubicBezTo>
                  <a:pt x="3716" y="354118"/>
                  <a:pt x="7499" y="385813"/>
                  <a:pt x="8549" y="390361"/>
                </a:cubicBezTo>
                <a:cubicBezTo>
                  <a:pt x="9802" y="395790"/>
                  <a:pt x="10743" y="401582"/>
                  <a:pt x="13834" y="406218"/>
                </a:cubicBezTo>
                <a:lnTo>
                  <a:pt x="24405" y="422074"/>
                </a:lnTo>
                <a:lnTo>
                  <a:pt x="29691" y="430003"/>
                </a:lnTo>
                <a:cubicBezTo>
                  <a:pt x="25695" y="445987"/>
                  <a:pt x="28200" y="437115"/>
                  <a:pt x="21762" y="456430"/>
                </a:cubicBezTo>
                <a:lnTo>
                  <a:pt x="19120" y="464359"/>
                </a:lnTo>
                <a:cubicBezTo>
                  <a:pt x="20001" y="469644"/>
                  <a:pt x="20600" y="474984"/>
                  <a:pt x="21762" y="480215"/>
                </a:cubicBezTo>
                <a:cubicBezTo>
                  <a:pt x="22366" y="482935"/>
                  <a:pt x="22435" y="486174"/>
                  <a:pt x="24405" y="488144"/>
                </a:cubicBezTo>
                <a:cubicBezTo>
                  <a:pt x="26375" y="490114"/>
                  <a:pt x="29690" y="489905"/>
                  <a:pt x="32333" y="490786"/>
                </a:cubicBezTo>
                <a:cubicBezTo>
                  <a:pt x="34976" y="493429"/>
                  <a:pt x="37312" y="496420"/>
                  <a:pt x="40262" y="498715"/>
                </a:cubicBezTo>
                <a:cubicBezTo>
                  <a:pt x="68717" y="520848"/>
                  <a:pt x="46043" y="499212"/>
                  <a:pt x="64047" y="517214"/>
                </a:cubicBezTo>
                <a:lnTo>
                  <a:pt x="74618" y="548928"/>
                </a:lnTo>
                <a:cubicBezTo>
                  <a:pt x="75499" y="551571"/>
                  <a:pt x="74943" y="555311"/>
                  <a:pt x="77261" y="556856"/>
                </a:cubicBezTo>
                <a:lnTo>
                  <a:pt x="85189" y="562141"/>
                </a:lnTo>
                <a:cubicBezTo>
                  <a:pt x="86070" y="567427"/>
                  <a:pt x="86532" y="572799"/>
                  <a:pt x="87832" y="577998"/>
                </a:cubicBezTo>
                <a:cubicBezTo>
                  <a:pt x="89183" y="583403"/>
                  <a:pt x="91355" y="588569"/>
                  <a:pt x="93117" y="593855"/>
                </a:cubicBezTo>
                <a:lnTo>
                  <a:pt x="98403" y="609711"/>
                </a:lnTo>
                <a:lnTo>
                  <a:pt x="101046" y="617640"/>
                </a:lnTo>
                <a:cubicBezTo>
                  <a:pt x="101927" y="620283"/>
                  <a:pt x="102143" y="623250"/>
                  <a:pt x="103688" y="625568"/>
                </a:cubicBezTo>
                <a:cubicBezTo>
                  <a:pt x="105450" y="628211"/>
                  <a:pt x="107398" y="630738"/>
                  <a:pt x="108974" y="633496"/>
                </a:cubicBezTo>
                <a:cubicBezTo>
                  <a:pt x="110929" y="636916"/>
                  <a:pt x="111970" y="640861"/>
                  <a:pt x="114260" y="644067"/>
                </a:cubicBezTo>
                <a:cubicBezTo>
                  <a:pt x="121581" y="654316"/>
                  <a:pt x="122539" y="648823"/>
                  <a:pt x="127473" y="659924"/>
                </a:cubicBezTo>
                <a:cubicBezTo>
                  <a:pt x="134352" y="675402"/>
                  <a:pt x="130142" y="678448"/>
                  <a:pt x="143330" y="691637"/>
                </a:cubicBezTo>
                <a:cubicBezTo>
                  <a:pt x="145973" y="694280"/>
                  <a:pt x="147991" y="697751"/>
                  <a:pt x="151258" y="699566"/>
                </a:cubicBezTo>
                <a:cubicBezTo>
                  <a:pt x="160230" y="704550"/>
                  <a:pt x="173131" y="705854"/>
                  <a:pt x="182972" y="707494"/>
                </a:cubicBezTo>
                <a:cubicBezTo>
                  <a:pt x="185615" y="708375"/>
                  <a:pt x="188465" y="708784"/>
                  <a:pt x="190900" y="710137"/>
                </a:cubicBezTo>
                <a:cubicBezTo>
                  <a:pt x="196453" y="713222"/>
                  <a:pt x="201471" y="717184"/>
                  <a:pt x="206757" y="720708"/>
                </a:cubicBezTo>
                <a:lnTo>
                  <a:pt x="214685" y="725993"/>
                </a:lnTo>
                <a:cubicBezTo>
                  <a:pt x="217328" y="727755"/>
                  <a:pt x="219600" y="730275"/>
                  <a:pt x="222613" y="731279"/>
                </a:cubicBezTo>
                <a:cubicBezTo>
                  <a:pt x="227899" y="733041"/>
                  <a:pt x="233834" y="733475"/>
                  <a:pt x="238470" y="736565"/>
                </a:cubicBezTo>
                <a:cubicBezTo>
                  <a:pt x="245619" y="741331"/>
                  <a:pt x="248590" y="743785"/>
                  <a:pt x="256969" y="747136"/>
                </a:cubicBezTo>
                <a:cubicBezTo>
                  <a:pt x="272665" y="753414"/>
                  <a:pt x="269772" y="751171"/>
                  <a:pt x="283397" y="755064"/>
                </a:cubicBezTo>
                <a:cubicBezTo>
                  <a:pt x="286075" y="755829"/>
                  <a:pt x="288593" y="757161"/>
                  <a:pt x="291325" y="757707"/>
                </a:cubicBezTo>
                <a:cubicBezTo>
                  <a:pt x="297433" y="758929"/>
                  <a:pt x="303658" y="759468"/>
                  <a:pt x="309825" y="760349"/>
                </a:cubicBezTo>
                <a:lnTo>
                  <a:pt x="325681" y="765635"/>
                </a:lnTo>
                <a:lnTo>
                  <a:pt x="333610" y="768278"/>
                </a:lnTo>
                <a:cubicBezTo>
                  <a:pt x="343300" y="767397"/>
                  <a:pt x="353035" y="766921"/>
                  <a:pt x="362680" y="765635"/>
                </a:cubicBezTo>
                <a:cubicBezTo>
                  <a:pt x="366280" y="765155"/>
                  <a:pt x="369619" y="762992"/>
                  <a:pt x="373251" y="762992"/>
                </a:cubicBezTo>
                <a:cubicBezTo>
                  <a:pt x="377743" y="762992"/>
                  <a:pt x="382060" y="764754"/>
                  <a:pt x="386465" y="765635"/>
                </a:cubicBezTo>
                <a:cubicBezTo>
                  <a:pt x="389108" y="767397"/>
                  <a:pt x="392148" y="768675"/>
                  <a:pt x="394394" y="770921"/>
                </a:cubicBezTo>
                <a:cubicBezTo>
                  <a:pt x="400830" y="777357"/>
                  <a:pt x="399896" y="780930"/>
                  <a:pt x="402322" y="789420"/>
                </a:cubicBezTo>
                <a:cubicBezTo>
                  <a:pt x="405154" y="799332"/>
                  <a:pt x="405540" y="796551"/>
                  <a:pt x="407607" y="807919"/>
                </a:cubicBezTo>
                <a:cubicBezTo>
                  <a:pt x="408721" y="814048"/>
                  <a:pt x="408849" y="820349"/>
                  <a:pt x="410250" y="826419"/>
                </a:cubicBezTo>
                <a:cubicBezTo>
                  <a:pt x="411503" y="831848"/>
                  <a:pt x="413774" y="836990"/>
                  <a:pt x="415536" y="842275"/>
                </a:cubicBezTo>
                <a:lnTo>
                  <a:pt x="423464" y="866060"/>
                </a:lnTo>
                <a:lnTo>
                  <a:pt x="426107" y="873989"/>
                </a:lnTo>
                <a:cubicBezTo>
                  <a:pt x="427979" y="888967"/>
                  <a:pt x="427652" y="893236"/>
                  <a:pt x="431392" y="905702"/>
                </a:cubicBezTo>
                <a:cubicBezTo>
                  <a:pt x="432993" y="911039"/>
                  <a:pt x="434916" y="916273"/>
                  <a:pt x="436678" y="921559"/>
                </a:cubicBezTo>
                <a:lnTo>
                  <a:pt x="439321" y="929487"/>
                </a:lnTo>
                <a:cubicBezTo>
                  <a:pt x="456058" y="928606"/>
                  <a:pt x="472892" y="928841"/>
                  <a:pt x="489533" y="926844"/>
                </a:cubicBezTo>
                <a:cubicBezTo>
                  <a:pt x="495065" y="926180"/>
                  <a:pt x="505390" y="921559"/>
                  <a:pt x="505390" y="921559"/>
                </a:cubicBezTo>
                <a:cubicBezTo>
                  <a:pt x="516842" y="922440"/>
                  <a:pt x="528349" y="922778"/>
                  <a:pt x="539746" y="924202"/>
                </a:cubicBezTo>
                <a:cubicBezTo>
                  <a:pt x="552555" y="925803"/>
                  <a:pt x="543229" y="927630"/>
                  <a:pt x="555603" y="932130"/>
                </a:cubicBezTo>
                <a:cubicBezTo>
                  <a:pt x="562430" y="934613"/>
                  <a:pt x="569854" y="935118"/>
                  <a:pt x="576745" y="937415"/>
                </a:cubicBezTo>
                <a:cubicBezTo>
                  <a:pt x="579388" y="938296"/>
                  <a:pt x="582181" y="938812"/>
                  <a:pt x="584673" y="940058"/>
                </a:cubicBezTo>
                <a:cubicBezTo>
                  <a:pt x="587514" y="941479"/>
                  <a:pt x="589628" y="944229"/>
                  <a:pt x="592602" y="945344"/>
                </a:cubicBezTo>
                <a:cubicBezTo>
                  <a:pt x="596808" y="946921"/>
                  <a:pt x="601411" y="947105"/>
                  <a:pt x="605816" y="947986"/>
                </a:cubicBezTo>
                <a:cubicBezTo>
                  <a:pt x="617268" y="947105"/>
                  <a:pt x="628827" y="947135"/>
                  <a:pt x="640172" y="945344"/>
                </a:cubicBezTo>
                <a:cubicBezTo>
                  <a:pt x="645675" y="944475"/>
                  <a:pt x="656028" y="940058"/>
                  <a:pt x="656028" y="940058"/>
                </a:cubicBezTo>
                <a:cubicBezTo>
                  <a:pt x="658671" y="937415"/>
                  <a:pt x="660847" y="934203"/>
                  <a:pt x="663957" y="932130"/>
                </a:cubicBezTo>
                <a:cubicBezTo>
                  <a:pt x="666275" y="930585"/>
                  <a:pt x="669393" y="930733"/>
                  <a:pt x="671885" y="929487"/>
                </a:cubicBezTo>
                <a:cubicBezTo>
                  <a:pt x="674726" y="928067"/>
                  <a:pt x="676911" y="925492"/>
                  <a:pt x="679813" y="924202"/>
                </a:cubicBezTo>
                <a:cubicBezTo>
                  <a:pt x="684904" y="921939"/>
                  <a:pt x="690384" y="920678"/>
                  <a:pt x="695670" y="918916"/>
                </a:cubicBezTo>
                <a:lnTo>
                  <a:pt x="703598" y="916273"/>
                </a:lnTo>
                <a:lnTo>
                  <a:pt x="735312" y="905702"/>
                </a:lnTo>
                <a:cubicBezTo>
                  <a:pt x="735316" y="905701"/>
                  <a:pt x="751163" y="900417"/>
                  <a:pt x="751168" y="900417"/>
                </a:cubicBezTo>
                <a:lnTo>
                  <a:pt x="793453" y="897774"/>
                </a:lnTo>
                <a:cubicBezTo>
                  <a:pt x="812755" y="891339"/>
                  <a:pt x="803904" y="893839"/>
                  <a:pt x="819880" y="889845"/>
                </a:cubicBezTo>
                <a:cubicBezTo>
                  <a:pt x="842609" y="874695"/>
                  <a:pt x="813849" y="892861"/>
                  <a:pt x="835737" y="881917"/>
                </a:cubicBezTo>
                <a:cubicBezTo>
                  <a:pt x="856227" y="871672"/>
                  <a:pt x="831666" y="880632"/>
                  <a:pt x="851594" y="873989"/>
                </a:cubicBezTo>
                <a:lnTo>
                  <a:pt x="867450" y="863418"/>
                </a:lnTo>
                <a:cubicBezTo>
                  <a:pt x="870093" y="861656"/>
                  <a:pt x="873133" y="860378"/>
                  <a:pt x="875379" y="858132"/>
                </a:cubicBezTo>
                <a:lnTo>
                  <a:pt x="883307" y="850204"/>
                </a:lnTo>
                <a:cubicBezTo>
                  <a:pt x="884188" y="847561"/>
                  <a:pt x="883980" y="844245"/>
                  <a:pt x="885950" y="842275"/>
                </a:cubicBezTo>
                <a:cubicBezTo>
                  <a:pt x="890442" y="837783"/>
                  <a:pt x="897313" y="836195"/>
                  <a:pt x="901806" y="831704"/>
                </a:cubicBezTo>
                <a:lnTo>
                  <a:pt x="907092" y="821133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79" name="Freeform 78"/>
          <p:cNvSpPr/>
          <p:nvPr/>
        </p:nvSpPr>
        <p:spPr>
          <a:xfrm>
            <a:off x="5522914" y="4612223"/>
            <a:ext cx="931862" cy="1468967"/>
          </a:xfrm>
          <a:custGeom>
            <a:avLst/>
            <a:gdLst>
              <a:gd name="connsiteX0" fmla="*/ 894298 w 931664"/>
              <a:gd name="connsiteY0" fmla="*/ 1321 h 1468712"/>
              <a:gd name="connsiteX1" fmla="*/ 910154 w 931664"/>
              <a:gd name="connsiteY1" fmla="*/ 22464 h 1468712"/>
              <a:gd name="connsiteX2" fmla="*/ 912797 w 931664"/>
              <a:gd name="connsiteY2" fmla="*/ 30392 h 1468712"/>
              <a:gd name="connsiteX3" fmla="*/ 910154 w 931664"/>
              <a:gd name="connsiteY3" fmla="*/ 62105 h 1468712"/>
              <a:gd name="connsiteX4" fmla="*/ 904869 w 931664"/>
              <a:gd name="connsiteY4" fmla="*/ 77962 h 1468712"/>
              <a:gd name="connsiteX5" fmla="*/ 904869 w 931664"/>
              <a:gd name="connsiteY5" fmla="*/ 162531 h 1468712"/>
              <a:gd name="connsiteX6" fmla="*/ 907512 w 931664"/>
              <a:gd name="connsiteY6" fmla="*/ 223314 h 1468712"/>
              <a:gd name="connsiteX7" fmla="*/ 912797 w 931664"/>
              <a:gd name="connsiteY7" fmla="*/ 239171 h 1468712"/>
              <a:gd name="connsiteX8" fmla="*/ 910154 w 931664"/>
              <a:gd name="connsiteY8" fmla="*/ 299955 h 1468712"/>
              <a:gd name="connsiteX9" fmla="*/ 907512 w 931664"/>
              <a:gd name="connsiteY9" fmla="*/ 307883 h 1468712"/>
              <a:gd name="connsiteX10" fmla="*/ 912797 w 931664"/>
              <a:gd name="connsiteY10" fmla="*/ 355453 h 1468712"/>
              <a:gd name="connsiteX11" fmla="*/ 918083 w 931664"/>
              <a:gd name="connsiteY11" fmla="*/ 379238 h 1468712"/>
              <a:gd name="connsiteX12" fmla="*/ 920725 w 931664"/>
              <a:gd name="connsiteY12" fmla="*/ 387166 h 1468712"/>
              <a:gd name="connsiteX13" fmla="*/ 926011 w 931664"/>
              <a:gd name="connsiteY13" fmla="*/ 395095 h 1468712"/>
              <a:gd name="connsiteX14" fmla="*/ 926011 w 931664"/>
              <a:gd name="connsiteY14" fmla="*/ 429451 h 1468712"/>
              <a:gd name="connsiteX15" fmla="*/ 910154 w 931664"/>
              <a:gd name="connsiteY15" fmla="*/ 453236 h 1468712"/>
              <a:gd name="connsiteX16" fmla="*/ 899583 w 931664"/>
              <a:gd name="connsiteY16" fmla="*/ 469092 h 1468712"/>
              <a:gd name="connsiteX17" fmla="*/ 894298 w 931664"/>
              <a:gd name="connsiteY17" fmla="*/ 477021 h 1468712"/>
              <a:gd name="connsiteX18" fmla="*/ 870513 w 931664"/>
              <a:gd name="connsiteY18" fmla="*/ 498163 h 1468712"/>
              <a:gd name="connsiteX19" fmla="*/ 852013 w 931664"/>
              <a:gd name="connsiteY19" fmla="*/ 519305 h 1468712"/>
              <a:gd name="connsiteX20" fmla="*/ 841442 w 931664"/>
              <a:gd name="connsiteY20" fmla="*/ 535162 h 1468712"/>
              <a:gd name="connsiteX21" fmla="*/ 825586 w 931664"/>
              <a:gd name="connsiteY21" fmla="*/ 548376 h 1468712"/>
              <a:gd name="connsiteX22" fmla="*/ 809729 w 931664"/>
              <a:gd name="connsiteY22" fmla="*/ 558947 h 1468712"/>
              <a:gd name="connsiteX23" fmla="*/ 801801 w 931664"/>
              <a:gd name="connsiteY23" fmla="*/ 564232 h 1468712"/>
              <a:gd name="connsiteX24" fmla="*/ 785944 w 931664"/>
              <a:gd name="connsiteY24" fmla="*/ 569518 h 1468712"/>
              <a:gd name="connsiteX25" fmla="*/ 778016 w 931664"/>
              <a:gd name="connsiteY25" fmla="*/ 574803 h 1468712"/>
              <a:gd name="connsiteX26" fmla="*/ 754231 w 931664"/>
              <a:gd name="connsiteY26" fmla="*/ 585375 h 1468712"/>
              <a:gd name="connsiteX27" fmla="*/ 748945 w 931664"/>
              <a:gd name="connsiteY27" fmla="*/ 593303 h 1468712"/>
              <a:gd name="connsiteX28" fmla="*/ 733088 w 931664"/>
              <a:gd name="connsiteY28" fmla="*/ 601231 h 1468712"/>
              <a:gd name="connsiteX29" fmla="*/ 709303 w 931664"/>
              <a:gd name="connsiteY29" fmla="*/ 614445 h 1468712"/>
              <a:gd name="connsiteX30" fmla="*/ 698732 w 931664"/>
              <a:gd name="connsiteY30" fmla="*/ 617088 h 1468712"/>
              <a:gd name="connsiteX31" fmla="*/ 682876 w 931664"/>
              <a:gd name="connsiteY31" fmla="*/ 622373 h 1468712"/>
              <a:gd name="connsiteX32" fmla="*/ 667019 w 931664"/>
              <a:gd name="connsiteY32" fmla="*/ 632945 h 1468712"/>
              <a:gd name="connsiteX33" fmla="*/ 659091 w 931664"/>
              <a:gd name="connsiteY33" fmla="*/ 640873 h 1468712"/>
              <a:gd name="connsiteX34" fmla="*/ 651162 w 931664"/>
              <a:gd name="connsiteY34" fmla="*/ 646158 h 1468712"/>
              <a:gd name="connsiteX35" fmla="*/ 643234 w 931664"/>
              <a:gd name="connsiteY35" fmla="*/ 654087 h 1468712"/>
              <a:gd name="connsiteX36" fmla="*/ 619449 w 931664"/>
              <a:gd name="connsiteY36" fmla="*/ 667301 h 1468712"/>
              <a:gd name="connsiteX37" fmla="*/ 603592 w 931664"/>
              <a:gd name="connsiteY37" fmla="*/ 680514 h 1468712"/>
              <a:gd name="connsiteX38" fmla="*/ 595664 w 931664"/>
              <a:gd name="connsiteY38" fmla="*/ 683157 h 1468712"/>
              <a:gd name="connsiteX39" fmla="*/ 577165 w 931664"/>
              <a:gd name="connsiteY39" fmla="*/ 699014 h 1468712"/>
              <a:gd name="connsiteX40" fmla="*/ 569236 w 931664"/>
              <a:gd name="connsiteY40" fmla="*/ 704299 h 1468712"/>
              <a:gd name="connsiteX41" fmla="*/ 553380 w 931664"/>
              <a:gd name="connsiteY41" fmla="*/ 709585 h 1468712"/>
              <a:gd name="connsiteX42" fmla="*/ 534880 w 931664"/>
              <a:gd name="connsiteY42" fmla="*/ 722799 h 1468712"/>
              <a:gd name="connsiteX43" fmla="*/ 519024 w 931664"/>
              <a:gd name="connsiteY43" fmla="*/ 733370 h 1468712"/>
              <a:gd name="connsiteX44" fmla="*/ 497881 w 931664"/>
              <a:gd name="connsiteY44" fmla="*/ 751869 h 1468712"/>
              <a:gd name="connsiteX45" fmla="*/ 489953 w 931664"/>
              <a:gd name="connsiteY45" fmla="*/ 757155 h 1468712"/>
              <a:gd name="connsiteX46" fmla="*/ 482025 w 931664"/>
              <a:gd name="connsiteY46" fmla="*/ 759798 h 1468712"/>
              <a:gd name="connsiteX47" fmla="*/ 466168 w 931664"/>
              <a:gd name="connsiteY47" fmla="*/ 770369 h 1468712"/>
              <a:gd name="connsiteX48" fmla="*/ 460883 w 931664"/>
              <a:gd name="connsiteY48" fmla="*/ 778297 h 1468712"/>
              <a:gd name="connsiteX49" fmla="*/ 445026 w 931664"/>
              <a:gd name="connsiteY49" fmla="*/ 786225 h 1468712"/>
              <a:gd name="connsiteX50" fmla="*/ 437098 w 931664"/>
              <a:gd name="connsiteY50" fmla="*/ 794154 h 1468712"/>
              <a:gd name="connsiteX51" fmla="*/ 421241 w 931664"/>
              <a:gd name="connsiteY51" fmla="*/ 804725 h 1468712"/>
              <a:gd name="connsiteX52" fmla="*/ 405384 w 931664"/>
              <a:gd name="connsiteY52" fmla="*/ 815296 h 1468712"/>
              <a:gd name="connsiteX53" fmla="*/ 397456 w 931664"/>
              <a:gd name="connsiteY53" fmla="*/ 820582 h 1468712"/>
              <a:gd name="connsiteX54" fmla="*/ 389528 w 931664"/>
              <a:gd name="connsiteY54" fmla="*/ 825867 h 1468712"/>
              <a:gd name="connsiteX55" fmla="*/ 381599 w 931664"/>
              <a:gd name="connsiteY55" fmla="*/ 841724 h 1468712"/>
              <a:gd name="connsiteX56" fmla="*/ 376314 w 931664"/>
              <a:gd name="connsiteY56" fmla="*/ 849652 h 1468712"/>
              <a:gd name="connsiteX57" fmla="*/ 371028 w 931664"/>
              <a:gd name="connsiteY57" fmla="*/ 870794 h 1468712"/>
              <a:gd name="connsiteX58" fmla="*/ 365743 w 931664"/>
              <a:gd name="connsiteY58" fmla="*/ 889294 h 1468712"/>
              <a:gd name="connsiteX59" fmla="*/ 376314 w 931664"/>
              <a:gd name="connsiteY59" fmla="*/ 915721 h 1468712"/>
              <a:gd name="connsiteX60" fmla="*/ 384242 w 931664"/>
              <a:gd name="connsiteY60" fmla="*/ 918364 h 1468712"/>
              <a:gd name="connsiteX61" fmla="*/ 394813 w 931664"/>
              <a:gd name="connsiteY61" fmla="*/ 942149 h 1468712"/>
              <a:gd name="connsiteX62" fmla="*/ 397456 w 931664"/>
              <a:gd name="connsiteY62" fmla="*/ 950077 h 1468712"/>
              <a:gd name="connsiteX63" fmla="*/ 400099 w 931664"/>
              <a:gd name="connsiteY63" fmla="*/ 1000290 h 1468712"/>
              <a:gd name="connsiteX64" fmla="*/ 405384 w 931664"/>
              <a:gd name="connsiteY64" fmla="*/ 1016147 h 1468712"/>
              <a:gd name="connsiteX65" fmla="*/ 408027 w 931664"/>
              <a:gd name="connsiteY65" fmla="*/ 1055788 h 1468712"/>
              <a:gd name="connsiteX66" fmla="*/ 423884 w 931664"/>
              <a:gd name="connsiteY66" fmla="*/ 1061074 h 1468712"/>
              <a:gd name="connsiteX67" fmla="*/ 421241 w 931664"/>
              <a:gd name="connsiteY67" fmla="*/ 1079573 h 1468712"/>
              <a:gd name="connsiteX68" fmla="*/ 418598 w 931664"/>
              <a:gd name="connsiteY68" fmla="*/ 1087502 h 1468712"/>
              <a:gd name="connsiteX69" fmla="*/ 415955 w 931664"/>
              <a:gd name="connsiteY69" fmla="*/ 1098073 h 1468712"/>
              <a:gd name="connsiteX70" fmla="*/ 410670 w 931664"/>
              <a:gd name="connsiteY70" fmla="*/ 1113929 h 1468712"/>
              <a:gd name="connsiteX71" fmla="*/ 408027 w 931664"/>
              <a:gd name="connsiteY71" fmla="*/ 1124501 h 1468712"/>
              <a:gd name="connsiteX72" fmla="*/ 402742 w 931664"/>
              <a:gd name="connsiteY72" fmla="*/ 1140357 h 1468712"/>
              <a:gd name="connsiteX73" fmla="*/ 394813 w 931664"/>
              <a:gd name="connsiteY73" fmla="*/ 1166785 h 1468712"/>
              <a:gd name="connsiteX74" fmla="*/ 392170 w 931664"/>
              <a:gd name="connsiteY74" fmla="*/ 1174713 h 1468712"/>
              <a:gd name="connsiteX75" fmla="*/ 394813 w 931664"/>
              <a:gd name="connsiteY75" fmla="*/ 1219640 h 1468712"/>
              <a:gd name="connsiteX76" fmla="*/ 392170 w 931664"/>
              <a:gd name="connsiteY76" fmla="*/ 1235497 h 1468712"/>
              <a:gd name="connsiteX77" fmla="*/ 384242 w 931664"/>
              <a:gd name="connsiteY77" fmla="*/ 1238140 h 1468712"/>
              <a:gd name="connsiteX78" fmla="*/ 376314 w 931664"/>
              <a:gd name="connsiteY78" fmla="*/ 1243425 h 1468712"/>
              <a:gd name="connsiteX79" fmla="*/ 365743 w 931664"/>
              <a:gd name="connsiteY79" fmla="*/ 1259282 h 1468712"/>
              <a:gd name="connsiteX80" fmla="*/ 360457 w 931664"/>
              <a:gd name="connsiteY80" fmla="*/ 1267210 h 1468712"/>
              <a:gd name="connsiteX81" fmla="*/ 331387 w 931664"/>
              <a:gd name="connsiteY81" fmla="*/ 1277782 h 1468712"/>
              <a:gd name="connsiteX82" fmla="*/ 289102 w 931664"/>
              <a:gd name="connsiteY82" fmla="*/ 1285710 h 1468712"/>
              <a:gd name="connsiteX83" fmla="*/ 273246 w 931664"/>
              <a:gd name="connsiteY83" fmla="*/ 1290995 h 1468712"/>
              <a:gd name="connsiteX84" fmla="*/ 265317 w 931664"/>
              <a:gd name="connsiteY84" fmla="*/ 1293638 h 1468712"/>
              <a:gd name="connsiteX85" fmla="*/ 257389 w 931664"/>
              <a:gd name="connsiteY85" fmla="*/ 1298924 h 1468712"/>
              <a:gd name="connsiteX86" fmla="*/ 236247 w 931664"/>
              <a:gd name="connsiteY86" fmla="*/ 1304209 h 1468712"/>
              <a:gd name="connsiteX87" fmla="*/ 220390 w 931664"/>
              <a:gd name="connsiteY87" fmla="*/ 1309495 h 1468712"/>
              <a:gd name="connsiteX88" fmla="*/ 204533 w 931664"/>
              <a:gd name="connsiteY88" fmla="*/ 1317423 h 1468712"/>
              <a:gd name="connsiteX89" fmla="*/ 196605 w 931664"/>
              <a:gd name="connsiteY89" fmla="*/ 1325351 h 1468712"/>
              <a:gd name="connsiteX90" fmla="*/ 188677 w 931664"/>
              <a:gd name="connsiteY90" fmla="*/ 1327994 h 1468712"/>
              <a:gd name="connsiteX91" fmla="*/ 167535 w 931664"/>
              <a:gd name="connsiteY91" fmla="*/ 1351779 h 1468712"/>
              <a:gd name="connsiteX92" fmla="*/ 162249 w 931664"/>
              <a:gd name="connsiteY92" fmla="*/ 1367636 h 1468712"/>
              <a:gd name="connsiteX93" fmla="*/ 154321 w 931664"/>
              <a:gd name="connsiteY93" fmla="*/ 1383492 h 1468712"/>
              <a:gd name="connsiteX94" fmla="*/ 162249 w 931664"/>
              <a:gd name="connsiteY94" fmla="*/ 1388778 h 1468712"/>
              <a:gd name="connsiteX95" fmla="*/ 170177 w 931664"/>
              <a:gd name="connsiteY95" fmla="*/ 1391421 h 1468712"/>
              <a:gd name="connsiteX96" fmla="*/ 175463 w 931664"/>
              <a:gd name="connsiteY96" fmla="*/ 1399349 h 1468712"/>
              <a:gd name="connsiteX97" fmla="*/ 170177 w 931664"/>
              <a:gd name="connsiteY97" fmla="*/ 1428420 h 1468712"/>
              <a:gd name="connsiteX98" fmla="*/ 154321 w 931664"/>
              <a:gd name="connsiteY98" fmla="*/ 1441634 h 1468712"/>
              <a:gd name="connsiteX99" fmla="*/ 151678 w 931664"/>
              <a:gd name="connsiteY99" fmla="*/ 1449562 h 1468712"/>
              <a:gd name="connsiteX100" fmla="*/ 106751 w 931664"/>
              <a:gd name="connsiteY100" fmla="*/ 1454847 h 1468712"/>
              <a:gd name="connsiteX101" fmla="*/ 98823 w 931664"/>
              <a:gd name="connsiteY101" fmla="*/ 1449562 h 1468712"/>
              <a:gd name="connsiteX102" fmla="*/ 90894 w 931664"/>
              <a:gd name="connsiteY102" fmla="*/ 1446919 h 1468712"/>
              <a:gd name="connsiteX103" fmla="*/ 93537 w 931664"/>
              <a:gd name="connsiteY103" fmla="*/ 1433705 h 1468712"/>
              <a:gd name="connsiteX104" fmla="*/ 90894 w 931664"/>
              <a:gd name="connsiteY104" fmla="*/ 1364993 h 1468712"/>
              <a:gd name="connsiteX105" fmla="*/ 85609 w 931664"/>
              <a:gd name="connsiteY105" fmla="*/ 1343851 h 1468712"/>
              <a:gd name="connsiteX106" fmla="*/ 88251 w 931664"/>
              <a:gd name="connsiteY106" fmla="*/ 1288353 h 1468712"/>
              <a:gd name="connsiteX107" fmla="*/ 96180 w 931664"/>
              <a:gd name="connsiteY107" fmla="*/ 1264568 h 1468712"/>
              <a:gd name="connsiteX108" fmla="*/ 98823 w 931664"/>
              <a:gd name="connsiteY108" fmla="*/ 1256639 h 1468712"/>
              <a:gd name="connsiteX109" fmla="*/ 96180 w 931664"/>
              <a:gd name="connsiteY109" fmla="*/ 1195855 h 1468712"/>
              <a:gd name="connsiteX110" fmla="*/ 93537 w 931664"/>
              <a:gd name="connsiteY110" fmla="*/ 1187927 h 1468712"/>
              <a:gd name="connsiteX111" fmla="*/ 88251 w 931664"/>
              <a:gd name="connsiteY111" fmla="*/ 1179999 h 1468712"/>
              <a:gd name="connsiteX112" fmla="*/ 82966 w 931664"/>
              <a:gd name="connsiteY112" fmla="*/ 1164142 h 1468712"/>
              <a:gd name="connsiteX113" fmla="*/ 80323 w 931664"/>
              <a:gd name="connsiteY113" fmla="*/ 1156214 h 1468712"/>
              <a:gd name="connsiteX114" fmla="*/ 69752 w 931664"/>
              <a:gd name="connsiteY114" fmla="*/ 1119215 h 1468712"/>
              <a:gd name="connsiteX115" fmla="*/ 61824 w 931664"/>
              <a:gd name="connsiteY115" fmla="*/ 1095430 h 1468712"/>
              <a:gd name="connsiteX116" fmla="*/ 59181 w 931664"/>
              <a:gd name="connsiteY116" fmla="*/ 1087502 h 1468712"/>
              <a:gd name="connsiteX117" fmla="*/ 59181 w 931664"/>
              <a:gd name="connsiteY117" fmla="*/ 1053146 h 1468712"/>
              <a:gd name="connsiteX118" fmla="*/ 75038 w 931664"/>
              <a:gd name="connsiteY118" fmla="*/ 1045217 h 1468712"/>
              <a:gd name="connsiteX119" fmla="*/ 90894 w 931664"/>
              <a:gd name="connsiteY119" fmla="*/ 1032003 h 1468712"/>
              <a:gd name="connsiteX120" fmla="*/ 96180 w 931664"/>
              <a:gd name="connsiteY120" fmla="*/ 1016147 h 1468712"/>
              <a:gd name="connsiteX121" fmla="*/ 104108 w 931664"/>
              <a:gd name="connsiteY121" fmla="*/ 1000290 h 1468712"/>
              <a:gd name="connsiteX122" fmla="*/ 122607 w 931664"/>
              <a:gd name="connsiteY122" fmla="*/ 995005 h 1468712"/>
              <a:gd name="connsiteX123" fmla="*/ 143750 w 931664"/>
              <a:gd name="connsiteY123" fmla="*/ 971220 h 1468712"/>
              <a:gd name="connsiteX124" fmla="*/ 151678 w 931664"/>
              <a:gd name="connsiteY124" fmla="*/ 968577 h 1468712"/>
              <a:gd name="connsiteX125" fmla="*/ 164892 w 931664"/>
              <a:gd name="connsiteY125" fmla="*/ 928935 h 1468712"/>
              <a:gd name="connsiteX126" fmla="*/ 167535 w 931664"/>
              <a:gd name="connsiteY126" fmla="*/ 921007 h 1468712"/>
              <a:gd name="connsiteX127" fmla="*/ 183391 w 931664"/>
              <a:gd name="connsiteY127" fmla="*/ 910436 h 1468712"/>
              <a:gd name="connsiteX128" fmla="*/ 191320 w 931664"/>
              <a:gd name="connsiteY128" fmla="*/ 905150 h 1468712"/>
              <a:gd name="connsiteX129" fmla="*/ 196605 w 931664"/>
              <a:gd name="connsiteY129" fmla="*/ 884008 h 1468712"/>
              <a:gd name="connsiteX130" fmla="*/ 201891 w 931664"/>
              <a:gd name="connsiteY130" fmla="*/ 876080 h 1468712"/>
              <a:gd name="connsiteX131" fmla="*/ 207176 w 931664"/>
              <a:gd name="connsiteY131" fmla="*/ 865509 h 1468712"/>
              <a:gd name="connsiteX132" fmla="*/ 215105 w 931664"/>
              <a:gd name="connsiteY132" fmla="*/ 849652 h 1468712"/>
              <a:gd name="connsiteX133" fmla="*/ 207176 w 931664"/>
              <a:gd name="connsiteY133" fmla="*/ 796797 h 1468712"/>
              <a:gd name="connsiteX134" fmla="*/ 201891 w 931664"/>
              <a:gd name="connsiteY134" fmla="*/ 780940 h 1468712"/>
              <a:gd name="connsiteX135" fmla="*/ 199248 w 931664"/>
              <a:gd name="connsiteY135" fmla="*/ 773012 h 1468712"/>
              <a:gd name="connsiteX136" fmla="*/ 201891 w 931664"/>
              <a:gd name="connsiteY136" fmla="*/ 757155 h 1468712"/>
              <a:gd name="connsiteX137" fmla="*/ 204533 w 931664"/>
              <a:gd name="connsiteY137" fmla="*/ 749227 h 1468712"/>
              <a:gd name="connsiteX138" fmla="*/ 207176 w 931664"/>
              <a:gd name="connsiteY138" fmla="*/ 738655 h 1468712"/>
              <a:gd name="connsiteX139" fmla="*/ 212462 w 931664"/>
              <a:gd name="connsiteY139" fmla="*/ 722799 h 1468712"/>
              <a:gd name="connsiteX140" fmla="*/ 215105 w 931664"/>
              <a:gd name="connsiteY140" fmla="*/ 712228 h 1468712"/>
              <a:gd name="connsiteX141" fmla="*/ 220390 w 931664"/>
              <a:gd name="connsiteY141" fmla="*/ 696371 h 1468712"/>
              <a:gd name="connsiteX142" fmla="*/ 223033 w 931664"/>
              <a:gd name="connsiteY142" fmla="*/ 688443 h 1468712"/>
              <a:gd name="connsiteX143" fmla="*/ 220390 w 931664"/>
              <a:gd name="connsiteY143" fmla="*/ 588017 h 1468712"/>
              <a:gd name="connsiteX144" fmla="*/ 207176 w 931664"/>
              <a:gd name="connsiteY144" fmla="*/ 569518 h 1468712"/>
              <a:gd name="connsiteX145" fmla="*/ 199248 w 931664"/>
              <a:gd name="connsiteY145" fmla="*/ 564232 h 1468712"/>
              <a:gd name="connsiteX146" fmla="*/ 180749 w 931664"/>
              <a:gd name="connsiteY146" fmla="*/ 558947 h 1468712"/>
              <a:gd name="connsiteX147" fmla="*/ 151678 w 931664"/>
              <a:gd name="connsiteY147" fmla="*/ 551019 h 1468712"/>
              <a:gd name="connsiteX148" fmla="*/ 138464 w 931664"/>
              <a:gd name="connsiteY148" fmla="*/ 548376 h 1468712"/>
              <a:gd name="connsiteX149" fmla="*/ 122607 w 931664"/>
              <a:gd name="connsiteY149" fmla="*/ 543090 h 1468712"/>
              <a:gd name="connsiteX150" fmla="*/ 104108 w 931664"/>
              <a:gd name="connsiteY150" fmla="*/ 537805 h 1468712"/>
              <a:gd name="connsiteX151" fmla="*/ 98823 w 931664"/>
              <a:gd name="connsiteY151" fmla="*/ 529876 h 1468712"/>
              <a:gd name="connsiteX152" fmla="*/ 90894 w 931664"/>
              <a:gd name="connsiteY152" fmla="*/ 514020 h 1468712"/>
              <a:gd name="connsiteX153" fmla="*/ 82966 w 931664"/>
              <a:gd name="connsiteY153" fmla="*/ 508734 h 1468712"/>
              <a:gd name="connsiteX154" fmla="*/ 64466 w 931664"/>
              <a:gd name="connsiteY154" fmla="*/ 511377 h 1468712"/>
              <a:gd name="connsiteX155" fmla="*/ 45967 w 931664"/>
              <a:gd name="connsiteY155" fmla="*/ 516662 h 1468712"/>
              <a:gd name="connsiteX156" fmla="*/ 14254 w 931664"/>
              <a:gd name="connsiteY156" fmla="*/ 514020 h 1468712"/>
              <a:gd name="connsiteX157" fmla="*/ 19539 w 931664"/>
              <a:gd name="connsiteY157" fmla="*/ 498163 h 1468712"/>
              <a:gd name="connsiteX158" fmla="*/ 11611 w 931664"/>
              <a:gd name="connsiteY158" fmla="*/ 466450 h 1468712"/>
              <a:gd name="connsiteX159" fmla="*/ 6325 w 931664"/>
              <a:gd name="connsiteY159" fmla="*/ 458521 h 1468712"/>
              <a:gd name="connsiteX160" fmla="*/ 6325 w 931664"/>
              <a:gd name="connsiteY160" fmla="*/ 410951 h 1468712"/>
              <a:gd name="connsiteX161" fmla="*/ 14254 w 931664"/>
              <a:gd name="connsiteY161" fmla="*/ 408309 h 1468712"/>
              <a:gd name="connsiteX162" fmla="*/ 32753 w 931664"/>
              <a:gd name="connsiteY162" fmla="*/ 405666 h 1468712"/>
              <a:gd name="connsiteX163" fmla="*/ 40681 w 931664"/>
              <a:gd name="connsiteY163" fmla="*/ 403023 h 1468712"/>
              <a:gd name="connsiteX164" fmla="*/ 69752 w 931664"/>
              <a:gd name="connsiteY164" fmla="*/ 397738 h 1468712"/>
              <a:gd name="connsiteX165" fmla="*/ 77680 w 931664"/>
              <a:gd name="connsiteY165" fmla="*/ 395095 h 1468712"/>
              <a:gd name="connsiteX166" fmla="*/ 93537 w 931664"/>
              <a:gd name="connsiteY166" fmla="*/ 384524 h 1468712"/>
              <a:gd name="connsiteX167" fmla="*/ 117322 w 931664"/>
              <a:gd name="connsiteY167" fmla="*/ 376595 h 1468712"/>
              <a:gd name="connsiteX168" fmla="*/ 125250 w 931664"/>
              <a:gd name="connsiteY168" fmla="*/ 373953 h 1468712"/>
              <a:gd name="connsiteX169" fmla="*/ 135821 w 931664"/>
              <a:gd name="connsiteY169" fmla="*/ 371310 h 1468712"/>
              <a:gd name="connsiteX170" fmla="*/ 170177 w 931664"/>
              <a:gd name="connsiteY170" fmla="*/ 360739 h 1468712"/>
              <a:gd name="connsiteX171" fmla="*/ 183391 w 931664"/>
              <a:gd name="connsiteY171" fmla="*/ 358096 h 1468712"/>
              <a:gd name="connsiteX172" fmla="*/ 196605 w 931664"/>
              <a:gd name="connsiteY172" fmla="*/ 355453 h 1468712"/>
              <a:gd name="connsiteX173" fmla="*/ 204533 w 931664"/>
              <a:gd name="connsiteY173" fmla="*/ 352810 h 1468712"/>
              <a:gd name="connsiteX174" fmla="*/ 225676 w 931664"/>
              <a:gd name="connsiteY174" fmla="*/ 347525 h 1468712"/>
              <a:gd name="connsiteX175" fmla="*/ 236247 w 931664"/>
              <a:gd name="connsiteY175" fmla="*/ 344882 h 1468712"/>
              <a:gd name="connsiteX176" fmla="*/ 252103 w 931664"/>
              <a:gd name="connsiteY176" fmla="*/ 339597 h 1468712"/>
              <a:gd name="connsiteX177" fmla="*/ 270603 w 931664"/>
              <a:gd name="connsiteY177" fmla="*/ 321097 h 1468712"/>
              <a:gd name="connsiteX178" fmla="*/ 281174 w 931664"/>
              <a:gd name="connsiteY178" fmla="*/ 344882 h 1468712"/>
              <a:gd name="connsiteX179" fmla="*/ 283817 w 931664"/>
              <a:gd name="connsiteY179" fmla="*/ 352810 h 1468712"/>
              <a:gd name="connsiteX180" fmla="*/ 299673 w 931664"/>
              <a:gd name="connsiteY180" fmla="*/ 366024 h 1468712"/>
              <a:gd name="connsiteX181" fmla="*/ 349886 w 931664"/>
              <a:gd name="connsiteY181" fmla="*/ 363382 h 1468712"/>
              <a:gd name="connsiteX182" fmla="*/ 357814 w 931664"/>
              <a:gd name="connsiteY182" fmla="*/ 355453 h 1468712"/>
              <a:gd name="connsiteX183" fmla="*/ 365743 w 931664"/>
              <a:gd name="connsiteY183" fmla="*/ 352810 h 1468712"/>
              <a:gd name="connsiteX184" fmla="*/ 368386 w 931664"/>
              <a:gd name="connsiteY184" fmla="*/ 392452 h 1468712"/>
              <a:gd name="connsiteX185" fmla="*/ 376314 w 931664"/>
              <a:gd name="connsiteY185" fmla="*/ 416237 h 1468712"/>
              <a:gd name="connsiteX186" fmla="*/ 378957 w 931664"/>
              <a:gd name="connsiteY186" fmla="*/ 424165 h 1468712"/>
              <a:gd name="connsiteX187" fmla="*/ 376314 w 931664"/>
              <a:gd name="connsiteY187" fmla="*/ 461164 h 1468712"/>
              <a:gd name="connsiteX188" fmla="*/ 371028 w 931664"/>
              <a:gd name="connsiteY188" fmla="*/ 477021 h 1468712"/>
              <a:gd name="connsiteX189" fmla="*/ 368386 w 931664"/>
              <a:gd name="connsiteY189" fmla="*/ 487592 h 1468712"/>
              <a:gd name="connsiteX190" fmla="*/ 373671 w 931664"/>
              <a:gd name="connsiteY190" fmla="*/ 524591 h 1468712"/>
              <a:gd name="connsiteX191" fmla="*/ 384242 w 931664"/>
              <a:gd name="connsiteY191" fmla="*/ 540447 h 1468712"/>
              <a:gd name="connsiteX192" fmla="*/ 389528 w 931664"/>
              <a:gd name="connsiteY192" fmla="*/ 548376 h 1468712"/>
              <a:gd name="connsiteX193" fmla="*/ 394813 w 931664"/>
              <a:gd name="connsiteY193" fmla="*/ 556304 h 1468712"/>
              <a:gd name="connsiteX194" fmla="*/ 408027 w 931664"/>
              <a:gd name="connsiteY194" fmla="*/ 574803 h 1468712"/>
              <a:gd name="connsiteX195" fmla="*/ 418598 w 931664"/>
              <a:gd name="connsiteY195" fmla="*/ 572161 h 1468712"/>
              <a:gd name="connsiteX196" fmla="*/ 423884 w 931664"/>
              <a:gd name="connsiteY196" fmla="*/ 564232 h 1468712"/>
              <a:gd name="connsiteX197" fmla="*/ 426527 w 931664"/>
              <a:gd name="connsiteY197" fmla="*/ 516662 h 1468712"/>
              <a:gd name="connsiteX198" fmla="*/ 450312 w 931664"/>
              <a:gd name="connsiteY198" fmla="*/ 503449 h 1468712"/>
              <a:gd name="connsiteX199" fmla="*/ 463525 w 931664"/>
              <a:gd name="connsiteY199" fmla="*/ 500806 h 1468712"/>
              <a:gd name="connsiteX200" fmla="*/ 474096 w 931664"/>
              <a:gd name="connsiteY200" fmla="*/ 498163 h 1468712"/>
              <a:gd name="connsiteX201" fmla="*/ 482025 w 931664"/>
              <a:gd name="connsiteY201" fmla="*/ 492877 h 1468712"/>
              <a:gd name="connsiteX202" fmla="*/ 484668 w 931664"/>
              <a:gd name="connsiteY202" fmla="*/ 484949 h 1468712"/>
              <a:gd name="connsiteX203" fmla="*/ 482025 w 931664"/>
              <a:gd name="connsiteY203" fmla="*/ 450593 h 1468712"/>
              <a:gd name="connsiteX204" fmla="*/ 482025 w 931664"/>
              <a:gd name="connsiteY204" fmla="*/ 400380 h 1468712"/>
              <a:gd name="connsiteX205" fmla="*/ 479382 w 931664"/>
              <a:gd name="connsiteY205" fmla="*/ 392452 h 1468712"/>
              <a:gd name="connsiteX206" fmla="*/ 463525 w 931664"/>
              <a:gd name="connsiteY206" fmla="*/ 387166 h 1468712"/>
              <a:gd name="connsiteX207" fmla="*/ 458240 w 931664"/>
              <a:gd name="connsiteY207" fmla="*/ 366024 h 1468712"/>
              <a:gd name="connsiteX208" fmla="*/ 455597 w 931664"/>
              <a:gd name="connsiteY208" fmla="*/ 358096 h 1468712"/>
              <a:gd name="connsiteX209" fmla="*/ 445026 w 931664"/>
              <a:gd name="connsiteY209" fmla="*/ 342239 h 1468712"/>
              <a:gd name="connsiteX210" fmla="*/ 439740 w 931664"/>
              <a:gd name="connsiteY210" fmla="*/ 326383 h 1468712"/>
              <a:gd name="connsiteX211" fmla="*/ 437098 w 931664"/>
              <a:gd name="connsiteY211" fmla="*/ 299955 h 1468712"/>
              <a:gd name="connsiteX212" fmla="*/ 429169 w 931664"/>
              <a:gd name="connsiteY212" fmla="*/ 297312 h 1468712"/>
              <a:gd name="connsiteX213" fmla="*/ 423884 w 931664"/>
              <a:gd name="connsiteY213" fmla="*/ 289384 h 1468712"/>
              <a:gd name="connsiteX214" fmla="*/ 418598 w 931664"/>
              <a:gd name="connsiteY214" fmla="*/ 265599 h 1468712"/>
              <a:gd name="connsiteX215" fmla="*/ 415955 w 931664"/>
              <a:gd name="connsiteY215" fmla="*/ 257671 h 1468712"/>
              <a:gd name="connsiteX216" fmla="*/ 413313 w 931664"/>
              <a:gd name="connsiteY216" fmla="*/ 183673 h 1468712"/>
              <a:gd name="connsiteX217" fmla="*/ 410670 w 931664"/>
              <a:gd name="connsiteY217" fmla="*/ 175745 h 1468712"/>
              <a:gd name="connsiteX218" fmla="*/ 423884 w 931664"/>
              <a:gd name="connsiteY218" fmla="*/ 146674 h 1468712"/>
              <a:gd name="connsiteX219" fmla="*/ 431812 w 931664"/>
              <a:gd name="connsiteY219" fmla="*/ 141388 h 1468712"/>
              <a:gd name="connsiteX220" fmla="*/ 434455 w 931664"/>
              <a:gd name="connsiteY220" fmla="*/ 133460 h 1468712"/>
              <a:gd name="connsiteX221" fmla="*/ 437098 w 931664"/>
              <a:gd name="connsiteY221" fmla="*/ 104390 h 1468712"/>
              <a:gd name="connsiteX222" fmla="*/ 452954 w 931664"/>
              <a:gd name="connsiteY222" fmla="*/ 99104 h 1468712"/>
              <a:gd name="connsiteX223" fmla="*/ 519024 w 931664"/>
              <a:gd name="connsiteY223" fmla="*/ 101747 h 1468712"/>
              <a:gd name="connsiteX224" fmla="*/ 542809 w 931664"/>
              <a:gd name="connsiteY224" fmla="*/ 109675 h 1468712"/>
              <a:gd name="connsiteX225" fmla="*/ 563951 w 931664"/>
              <a:gd name="connsiteY225" fmla="*/ 114961 h 1468712"/>
              <a:gd name="connsiteX226" fmla="*/ 579807 w 931664"/>
              <a:gd name="connsiteY226" fmla="*/ 120246 h 1468712"/>
              <a:gd name="connsiteX227" fmla="*/ 587736 w 931664"/>
              <a:gd name="connsiteY227" fmla="*/ 122889 h 1468712"/>
              <a:gd name="connsiteX228" fmla="*/ 616806 w 931664"/>
              <a:gd name="connsiteY228" fmla="*/ 120246 h 1468712"/>
              <a:gd name="connsiteX229" fmla="*/ 632663 w 931664"/>
              <a:gd name="connsiteY229" fmla="*/ 114961 h 1468712"/>
              <a:gd name="connsiteX230" fmla="*/ 640591 w 931664"/>
              <a:gd name="connsiteY230" fmla="*/ 109675 h 1468712"/>
              <a:gd name="connsiteX231" fmla="*/ 656448 w 931664"/>
              <a:gd name="connsiteY231" fmla="*/ 104390 h 1468712"/>
              <a:gd name="connsiteX232" fmla="*/ 664376 w 931664"/>
              <a:gd name="connsiteY232" fmla="*/ 99104 h 1468712"/>
              <a:gd name="connsiteX233" fmla="*/ 680233 w 931664"/>
              <a:gd name="connsiteY233" fmla="*/ 93819 h 1468712"/>
              <a:gd name="connsiteX234" fmla="*/ 696090 w 931664"/>
              <a:gd name="connsiteY234" fmla="*/ 83247 h 1468712"/>
              <a:gd name="connsiteX235" fmla="*/ 719875 w 931664"/>
              <a:gd name="connsiteY235" fmla="*/ 75319 h 1468712"/>
              <a:gd name="connsiteX236" fmla="*/ 727803 w 931664"/>
              <a:gd name="connsiteY236" fmla="*/ 72676 h 1468712"/>
              <a:gd name="connsiteX237" fmla="*/ 796515 w 931664"/>
              <a:gd name="connsiteY237" fmla="*/ 70034 h 1468712"/>
              <a:gd name="connsiteX238" fmla="*/ 804443 w 931664"/>
              <a:gd name="connsiteY238" fmla="*/ 67391 h 1468712"/>
              <a:gd name="connsiteX239" fmla="*/ 815014 w 931664"/>
              <a:gd name="connsiteY239" fmla="*/ 64748 h 1468712"/>
              <a:gd name="connsiteX240" fmla="*/ 838799 w 931664"/>
              <a:gd name="connsiteY240" fmla="*/ 51534 h 1468712"/>
              <a:gd name="connsiteX241" fmla="*/ 846728 w 931664"/>
              <a:gd name="connsiteY241" fmla="*/ 43606 h 1468712"/>
              <a:gd name="connsiteX242" fmla="*/ 854656 w 931664"/>
              <a:gd name="connsiteY242" fmla="*/ 40963 h 1468712"/>
              <a:gd name="connsiteX243" fmla="*/ 859942 w 931664"/>
              <a:gd name="connsiteY243" fmla="*/ 30392 h 1468712"/>
              <a:gd name="connsiteX244" fmla="*/ 873155 w 931664"/>
              <a:gd name="connsiteY244" fmla="*/ 14535 h 1468712"/>
              <a:gd name="connsiteX245" fmla="*/ 894298 w 931664"/>
              <a:gd name="connsiteY245" fmla="*/ 1321 h 1468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</a:cxnLst>
            <a:rect l="l" t="t" r="r" b="b"/>
            <a:pathLst>
              <a:path w="931664" h="1468712">
                <a:moveTo>
                  <a:pt x="894298" y="1321"/>
                </a:moveTo>
                <a:cubicBezTo>
                  <a:pt x="900464" y="2642"/>
                  <a:pt x="907347" y="16850"/>
                  <a:pt x="910154" y="22464"/>
                </a:cubicBezTo>
                <a:cubicBezTo>
                  <a:pt x="911400" y="24956"/>
                  <a:pt x="911916" y="27749"/>
                  <a:pt x="912797" y="30392"/>
                </a:cubicBezTo>
                <a:cubicBezTo>
                  <a:pt x="911916" y="40963"/>
                  <a:pt x="911898" y="51642"/>
                  <a:pt x="910154" y="62105"/>
                </a:cubicBezTo>
                <a:cubicBezTo>
                  <a:pt x="909238" y="67601"/>
                  <a:pt x="904869" y="77962"/>
                  <a:pt x="904869" y="77962"/>
                </a:cubicBezTo>
                <a:cubicBezTo>
                  <a:pt x="910885" y="150147"/>
                  <a:pt x="904869" y="61011"/>
                  <a:pt x="904869" y="162531"/>
                </a:cubicBezTo>
                <a:cubicBezTo>
                  <a:pt x="904869" y="182811"/>
                  <a:pt x="905425" y="203141"/>
                  <a:pt x="907512" y="223314"/>
                </a:cubicBezTo>
                <a:cubicBezTo>
                  <a:pt x="908085" y="228856"/>
                  <a:pt x="912797" y="239171"/>
                  <a:pt x="912797" y="239171"/>
                </a:cubicBezTo>
                <a:cubicBezTo>
                  <a:pt x="911916" y="259432"/>
                  <a:pt x="911709" y="279734"/>
                  <a:pt x="910154" y="299955"/>
                </a:cubicBezTo>
                <a:cubicBezTo>
                  <a:pt x="909940" y="302732"/>
                  <a:pt x="907512" y="305097"/>
                  <a:pt x="907512" y="307883"/>
                </a:cubicBezTo>
                <a:cubicBezTo>
                  <a:pt x="907512" y="345056"/>
                  <a:pt x="908007" y="333900"/>
                  <a:pt x="912797" y="355453"/>
                </a:cubicBezTo>
                <a:cubicBezTo>
                  <a:pt x="915525" y="367726"/>
                  <a:pt x="914858" y="367950"/>
                  <a:pt x="918083" y="379238"/>
                </a:cubicBezTo>
                <a:cubicBezTo>
                  <a:pt x="918848" y="381916"/>
                  <a:pt x="919479" y="384675"/>
                  <a:pt x="920725" y="387166"/>
                </a:cubicBezTo>
                <a:cubicBezTo>
                  <a:pt x="922145" y="390007"/>
                  <a:pt x="924249" y="392452"/>
                  <a:pt x="926011" y="395095"/>
                </a:cubicBezTo>
                <a:cubicBezTo>
                  <a:pt x="929401" y="408654"/>
                  <a:pt x="931664" y="412491"/>
                  <a:pt x="926011" y="429451"/>
                </a:cubicBezTo>
                <a:cubicBezTo>
                  <a:pt x="926009" y="429458"/>
                  <a:pt x="912799" y="449269"/>
                  <a:pt x="910154" y="453236"/>
                </a:cubicBezTo>
                <a:lnTo>
                  <a:pt x="899583" y="469092"/>
                </a:lnTo>
                <a:cubicBezTo>
                  <a:pt x="897821" y="471735"/>
                  <a:pt x="896544" y="474775"/>
                  <a:pt x="894298" y="477021"/>
                </a:cubicBezTo>
                <a:cubicBezTo>
                  <a:pt x="876195" y="495123"/>
                  <a:pt x="884660" y="488730"/>
                  <a:pt x="870513" y="498163"/>
                </a:cubicBezTo>
                <a:cubicBezTo>
                  <a:pt x="858180" y="516663"/>
                  <a:pt x="865228" y="510497"/>
                  <a:pt x="852013" y="519305"/>
                </a:cubicBezTo>
                <a:cubicBezTo>
                  <a:pt x="848489" y="524591"/>
                  <a:pt x="846728" y="531638"/>
                  <a:pt x="841442" y="535162"/>
                </a:cubicBezTo>
                <a:cubicBezTo>
                  <a:pt x="813116" y="554045"/>
                  <a:pt x="856104" y="524639"/>
                  <a:pt x="825586" y="548376"/>
                </a:cubicBezTo>
                <a:cubicBezTo>
                  <a:pt x="820572" y="552276"/>
                  <a:pt x="815015" y="555423"/>
                  <a:pt x="809729" y="558947"/>
                </a:cubicBezTo>
                <a:cubicBezTo>
                  <a:pt x="807086" y="560709"/>
                  <a:pt x="804814" y="563228"/>
                  <a:pt x="801801" y="564232"/>
                </a:cubicBezTo>
                <a:cubicBezTo>
                  <a:pt x="796515" y="565994"/>
                  <a:pt x="790580" y="566428"/>
                  <a:pt x="785944" y="569518"/>
                </a:cubicBezTo>
                <a:cubicBezTo>
                  <a:pt x="783301" y="571280"/>
                  <a:pt x="780918" y="573513"/>
                  <a:pt x="778016" y="574803"/>
                </a:cubicBezTo>
                <a:cubicBezTo>
                  <a:pt x="749717" y="587380"/>
                  <a:pt x="772170" y="573414"/>
                  <a:pt x="754231" y="585375"/>
                </a:cubicBezTo>
                <a:cubicBezTo>
                  <a:pt x="752469" y="588018"/>
                  <a:pt x="751191" y="591057"/>
                  <a:pt x="748945" y="593303"/>
                </a:cubicBezTo>
                <a:cubicBezTo>
                  <a:pt x="743822" y="598426"/>
                  <a:pt x="739536" y="599082"/>
                  <a:pt x="733088" y="601231"/>
                </a:cubicBezTo>
                <a:cubicBezTo>
                  <a:pt x="718890" y="610697"/>
                  <a:pt x="721514" y="610956"/>
                  <a:pt x="709303" y="614445"/>
                </a:cubicBezTo>
                <a:cubicBezTo>
                  <a:pt x="705811" y="615443"/>
                  <a:pt x="702211" y="616044"/>
                  <a:pt x="698732" y="617088"/>
                </a:cubicBezTo>
                <a:cubicBezTo>
                  <a:pt x="693396" y="618689"/>
                  <a:pt x="682876" y="622373"/>
                  <a:pt x="682876" y="622373"/>
                </a:cubicBezTo>
                <a:cubicBezTo>
                  <a:pt x="657582" y="647667"/>
                  <a:pt x="689967" y="617646"/>
                  <a:pt x="667019" y="632945"/>
                </a:cubicBezTo>
                <a:cubicBezTo>
                  <a:pt x="663909" y="635018"/>
                  <a:pt x="661962" y="638481"/>
                  <a:pt x="659091" y="640873"/>
                </a:cubicBezTo>
                <a:cubicBezTo>
                  <a:pt x="656651" y="642906"/>
                  <a:pt x="653602" y="644125"/>
                  <a:pt x="651162" y="646158"/>
                </a:cubicBezTo>
                <a:cubicBezTo>
                  <a:pt x="648291" y="648551"/>
                  <a:pt x="646184" y="651792"/>
                  <a:pt x="643234" y="654087"/>
                </a:cubicBezTo>
                <a:cubicBezTo>
                  <a:pt x="629605" y="664688"/>
                  <a:pt x="631410" y="663313"/>
                  <a:pt x="619449" y="667301"/>
                </a:cubicBezTo>
                <a:cubicBezTo>
                  <a:pt x="613602" y="673148"/>
                  <a:pt x="610954" y="676833"/>
                  <a:pt x="603592" y="680514"/>
                </a:cubicBezTo>
                <a:cubicBezTo>
                  <a:pt x="601100" y="681760"/>
                  <a:pt x="598307" y="682276"/>
                  <a:pt x="595664" y="683157"/>
                </a:cubicBezTo>
                <a:cubicBezTo>
                  <a:pt x="586061" y="692761"/>
                  <a:pt x="589030" y="690540"/>
                  <a:pt x="577165" y="699014"/>
                </a:cubicBezTo>
                <a:cubicBezTo>
                  <a:pt x="574580" y="700860"/>
                  <a:pt x="572139" y="703009"/>
                  <a:pt x="569236" y="704299"/>
                </a:cubicBezTo>
                <a:cubicBezTo>
                  <a:pt x="564145" y="706562"/>
                  <a:pt x="553380" y="709585"/>
                  <a:pt x="553380" y="709585"/>
                </a:cubicBezTo>
                <a:cubicBezTo>
                  <a:pt x="539364" y="723599"/>
                  <a:pt x="552273" y="712363"/>
                  <a:pt x="534880" y="722799"/>
                </a:cubicBezTo>
                <a:cubicBezTo>
                  <a:pt x="529433" y="726067"/>
                  <a:pt x="519024" y="733370"/>
                  <a:pt x="519024" y="733370"/>
                </a:cubicBezTo>
                <a:cubicBezTo>
                  <a:pt x="510214" y="746584"/>
                  <a:pt x="516382" y="739535"/>
                  <a:pt x="497881" y="751869"/>
                </a:cubicBezTo>
                <a:cubicBezTo>
                  <a:pt x="495238" y="753631"/>
                  <a:pt x="492966" y="756150"/>
                  <a:pt x="489953" y="757155"/>
                </a:cubicBezTo>
                <a:cubicBezTo>
                  <a:pt x="487310" y="758036"/>
                  <a:pt x="484460" y="758445"/>
                  <a:pt x="482025" y="759798"/>
                </a:cubicBezTo>
                <a:cubicBezTo>
                  <a:pt x="476472" y="762883"/>
                  <a:pt x="466168" y="770369"/>
                  <a:pt x="466168" y="770369"/>
                </a:cubicBezTo>
                <a:cubicBezTo>
                  <a:pt x="464406" y="773012"/>
                  <a:pt x="463129" y="776051"/>
                  <a:pt x="460883" y="778297"/>
                </a:cubicBezTo>
                <a:cubicBezTo>
                  <a:pt x="455759" y="783421"/>
                  <a:pt x="451475" y="784076"/>
                  <a:pt x="445026" y="786225"/>
                </a:cubicBezTo>
                <a:cubicBezTo>
                  <a:pt x="442383" y="788868"/>
                  <a:pt x="440048" y="791859"/>
                  <a:pt x="437098" y="794154"/>
                </a:cubicBezTo>
                <a:cubicBezTo>
                  <a:pt x="432084" y="798054"/>
                  <a:pt x="426527" y="801201"/>
                  <a:pt x="421241" y="804725"/>
                </a:cubicBezTo>
                <a:lnTo>
                  <a:pt x="405384" y="815296"/>
                </a:lnTo>
                <a:lnTo>
                  <a:pt x="397456" y="820582"/>
                </a:lnTo>
                <a:lnTo>
                  <a:pt x="389528" y="825867"/>
                </a:lnTo>
                <a:cubicBezTo>
                  <a:pt x="374386" y="848577"/>
                  <a:pt x="392536" y="819849"/>
                  <a:pt x="381599" y="841724"/>
                </a:cubicBezTo>
                <a:cubicBezTo>
                  <a:pt x="380179" y="844565"/>
                  <a:pt x="377734" y="846811"/>
                  <a:pt x="376314" y="849652"/>
                </a:cubicBezTo>
                <a:cubicBezTo>
                  <a:pt x="373480" y="855320"/>
                  <a:pt x="372234" y="865364"/>
                  <a:pt x="371028" y="870794"/>
                </a:cubicBezTo>
                <a:cubicBezTo>
                  <a:pt x="368815" y="880756"/>
                  <a:pt x="368688" y="880460"/>
                  <a:pt x="365743" y="889294"/>
                </a:cubicBezTo>
                <a:cubicBezTo>
                  <a:pt x="368092" y="908088"/>
                  <a:pt x="362784" y="908956"/>
                  <a:pt x="376314" y="915721"/>
                </a:cubicBezTo>
                <a:cubicBezTo>
                  <a:pt x="378806" y="916967"/>
                  <a:pt x="381599" y="917483"/>
                  <a:pt x="384242" y="918364"/>
                </a:cubicBezTo>
                <a:cubicBezTo>
                  <a:pt x="392619" y="930929"/>
                  <a:pt x="388523" y="923277"/>
                  <a:pt x="394813" y="942149"/>
                </a:cubicBezTo>
                <a:lnTo>
                  <a:pt x="397456" y="950077"/>
                </a:lnTo>
                <a:cubicBezTo>
                  <a:pt x="398337" y="966815"/>
                  <a:pt x="398102" y="983649"/>
                  <a:pt x="400099" y="1000290"/>
                </a:cubicBezTo>
                <a:cubicBezTo>
                  <a:pt x="400763" y="1005822"/>
                  <a:pt x="405384" y="1016147"/>
                  <a:pt x="405384" y="1016147"/>
                </a:cubicBezTo>
                <a:cubicBezTo>
                  <a:pt x="406265" y="1029361"/>
                  <a:pt x="402985" y="1043543"/>
                  <a:pt x="408027" y="1055788"/>
                </a:cubicBezTo>
                <a:cubicBezTo>
                  <a:pt x="410148" y="1060940"/>
                  <a:pt x="423884" y="1061074"/>
                  <a:pt x="423884" y="1061074"/>
                </a:cubicBezTo>
                <a:cubicBezTo>
                  <a:pt x="423003" y="1067240"/>
                  <a:pt x="422463" y="1073465"/>
                  <a:pt x="421241" y="1079573"/>
                </a:cubicBezTo>
                <a:cubicBezTo>
                  <a:pt x="420695" y="1082305"/>
                  <a:pt x="419363" y="1084823"/>
                  <a:pt x="418598" y="1087502"/>
                </a:cubicBezTo>
                <a:cubicBezTo>
                  <a:pt x="417600" y="1090994"/>
                  <a:pt x="416999" y="1094594"/>
                  <a:pt x="415955" y="1098073"/>
                </a:cubicBezTo>
                <a:cubicBezTo>
                  <a:pt x="414354" y="1103409"/>
                  <a:pt x="412021" y="1108524"/>
                  <a:pt x="410670" y="1113929"/>
                </a:cubicBezTo>
                <a:cubicBezTo>
                  <a:pt x="409789" y="1117453"/>
                  <a:pt x="409071" y="1121022"/>
                  <a:pt x="408027" y="1124501"/>
                </a:cubicBezTo>
                <a:cubicBezTo>
                  <a:pt x="406426" y="1129837"/>
                  <a:pt x="404093" y="1134952"/>
                  <a:pt x="402742" y="1140357"/>
                </a:cubicBezTo>
                <a:cubicBezTo>
                  <a:pt x="398748" y="1156332"/>
                  <a:pt x="401247" y="1147484"/>
                  <a:pt x="394813" y="1166785"/>
                </a:cubicBezTo>
                <a:lnTo>
                  <a:pt x="392170" y="1174713"/>
                </a:lnTo>
                <a:cubicBezTo>
                  <a:pt x="393051" y="1189689"/>
                  <a:pt x="394813" y="1204638"/>
                  <a:pt x="394813" y="1219640"/>
                </a:cubicBezTo>
                <a:cubicBezTo>
                  <a:pt x="394813" y="1224999"/>
                  <a:pt x="394829" y="1230844"/>
                  <a:pt x="392170" y="1235497"/>
                </a:cubicBezTo>
                <a:cubicBezTo>
                  <a:pt x="390788" y="1237916"/>
                  <a:pt x="386734" y="1236894"/>
                  <a:pt x="384242" y="1238140"/>
                </a:cubicBezTo>
                <a:cubicBezTo>
                  <a:pt x="381401" y="1239560"/>
                  <a:pt x="378957" y="1241663"/>
                  <a:pt x="376314" y="1243425"/>
                </a:cubicBezTo>
                <a:lnTo>
                  <a:pt x="365743" y="1259282"/>
                </a:lnTo>
                <a:cubicBezTo>
                  <a:pt x="363981" y="1261925"/>
                  <a:pt x="363100" y="1265448"/>
                  <a:pt x="360457" y="1267210"/>
                </a:cubicBezTo>
                <a:cubicBezTo>
                  <a:pt x="343840" y="1278289"/>
                  <a:pt x="361659" y="1267693"/>
                  <a:pt x="331387" y="1277782"/>
                </a:cubicBezTo>
                <a:cubicBezTo>
                  <a:pt x="307131" y="1285866"/>
                  <a:pt x="321074" y="1282513"/>
                  <a:pt x="289102" y="1285710"/>
                </a:cubicBezTo>
                <a:lnTo>
                  <a:pt x="273246" y="1290995"/>
                </a:lnTo>
                <a:lnTo>
                  <a:pt x="265317" y="1293638"/>
                </a:lnTo>
                <a:cubicBezTo>
                  <a:pt x="262674" y="1295400"/>
                  <a:pt x="260230" y="1297504"/>
                  <a:pt x="257389" y="1298924"/>
                </a:cubicBezTo>
                <a:cubicBezTo>
                  <a:pt x="250979" y="1302129"/>
                  <a:pt x="242872" y="1302402"/>
                  <a:pt x="236247" y="1304209"/>
                </a:cubicBezTo>
                <a:cubicBezTo>
                  <a:pt x="230872" y="1305675"/>
                  <a:pt x="225026" y="1306405"/>
                  <a:pt x="220390" y="1309495"/>
                </a:cubicBezTo>
                <a:cubicBezTo>
                  <a:pt x="210144" y="1316325"/>
                  <a:pt x="215475" y="1313776"/>
                  <a:pt x="204533" y="1317423"/>
                </a:cubicBezTo>
                <a:cubicBezTo>
                  <a:pt x="201890" y="1320066"/>
                  <a:pt x="199715" y="1323278"/>
                  <a:pt x="196605" y="1325351"/>
                </a:cubicBezTo>
                <a:cubicBezTo>
                  <a:pt x="194287" y="1326896"/>
                  <a:pt x="190876" y="1326284"/>
                  <a:pt x="188677" y="1327994"/>
                </a:cubicBezTo>
                <a:cubicBezTo>
                  <a:pt x="184613" y="1331155"/>
                  <a:pt x="171001" y="1343980"/>
                  <a:pt x="167535" y="1351779"/>
                </a:cubicBezTo>
                <a:cubicBezTo>
                  <a:pt x="165272" y="1356870"/>
                  <a:pt x="165339" y="1363000"/>
                  <a:pt x="162249" y="1367636"/>
                </a:cubicBezTo>
                <a:cubicBezTo>
                  <a:pt x="155419" y="1377882"/>
                  <a:pt x="157968" y="1372551"/>
                  <a:pt x="154321" y="1383492"/>
                </a:cubicBezTo>
                <a:cubicBezTo>
                  <a:pt x="156964" y="1385254"/>
                  <a:pt x="159408" y="1387357"/>
                  <a:pt x="162249" y="1388778"/>
                </a:cubicBezTo>
                <a:cubicBezTo>
                  <a:pt x="164740" y="1390024"/>
                  <a:pt x="168002" y="1389681"/>
                  <a:pt x="170177" y="1391421"/>
                </a:cubicBezTo>
                <a:cubicBezTo>
                  <a:pt x="172657" y="1393405"/>
                  <a:pt x="173701" y="1396706"/>
                  <a:pt x="175463" y="1399349"/>
                </a:cubicBezTo>
                <a:cubicBezTo>
                  <a:pt x="175359" y="1400075"/>
                  <a:pt x="172551" y="1424266"/>
                  <a:pt x="170177" y="1428420"/>
                </a:cubicBezTo>
                <a:cubicBezTo>
                  <a:pt x="167047" y="1433897"/>
                  <a:pt x="159372" y="1438266"/>
                  <a:pt x="154321" y="1441634"/>
                </a:cubicBezTo>
                <a:cubicBezTo>
                  <a:pt x="153440" y="1444277"/>
                  <a:pt x="152924" y="1447071"/>
                  <a:pt x="151678" y="1449562"/>
                </a:cubicBezTo>
                <a:cubicBezTo>
                  <a:pt x="142102" y="1468712"/>
                  <a:pt x="136818" y="1456852"/>
                  <a:pt x="106751" y="1454847"/>
                </a:cubicBezTo>
                <a:cubicBezTo>
                  <a:pt x="104108" y="1453085"/>
                  <a:pt x="101664" y="1450982"/>
                  <a:pt x="98823" y="1449562"/>
                </a:cubicBezTo>
                <a:cubicBezTo>
                  <a:pt x="96331" y="1448316"/>
                  <a:pt x="91775" y="1449562"/>
                  <a:pt x="90894" y="1446919"/>
                </a:cubicBezTo>
                <a:cubicBezTo>
                  <a:pt x="89473" y="1442658"/>
                  <a:pt x="92656" y="1438110"/>
                  <a:pt x="93537" y="1433705"/>
                </a:cubicBezTo>
                <a:cubicBezTo>
                  <a:pt x="92656" y="1410801"/>
                  <a:pt x="92909" y="1387825"/>
                  <a:pt x="90894" y="1364993"/>
                </a:cubicBezTo>
                <a:cubicBezTo>
                  <a:pt x="90256" y="1357757"/>
                  <a:pt x="85609" y="1343851"/>
                  <a:pt x="85609" y="1343851"/>
                </a:cubicBezTo>
                <a:cubicBezTo>
                  <a:pt x="86490" y="1325352"/>
                  <a:pt x="86206" y="1306760"/>
                  <a:pt x="88251" y="1288353"/>
                </a:cubicBezTo>
                <a:cubicBezTo>
                  <a:pt x="88251" y="1288350"/>
                  <a:pt x="94858" y="1268534"/>
                  <a:pt x="96180" y="1264568"/>
                </a:cubicBezTo>
                <a:lnTo>
                  <a:pt x="98823" y="1256639"/>
                </a:lnTo>
                <a:cubicBezTo>
                  <a:pt x="97942" y="1236378"/>
                  <a:pt x="97736" y="1216076"/>
                  <a:pt x="96180" y="1195855"/>
                </a:cubicBezTo>
                <a:cubicBezTo>
                  <a:pt x="95966" y="1193078"/>
                  <a:pt x="94783" y="1190418"/>
                  <a:pt x="93537" y="1187927"/>
                </a:cubicBezTo>
                <a:cubicBezTo>
                  <a:pt x="92116" y="1185086"/>
                  <a:pt x="90013" y="1182642"/>
                  <a:pt x="88251" y="1179999"/>
                </a:cubicBezTo>
                <a:lnTo>
                  <a:pt x="82966" y="1164142"/>
                </a:lnTo>
                <a:cubicBezTo>
                  <a:pt x="82085" y="1161499"/>
                  <a:pt x="80999" y="1158916"/>
                  <a:pt x="80323" y="1156214"/>
                </a:cubicBezTo>
                <a:cubicBezTo>
                  <a:pt x="73687" y="1129669"/>
                  <a:pt x="77335" y="1141961"/>
                  <a:pt x="69752" y="1119215"/>
                </a:cubicBezTo>
                <a:lnTo>
                  <a:pt x="61824" y="1095430"/>
                </a:lnTo>
                <a:lnTo>
                  <a:pt x="59181" y="1087502"/>
                </a:lnTo>
                <a:cubicBezTo>
                  <a:pt x="57198" y="1075606"/>
                  <a:pt x="53822" y="1065203"/>
                  <a:pt x="59181" y="1053146"/>
                </a:cubicBezTo>
                <a:cubicBezTo>
                  <a:pt x="61345" y="1048276"/>
                  <a:pt x="71185" y="1047144"/>
                  <a:pt x="75038" y="1045217"/>
                </a:cubicBezTo>
                <a:cubicBezTo>
                  <a:pt x="82398" y="1041537"/>
                  <a:pt x="85048" y="1037849"/>
                  <a:pt x="90894" y="1032003"/>
                </a:cubicBezTo>
                <a:lnTo>
                  <a:pt x="96180" y="1016147"/>
                </a:lnTo>
                <a:cubicBezTo>
                  <a:pt x="97921" y="1010925"/>
                  <a:pt x="99452" y="1004015"/>
                  <a:pt x="104108" y="1000290"/>
                </a:cubicBezTo>
                <a:cubicBezTo>
                  <a:pt x="105833" y="998910"/>
                  <a:pt x="121914" y="995178"/>
                  <a:pt x="122607" y="995005"/>
                </a:cubicBezTo>
                <a:cubicBezTo>
                  <a:pt x="127644" y="987450"/>
                  <a:pt x="135990" y="973807"/>
                  <a:pt x="143750" y="971220"/>
                </a:cubicBezTo>
                <a:lnTo>
                  <a:pt x="151678" y="968577"/>
                </a:lnTo>
                <a:lnTo>
                  <a:pt x="164892" y="928935"/>
                </a:lnTo>
                <a:cubicBezTo>
                  <a:pt x="165773" y="926292"/>
                  <a:pt x="165217" y="922552"/>
                  <a:pt x="167535" y="921007"/>
                </a:cubicBezTo>
                <a:lnTo>
                  <a:pt x="183391" y="910436"/>
                </a:lnTo>
                <a:lnTo>
                  <a:pt x="191320" y="905150"/>
                </a:lnTo>
                <a:cubicBezTo>
                  <a:pt x="192326" y="900121"/>
                  <a:pt x="193895" y="889427"/>
                  <a:pt x="196605" y="884008"/>
                </a:cubicBezTo>
                <a:cubicBezTo>
                  <a:pt x="198026" y="881167"/>
                  <a:pt x="200315" y="878838"/>
                  <a:pt x="201891" y="876080"/>
                </a:cubicBezTo>
                <a:cubicBezTo>
                  <a:pt x="203846" y="872660"/>
                  <a:pt x="205222" y="868929"/>
                  <a:pt x="207176" y="865509"/>
                </a:cubicBezTo>
                <a:cubicBezTo>
                  <a:pt x="215374" y="851161"/>
                  <a:pt x="210258" y="864190"/>
                  <a:pt x="215105" y="849652"/>
                </a:cubicBezTo>
                <a:cubicBezTo>
                  <a:pt x="212065" y="807093"/>
                  <a:pt x="216373" y="824384"/>
                  <a:pt x="207176" y="796797"/>
                </a:cubicBezTo>
                <a:lnTo>
                  <a:pt x="201891" y="780940"/>
                </a:lnTo>
                <a:lnTo>
                  <a:pt x="199248" y="773012"/>
                </a:lnTo>
                <a:cubicBezTo>
                  <a:pt x="200129" y="767726"/>
                  <a:pt x="200729" y="762386"/>
                  <a:pt x="201891" y="757155"/>
                </a:cubicBezTo>
                <a:cubicBezTo>
                  <a:pt x="202495" y="754436"/>
                  <a:pt x="203768" y="751905"/>
                  <a:pt x="204533" y="749227"/>
                </a:cubicBezTo>
                <a:cubicBezTo>
                  <a:pt x="205531" y="745734"/>
                  <a:pt x="206132" y="742134"/>
                  <a:pt x="207176" y="738655"/>
                </a:cubicBezTo>
                <a:cubicBezTo>
                  <a:pt x="208777" y="733319"/>
                  <a:pt x="211111" y="728204"/>
                  <a:pt x="212462" y="722799"/>
                </a:cubicBezTo>
                <a:cubicBezTo>
                  <a:pt x="213343" y="719275"/>
                  <a:pt x="214061" y="715707"/>
                  <a:pt x="215105" y="712228"/>
                </a:cubicBezTo>
                <a:cubicBezTo>
                  <a:pt x="216706" y="706891"/>
                  <a:pt x="218628" y="701657"/>
                  <a:pt x="220390" y="696371"/>
                </a:cubicBezTo>
                <a:lnTo>
                  <a:pt x="223033" y="688443"/>
                </a:lnTo>
                <a:cubicBezTo>
                  <a:pt x="222152" y="654968"/>
                  <a:pt x="222668" y="621426"/>
                  <a:pt x="220390" y="588017"/>
                </a:cubicBezTo>
                <a:cubicBezTo>
                  <a:pt x="219243" y="571191"/>
                  <a:pt x="217881" y="573086"/>
                  <a:pt x="207176" y="569518"/>
                </a:cubicBezTo>
                <a:cubicBezTo>
                  <a:pt x="204533" y="567756"/>
                  <a:pt x="202089" y="565652"/>
                  <a:pt x="199248" y="564232"/>
                </a:cubicBezTo>
                <a:cubicBezTo>
                  <a:pt x="195029" y="562123"/>
                  <a:pt x="184693" y="560074"/>
                  <a:pt x="180749" y="558947"/>
                </a:cubicBezTo>
                <a:cubicBezTo>
                  <a:pt x="163028" y="553884"/>
                  <a:pt x="183085" y="557301"/>
                  <a:pt x="151678" y="551019"/>
                </a:cubicBezTo>
                <a:cubicBezTo>
                  <a:pt x="147273" y="550138"/>
                  <a:pt x="142798" y="549558"/>
                  <a:pt x="138464" y="548376"/>
                </a:cubicBezTo>
                <a:cubicBezTo>
                  <a:pt x="133089" y="546910"/>
                  <a:pt x="128012" y="544441"/>
                  <a:pt x="122607" y="543090"/>
                </a:cubicBezTo>
                <a:cubicBezTo>
                  <a:pt x="109334" y="539771"/>
                  <a:pt x="115482" y="541595"/>
                  <a:pt x="104108" y="537805"/>
                </a:cubicBezTo>
                <a:cubicBezTo>
                  <a:pt x="102346" y="535162"/>
                  <a:pt x="100243" y="532717"/>
                  <a:pt x="98823" y="529876"/>
                </a:cubicBezTo>
                <a:cubicBezTo>
                  <a:pt x="94524" y="521278"/>
                  <a:pt x="98468" y="521594"/>
                  <a:pt x="90894" y="514020"/>
                </a:cubicBezTo>
                <a:cubicBezTo>
                  <a:pt x="88648" y="511774"/>
                  <a:pt x="85609" y="510496"/>
                  <a:pt x="82966" y="508734"/>
                </a:cubicBezTo>
                <a:cubicBezTo>
                  <a:pt x="76799" y="509615"/>
                  <a:pt x="70595" y="510263"/>
                  <a:pt x="64466" y="511377"/>
                </a:cubicBezTo>
                <a:cubicBezTo>
                  <a:pt x="57170" y="512704"/>
                  <a:pt x="52756" y="514399"/>
                  <a:pt x="45967" y="516662"/>
                </a:cubicBezTo>
                <a:cubicBezTo>
                  <a:pt x="35396" y="515781"/>
                  <a:pt x="22944" y="520103"/>
                  <a:pt x="14254" y="514020"/>
                </a:cubicBezTo>
                <a:cubicBezTo>
                  <a:pt x="9690" y="510825"/>
                  <a:pt x="19539" y="498163"/>
                  <a:pt x="19539" y="498163"/>
                </a:cubicBezTo>
                <a:cubicBezTo>
                  <a:pt x="18218" y="490239"/>
                  <a:pt x="16263" y="473429"/>
                  <a:pt x="11611" y="466450"/>
                </a:cubicBezTo>
                <a:lnTo>
                  <a:pt x="6325" y="458521"/>
                </a:lnTo>
                <a:cubicBezTo>
                  <a:pt x="2736" y="440574"/>
                  <a:pt x="0" y="433089"/>
                  <a:pt x="6325" y="410951"/>
                </a:cubicBezTo>
                <a:cubicBezTo>
                  <a:pt x="7090" y="408272"/>
                  <a:pt x="11522" y="408855"/>
                  <a:pt x="14254" y="408309"/>
                </a:cubicBezTo>
                <a:cubicBezTo>
                  <a:pt x="20362" y="407088"/>
                  <a:pt x="26587" y="406547"/>
                  <a:pt x="32753" y="405666"/>
                </a:cubicBezTo>
                <a:cubicBezTo>
                  <a:pt x="35396" y="404785"/>
                  <a:pt x="37949" y="403569"/>
                  <a:pt x="40681" y="403023"/>
                </a:cubicBezTo>
                <a:cubicBezTo>
                  <a:pt x="65621" y="398035"/>
                  <a:pt x="51479" y="402958"/>
                  <a:pt x="69752" y="397738"/>
                </a:cubicBezTo>
                <a:cubicBezTo>
                  <a:pt x="72430" y="396973"/>
                  <a:pt x="75245" y="396448"/>
                  <a:pt x="77680" y="395095"/>
                </a:cubicBezTo>
                <a:cubicBezTo>
                  <a:pt x="83233" y="392010"/>
                  <a:pt x="87511" y="386533"/>
                  <a:pt x="93537" y="384524"/>
                </a:cubicBezTo>
                <a:lnTo>
                  <a:pt x="117322" y="376595"/>
                </a:lnTo>
                <a:cubicBezTo>
                  <a:pt x="119965" y="375714"/>
                  <a:pt x="122548" y="374629"/>
                  <a:pt x="125250" y="373953"/>
                </a:cubicBezTo>
                <a:lnTo>
                  <a:pt x="135821" y="371310"/>
                </a:lnTo>
                <a:cubicBezTo>
                  <a:pt x="151225" y="361041"/>
                  <a:pt x="140635" y="366647"/>
                  <a:pt x="170177" y="360739"/>
                </a:cubicBezTo>
                <a:lnTo>
                  <a:pt x="183391" y="358096"/>
                </a:lnTo>
                <a:cubicBezTo>
                  <a:pt x="187796" y="357215"/>
                  <a:pt x="192344" y="356874"/>
                  <a:pt x="196605" y="355453"/>
                </a:cubicBezTo>
                <a:cubicBezTo>
                  <a:pt x="199248" y="354572"/>
                  <a:pt x="201845" y="353543"/>
                  <a:pt x="204533" y="352810"/>
                </a:cubicBezTo>
                <a:cubicBezTo>
                  <a:pt x="211542" y="350899"/>
                  <a:pt x="218628" y="349287"/>
                  <a:pt x="225676" y="347525"/>
                </a:cubicBezTo>
                <a:cubicBezTo>
                  <a:pt x="229200" y="346644"/>
                  <a:pt x="232801" y="346031"/>
                  <a:pt x="236247" y="344882"/>
                </a:cubicBezTo>
                <a:lnTo>
                  <a:pt x="252103" y="339597"/>
                </a:lnTo>
                <a:cubicBezTo>
                  <a:pt x="264220" y="321422"/>
                  <a:pt x="256648" y="325749"/>
                  <a:pt x="270603" y="321097"/>
                </a:cubicBezTo>
                <a:cubicBezTo>
                  <a:pt x="278979" y="333661"/>
                  <a:pt x="274883" y="326012"/>
                  <a:pt x="281174" y="344882"/>
                </a:cubicBezTo>
                <a:cubicBezTo>
                  <a:pt x="282055" y="347525"/>
                  <a:pt x="281499" y="351265"/>
                  <a:pt x="283817" y="352810"/>
                </a:cubicBezTo>
                <a:cubicBezTo>
                  <a:pt x="294854" y="360169"/>
                  <a:pt x="289499" y="355850"/>
                  <a:pt x="299673" y="366024"/>
                </a:cubicBezTo>
                <a:cubicBezTo>
                  <a:pt x="316411" y="365143"/>
                  <a:pt x="333396" y="366380"/>
                  <a:pt x="349886" y="363382"/>
                </a:cubicBezTo>
                <a:cubicBezTo>
                  <a:pt x="353563" y="362713"/>
                  <a:pt x="354704" y="357526"/>
                  <a:pt x="357814" y="355453"/>
                </a:cubicBezTo>
                <a:cubicBezTo>
                  <a:pt x="360132" y="353908"/>
                  <a:pt x="363100" y="353691"/>
                  <a:pt x="365743" y="352810"/>
                </a:cubicBezTo>
                <a:cubicBezTo>
                  <a:pt x="366624" y="366024"/>
                  <a:pt x="366513" y="379342"/>
                  <a:pt x="368386" y="392452"/>
                </a:cubicBezTo>
                <a:cubicBezTo>
                  <a:pt x="368387" y="392460"/>
                  <a:pt x="374991" y="412269"/>
                  <a:pt x="376314" y="416237"/>
                </a:cubicBezTo>
                <a:lnTo>
                  <a:pt x="378957" y="424165"/>
                </a:lnTo>
                <a:cubicBezTo>
                  <a:pt x="378076" y="436498"/>
                  <a:pt x="378148" y="448936"/>
                  <a:pt x="376314" y="461164"/>
                </a:cubicBezTo>
                <a:cubicBezTo>
                  <a:pt x="375487" y="466674"/>
                  <a:pt x="372379" y="471616"/>
                  <a:pt x="371028" y="477021"/>
                </a:cubicBezTo>
                <a:lnTo>
                  <a:pt x="368386" y="487592"/>
                </a:lnTo>
                <a:cubicBezTo>
                  <a:pt x="368675" y="490776"/>
                  <a:pt x="368697" y="515638"/>
                  <a:pt x="373671" y="524591"/>
                </a:cubicBezTo>
                <a:cubicBezTo>
                  <a:pt x="376756" y="530144"/>
                  <a:pt x="380718" y="535162"/>
                  <a:pt x="384242" y="540447"/>
                </a:cubicBezTo>
                <a:lnTo>
                  <a:pt x="389528" y="548376"/>
                </a:lnTo>
                <a:cubicBezTo>
                  <a:pt x="391290" y="551019"/>
                  <a:pt x="393809" y="553291"/>
                  <a:pt x="394813" y="556304"/>
                </a:cubicBezTo>
                <a:cubicBezTo>
                  <a:pt x="400980" y="574804"/>
                  <a:pt x="394813" y="570400"/>
                  <a:pt x="408027" y="574803"/>
                </a:cubicBezTo>
                <a:cubicBezTo>
                  <a:pt x="411551" y="573922"/>
                  <a:pt x="415576" y="574176"/>
                  <a:pt x="418598" y="572161"/>
                </a:cubicBezTo>
                <a:cubicBezTo>
                  <a:pt x="421241" y="570399"/>
                  <a:pt x="423435" y="567377"/>
                  <a:pt x="423884" y="564232"/>
                </a:cubicBezTo>
                <a:cubicBezTo>
                  <a:pt x="426130" y="548511"/>
                  <a:pt x="421712" y="531796"/>
                  <a:pt x="426527" y="516662"/>
                </a:cubicBezTo>
                <a:cubicBezTo>
                  <a:pt x="428229" y="511312"/>
                  <a:pt x="443580" y="505132"/>
                  <a:pt x="450312" y="503449"/>
                </a:cubicBezTo>
                <a:cubicBezTo>
                  <a:pt x="454669" y="502360"/>
                  <a:pt x="459140" y="501780"/>
                  <a:pt x="463525" y="500806"/>
                </a:cubicBezTo>
                <a:cubicBezTo>
                  <a:pt x="467071" y="500018"/>
                  <a:pt x="470572" y="499044"/>
                  <a:pt x="474096" y="498163"/>
                </a:cubicBezTo>
                <a:cubicBezTo>
                  <a:pt x="476739" y="496401"/>
                  <a:pt x="480041" y="495357"/>
                  <a:pt x="482025" y="492877"/>
                </a:cubicBezTo>
                <a:cubicBezTo>
                  <a:pt x="483765" y="490702"/>
                  <a:pt x="484668" y="487735"/>
                  <a:pt x="484668" y="484949"/>
                </a:cubicBezTo>
                <a:cubicBezTo>
                  <a:pt x="484668" y="473463"/>
                  <a:pt x="482906" y="462045"/>
                  <a:pt x="482025" y="450593"/>
                </a:cubicBezTo>
                <a:cubicBezTo>
                  <a:pt x="484333" y="415982"/>
                  <a:pt x="488039" y="421425"/>
                  <a:pt x="482025" y="400380"/>
                </a:cubicBezTo>
                <a:cubicBezTo>
                  <a:pt x="481260" y="397702"/>
                  <a:pt x="481649" y="394071"/>
                  <a:pt x="479382" y="392452"/>
                </a:cubicBezTo>
                <a:cubicBezTo>
                  <a:pt x="474848" y="389214"/>
                  <a:pt x="463525" y="387166"/>
                  <a:pt x="463525" y="387166"/>
                </a:cubicBezTo>
                <a:cubicBezTo>
                  <a:pt x="461763" y="380119"/>
                  <a:pt x="460537" y="372915"/>
                  <a:pt x="458240" y="366024"/>
                </a:cubicBezTo>
                <a:cubicBezTo>
                  <a:pt x="457359" y="363381"/>
                  <a:pt x="456950" y="360531"/>
                  <a:pt x="455597" y="358096"/>
                </a:cubicBezTo>
                <a:cubicBezTo>
                  <a:pt x="452512" y="352543"/>
                  <a:pt x="447035" y="348265"/>
                  <a:pt x="445026" y="342239"/>
                </a:cubicBezTo>
                <a:lnTo>
                  <a:pt x="439740" y="326383"/>
                </a:lnTo>
                <a:cubicBezTo>
                  <a:pt x="438859" y="317574"/>
                  <a:pt x="440123" y="308275"/>
                  <a:pt x="437098" y="299955"/>
                </a:cubicBezTo>
                <a:cubicBezTo>
                  <a:pt x="436146" y="297337"/>
                  <a:pt x="431344" y="299052"/>
                  <a:pt x="429169" y="297312"/>
                </a:cubicBezTo>
                <a:cubicBezTo>
                  <a:pt x="426689" y="295328"/>
                  <a:pt x="425304" y="292225"/>
                  <a:pt x="423884" y="289384"/>
                </a:cubicBezTo>
                <a:cubicBezTo>
                  <a:pt x="420314" y="282244"/>
                  <a:pt x="420223" y="272909"/>
                  <a:pt x="418598" y="265599"/>
                </a:cubicBezTo>
                <a:cubicBezTo>
                  <a:pt x="417994" y="262880"/>
                  <a:pt x="416836" y="260314"/>
                  <a:pt x="415955" y="257671"/>
                </a:cubicBezTo>
                <a:cubicBezTo>
                  <a:pt x="415074" y="233005"/>
                  <a:pt x="414902" y="208304"/>
                  <a:pt x="413313" y="183673"/>
                </a:cubicBezTo>
                <a:cubicBezTo>
                  <a:pt x="413134" y="180893"/>
                  <a:pt x="410670" y="178531"/>
                  <a:pt x="410670" y="175745"/>
                </a:cubicBezTo>
                <a:cubicBezTo>
                  <a:pt x="410670" y="166592"/>
                  <a:pt x="416321" y="151717"/>
                  <a:pt x="423884" y="146674"/>
                </a:cubicBezTo>
                <a:lnTo>
                  <a:pt x="431812" y="141388"/>
                </a:lnTo>
                <a:cubicBezTo>
                  <a:pt x="432693" y="138745"/>
                  <a:pt x="434061" y="136218"/>
                  <a:pt x="434455" y="133460"/>
                </a:cubicBezTo>
                <a:cubicBezTo>
                  <a:pt x="435831" y="123828"/>
                  <a:pt x="432485" y="112957"/>
                  <a:pt x="437098" y="104390"/>
                </a:cubicBezTo>
                <a:cubicBezTo>
                  <a:pt x="439739" y="99485"/>
                  <a:pt x="452954" y="99104"/>
                  <a:pt x="452954" y="99104"/>
                </a:cubicBezTo>
                <a:cubicBezTo>
                  <a:pt x="474977" y="99985"/>
                  <a:pt x="497086" y="99624"/>
                  <a:pt x="519024" y="101747"/>
                </a:cubicBezTo>
                <a:cubicBezTo>
                  <a:pt x="519025" y="101747"/>
                  <a:pt x="538845" y="108354"/>
                  <a:pt x="542809" y="109675"/>
                </a:cubicBezTo>
                <a:cubicBezTo>
                  <a:pt x="566860" y="117693"/>
                  <a:pt x="528878" y="105396"/>
                  <a:pt x="563951" y="114961"/>
                </a:cubicBezTo>
                <a:cubicBezTo>
                  <a:pt x="569326" y="116427"/>
                  <a:pt x="574522" y="118484"/>
                  <a:pt x="579807" y="120246"/>
                </a:cubicBezTo>
                <a:lnTo>
                  <a:pt x="587736" y="122889"/>
                </a:lnTo>
                <a:cubicBezTo>
                  <a:pt x="597426" y="122008"/>
                  <a:pt x="607224" y="121937"/>
                  <a:pt x="616806" y="120246"/>
                </a:cubicBezTo>
                <a:cubicBezTo>
                  <a:pt x="622293" y="119278"/>
                  <a:pt x="632663" y="114961"/>
                  <a:pt x="632663" y="114961"/>
                </a:cubicBezTo>
                <a:cubicBezTo>
                  <a:pt x="635306" y="113199"/>
                  <a:pt x="637689" y="110965"/>
                  <a:pt x="640591" y="109675"/>
                </a:cubicBezTo>
                <a:cubicBezTo>
                  <a:pt x="645682" y="107412"/>
                  <a:pt x="656448" y="104390"/>
                  <a:pt x="656448" y="104390"/>
                </a:cubicBezTo>
                <a:cubicBezTo>
                  <a:pt x="659091" y="102628"/>
                  <a:pt x="661474" y="100394"/>
                  <a:pt x="664376" y="99104"/>
                </a:cubicBezTo>
                <a:cubicBezTo>
                  <a:pt x="669467" y="96841"/>
                  <a:pt x="680233" y="93819"/>
                  <a:pt x="680233" y="93819"/>
                </a:cubicBezTo>
                <a:cubicBezTo>
                  <a:pt x="685519" y="90295"/>
                  <a:pt x="690063" y="85256"/>
                  <a:pt x="696090" y="83247"/>
                </a:cubicBezTo>
                <a:lnTo>
                  <a:pt x="719875" y="75319"/>
                </a:lnTo>
                <a:cubicBezTo>
                  <a:pt x="722518" y="74438"/>
                  <a:pt x="725019" y="72783"/>
                  <a:pt x="727803" y="72676"/>
                </a:cubicBezTo>
                <a:lnTo>
                  <a:pt x="796515" y="70034"/>
                </a:lnTo>
                <a:cubicBezTo>
                  <a:pt x="799158" y="69153"/>
                  <a:pt x="801765" y="68156"/>
                  <a:pt x="804443" y="67391"/>
                </a:cubicBezTo>
                <a:cubicBezTo>
                  <a:pt x="807935" y="66393"/>
                  <a:pt x="811765" y="66372"/>
                  <a:pt x="815014" y="64748"/>
                </a:cubicBezTo>
                <a:cubicBezTo>
                  <a:pt x="851366" y="46572"/>
                  <a:pt x="816874" y="58843"/>
                  <a:pt x="838799" y="51534"/>
                </a:cubicBezTo>
                <a:cubicBezTo>
                  <a:pt x="841442" y="48891"/>
                  <a:pt x="843618" y="45679"/>
                  <a:pt x="846728" y="43606"/>
                </a:cubicBezTo>
                <a:cubicBezTo>
                  <a:pt x="849046" y="42061"/>
                  <a:pt x="852686" y="42933"/>
                  <a:pt x="854656" y="40963"/>
                </a:cubicBezTo>
                <a:cubicBezTo>
                  <a:pt x="857442" y="38177"/>
                  <a:pt x="857987" y="33813"/>
                  <a:pt x="859942" y="30392"/>
                </a:cubicBezTo>
                <a:cubicBezTo>
                  <a:pt x="863432" y="24285"/>
                  <a:pt x="867534" y="18907"/>
                  <a:pt x="873155" y="14535"/>
                </a:cubicBezTo>
                <a:cubicBezTo>
                  <a:pt x="888002" y="2987"/>
                  <a:pt x="888132" y="0"/>
                  <a:pt x="894298" y="1321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1" name="Freeform 80"/>
          <p:cNvSpPr/>
          <p:nvPr/>
        </p:nvSpPr>
        <p:spPr>
          <a:xfrm>
            <a:off x="5081593" y="5077884"/>
            <a:ext cx="661987" cy="624416"/>
          </a:xfrm>
          <a:custGeom>
            <a:avLst/>
            <a:gdLst>
              <a:gd name="connsiteX0" fmla="*/ 18400 w 660921"/>
              <a:gd name="connsiteY0" fmla="*/ 198686 h 622991"/>
              <a:gd name="connsiteX1" fmla="*/ 63327 w 660921"/>
              <a:gd name="connsiteY1" fmla="*/ 203971 h 622991"/>
              <a:gd name="connsiteX2" fmla="*/ 79184 w 660921"/>
              <a:gd name="connsiteY2" fmla="*/ 211900 h 622991"/>
              <a:gd name="connsiteX3" fmla="*/ 87112 w 660921"/>
              <a:gd name="connsiteY3" fmla="*/ 214542 h 622991"/>
              <a:gd name="connsiteX4" fmla="*/ 118825 w 660921"/>
              <a:gd name="connsiteY4" fmla="*/ 217185 h 622991"/>
              <a:gd name="connsiteX5" fmla="*/ 129396 w 660921"/>
              <a:gd name="connsiteY5" fmla="*/ 219828 h 622991"/>
              <a:gd name="connsiteX6" fmla="*/ 137325 w 660921"/>
              <a:gd name="connsiteY6" fmla="*/ 222471 h 622991"/>
              <a:gd name="connsiteX7" fmla="*/ 155824 w 660921"/>
              <a:gd name="connsiteY7" fmla="*/ 219828 h 622991"/>
              <a:gd name="connsiteX8" fmla="*/ 171681 w 660921"/>
              <a:gd name="connsiteY8" fmla="*/ 214542 h 622991"/>
              <a:gd name="connsiteX9" fmla="*/ 179609 w 660921"/>
              <a:gd name="connsiteY9" fmla="*/ 211900 h 622991"/>
              <a:gd name="connsiteX10" fmla="*/ 187537 w 660921"/>
              <a:gd name="connsiteY10" fmla="*/ 203971 h 622991"/>
              <a:gd name="connsiteX11" fmla="*/ 198109 w 660921"/>
              <a:gd name="connsiteY11" fmla="*/ 198686 h 622991"/>
              <a:gd name="connsiteX12" fmla="*/ 200751 w 660921"/>
              <a:gd name="connsiteY12" fmla="*/ 190757 h 622991"/>
              <a:gd name="connsiteX13" fmla="*/ 206037 w 660921"/>
              <a:gd name="connsiteY13" fmla="*/ 182829 h 622991"/>
              <a:gd name="connsiteX14" fmla="*/ 211322 w 660921"/>
              <a:gd name="connsiteY14" fmla="*/ 166973 h 622991"/>
              <a:gd name="connsiteX15" fmla="*/ 216608 w 660921"/>
              <a:gd name="connsiteY15" fmla="*/ 151116 h 622991"/>
              <a:gd name="connsiteX16" fmla="*/ 224536 w 660921"/>
              <a:gd name="connsiteY16" fmla="*/ 135259 h 622991"/>
              <a:gd name="connsiteX17" fmla="*/ 248321 w 660921"/>
              <a:gd name="connsiteY17" fmla="*/ 119403 h 622991"/>
              <a:gd name="connsiteX18" fmla="*/ 256250 w 660921"/>
              <a:gd name="connsiteY18" fmla="*/ 114117 h 622991"/>
              <a:gd name="connsiteX19" fmla="*/ 287963 w 660921"/>
              <a:gd name="connsiteY19" fmla="*/ 103546 h 622991"/>
              <a:gd name="connsiteX20" fmla="*/ 295891 w 660921"/>
              <a:gd name="connsiteY20" fmla="*/ 100903 h 622991"/>
              <a:gd name="connsiteX21" fmla="*/ 303820 w 660921"/>
              <a:gd name="connsiteY21" fmla="*/ 98260 h 622991"/>
              <a:gd name="connsiteX22" fmla="*/ 319676 w 660921"/>
              <a:gd name="connsiteY22" fmla="*/ 85047 h 622991"/>
              <a:gd name="connsiteX23" fmla="*/ 324962 w 660921"/>
              <a:gd name="connsiteY23" fmla="*/ 69190 h 622991"/>
              <a:gd name="connsiteX24" fmla="*/ 327605 w 660921"/>
              <a:gd name="connsiteY24" fmla="*/ 61262 h 622991"/>
              <a:gd name="connsiteX25" fmla="*/ 332890 w 660921"/>
              <a:gd name="connsiteY25" fmla="*/ 37477 h 622991"/>
              <a:gd name="connsiteX26" fmla="*/ 356675 w 660921"/>
              <a:gd name="connsiteY26" fmla="*/ 26905 h 622991"/>
              <a:gd name="connsiteX27" fmla="*/ 375174 w 660921"/>
              <a:gd name="connsiteY27" fmla="*/ 21620 h 622991"/>
              <a:gd name="connsiteX28" fmla="*/ 391031 w 660921"/>
              <a:gd name="connsiteY28" fmla="*/ 16334 h 622991"/>
              <a:gd name="connsiteX29" fmla="*/ 406888 w 660921"/>
              <a:gd name="connsiteY29" fmla="*/ 5763 h 622991"/>
              <a:gd name="connsiteX30" fmla="*/ 422744 w 660921"/>
              <a:gd name="connsiteY30" fmla="*/ 478 h 622991"/>
              <a:gd name="connsiteX31" fmla="*/ 454458 w 660921"/>
              <a:gd name="connsiteY31" fmla="*/ 3120 h 622991"/>
              <a:gd name="connsiteX32" fmla="*/ 457100 w 660921"/>
              <a:gd name="connsiteY32" fmla="*/ 11049 h 622991"/>
              <a:gd name="connsiteX33" fmla="*/ 454458 w 660921"/>
              <a:gd name="connsiteY33" fmla="*/ 34834 h 622991"/>
              <a:gd name="connsiteX34" fmla="*/ 457100 w 660921"/>
              <a:gd name="connsiteY34" fmla="*/ 53333 h 622991"/>
              <a:gd name="connsiteX35" fmla="*/ 465029 w 660921"/>
              <a:gd name="connsiteY35" fmla="*/ 55976 h 622991"/>
              <a:gd name="connsiteX36" fmla="*/ 507313 w 660921"/>
              <a:gd name="connsiteY36" fmla="*/ 50690 h 622991"/>
              <a:gd name="connsiteX37" fmla="*/ 515242 w 660921"/>
              <a:gd name="connsiteY37" fmla="*/ 45405 h 622991"/>
              <a:gd name="connsiteX38" fmla="*/ 523170 w 660921"/>
              <a:gd name="connsiteY38" fmla="*/ 48048 h 622991"/>
              <a:gd name="connsiteX39" fmla="*/ 533741 w 660921"/>
              <a:gd name="connsiteY39" fmla="*/ 50690 h 622991"/>
              <a:gd name="connsiteX40" fmla="*/ 541669 w 660921"/>
              <a:gd name="connsiteY40" fmla="*/ 58619 h 622991"/>
              <a:gd name="connsiteX41" fmla="*/ 544312 w 660921"/>
              <a:gd name="connsiteY41" fmla="*/ 77118 h 622991"/>
              <a:gd name="connsiteX42" fmla="*/ 554883 w 660921"/>
              <a:gd name="connsiteY42" fmla="*/ 79761 h 622991"/>
              <a:gd name="connsiteX43" fmla="*/ 573383 w 660921"/>
              <a:gd name="connsiteY43" fmla="*/ 82404 h 622991"/>
              <a:gd name="connsiteX44" fmla="*/ 613024 w 660921"/>
              <a:gd name="connsiteY44" fmla="*/ 82404 h 622991"/>
              <a:gd name="connsiteX45" fmla="*/ 628881 w 660921"/>
              <a:gd name="connsiteY45" fmla="*/ 92975 h 622991"/>
              <a:gd name="connsiteX46" fmla="*/ 644737 w 660921"/>
              <a:gd name="connsiteY46" fmla="*/ 106189 h 622991"/>
              <a:gd name="connsiteX47" fmla="*/ 652666 w 660921"/>
              <a:gd name="connsiteY47" fmla="*/ 111474 h 622991"/>
              <a:gd name="connsiteX48" fmla="*/ 655309 w 660921"/>
              <a:gd name="connsiteY48" fmla="*/ 119403 h 622991"/>
              <a:gd name="connsiteX49" fmla="*/ 660594 w 660921"/>
              <a:gd name="connsiteY49" fmla="*/ 172258 h 622991"/>
              <a:gd name="connsiteX50" fmla="*/ 657951 w 660921"/>
              <a:gd name="connsiteY50" fmla="*/ 267398 h 622991"/>
              <a:gd name="connsiteX51" fmla="*/ 655309 w 660921"/>
              <a:gd name="connsiteY51" fmla="*/ 275326 h 622991"/>
              <a:gd name="connsiteX52" fmla="*/ 652666 w 660921"/>
              <a:gd name="connsiteY52" fmla="*/ 285897 h 622991"/>
              <a:gd name="connsiteX53" fmla="*/ 650023 w 660921"/>
              <a:gd name="connsiteY53" fmla="*/ 293826 h 622991"/>
              <a:gd name="connsiteX54" fmla="*/ 644737 w 660921"/>
              <a:gd name="connsiteY54" fmla="*/ 322896 h 622991"/>
              <a:gd name="connsiteX55" fmla="*/ 647380 w 660921"/>
              <a:gd name="connsiteY55" fmla="*/ 367823 h 622991"/>
              <a:gd name="connsiteX56" fmla="*/ 647380 w 660921"/>
              <a:gd name="connsiteY56" fmla="*/ 404822 h 622991"/>
              <a:gd name="connsiteX57" fmla="*/ 642095 w 660921"/>
              <a:gd name="connsiteY57" fmla="*/ 412751 h 622991"/>
              <a:gd name="connsiteX58" fmla="*/ 631524 w 660921"/>
              <a:gd name="connsiteY58" fmla="*/ 428607 h 622991"/>
              <a:gd name="connsiteX59" fmla="*/ 623595 w 660921"/>
              <a:gd name="connsiteY59" fmla="*/ 444464 h 622991"/>
              <a:gd name="connsiteX60" fmla="*/ 605096 w 660921"/>
              <a:gd name="connsiteY60" fmla="*/ 457678 h 622991"/>
              <a:gd name="connsiteX61" fmla="*/ 597168 w 660921"/>
              <a:gd name="connsiteY61" fmla="*/ 462963 h 622991"/>
              <a:gd name="connsiteX62" fmla="*/ 591882 w 660921"/>
              <a:gd name="connsiteY62" fmla="*/ 473534 h 622991"/>
              <a:gd name="connsiteX63" fmla="*/ 586596 w 660921"/>
              <a:gd name="connsiteY63" fmla="*/ 489391 h 622991"/>
              <a:gd name="connsiteX64" fmla="*/ 581311 w 660921"/>
              <a:gd name="connsiteY64" fmla="*/ 510533 h 622991"/>
              <a:gd name="connsiteX65" fmla="*/ 565454 w 660921"/>
              <a:gd name="connsiteY65" fmla="*/ 521104 h 622991"/>
              <a:gd name="connsiteX66" fmla="*/ 554883 w 660921"/>
              <a:gd name="connsiteY66" fmla="*/ 536961 h 622991"/>
              <a:gd name="connsiteX67" fmla="*/ 549598 w 660921"/>
              <a:gd name="connsiteY67" fmla="*/ 544889 h 622991"/>
              <a:gd name="connsiteX68" fmla="*/ 541669 w 660921"/>
              <a:gd name="connsiteY68" fmla="*/ 547532 h 622991"/>
              <a:gd name="connsiteX69" fmla="*/ 539027 w 660921"/>
              <a:gd name="connsiteY69" fmla="*/ 555460 h 622991"/>
              <a:gd name="connsiteX70" fmla="*/ 531098 w 660921"/>
              <a:gd name="connsiteY70" fmla="*/ 571317 h 622991"/>
              <a:gd name="connsiteX71" fmla="*/ 528455 w 660921"/>
              <a:gd name="connsiteY71" fmla="*/ 581888 h 622991"/>
              <a:gd name="connsiteX72" fmla="*/ 520527 w 660921"/>
              <a:gd name="connsiteY72" fmla="*/ 584531 h 622991"/>
              <a:gd name="connsiteX73" fmla="*/ 499385 w 660921"/>
              <a:gd name="connsiteY73" fmla="*/ 589816 h 622991"/>
              <a:gd name="connsiteX74" fmla="*/ 401602 w 660921"/>
              <a:gd name="connsiteY74" fmla="*/ 595102 h 622991"/>
              <a:gd name="connsiteX75" fmla="*/ 385746 w 660921"/>
              <a:gd name="connsiteY75" fmla="*/ 589816 h 622991"/>
              <a:gd name="connsiteX76" fmla="*/ 369889 w 660921"/>
              <a:gd name="connsiteY76" fmla="*/ 576603 h 622991"/>
              <a:gd name="connsiteX77" fmla="*/ 348747 w 660921"/>
              <a:gd name="connsiteY77" fmla="*/ 571317 h 622991"/>
              <a:gd name="connsiteX78" fmla="*/ 338176 w 660921"/>
              <a:gd name="connsiteY78" fmla="*/ 568674 h 622991"/>
              <a:gd name="connsiteX79" fmla="*/ 322319 w 660921"/>
              <a:gd name="connsiteY79" fmla="*/ 563389 h 622991"/>
              <a:gd name="connsiteX80" fmla="*/ 309105 w 660921"/>
              <a:gd name="connsiteY80" fmla="*/ 552818 h 622991"/>
              <a:gd name="connsiteX81" fmla="*/ 303820 w 660921"/>
              <a:gd name="connsiteY81" fmla="*/ 544889 h 622991"/>
              <a:gd name="connsiteX82" fmla="*/ 287963 w 660921"/>
              <a:gd name="connsiteY82" fmla="*/ 539604 h 622991"/>
              <a:gd name="connsiteX83" fmla="*/ 280035 w 660921"/>
              <a:gd name="connsiteY83" fmla="*/ 536961 h 622991"/>
              <a:gd name="connsiteX84" fmla="*/ 274749 w 660921"/>
              <a:gd name="connsiteY84" fmla="*/ 529033 h 622991"/>
              <a:gd name="connsiteX85" fmla="*/ 258892 w 660921"/>
              <a:gd name="connsiteY85" fmla="*/ 523747 h 622991"/>
              <a:gd name="connsiteX86" fmla="*/ 243036 w 660921"/>
              <a:gd name="connsiteY86" fmla="*/ 515819 h 622991"/>
              <a:gd name="connsiteX87" fmla="*/ 227179 w 660921"/>
              <a:gd name="connsiteY87" fmla="*/ 507890 h 622991"/>
              <a:gd name="connsiteX88" fmla="*/ 216608 w 660921"/>
              <a:gd name="connsiteY88" fmla="*/ 492034 h 622991"/>
              <a:gd name="connsiteX89" fmla="*/ 206037 w 660921"/>
              <a:gd name="connsiteY89" fmla="*/ 415393 h 622991"/>
              <a:gd name="connsiteX90" fmla="*/ 198109 w 660921"/>
              <a:gd name="connsiteY90" fmla="*/ 412751 h 622991"/>
              <a:gd name="connsiteX91" fmla="*/ 190180 w 660921"/>
              <a:gd name="connsiteY91" fmla="*/ 407465 h 622991"/>
              <a:gd name="connsiteX92" fmla="*/ 179609 w 660921"/>
              <a:gd name="connsiteY92" fmla="*/ 404822 h 622991"/>
              <a:gd name="connsiteX93" fmla="*/ 166395 w 660921"/>
              <a:gd name="connsiteY93" fmla="*/ 388966 h 622991"/>
              <a:gd name="connsiteX94" fmla="*/ 150539 w 660921"/>
              <a:gd name="connsiteY94" fmla="*/ 378394 h 622991"/>
              <a:gd name="connsiteX95" fmla="*/ 126754 w 660921"/>
              <a:gd name="connsiteY95" fmla="*/ 367823 h 622991"/>
              <a:gd name="connsiteX96" fmla="*/ 118825 w 660921"/>
              <a:gd name="connsiteY96" fmla="*/ 365181 h 622991"/>
              <a:gd name="connsiteX97" fmla="*/ 110897 w 660921"/>
              <a:gd name="connsiteY97" fmla="*/ 359895 h 622991"/>
              <a:gd name="connsiteX98" fmla="*/ 92398 w 660921"/>
              <a:gd name="connsiteY98" fmla="*/ 349324 h 622991"/>
              <a:gd name="connsiteX99" fmla="*/ 79184 w 660921"/>
              <a:gd name="connsiteY99" fmla="*/ 325539 h 622991"/>
              <a:gd name="connsiteX100" fmla="*/ 73898 w 660921"/>
              <a:gd name="connsiteY100" fmla="*/ 288540 h 622991"/>
              <a:gd name="connsiteX101" fmla="*/ 68613 w 660921"/>
              <a:gd name="connsiteY101" fmla="*/ 280612 h 622991"/>
              <a:gd name="connsiteX102" fmla="*/ 60684 w 660921"/>
              <a:gd name="connsiteY102" fmla="*/ 277969 h 622991"/>
              <a:gd name="connsiteX103" fmla="*/ 50113 w 660921"/>
              <a:gd name="connsiteY103" fmla="*/ 262112 h 622991"/>
              <a:gd name="connsiteX104" fmla="*/ 44828 w 660921"/>
              <a:gd name="connsiteY104" fmla="*/ 254184 h 622991"/>
              <a:gd name="connsiteX105" fmla="*/ 36899 w 660921"/>
              <a:gd name="connsiteY105" fmla="*/ 238327 h 622991"/>
              <a:gd name="connsiteX106" fmla="*/ 28971 w 660921"/>
              <a:gd name="connsiteY106" fmla="*/ 214542 h 622991"/>
              <a:gd name="connsiteX107" fmla="*/ 26328 w 660921"/>
              <a:gd name="connsiteY107" fmla="*/ 206614 h 622991"/>
              <a:gd name="connsiteX108" fmla="*/ 23685 w 660921"/>
              <a:gd name="connsiteY108" fmla="*/ 198686 h 622991"/>
              <a:gd name="connsiteX109" fmla="*/ 18400 w 660921"/>
              <a:gd name="connsiteY109" fmla="*/ 198686 h 622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660921" h="622991">
                <a:moveTo>
                  <a:pt x="18400" y="198686"/>
                </a:moveTo>
                <a:cubicBezTo>
                  <a:pt x="53507" y="205708"/>
                  <a:pt x="0" y="195528"/>
                  <a:pt x="63327" y="203971"/>
                </a:cubicBezTo>
                <a:cubicBezTo>
                  <a:pt x="72384" y="205178"/>
                  <a:pt x="71086" y="207851"/>
                  <a:pt x="79184" y="211900"/>
                </a:cubicBezTo>
                <a:cubicBezTo>
                  <a:pt x="81675" y="213146"/>
                  <a:pt x="84351" y="214174"/>
                  <a:pt x="87112" y="214542"/>
                </a:cubicBezTo>
                <a:cubicBezTo>
                  <a:pt x="97627" y="215944"/>
                  <a:pt x="108254" y="216304"/>
                  <a:pt x="118825" y="217185"/>
                </a:cubicBezTo>
                <a:cubicBezTo>
                  <a:pt x="122349" y="218066"/>
                  <a:pt x="125904" y="218830"/>
                  <a:pt x="129396" y="219828"/>
                </a:cubicBezTo>
                <a:cubicBezTo>
                  <a:pt x="132075" y="220593"/>
                  <a:pt x="134539" y="222471"/>
                  <a:pt x="137325" y="222471"/>
                </a:cubicBezTo>
                <a:cubicBezTo>
                  <a:pt x="143554" y="222471"/>
                  <a:pt x="149658" y="220709"/>
                  <a:pt x="155824" y="219828"/>
                </a:cubicBezTo>
                <a:lnTo>
                  <a:pt x="171681" y="214542"/>
                </a:lnTo>
                <a:lnTo>
                  <a:pt x="179609" y="211900"/>
                </a:lnTo>
                <a:cubicBezTo>
                  <a:pt x="182252" y="209257"/>
                  <a:pt x="184496" y="206143"/>
                  <a:pt x="187537" y="203971"/>
                </a:cubicBezTo>
                <a:cubicBezTo>
                  <a:pt x="190743" y="201681"/>
                  <a:pt x="195323" y="201472"/>
                  <a:pt x="198109" y="198686"/>
                </a:cubicBezTo>
                <a:cubicBezTo>
                  <a:pt x="200079" y="196716"/>
                  <a:pt x="199505" y="193249"/>
                  <a:pt x="200751" y="190757"/>
                </a:cubicBezTo>
                <a:cubicBezTo>
                  <a:pt x="202171" y="187916"/>
                  <a:pt x="204747" y="185731"/>
                  <a:pt x="206037" y="182829"/>
                </a:cubicBezTo>
                <a:cubicBezTo>
                  <a:pt x="208300" y="177738"/>
                  <a:pt x="209560" y="172258"/>
                  <a:pt x="211322" y="166973"/>
                </a:cubicBezTo>
                <a:lnTo>
                  <a:pt x="216608" y="151116"/>
                </a:lnTo>
                <a:cubicBezTo>
                  <a:pt x="218493" y="145462"/>
                  <a:pt x="219716" y="139477"/>
                  <a:pt x="224536" y="135259"/>
                </a:cubicBezTo>
                <a:lnTo>
                  <a:pt x="248321" y="119403"/>
                </a:lnTo>
                <a:cubicBezTo>
                  <a:pt x="250964" y="117641"/>
                  <a:pt x="253237" y="115122"/>
                  <a:pt x="256250" y="114117"/>
                </a:cubicBezTo>
                <a:lnTo>
                  <a:pt x="287963" y="103546"/>
                </a:lnTo>
                <a:lnTo>
                  <a:pt x="295891" y="100903"/>
                </a:lnTo>
                <a:cubicBezTo>
                  <a:pt x="298534" y="100022"/>
                  <a:pt x="301502" y="99805"/>
                  <a:pt x="303820" y="98260"/>
                </a:cubicBezTo>
                <a:cubicBezTo>
                  <a:pt x="314858" y="90902"/>
                  <a:pt x="309502" y="95221"/>
                  <a:pt x="319676" y="85047"/>
                </a:cubicBezTo>
                <a:lnTo>
                  <a:pt x="324962" y="69190"/>
                </a:lnTo>
                <a:lnTo>
                  <a:pt x="327605" y="61262"/>
                </a:lnTo>
                <a:cubicBezTo>
                  <a:pt x="327633" y="61096"/>
                  <a:pt x="330149" y="40903"/>
                  <a:pt x="332890" y="37477"/>
                </a:cubicBezTo>
                <a:cubicBezTo>
                  <a:pt x="337459" y="31765"/>
                  <a:pt x="351828" y="28521"/>
                  <a:pt x="356675" y="26905"/>
                </a:cubicBezTo>
                <a:cubicBezTo>
                  <a:pt x="383311" y="18027"/>
                  <a:pt x="342000" y="31573"/>
                  <a:pt x="375174" y="21620"/>
                </a:cubicBezTo>
                <a:cubicBezTo>
                  <a:pt x="380511" y="20019"/>
                  <a:pt x="386395" y="19425"/>
                  <a:pt x="391031" y="16334"/>
                </a:cubicBezTo>
                <a:cubicBezTo>
                  <a:pt x="396317" y="12810"/>
                  <a:pt x="400861" y="7772"/>
                  <a:pt x="406888" y="5763"/>
                </a:cubicBezTo>
                <a:lnTo>
                  <a:pt x="422744" y="478"/>
                </a:lnTo>
                <a:cubicBezTo>
                  <a:pt x="433315" y="1359"/>
                  <a:pt x="444319" y="0"/>
                  <a:pt x="454458" y="3120"/>
                </a:cubicBezTo>
                <a:cubicBezTo>
                  <a:pt x="457121" y="3939"/>
                  <a:pt x="457100" y="8263"/>
                  <a:pt x="457100" y="11049"/>
                </a:cubicBezTo>
                <a:cubicBezTo>
                  <a:pt x="457100" y="19026"/>
                  <a:pt x="455339" y="26906"/>
                  <a:pt x="454458" y="34834"/>
                </a:cubicBezTo>
                <a:cubicBezTo>
                  <a:pt x="455339" y="41000"/>
                  <a:pt x="454314" y="47762"/>
                  <a:pt x="457100" y="53333"/>
                </a:cubicBezTo>
                <a:cubicBezTo>
                  <a:pt x="458346" y="55825"/>
                  <a:pt x="462243" y="55976"/>
                  <a:pt x="465029" y="55976"/>
                </a:cubicBezTo>
                <a:cubicBezTo>
                  <a:pt x="471691" y="55976"/>
                  <a:pt x="499122" y="51860"/>
                  <a:pt x="507313" y="50690"/>
                </a:cubicBezTo>
                <a:cubicBezTo>
                  <a:pt x="509956" y="48928"/>
                  <a:pt x="512109" y="45927"/>
                  <a:pt x="515242" y="45405"/>
                </a:cubicBezTo>
                <a:cubicBezTo>
                  <a:pt x="517990" y="44947"/>
                  <a:pt x="520492" y="47283"/>
                  <a:pt x="523170" y="48048"/>
                </a:cubicBezTo>
                <a:cubicBezTo>
                  <a:pt x="526662" y="49046"/>
                  <a:pt x="530217" y="49809"/>
                  <a:pt x="533741" y="50690"/>
                </a:cubicBezTo>
                <a:cubicBezTo>
                  <a:pt x="536384" y="53333"/>
                  <a:pt x="540281" y="55149"/>
                  <a:pt x="541669" y="58619"/>
                </a:cubicBezTo>
                <a:cubicBezTo>
                  <a:pt x="543982" y="64402"/>
                  <a:pt x="541011" y="71836"/>
                  <a:pt x="544312" y="77118"/>
                </a:cubicBezTo>
                <a:cubicBezTo>
                  <a:pt x="546237" y="80198"/>
                  <a:pt x="551309" y="79111"/>
                  <a:pt x="554883" y="79761"/>
                </a:cubicBezTo>
                <a:cubicBezTo>
                  <a:pt x="561012" y="80875"/>
                  <a:pt x="567216" y="81523"/>
                  <a:pt x="573383" y="82404"/>
                </a:cubicBezTo>
                <a:cubicBezTo>
                  <a:pt x="588418" y="79898"/>
                  <a:pt x="596850" y="77013"/>
                  <a:pt x="613024" y="82404"/>
                </a:cubicBezTo>
                <a:cubicBezTo>
                  <a:pt x="619051" y="84413"/>
                  <a:pt x="623595" y="89451"/>
                  <a:pt x="628881" y="92975"/>
                </a:cubicBezTo>
                <a:cubicBezTo>
                  <a:pt x="648571" y="106101"/>
                  <a:pt x="624381" y="89226"/>
                  <a:pt x="644737" y="106189"/>
                </a:cubicBezTo>
                <a:cubicBezTo>
                  <a:pt x="647177" y="108222"/>
                  <a:pt x="650023" y="109712"/>
                  <a:pt x="652666" y="111474"/>
                </a:cubicBezTo>
                <a:cubicBezTo>
                  <a:pt x="653547" y="114117"/>
                  <a:pt x="655032" y="116631"/>
                  <a:pt x="655309" y="119403"/>
                </a:cubicBezTo>
                <a:cubicBezTo>
                  <a:pt x="660921" y="175529"/>
                  <a:pt x="652685" y="148535"/>
                  <a:pt x="660594" y="172258"/>
                </a:cubicBezTo>
                <a:cubicBezTo>
                  <a:pt x="659713" y="203971"/>
                  <a:pt x="659576" y="235714"/>
                  <a:pt x="657951" y="267398"/>
                </a:cubicBezTo>
                <a:cubicBezTo>
                  <a:pt x="657808" y="270180"/>
                  <a:pt x="656074" y="272648"/>
                  <a:pt x="655309" y="275326"/>
                </a:cubicBezTo>
                <a:cubicBezTo>
                  <a:pt x="654311" y="278818"/>
                  <a:pt x="653664" y="282405"/>
                  <a:pt x="652666" y="285897"/>
                </a:cubicBezTo>
                <a:cubicBezTo>
                  <a:pt x="651901" y="288576"/>
                  <a:pt x="650699" y="291123"/>
                  <a:pt x="650023" y="293826"/>
                </a:cubicBezTo>
                <a:cubicBezTo>
                  <a:pt x="648176" y="301213"/>
                  <a:pt x="645915" y="315828"/>
                  <a:pt x="644737" y="322896"/>
                </a:cubicBezTo>
                <a:cubicBezTo>
                  <a:pt x="645618" y="337872"/>
                  <a:pt x="645958" y="352889"/>
                  <a:pt x="647380" y="367823"/>
                </a:cubicBezTo>
                <a:cubicBezTo>
                  <a:pt x="649601" y="391136"/>
                  <a:pt x="656649" y="364656"/>
                  <a:pt x="647380" y="404822"/>
                </a:cubicBezTo>
                <a:cubicBezTo>
                  <a:pt x="646666" y="407917"/>
                  <a:pt x="643515" y="409910"/>
                  <a:pt x="642095" y="412751"/>
                </a:cubicBezTo>
                <a:cubicBezTo>
                  <a:pt x="631648" y="433647"/>
                  <a:pt x="650306" y="406068"/>
                  <a:pt x="631524" y="428607"/>
                </a:cubicBezTo>
                <a:cubicBezTo>
                  <a:pt x="610728" y="453562"/>
                  <a:pt x="639489" y="420624"/>
                  <a:pt x="623595" y="444464"/>
                </a:cubicBezTo>
                <a:cubicBezTo>
                  <a:pt x="617635" y="453403"/>
                  <a:pt x="613998" y="452591"/>
                  <a:pt x="605096" y="457678"/>
                </a:cubicBezTo>
                <a:cubicBezTo>
                  <a:pt x="602338" y="459254"/>
                  <a:pt x="599811" y="461201"/>
                  <a:pt x="597168" y="462963"/>
                </a:cubicBezTo>
                <a:cubicBezTo>
                  <a:pt x="595406" y="466487"/>
                  <a:pt x="593345" y="469876"/>
                  <a:pt x="591882" y="473534"/>
                </a:cubicBezTo>
                <a:cubicBezTo>
                  <a:pt x="589813" y="478707"/>
                  <a:pt x="587947" y="483986"/>
                  <a:pt x="586596" y="489391"/>
                </a:cubicBezTo>
                <a:cubicBezTo>
                  <a:pt x="584834" y="496438"/>
                  <a:pt x="587355" y="506504"/>
                  <a:pt x="581311" y="510533"/>
                </a:cubicBezTo>
                <a:lnTo>
                  <a:pt x="565454" y="521104"/>
                </a:lnTo>
                <a:lnTo>
                  <a:pt x="554883" y="536961"/>
                </a:lnTo>
                <a:cubicBezTo>
                  <a:pt x="553121" y="539604"/>
                  <a:pt x="552611" y="543885"/>
                  <a:pt x="549598" y="544889"/>
                </a:cubicBezTo>
                <a:lnTo>
                  <a:pt x="541669" y="547532"/>
                </a:lnTo>
                <a:cubicBezTo>
                  <a:pt x="540788" y="550175"/>
                  <a:pt x="540273" y="552969"/>
                  <a:pt x="539027" y="555460"/>
                </a:cubicBezTo>
                <a:cubicBezTo>
                  <a:pt x="531304" y="570906"/>
                  <a:pt x="535527" y="555816"/>
                  <a:pt x="531098" y="571317"/>
                </a:cubicBezTo>
                <a:cubicBezTo>
                  <a:pt x="530100" y="574809"/>
                  <a:pt x="530724" y="579052"/>
                  <a:pt x="528455" y="581888"/>
                </a:cubicBezTo>
                <a:cubicBezTo>
                  <a:pt x="526715" y="584063"/>
                  <a:pt x="523214" y="583798"/>
                  <a:pt x="520527" y="584531"/>
                </a:cubicBezTo>
                <a:cubicBezTo>
                  <a:pt x="513519" y="586442"/>
                  <a:pt x="499385" y="589816"/>
                  <a:pt x="499385" y="589816"/>
                </a:cubicBezTo>
                <a:cubicBezTo>
                  <a:pt x="477269" y="622991"/>
                  <a:pt x="494562" y="601905"/>
                  <a:pt x="401602" y="595102"/>
                </a:cubicBezTo>
                <a:cubicBezTo>
                  <a:pt x="396046" y="594695"/>
                  <a:pt x="385746" y="589816"/>
                  <a:pt x="385746" y="589816"/>
                </a:cubicBezTo>
                <a:cubicBezTo>
                  <a:pt x="379901" y="583972"/>
                  <a:pt x="377248" y="580282"/>
                  <a:pt x="369889" y="576603"/>
                </a:cubicBezTo>
                <a:cubicBezTo>
                  <a:pt x="364221" y="573769"/>
                  <a:pt x="354177" y="572524"/>
                  <a:pt x="348747" y="571317"/>
                </a:cubicBezTo>
                <a:cubicBezTo>
                  <a:pt x="345201" y="570529"/>
                  <a:pt x="341655" y="569718"/>
                  <a:pt x="338176" y="568674"/>
                </a:cubicBezTo>
                <a:cubicBezTo>
                  <a:pt x="332839" y="567073"/>
                  <a:pt x="322319" y="563389"/>
                  <a:pt x="322319" y="563389"/>
                </a:cubicBezTo>
                <a:cubicBezTo>
                  <a:pt x="307167" y="540661"/>
                  <a:pt x="327343" y="567410"/>
                  <a:pt x="309105" y="552818"/>
                </a:cubicBezTo>
                <a:cubicBezTo>
                  <a:pt x="306625" y="550834"/>
                  <a:pt x="306513" y="546572"/>
                  <a:pt x="303820" y="544889"/>
                </a:cubicBezTo>
                <a:cubicBezTo>
                  <a:pt x="299095" y="541936"/>
                  <a:pt x="293249" y="541366"/>
                  <a:pt x="287963" y="539604"/>
                </a:cubicBezTo>
                <a:lnTo>
                  <a:pt x="280035" y="536961"/>
                </a:lnTo>
                <a:cubicBezTo>
                  <a:pt x="278273" y="534318"/>
                  <a:pt x="277442" y="530716"/>
                  <a:pt x="274749" y="529033"/>
                </a:cubicBezTo>
                <a:cubicBezTo>
                  <a:pt x="270024" y="526080"/>
                  <a:pt x="263528" y="526837"/>
                  <a:pt x="258892" y="523747"/>
                </a:cubicBezTo>
                <a:cubicBezTo>
                  <a:pt x="236167" y="508598"/>
                  <a:pt x="264922" y="526763"/>
                  <a:pt x="243036" y="515819"/>
                </a:cubicBezTo>
                <a:cubicBezTo>
                  <a:pt x="222544" y="505572"/>
                  <a:pt x="247105" y="514533"/>
                  <a:pt x="227179" y="507890"/>
                </a:cubicBezTo>
                <a:cubicBezTo>
                  <a:pt x="223655" y="502605"/>
                  <a:pt x="216843" y="498382"/>
                  <a:pt x="216608" y="492034"/>
                </a:cubicBezTo>
                <a:cubicBezTo>
                  <a:pt x="215155" y="452811"/>
                  <a:pt x="233594" y="429171"/>
                  <a:pt x="206037" y="415393"/>
                </a:cubicBezTo>
                <a:cubicBezTo>
                  <a:pt x="203546" y="414147"/>
                  <a:pt x="200752" y="413632"/>
                  <a:pt x="198109" y="412751"/>
                </a:cubicBezTo>
                <a:cubicBezTo>
                  <a:pt x="195466" y="410989"/>
                  <a:pt x="193100" y="408716"/>
                  <a:pt x="190180" y="407465"/>
                </a:cubicBezTo>
                <a:cubicBezTo>
                  <a:pt x="186842" y="406034"/>
                  <a:pt x="182763" y="406624"/>
                  <a:pt x="179609" y="404822"/>
                </a:cubicBezTo>
                <a:cubicBezTo>
                  <a:pt x="172242" y="400612"/>
                  <a:pt x="171369" y="394935"/>
                  <a:pt x="166395" y="388966"/>
                </a:cubicBezTo>
                <a:cubicBezTo>
                  <a:pt x="155660" y="376084"/>
                  <a:pt x="162637" y="384442"/>
                  <a:pt x="150539" y="378394"/>
                </a:cubicBezTo>
                <a:cubicBezTo>
                  <a:pt x="125419" y="365835"/>
                  <a:pt x="167646" y="381453"/>
                  <a:pt x="126754" y="367823"/>
                </a:cubicBezTo>
                <a:lnTo>
                  <a:pt x="118825" y="365181"/>
                </a:lnTo>
                <a:cubicBezTo>
                  <a:pt x="116182" y="363419"/>
                  <a:pt x="113655" y="361471"/>
                  <a:pt x="110897" y="359895"/>
                </a:cubicBezTo>
                <a:cubicBezTo>
                  <a:pt x="87426" y="346483"/>
                  <a:pt x="111713" y="362203"/>
                  <a:pt x="92398" y="349324"/>
                </a:cubicBezTo>
                <a:cubicBezTo>
                  <a:pt x="80282" y="331149"/>
                  <a:pt x="83836" y="339493"/>
                  <a:pt x="79184" y="325539"/>
                </a:cubicBezTo>
                <a:cubicBezTo>
                  <a:pt x="78718" y="320875"/>
                  <a:pt x="77647" y="297288"/>
                  <a:pt x="73898" y="288540"/>
                </a:cubicBezTo>
                <a:cubicBezTo>
                  <a:pt x="72647" y="285621"/>
                  <a:pt x="71093" y="282596"/>
                  <a:pt x="68613" y="280612"/>
                </a:cubicBezTo>
                <a:cubicBezTo>
                  <a:pt x="66438" y="278872"/>
                  <a:pt x="63327" y="278850"/>
                  <a:pt x="60684" y="277969"/>
                </a:cubicBezTo>
                <a:lnTo>
                  <a:pt x="50113" y="262112"/>
                </a:lnTo>
                <a:cubicBezTo>
                  <a:pt x="48351" y="259469"/>
                  <a:pt x="45832" y="257197"/>
                  <a:pt x="44828" y="254184"/>
                </a:cubicBezTo>
                <a:cubicBezTo>
                  <a:pt x="41180" y="243243"/>
                  <a:pt x="43730" y="248574"/>
                  <a:pt x="36899" y="238327"/>
                </a:cubicBezTo>
                <a:lnTo>
                  <a:pt x="28971" y="214542"/>
                </a:lnTo>
                <a:lnTo>
                  <a:pt x="26328" y="206614"/>
                </a:lnTo>
                <a:cubicBezTo>
                  <a:pt x="25447" y="203971"/>
                  <a:pt x="26176" y="199932"/>
                  <a:pt x="23685" y="198686"/>
                </a:cubicBezTo>
                <a:lnTo>
                  <a:pt x="18400" y="198686"/>
                </a:ln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2" name="Subtitle 2"/>
          <p:cNvSpPr txBox="1">
            <a:spLocks/>
          </p:cNvSpPr>
          <p:nvPr/>
        </p:nvSpPr>
        <p:spPr bwMode="auto">
          <a:xfrm>
            <a:off x="5105400" y="5259921"/>
            <a:ext cx="762000" cy="302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 sz="1200">
                <a:latin typeface="Ramabhadra" pitchFamily="2" charset="0"/>
                <a:cs typeface="Ramabhadra" pitchFamily="2" charset="0"/>
              </a:rPr>
              <a:t>జింబాబ్వే</a:t>
            </a:r>
          </a:p>
        </p:txBody>
      </p:sp>
      <p:sp>
        <p:nvSpPr>
          <p:cNvPr id="83" name="Freeform 82"/>
          <p:cNvSpPr/>
          <p:nvPr/>
        </p:nvSpPr>
        <p:spPr>
          <a:xfrm>
            <a:off x="4541838" y="5268390"/>
            <a:ext cx="882650" cy="783167"/>
          </a:xfrm>
          <a:custGeom>
            <a:avLst/>
            <a:gdLst>
              <a:gd name="connsiteX0" fmla="*/ 880945 w 882707"/>
              <a:gd name="connsiteY0" fmla="*/ 383203 h 782632"/>
              <a:gd name="connsiteX1" fmla="*/ 859803 w 882707"/>
              <a:gd name="connsiteY1" fmla="*/ 372632 h 782632"/>
              <a:gd name="connsiteX2" fmla="*/ 849232 w 882707"/>
              <a:gd name="connsiteY2" fmla="*/ 356775 h 782632"/>
              <a:gd name="connsiteX3" fmla="*/ 822804 w 882707"/>
              <a:gd name="connsiteY3" fmla="*/ 348847 h 782632"/>
              <a:gd name="connsiteX4" fmla="*/ 806948 w 882707"/>
              <a:gd name="connsiteY4" fmla="*/ 343561 h 782632"/>
              <a:gd name="connsiteX5" fmla="*/ 780520 w 882707"/>
              <a:gd name="connsiteY5" fmla="*/ 335633 h 782632"/>
              <a:gd name="connsiteX6" fmla="*/ 772592 w 882707"/>
              <a:gd name="connsiteY6" fmla="*/ 332990 h 782632"/>
              <a:gd name="connsiteX7" fmla="*/ 756735 w 882707"/>
              <a:gd name="connsiteY7" fmla="*/ 319776 h 782632"/>
              <a:gd name="connsiteX8" fmla="*/ 754092 w 882707"/>
              <a:gd name="connsiteY8" fmla="*/ 288063 h 782632"/>
              <a:gd name="connsiteX9" fmla="*/ 743521 w 882707"/>
              <a:gd name="connsiteY9" fmla="*/ 229922 h 782632"/>
              <a:gd name="connsiteX10" fmla="*/ 732950 w 882707"/>
              <a:gd name="connsiteY10" fmla="*/ 227279 h 782632"/>
              <a:gd name="connsiteX11" fmla="*/ 725022 w 882707"/>
              <a:gd name="connsiteY11" fmla="*/ 221994 h 782632"/>
              <a:gd name="connsiteX12" fmla="*/ 717093 w 882707"/>
              <a:gd name="connsiteY12" fmla="*/ 206137 h 782632"/>
              <a:gd name="connsiteX13" fmla="*/ 709165 w 882707"/>
              <a:gd name="connsiteY13" fmla="*/ 198209 h 782632"/>
              <a:gd name="connsiteX14" fmla="*/ 685380 w 882707"/>
              <a:gd name="connsiteY14" fmla="*/ 187637 h 782632"/>
              <a:gd name="connsiteX15" fmla="*/ 677452 w 882707"/>
              <a:gd name="connsiteY15" fmla="*/ 182352 h 782632"/>
              <a:gd name="connsiteX16" fmla="*/ 658952 w 882707"/>
              <a:gd name="connsiteY16" fmla="*/ 177066 h 782632"/>
              <a:gd name="connsiteX17" fmla="*/ 643096 w 882707"/>
              <a:gd name="connsiteY17" fmla="*/ 171781 h 782632"/>
              <a:gd name="connsiteX18" fmla="*/ 637810 w 882707"/>
              <a:gd name="connsiteY18" fmla="*/ 163853 h 782632"/>
              <a:gd name="connsiteX19" fmla="*/ 635167 w 882707"/>
              <a:gd name="connsiteY19" fmla="*/ 153281 h 782632"/>
              <a:gd name="connsiteX20" fmla="*/ 627239 w 882707"/>
              <a:gd name="connsiteY20" fmla="*/ 145353 h 782632"/>
              <a:gd name="connsiteX21" fmla="*/ 621954 w 882707"/>
              <a:gd name="connsiteY21" fmla="*/ 137425 h 782632"/>
              <a:gd name="connsiteX22" fmla="*/ 616668 w 882707"/>
              <a:gd name="connsiteY22" fmla="*/ 118925 h 782632"/>
              <a:gd name="connsiteX23" fmla="*/ 611382 w 882707"/>
              <a:gd name="connsiteY23" fmla="*/ 103069 h 782632"/>
              <a:gd name="connsiteX24" fmla="*/ 603454 w 882707"/>
              <a:gd name="connsiteY24" fmla="*/ 87212 h 782632"/>
              <a:gd name="connsiteX25" fmla="*/ 592883 w 882707"/>
              <a:gd name="connsiteY25" fmla="*/ 84569 h 782632"/>
              <a:gd name="connsiteX26" fmla="*/ 587597 w 882707"/>
              <a:gd name="connsiteY26" fmla="*/ 76641 h 782632"/>
              <a:gd name="connsiteX27" fmla="*/ 582312 w 882707"/>
              <a:gd name="connsiteY27" fmla="*/ 60784 h 782632"/>
              <a:gd name="connsiteX28" fmla="*/ 579669 w 882707"/>
              <a:gd name="connsiteY28" fmla="*/ 36999 h 782632"/>
              <a:gd name="connsiteX29" fmla="*/ 571741 w 882707"/>
              <a:gd name="connsiteY29" fmla="*/ 29071 h 782632"/>
              <a:gd name="connsiteX30" fmla="*/ 558527 w 882707"/>
              <a:gd name="connsiteY30" fmla="*/ 13214 h 782632"/>
              <a:gd name="connsiteX31" fmla="*/ 540027 w 882707"/>
              <a:gd name="connsiteY31" fmla="*/ 10572 h 782632"/>
              <a:gd name="connsiteX32" fmla="*/ 518885 w 882707"/>
              <a:gd name="connsiteY32" fmla="*/ 5286 h 782632"/>
              <a:gd name="connsiteX33" fmla="*/ 503029 w 882707"/>
              <a:gd name="connsiteY33" fmla="*/ 0 h 782632"/>
              <a:gd name="connsiteX34" fmla="*/ 468673 w 882707"/>
              <a:gd name="connsiteY34" fmla="*/ 7929 h 782632"/>
              <a:gd name="connsiteX35" fmla="*/ 460744 w 882707"/>
              <a:gd name="connsiteY35" fmla="*/ 10572 h 782632"/>
              <a:gd name="connsiteX36" fmla="*/ 452816 w 882707"/>
              <a:gd name="connsiteY36" fmla="*/ 15857 h 782632"/>
              <a:gd name="connsiteX37" fmla="*/ 442245 w 882707"/>
              <a:gd name="connsiteY37" fmla="*/ 29071 h 782632"/>
              <a:gd name="connsiteX38" fmla="*/ 431674 w 882707"/>
              <a:gd name="connsiteY38" fmla="*/ 44928 h 782632"/>
              <a:gd name="connsiteX39" fmla="*/ 426388 w 882707"/>
              <a:gd name="connsiteY39" fmla="*/ 52856 h 782632"/>
              <a:gd name="connsiteX40" fmla="*/ 418460 w 882707"/>
              <a:gd name="connsiteY40" fmla="*/ 55499 h 782632"/>
              <a:gd name="connsiteX41" fmla="*/ 394675 w 882707"/>
              <a:gd name="connsiteY41" fmla="*/ 50213 h 782632"/>
              <a:gd name="connsiteX42" fmla="*/ 378818 w 882707"/>
              <a:gd name="connsiteY42" fmla="*/ 39642 h 782632"/>
              <a:gd name="connsiteX43" fmla="*/ 370890 w 882707"/>
              <a:gd name="connsiteY43" fmla="*/ 34357 h 782632"/>
              <a:gd name="connsiteX44" fmla="*/ 357676 w 882707"/>
              <a:gd name="connsiteY44" fmla="*/ 31714 h 782632"/>
              <a:gd name="connsiteX45" fmla="*/ 273107 w 882707"/>
              <a:gd name="connsiteY45" fmla="*/ 34357 h 782632"/>
              <a:gd name="connsiteX46" fmla="*/ 257251 w 882707"/>
              <a:gd name="connsiteY46" fmla="*/ 39642 h 782632"/>
              <a:gd name="connsiteX47" fmla="*/ 241394 w 882707"/>
              <a:gd name="connsiteY47" fmla="*/ 44928 h 782632"/>
              <a:gd name="connsiteX48" fmla="*/ 233466 w 882707"/>
              <a:gd name="connsiteY48" fmla="*/ 47570 h 782632"/>
              <a:gd name="connsiteX49" fmla="*/ 225537 w 882707"/>
              <a:gd name="connsiteY49" fmla="*/ 50213 h 782632"/>
              <a:gd name="connsiteX50" fmla="*/ 214966 w 882707"/>
              <a:gd name="connsiteY50" fmla="*/ 52856 h 782632"/>
              <a:gd name="connsiteX51" fmla="*/ 199110 w 882707"/>
              <a:gd name="connsiteY51" fmla="*/ 58142 h 782632"/>
              <a:gd name="connsiteX52" fmla="*/ 180610 w 882707"/>
              <a:gd name="connsiteY52" fmla="*/ 63427 h 782632"/>
              <a:gd name="connsiteX53" fmla="*/ 180610 w 882707"/>
              <a:gd name="connsiteY53" fmla="*/ 174424 h 782632"/>
              <a:gd name="connsiteX54" fmla="*/ 183253 w 882707"/>
              <a:gd name="connsiteY54" fmla="*/ 198209 h 782632"/>
              <a:gd name="connsiteX55" fmla="*/ 180610 w 882707"/>
              <a:gd name="connsiteY55" fmla="*/ 380560 h 782632"/>
              <a:gd name="connsiteX56" fmla="*/ 88113 w 882707"/>
              <a:gd name="connsiteY56" fmla="*/ 383203 h 782632"/>
              <a:gd name="connsiteX57" fmla="*/ 114541 w 882707"/>
              <a:gd name="connsiteY57" fmla="*/ 628981 h 782632"/>
              <a:gd name="connsiteX58" fmla="*/ 122469 w 882707"/>
              <a:gd name="connsiteY58" fmla="*/ 631624 h 782632"/>
              <a:gd name="connsiteX59" fmla="*/ 133040 w 882707"/>
              <a:gd name="connsiteY59" fmla="*/ 647480 h 782632"/>
              <a:gd name="connsiteX60" fmla="*/ 140969 w 882707"/>
              <a:gd name="connsiteY60" fmla="*/ 652766 h 782632"/>
              <a:gd name="connsiteX61" fmla="*/ 148897 w 882707"/>
              <a:gd name="connsiteY61" fmla="*/ 668622 h 782632"/>
              <a:gd name="connsiteX62" fmla="*/ 154182 w 882707"/>
              <a:gd name="connsiteY62" fmla="*/ 687122 h 782632"/>
              <a:gd name="connsiteX63" fmla="*/ 159468 w 882707"/>
              <a:gd name="connsiteY63" fmla="*/ 702979 h 782632"/>
              <a:gd name="connsiteX64" fmla="*/ 156825 w 882707"/>
              <a:gd name="connsiteY64" fmla="*/ 742620 h 782632"/>
              <a:gd name="connsiteX65" fmla="*/ 151540 w 882707"/>
              <a:gd name="connsiteY65" fmla="*/ 750548 h 782632"/>
              <a:gd name="connsiteX66" fmla="*/ 146254 w 882707"/>
              <a:gd name="connsiteY66" fmla="*/ 766405 h 782632"/>
              <a:gd name="connsiteX67" fmla="*/ 154182 w 882707"/>
              <a:gd name="connsiteY67" fmla="*/ 771691 h 782632"/>
              <a:gd name="connsiteX68" fmla="*/ 170039 w 882707"/>
              <a:gd name="connsiteY68" fmla="*/ 779619 h 782632"/>
              <a:gd name="connsiteX69" fmla="*/ 246680 w 882707"/>
              <a:gd name="connsiteY69" fmla="*/ 776976 h 782632"/>
              <a:gd name="connsiteX70" fmla="*/ 251965 w 882707"/>
              <a:gd name="connsiteY70" fmla="*/ 769048 h 782632"/>
              <a:gd name="connsiteX71" fmla="*/ 259893 w 882707"/>
              <a:gd name="connsiteY71" fmla="*/ 763762 h 782632"/>
              <a:gd name="connsiteX72" fmla="*/ 262536 w 882707"/>
              <a:gd name="connsiteY72" fmla="*/ 755834 h 782632"/>
              <a:gd name="connsiteX73" fmla="*/ 278393 w 882707"/>
              <a:gd name="connsiteY73" fmla="*/ 747906 h 782632"/>
              <a:gd name="connsiteX74" fmla="*/ 286321 w 882707"/>
              <a:gd name="connsiteY74" fmla="*/ 742620 h 782632"/>
              <a:gd name="connsiteX75" fmla="*/ 294249 w 882707"/>
              <a:gd name="connsiteY75" fmla="*/ 739977 h 782632"/>
              <a:gd name="connsiteX76" fmla="*/ 302178 w 882707"/>
              <a:gd name="connsiteY76" fmla="*/ 732049 h 782632"/>
              <a:gd name="connsiteX77" fmla="*/ 312749 w 882707"/>
              <a:gd name="connsiteY77" fmla="*/ 716192 h 782632"/>
              <a:gd name="connsiteX78" fmla="*/ 315392 w 882707"/>
              <a:gd name="connsiteY78" fmla="*/ 705621 h 782632"/>
              <a:gd name="connsiteX79" fmla="*/ 320677 w 882707"/>
              <a:gd name="connsiteY79" fmla="*/ 689765 h 782632"/>
              <a:gd name="connsiteX80" fmla="*/ 323320 w 882707"/>
              <a:gd name="connsiteY80" fmla="*/ 681836 h 782632"/>
              <a:gd name="connsiteX81" fmla="*/ 325963 w 882707"/>
              <a:gd name="connsiteY81" fmla="*/ 671265 h 782632"/>
              <a:gd name="connsiteX82" fmla="*/ 341819 w 882707"/>
              <a:gd name="connsiteY82" fmla="*/ 663337 h 782632"/>
              <a:gd name="connsiteX83" fmla="*/ 394675 w 882707"/>
              <a:gd name="connsiteY83" fmla="*/ 668622 h 782632"/>
              <a:gd name="connsiteX84" fmla="*/ 410532 w 882707"/>
              <a:gd name="connsiteY84" fmla="*/ 676551 h 782632"/>
              <a:gd name="connsiteX85" fmla="*/ 436959 w 882707"/>
              <a:gd name="connsiteY85" fmla="*/ 681836 h 782632"/>
              <a:gd name="connsiteX86" fmla="*/ 452816 w 882707"/>
              <a:gd name="connsiteY86" fmla="*/ 687122 h 782632"/>
              <a:gd name="connsiteX87" fmla="*/ 460744 w 882707"/>
              <a:gd name="connsiteY87" fmla="*/ 689765 h 782632"/>
              <a:gd name="connsiteX88" fmla="*/ 497743 w 882707"/>
              <a:gd name="connsiteY88" fmla="*/ 687122 h 782632"/>
              <a:gd name="connsiteX89" fmla="*/ 526814 w 882707"/>
              <a:gd name="connsiteY89" fmla="*/ 681836 h 782632"/>
              <a:gd name="connsiteX90" fmla="*/ 550599 w 882707"/>
              <a:gd name="connsiteY90" fmla="*/ 679194 h 782632"/>
              <a:gd name="connsiteX91" fmla="*/ 563812 w 882707"/>
              <a:gd name="connsiteY91" fmla="*/ 658051 h 782632"/>
              <a:gd name="connsiteX92" fmla="*/ 574384 w 882707"/>
              <a:gd name="connsiteY92" fmla="*/ 642195 h 782632"/>
              <a:gd name="connsiteX93" fmla="*/ 582312 w 882707"/>
              <a:gd name="connsiteY93" fmla="*/ 618410 h 782632"/>
              <a:gd name="connsiteX94" fmla="*/ 584955 w 882707"/>
              <a:gd name="connsiteY94" fmla="*/ 610481 h 782632"/>
              <a:gd name="connsiteX95" fmla="*/ 616668 w 882707"/>
              <a:gd name="connsiteY95" fmla="*/ 599910 h 782632"/>
              <a:gd name="connsiteX96" fmla="*/ 624596 w 882707"/>
              <a:gd name="connsiteY96" fmla="*/ 597268 h 782632"/>
              <a:gd name="connsiteX97" fmla="*/ 632525 w 882707"/>
              <a:gd name="connsiteY97" fmla="*/ 594625 h 782632"/>
              <a:gd name="connsiteX98" fmla="*/ 640453 w 882707"/>
              <a:gd name="connsiteY98" fmla="*/ 586696 h 782632"/>
              <a:gd name="connsiteX99" fmla="*/ 651024 w 882707"/>
              <a:gd name="connsiteY99" fmla="*/ 570840 h 782632"/>
              <a:gd name="connsiteX100" fmla="*/ 656310 w 882707"/>
              <a:gd name="connsiteY100" fmla="*/ 554983 h 782632"/>
              <a:gd name="connsiteX101" fmla="*/ 669523 w 882707"/>
              <a:gd name="connsiteY101" fmla="*/ 531198 h 782632"/>
              <a:gd name="connsiteX102" fmla="*/ 685380 w 882707"/>
              <a:gd name="connsiteY102" fmla="*/ 517984 h 782632"/>
              <a:gd name="connsiteX103" fmla="*/ 693308 w 882707"/>
              <a:gd name="connsiteY103" fmla="*/ 510056 h 782632"/>
              <a:gd name="connsiteX104" fmla="*/ 703880 w 882707"/>
              <a:gd name="connsiteY104" fmla="*/ 507413 h 782632"/>
              <a:gd name="connsiteX105" fmla="*/ 719736 w 882707"/>
              <a:gd name="connsiteY105" fmla="*/ 502128 h 782632"/>
              <a:gd name="connsiteX106" fmla="*/ 730307 w 882707"/>
              <a:gd name="connsiteY106" fmla="*/ 478343 h 782632"/>
              <a:gd name="connsiteX107" fmla="*/ 735593 w 882707"/>
              <a:gd name="connsiteY107" fmla="*/ 462486 h 782632"/>
              <a:gd name="connsiteX108" fmla="*/ 743521 w 882707"/>
              <a:gd name="connsiteY108" fmla="*/ 454558 h 782632"/>
              <a:gd name="connsiteX109" fmla="*/ 759378 w 882707"/>
              <a:gd name="connsiteY109" fmla="*/ 446629 h 782632"/>
              <a:gd name="connsiteX110" fmla="*/ 767306 w 882707"/>
              <a:gd name="connsiteY110" fmla="*/ 438701 h 782632"/>
              <a:gd name="connsiteX111" fmla="*/ 791091 w 882707"/>
              <a:gd name="connsiteY111" fmla="*/ 428130 h 782632"/>
              <a:gd name="connsiteX112" fmla="*/ 836018 w 882707"/>
              <a:gd name="connsiteY112" fmla="*/ 425487 h 782632"/>
              <a:gd name="connsiteX113" fmla="*/ 851875 w 882707"/>
              <a:gd name="connsiteY113" fmla="*/ 420202 h 782632"/>
              <a:gd name="connsiteX114" fmla="*/ 859803 w 882707"/>
              <a:gd name="connsiteY114" fmla="*/ 404345 h 782632"/>
              <a:gd name="connsiteX115" fmla="*/ 870374 w 882707"/>
              <a:gd name="connsiteY115" fmla="*/ 380560 h 782632"/>
              <a:gd name="connsiteX116" fmla="*/ 880945 w 882707"/>
              <a:gd name="connsiteY116" fmla="*/ 383203 h 782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882707" h="782632">
                <a:moveTo>
                  <a:pt x="880945" y="383203"/>
                </a:moveTo>
                <a:cubicBezTo>
                  <a:pt x="879183" y="381882"/>
                  <a:pt x="863527" y="377287"/>
                  <a:pt x="859803" y="372632"/>
                </a:cubicBezTo>
                <a:cubicBezTo>
                  <a:pt x="851061" y="361706"/>
                  <a:pt x="865726" y="365938"/>
                  <a:pt x="849232" y="356775"/>
                </a:cubicBezTo>
                <a:cubicBezTo>
                  <a:pt x="841922" y="352714"/>
                  <a:pt x="830962" y="351295"/>
                  <a:pt x="822804" y="348847"/>
                </a:cubicBezTo>
                <a:cubicBezTo>
                  <a:pt x="817468" y="347246"/>
                  <a:pt x="812353" y="344912"/>
                  <a:pt x="806948" y="343561"/>
                </a:cubicBezTo>
                <a:cubicBezTo>
                  <a:pt x="790976" y="339568"/>
                  <a:pt x="799816" y="342065"/>
                  <a:pt x="780520" y="335633"/>
                </a:cubicBezTo>
                <a:cubicBezTo>
                  <a:pt x="777877" y="334752"/>
                  <a:pt x="774910" y="334535"/>
                  <a:pt x="772592" y="332990"/>
                </a:cubicBezTo>
                <a:cubicBezTo>
                  <a:pt x="761553" y="325632"/>
                  <a:pt x="766909" y="329951"/>
                  <a:pt x="756735" y="319776"/>
                </a:cubicBezTo>
                <a:cubicBezTo>
                  <a:pt x="749754" y="298836"/>
                  <a:pt x="750533" y="309415"/>
                  <a:pt x="754092" y="288063"/>
                </a:cubicBezTo>
                <a:cubicBezTo>
                  <a:pt x="751706" y="237968"/>
                  <a:pt x="768960" y="237191"/>
                  <a:pt x="743521" y="229922"/>
                </a:cubicBezTo>
                <a:cubicBezTo>
                  <a:pt x="740029" y="228924"/>
                  <a:pt x="736474" y="228160"/>
                  <a:pt x="732950" y="227279"/>
                </a:cubicBezTo>
                <a:cubicBezTo>
                  <a:pt x="730307" y="225517"/>
                  <a:pt x="727268" y="224240"/>
                  <a:pt x="725022" y="221994"/>
                </a:cubicBezTo>
                <a:cubicBezTo>
                  <a:pt x="712546" y="209518"/>
                  <a:pt x="725691" y="219033"/>
                  <a:pt x="717093" y="206137"/>
                </a:cubicBezTo>
                <a:cubicBezTo>
                  <a:pt x="715020" y="203027"/>
                  <a:pt x="712036" y="200602"/>
                  <a:pt x="709165" y="198209"/>
                </a:cubicBezTo>
                <a:cubicBezTo>
                  <a:pt x="687656" y="180284"/>
                  <a:pt x="719942" y="210677"/>
                  <a:pt x="685380" y="187637"/>
                </a:cubicBezTo>
                <a:cubicBezTo>
                  <a:pt x="682737" y="185875"/>
                  <a:pt x="680293" y="183772"/>
                  <a:pt x="677452" y="182352"/>
                </a:cubicBezTo>
                <a:cubicBezTo>
                  <a:pt x="673011" y="180132"/>
                  <a:pt x="663186" y="178336"/>
                  <a:pt x="658952" y="177066"/>
                </a:cubicBezTo>
                <a:cubicBezTo>
                  <a:pt x="653616" y="175465"/>
                  <a:pt x="643096" y="171781"/>
                  <a:pt x="643096" y="171781"/>
                </a:cubicBezTo>
                <a:cubicBezTo>
                  <a:pt x="641334" y="169138"/>
                  <a:pt x="639061" y="166772"/>
                  <a:pt x="637810" y="163853"/>
                </a:cubicBezTo>
                <a:cubicBezTo>
                  <a:pt x="636379" y="160514"/>
                  <a:pt x="636969" y="156435"/>
                  <a:pt x="635167" y="153281"/>
                </a:cubicBezTo>
                <a:cubicBezTo>
                  <a:pt x="633313" y="150036"/>
                  <a:pt x="629632" y="148224"/>
                  <a:pt x="627239" y="145353"/>
                </a:cubicBezTo>
                <a:cubicBezTo>
                  <a:pt x="625206" y="142913"/>
                  <a:pt x="623374" y="140266"/>
                  <a:pt x="621954" y="137425"/>
                </a:cubicBezTo>
                <a:cubicBezTo>
                  <a:pt x="619734" y="132984"/>
                  <a:pt x="617938" y="123159"/>
                  <a:pt x="616668" y="118925"/>
                </a:cubicBezTo>
                <a:cubicBezTo>
                  <a:pt x="615067" y="113589"/>
                  <a:pt x="613144" y="108354"/>
                  <a:pt x="611382" y="103069"/>
                </a:cubicBezTo>
                <a:cubicBezTo>
                  <a:pt x="609874" y="98544"/>
                  <a:pt x="607848" y="90141"/>
                  <a:pt x="603454" y="87212"/>
                </a:cubicBezTo>
                <a:cubicBezTo>
                  <a:pt x="600432" y="85197"/>
                  <a:pt x="596407" y="85450"/>
                  <a:pt x="592883" y="84569"/>
                </a:cubicBezTo>
                <a:cubicBezTo>
                  <a:pt x="591121" y="81926"/>
                  <a:pt x="588887" y="79543"/>
                  <a:pt x="587597" y="76641"/>
                </a:cubicBezTo>
                <a:cubicBezTo>
                  <a:pt x="585334" y="71550"/>
                  <a:pt x="582312" y="60784"/>
                  <a:pt x="582312" y="60784"/>
                </a:cubicBezTo>
                <a:cubicBezTo>
                  <a:pt x="581431" y="52856"/>
                  <a:pt x="582192" y="44567"/>
                  <a:pt x="579669" y="36999"/>
                </a:cubicBezTo>
                <a:cubicBezTo>
                  <a:pt x="578487" y="33453"/>
                  <a:pt x="574134" y="31942"/>
                  <a:pt x="571741" y="29071"/>
                </a:cubicBezTo>
                <a:cubicBezTo>
                  <a:pt x="568109" y="24713"/>
                  <a:pt x="564315" y="15529"/>
                  <a:pt x="558527" y="13214"/>
                </a:cubicBezTo>
                <a:cubicBezTo>
                  <a:pt x="552743" y="10901"/>
                  <a:pt x="546135" y="11794"/>
                  <a:pt x="540027" y="10572"/>
                </a:cubicBezTo>
                <a:cubicBezTo>
                  <a:pt x="532904" y="9147"/>
                  <a:pt x="525776" y="7583"/>
                  <a:pt x="518885" y="5286"/>
                </a:cubicBezTo>
                <a:lnTo>
                  <a:pt x="503029" y="0"/>
                </a:lnTo>
                <a:cubicBezTo>
                  <a:pt x="479012" y="3431"/>
                  <a:pt x="490440" y="673"/>
                  <a:pt x="468673" y="7929"/>
                </a:cubicBezTo>
                <a:cubicBezTo>
                  <a:pt x="466030" y="8810"/>
                  <a:pt x="463062" y="9027"/>
                  <a:pt x="460744" y="10572"/>
                </a:cubicBezTo>
                <a:lnTo>
                  <a:pt x="452816" y="15857"/>
                </a:lnTo>
                <a:cubicBezTo>
                  <a:pt x="446864" y="33711"/>
                  <a:pt x="455118" y="14358"/>
                  <a:pt x="442245" y="29071"/>
                </a:cubicBezTo>
                <a:cubicBezTo>
                  <a:pt x="438062" y="33852"/>
                  <a:pt x="435198" y="39642"/>
                  <a:pt x="431674" y="44928"/>
                </a:cubicBezTo>
                <a:cubicBezTo>
                  <a:pt x="429912" y="47571"/>
                  <a:pt x="429401" y="51851"/>
                  <a:pt x="426388" y="52856"/>
                </a:cubicBezTo>
                <a:lnTo>
                  <a:pt x="418460" y="55499"/>
                </a:lnTo>
                <a:cubicBezTo>
                  <a:pt x="417069" y="55221"/>
                  <a:pt x="397164" y="51457"/>
                  <a:pt x="394675" y="50213"/>
                </a:cubicBezTo>
                <a:cubicBezTo>
                  <a:pt x="388993" y="47372"/>
                  <a:pt x="384104" y="43166"/>
                  <a:pt x="378818" y="39642"/>
                </a:cubicBezTo>
                <a:cubicBezTo>
                  <a:pt x="376175" y="37880"/>
                  <a:pt x="374004" y="34980"/>
                  <a:pt x="370890" y="34357"/>
                </a:cubicBezTo>
                <a:lnTo>
                  <a:pt x="357676" y="31714"/>
                </a:lnTo>
                <a:cubicBezTo>
                  <a:pt x="329486" y="32595"/>
                  <a:pt x="301223" y="32137"/>
                  <a:pt x="273107" y="34357"/>
                </a:cubicBezTo>
                <a:cubicBezTo>
                  <a:pt x="267553" y="34795"/>
                  <a:pt x="262536" y="37880"/>
                  <a:pt x="257251" y="39642"/>
                </a:cubicBezTo>
                <a:lnTo>
                  <a:pt x="241394" y="44928"/>
                </a:lnTo>
                <a:lnTo>
                  <a:pt x="233466" y="47570"/>
                </a:lnTo>
                <a:cubicBezTo>
                  <a:pt x="230823" y="48451"/>
                  <a:pt x="228240" y="49537"/>
                  <a:pt x="225537" y="50213"/>
                </a:cubicBezTo>
                <a:cubicBezTo>
                  <a:pt x="222013" y="51094"/>
                  <a:pt x="218445" y="51812"/>
                  <a:pt x="214966" y="52856"/>
                </a:cubicBezTo>
                <a:cubicBezTo>
                  <a:pt x="209630" y="54457"/>
                  <a:pt x="204467" y="56612"/>
                  <a:pt x="199110" y="58142"/>
                </a:cubicBezTo>
                <a:lnTo>
                  <a:pt x="180610" y="63427"/>
                </a:lnTo>
                <a:cubicBezTo>
                  <a:pt x="167220" y="103592"/>
                  <a:pt x="176388" y="73094"/>
                  <a:pt x="180610" y="174424"/>
                </a:cubicBezTo>
                <a:cubicBezTo>
                  <a:pt x="180942" y="182394"/>
                  <a:pt x="182372" y="190281"/>
                  <a:pt x="183253" y="198209"/>
                </a:cubicBezTo>
                <a:cubicBezTo>
                  <a:pt x="182372" y="258993"/>
                  <a:pt x="208412" y="326500"/>
                  <a:pt x="180610" y="380560"/>
                </a:cubicBezTo>
                <a:cubicBezTo>
                  <a:pt x="166503" y="407990"/>
                  <a:pt x="98704" y="354233"/>
                  <a:pt x="88113" y="383203"/>
                </a:cubicBezTo>
                <a:cubicBezTo>
                  <a:pt x="0" y="624220"/>
                  <a:pt x="19143" y="618380"/>
                  <a:pt x="114541" y="628981"/>
                </a:cubicBezTo>
                <a:cubicBezTo>
                  <a:pt x="117184" y="629862"/>
                  <a:pt x="120151" y="630079"/>
                  <a:pt x="122469" y="631624"/>
                </a:cubicBezTo>
                <a:cubicBezTo>
                  <a:pt x="142106" y="644716"/>
                  <a:pt x="121956" y="633626"/>
                  <a:pt x="133040" y="647480"/>
                </a:cubicBezTo>
                <a:cubicBezTo>
                  <a:pt x="135024" y="649960"/>
                  <a:pt x="138326" y="651004"/>
                  <a:pt x="140969" y="652766"/>
                </a:cubicBezTo>
                <a:cubicBezTo>
                  <a:pt x="147608" y="672689"/>
                  <a:pt x="138653" y="648135"/>
                  <a:pt x="148897" y="668622"/>
                </a:cubicBezTo>
                <a:cubicBezTo>
                  <a:pt x="151119" y="673066"/>
                  <a:pt x="152911" y="682884"/>
                  <a:pt x="154182" y="687122"/>
                </a:cubicBezTo>
                <a:cubicBezTo>
                  <a:pt x="155783" y="692459"/>
                  <a:pt x="159468" y="702979"/>
                  <a:pt x="159468" y="702979"/>
                </a:cubicBezTo>
                <a:cubicBezTo>
                  <a:pt x="158587" y="716193"/>
                  <a:pt x="159002" y="729557"/>
                  <a:pt x="156825" y="742620"/>
                </a:cubicBezTo>
                <a:cubicBezTo>
                  <a:pt x="156303" y="745753"/>
                  <a:pt x="152830" y="747646"/>
                  <a:pt x="151540" y="750548"/>
                </a:cubicBezTo>
                <a:cubicBezTo>
                  <a:pt x="149277" y="755639"/>
                  <a:pt x="146254" y="766405"/>
                  <a:pt x="146254" y="766405"/>
                </a:cubicBezTo>
                <a:cubicBezTo>
                  <a:pt x="148897" y="768167"/>
                  <a:pt x="151341" y="770271"/>
                  <a:pt x="154182" y="771691"/>
                </a:cubicBezTo>
                <a:cubicBezTo>
                  <a:pt x="176065" y="782632"/>
                  <a:pt x="147319" y="764471"/>
                  <a:pt x="170039" y="779619"/>
                </a:cubicBezTo>
                <a:cubicBezTo>
                  <a:pt x="195586" y="778738"/>
                  <a:pt x="221328" y="780247"/>
                  <a:pt x="246680" y="776976"/>
                </a:cubicBezTo>
                <a:cubicBezTo>
                  <a:pt x="249830" y="776570"/>
                  <a:pt x="249719" y="771294"/>
                  <a:pt x="251965" y="769048"/>
                </a:cubicBezTo>
                <a:cubicBezTo>
                  <a:pt x="254211" y="766802"/>
                  <a:pt x="257250" y="765524"/>
                  <a:pt x="259893" y="763762"/>
                </a:cubicBezTo>
                <a:cubicBezTo>
                  <a:pt x="260774" y="761119"/>
                  <a:pt x="260796" y="758009"/>
                  <a:pt x="262536" y="755834"/>
                </a:cubicBezTo>
                <a:cubicBezTo>
                  <a:pt x="266264" y="751175"/>
                  <a:pt x="273168" y="749647"/>
                  <a:pt x="278393" y="747906"/>
                </a:cubicBezTo>
                <a:cubicBezTo>
                  <a:pt x="281036" y="746144"/>
                  <a:pt x="283480" y="744041"/>
                  <a:pt x="286321" y="742620"/>
                </a:cubicBezTo>
                <a:cubicBezTo>
                  <a:pt x="288812" y="741374"/>
                  <a:pt x="291931" y="741522"/>
                  <a:pt x="294249" y="739977"/>
                </a:cubicBezTo>
                <a:cubicBezTo>
                  <a:pt x="297359" y="737904"/>
                  <a:pt x="299535" y="734692"/>
                  <a:pt x="302178" y="732049"/>
                </a:cubicBezTo>
                <a:cubicBezTo>
                  <a:pt x="310430" y="707295"/>
                  <a:pt x="296911" y="743909"/>
                  <a:pt x="312749" y="716192"/>
                </a:cubicBezTo>
                <a:cubicBezTo>
                  <a:pt x="314551" y="713038"/>
                  <a:pt x="314348" y="709100"/>
                  <a:pt x="315392" y="705621"/>
                </a:cubicBezTo>
                <a:cubicBezTo>
                  <a:pt x="316993" y="700285"/>
                  <a:pt x="318915" y="695050"/>
                  <a:pt x="320677" y="689765"/>
                </a:cubicBezTo>
                <a:cubicBezTo>
                  <a:pt x="321558" y="687122"/>
                  <a:pt x="322644" y="684539"/>
                  <a:pt x="323320" y="681836"/>
                </a:cubicBezTo>
                <a:cubicBezTo>
                  <a:pt x="324201" y="678312"/>
                  <a:pt x="323948" y="674287"/>
                  <a:pt x="325963" y="671265"/>
                </a:cubicBezTo>
                <a:cubicBezTo>
                  <a:pt x="328890" y="666875"/>
                  <a:pt x="337297" y="664844"/>
                  <a:pt x="341819" y="663337"/>
                </a:cubicBezTo>
                <a:cubicBezTo>
                  <a:pt x="364857" y="664873"/>
                  <a:pt x="375627" y="663860"/>
                  <a:pt x="394675" y="668622"/>
                </a:cubicBezTo>
                <a:cubicBezTo>
                  <a:pt x="407955" y="671942"/>
                  <a:pt x="397618" y="670094"/>
                  <a:pt x="410532" y="676551"/>
                </a:cubicBezTo>
                <a:cubicBezTo>
                  <a:pt x="417914" y="680242"/>
                  <a:pt x="430138" y="680862"/>
                  <a:pt x="436959" y="681836"/>
                </a:cubicBezTo>
                <a:lnTo>
                  <a:pt x="452816" y="687122"/>
                </a:lnTo>
                <a:lnTo>
                  <a:pt x="460744" y="689765"/>
                </a:lnTo>
                <a:cubicBezTo>
                  <a:pt x="473077" y="688884"/>
                  <a:pt x="485440" y="688352"/>
                  <a:pt x="497743" y="687122"/>
                </a:cubicBezTo>
                <a:cubicBezTo>
                  <a:pt x="515861" y="685310"/>
                  <a:pt x="510164" y="684214"/>
                  <a:pt x="526814" y="681836"/>
                </a:cubicBezTo>
                <a:cubicBezTo>
                  <a:pt x="534711" y="680708"/>
                  <a:pt x="542671" y="680075"/>
                  <a:pt x="550599" y="679194"/>
                </a:cubicBezTo>
                <a:cubicBezTo>
                  <a:pt x="569621" y="666511"/>
                  <a:pt x="546194" y="684475"/>
                  <a:pt x="563812" y="658051"/>
                </a:cubicBezTo>
                <a:lnTo>
                  <a:pt x="574384" y="642195"/>
                </a:lnTo>
                <a:lnTo>
                  <a:pt x="582312" y="618410"/>
                </a:lnTo>
                <a:cubicBezTo>
                  <a:pt x="583193" y="615767"/>
                  <a:pt x="582312" y="611362"/>
                  <a:pt x="584955" y="610481"/>
                </a:cubicBezTo>
                <a:lnTo>
                  <a:pt x="616668" y="599910"/>
                </a:lnTo>
                <a:lnTo>
                  <a:pt x="624596" y="597268"/>
                </a:lnTo>
                <a:lnTo>
                  <a:pt x="632525" y="594625"/>
                </a:lnTo>
                <a:cubicBezTo>
                  <a:pt x="635168" y="591982"/>
                  <a:pt x="638158" y="589646"/>
                  <a:pt x="640453" y="586696"/>
                </a:cubicBezTo>
                <a:cubicBezTo>
                  <a:pt x="644353" y="581682"/>
                  <a:pt x="651024" y="570840"/>
                  <a:pt x="651024" y="570840"/>
                </a:cubicBezTo>
                <a:lnTo>
                  <a:pt x="656310" y="554983"/>
                </a:lnTo>
                <a:cubicBezTo>
                  <a:pt x="659633" y="545013"/>
                  <a:pt x="660433" y="540287"/>
                  <a:pt x="669523" y="531198"/>
                </a:cubicBezTo>
                <a:cubicBezTo>
                  <a:pt x="692696" y="508028"/>
                  <a:pt x="663296" y="536388"/>
                  <a:pt x="685380" y="517984"/>
                </a:cubicBezTo>
                <a:cubicBezTo>
                  <a:pt x="688251" y="515591"/>
                  <a:pt x="690063" y="511910"/>
                  <a:pt x="693308" y="510056"/>
                </a:cubicBezTo>
                <a:cubicBezTo>
                  <a:pt x="696462" y="508254"/>
                  <a:pt x="700401" y="508457"/>
                  <a:pt x="703880" y="507413"/>
                </a:cubicBezTo>
                <a:cubicBezTo>
                  <a:pt x="709216" y="505812"/>
                  <a:pt x="719736" y="502128"/>
                  <a:pt x="719736" y="502128"/>
                </a:cubicBezTo>
                <a:cubicBezTo>
                  <a:pt x="728112" y="489563"/>
                  <a:pt x="724017" y="497213"/>
                  <a:pt x="730307" y="478343"/>
                </a:cubicBezTo>
                <a:lnTo>
                  <a:pt x="735593" y="462486"/>
                </a:lnTo>
                <a:cubicBezTo>
                  <a:pt x="738236" y="459843"/>
                  <a:pt x="740411" y="456631"/>
                  <a:pt x="743521" y="454558"/>
                </a:cubicBezTo>
                <a:cubicBezTo>
                  <a:pt x="767361" y="438664"/>
                  <a:pt x="734423" y="467425"/>
                  <a:pt x="759378" y="446629"/>
                </a:cubicBezTo>
                <a:cubicBezTo>
                  <a:pt x="762249" y="444236"/>
                  <a:pt x="764435" y="441094"/>
                  <a:pt x="767306" y="438701"/>
                </a:cubicBezTo>
                <a:cubicBezTo>
                  <a:pt x="773353" y="433662"/>
                  <a:pt x="783653" y="428568"/>
                  <a:pt x="791091" y="428130"/>
                </a:cubicBezTo>
                <a:lnTo>
                  <a:pt x="836018" y="425487"/>
                </a:lnTo>
                <a:cubicBezTo>
                  <a:pt x="841304" y="423725"/>
                  <a:pt x="850113" y="425488"/>
                  <a:pt x="851875" y="420202"/>
                </a:cubicBezTo>
                <a:cubicBezTo>
                  <a:pt x="861513" y="391287"/>
                  <a:pt x="846143" y="435081"/>
                  <a:pt x="859803" y="404345"/>
                </a:cubicBezTo>
                <a:cubicBezTo>
                  <a:pt x="860937" y="401794"/>
                  <a:pt x="864938" y="383821"/>
                  <a:pt x="870374" y="380560"/>
                </a:cubicBezTo>
                <a:cubicBezTo>
                  <a:pt x="872640" y="379200"/>
                  <a:pt x="882707" y="384524"/>
                  <a:pt x="880945" y="383203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5" name="Freeform 84"/>
          <p:cNvSpPr/>
          <p:nvPr/>
        </p:nvSpPr>
        <p:spPr>
          <a:xfrm>
            <a:off x="4349750" y="5662088"/>
            <a:ext cx="1322388" cy="1064683"/>
          </a:xfrm>
          <a:custGeom>
            <a:avLst/>
            <a:gdLst>
              <a:gd name="connsiteX0" fmla="*/ 280510 w 1322058"/>
              <a:gd name="connsiteY0" fmla="*/ 238206 h 1066533"/>
              <a:gd name="connsiteX1" fmla="*/ 277867 w 1322058"/>
              <a:gd name="connsiteY1" fmla="*/ 528911 h 1066533"/>
              <a:gd name="connsiteX2" fmla="*/ 269939 w 1322058"/>
              <a:gd name="connsiteY2" fmla="*/ 534197 h 1066533"/>
              <a:gd name="connsiteX3" fmla="*/ 254082 w 1322058"/>
              <a:gd name="connsiteY3" fmla="*/ 539482 h 1066533"/>
              <a:gd name="connsiteX4" fmla="*/ 230297 w 1322058"/>
              <a:gd name="connsiteY4" fmla="*/ 547410 h 1066533"/>
              <a:gd name="connsiteX5" fmla="*/ 222369 w 1322058"/>
              <a:gd name="connsiteY5" fmla="*/ 550053 h 1066533"/>
              <a:gd name="connsiteX6" fmla="*/ 214441 w 1322058"/>
              <a:gd name="connsiteY6" fmla="*/ 552696 h 1066533"/>
              <a:gd name="connsiteX7" fmla="*/ 190656 w 1322058"/>
              <a:gd name="connsiteY7" fmla="*/ 563267 h 1066533"/>
              <a:gd name="connsiteX8" fmla="*/ 182727 w 1322058"/>
              <a:gd name="connsiteY8" fmla="*/ 565910 h 1066533"/>
              <a:gd name="connsiteX9" fmla="*/ 158942 w 1322058"/>
              <a:gd name="connsiteY9" fmla="*/ 568553 h 1066533"/>
              <a:gd name="connsiteX10" fmla="*/ 108730 w 1322058"/>
              <a:gd name="connsiteY10" fmla="*/ 563267 h 1066533"/>
              <a:gd name="connsiteX11" fmla="*/ 100801 w 1322058"/>
              <a:gd name="connsiteY11" fmla="*/ 557982 h 1066533"/>
              <a:gd name="connsiteX12" fmla="*/ 90230 w 1322058"/>
              <a:gd name="connsiteY12" fmla="*/ 542125 h 1066533"/>
              <a:gd name="connsiteX13" fmla="*/ 87587 w 1322058"/>
              <a:gd name="connsiteY13" fmla="*/ 534197 h 1066533"/>
              <a:gd name="connsiteX14" fmla="*/ 79659 w 1322058"/>
              <a:gd name="connsiteY14" fmla="*/ 528911 h 1066533"/>
              <a:gd name="connsiteX15" fmla="*/ 71731 w 1322058"/>
              <a:gd name="connsiteY15" fmla="*/ 520983 h 1066533"/>
              <a:gd name="connsiteX16" fmla="*/ 66445 w 1322058"/>
              <a:gd name="connsiteY16" fmla="*/ 505126 h 1066533"/>
              <a:gd name="connsiteX17" fmla="*/ 50589 w 1322058"/>
              <a:gd name="connsiteY17" fmla="*/ 494555 h 1066533"/>
              <a:gd name="connsiteX18" fmla="*/ 13590 w 1322058"/>
              <a:gd name="connsiteY18" fmla="*/ 505126 h 1066533"/>
              <a:gd name="connsiteX19" fmla="*/ 8304 w 1322058"/>
              <a:gd name="connsiteY19" fmla="*/ 513054 h 1066533"/>
              <a:gd name="connsiteX20" fmla="*/ 8304 w 1322058"/>
              <a:gd name="connsiteY20" fmla="*/ 573838 h 1066533"/>
              <a:gd name="connsiteX21" fmla="*/ 13590 w 1322058"/>
              <a:gd name="connsiteY21" fmla="*/ 589695 h 1066533"/>
              <a:gd name="connsiteX22" fmla="*/ 18875 w 1322058"/>
              <a:gd name="connsiteY22" fmla="*/ 610837 h 1066533"/>
              <a:gd name="connsiteX23" fmla="*/ 26804 w 1322058"/>
              <a:gd name="connsiteY23" fmla="*/ 637265 h 1066533"/>
              <a:gd name="connsiteX24" fmla="*/ 32089 w 1322058"/>
              <a:gd name="connsiteY24" fmla="*/ 653121 h 1066533"/>
              <a:gd name="connsiteX25" fmla="*/ 37375 w 1322058"/>
              <a:gd name="connsiteY25" fmla="*/ 661050 h 1066533"/>
              <a:gd name="connsiteX26" fmla="*/ 45303 w 1322058"/>
              <a:gd name="connsiteY26" fmla="*/ 700691 h 1066533"/>
              <a:gd name="connsiteX27" fmla="*/ 53231 w 1322058"/>
              <a:gd name="connsiteY27" fmla="*/ 719191 h 1066533"/>
              <a:gd name="connsiteX28" fmla="*/ 61160 w 1322058"/>
              <a:gd name="connsiteY28" fmla="*/ 721834 h 1066533"/>
              <a:gd name="connsiteX29" fmla="*/ 84945 w 1322058"/>
              <a:gd name="connsiteY29" fmla="*/ 740333 h 1066533"/>
              <a:gd name="connsiteX30" fmla="*/ 92873 w 1322058"/>
              <a:gd name="connsiteY30" fmla="*/ 745619 h 1066533"/>
              <a:gd name="connsiteX31" fmla="*/ 98159 w 1322058"/>
              <a:gd name="connsiteY31" fmla="*/ 753547 h 1066533"/>
              <a:gd name="connsiteX32" fmla="*/ 106087 w 1322058"/>
              <a:gd name="connsiteY32" fmla="*/ 758832 h 1066533"/>
              <a:gd name="connsiteX33" fmla="*/ 108730 w 1322058"/>
              <a:gd name="connsiteY33" fmla="*/ 766761 h 1066533"/>
              <a:gd name="connsiteX34" fmla="*/ 114015 w 1322058"/>
              <a:gd name="connsiteY34" fmla="*/ 774689 h 1066533"/>
              <a:gd name="connsiteX35" fmla="*/ 124586 w 1322058"/>
              <a:gd name="connsiteY35" fmla="*/ 790546 h 1066533"/>
              <a:gd name="connsiteX36" fmla="*/ 127229 w 1322058"/>
              <a:gd name="connsiteY36" fmla="*/ 867186 h 1066533"/>
              <a:gd name="connsiteX37" fmla="*/ 124586 w 1322058"/>
              <a:gd name="connsiteY37" fmla="*/ 875115 h 1066533"/>
              <a:gd name="connsiteX38" fmla="*/ 108730 w 1322058"/>
              <a:gd name="connsiteY38" fmla="*/ 883043 h 1066533"/>
              <a:gd name="connsiteX39" fmla="*/ 103444 w 1322058"/>
              <a:gd name="connsiteY39" fmla="*/ 898899 h 1066533"/>
              <a:gd name="connsiteX40" fmla="*/ 108730 w 1322058"/>
              <a:gd name="connsiteY40" fmla="*/ 917399 h 1066533"/>
              <a:gd name="connsiteX41" fmla="*/ 114015 w 1322058"/>
              <a:gd name="connsiteY41" fmla="*/ 925327 h 1066533"/>
              <a:gd name="connsiteX42" fmla="*/ 121944 w 1322058"/>
              <a:gd name="connsiteY42" fmla="*/ 927970 h 1066533"/>
              <a:gd name="connsiteX43" fmla="*/ 135157 w 1322058"/>
              <a:gd name="connsiteY43" fmla="*/ 951755 h 1066533"/>
              <a:gd name="connsiteX44" fmla="*/ 140443 w 1322058"/>
              <a:gd name="connsiteY44" fmla="*/ 967612 h 1066533"/>
              <a:gd name="connsiteX45" fmla="*/ 135157 w 1322058"/>
              <a:gd name="connsiteY45" fmla="*/ 988754 h 1066533"/>
              <a:gd name="connsiteX46" fmla="*/ 132515 w 1322058"/>
              <a:gd name="connsiteY46" fmla="*/ 999325 h 1066533"/>
              <a:gd name="connsiteX47" fmla="*/ 127229 w 1322058"/>
              <a:gd name="connsiteY47" fmla="*/ 1015182 h 1066533"/>
              <a:gd name="connsiteX48" fmla="*/ 135157 w 1322058"/>
              <a:gd name="connsiteY48" fmla="*/ 1007253 h 1066533"/>
              <a:gd name="connsiteX49" fmla="*/ 151014 w 1322058"/>
              <a:gd name="connsiteY49" fmla="*/ 1001968 h 1066533"/>
              <a:gd name="connsiteX50" fmla="*/ 164228 w 1322058"/>
              <a:gd name="connsiteY50" fmla="*/ 1004610 h 1066533"/>
              <a:gd name="connsiteX51" fmla="*/ 166871 w 1322058"/>
              <a:gd name="connsiteY51" fmla="*/ 1015182 h 1066533"/>
              <a:gd name="connsiteX52" fmla="*/ 174799 w 1322058"/>
              <a:gd name="connsiteY52" fmla="*/ 1020467 h 1066533"/>
              <a:gd name="connsiteX53" fmla="*/ 182727 w 1322058"/>
              <a:gd name="connsiteY53" fmla="*/ 1028395 h 1066533"/>
              <a:gd name="connsiteX54" fmla="*/ 188013 w 1322058"/>
              <a:gd name="connsiteY54" fmla="*/ 1036324 h 1066533"/>
              <a:gd name="connsiteX55" fmla="*/ 195941 w 1322058"/>
              <a:gd name="connsiteY55" fmla="*/ 1038967 h 1066533"/>
              <a:gd name="connsiteX56" fmla="*/ 203870 w 1322058"/>
              <a:gd name="connsiteY56" fmla="*/ 1044252 h 1066533"/>
              <a:gd name="connsiteX57" fmla="*/ 211798 w 1322058"/>
              <a:gd name="connsiteY57" fmla="*/ 1046895 h 1066533"/>
              <a:gd name="connsiteX58" fmla="*/ 227655 w 1322058"/>
              <a:gd name="connsiteY58" fmla="*/ 1054823 h 1066533"/>
              <a:gd name="connsiteX59" fmla="*/ 235583 w 1322058"/>
              <a:gd name="connsiteY59" fmla="*/ 1060109 h 1066533"/>
              <a:gd name="connsiteX60" fmla="*/ 275224 w 1322058"/>
              <a:gd name="connsiteY60" fmla="*/ 1060109 h 1066533"/>
              <a:gd name="connsiteX61" fmla="*/ 291081 w 1322058"/>
              <a:gd name="connsiteY61" fmla="*/ 1052180 h 1066533"/>
              <a:gd name="connsiteX62" fmla="*/ 299009 w 1322058"/>
              <a:gd name="connsiteY62" fmla="*/ 1046895 h 1066533"/>
              <a:gd name="connsiteX63" fmla="*/ 317509 w 1322058"/>
              <a:gd name="connsiteY63" fmla="*/ 1041609 h 1066533"/>
              <a:gd name="connsiteX64" fmla="*/ 343937 w 1322058"/>
              <a:gd name="connsiteY64" fmla="*/ 1033681 h 1066533"/>
              <a:gd name="connsiteX65" fmla="*/ 351865 w 1322058"/>
              <a:gd name="connsiteY65" fmla="*/ 1031038 h 1066533"/>
              <a:gd name="connsiteX66" fmla="*/ 412649 w 1322058"/>
              <a:gd name="connsiteY66" fmla="*/ 1025753 h 1066533"/>
              <a:gd name="connsiteX67" fmla="*/ 420577 w 1322058"/>
              <a:gd name="connsiteY67" fmla="*/ 1023110 h 1066533"/>
              <a:gd name="connsiteX68" fmla="*/ 436434 w 1322058"/>
              <a:gd name="connsiteY68" fmla="*/ 1012539 h 1066533"/>
              <a:gd name="connsiteX69" fmla="*/ 460219 w 1322058"/>
              <a:gd name="connsiteY69" fmla="*/ 1004610 h 1066533"/>
              <a:gd name="connsiteX70" fmla="*/ 468147 w 1322058"/>
              <a:gd name="connsiteY70" fmla="*/ 1001968 h 1066533"/>
              <a:gd name="connsiteX71" fmla="*/ 476075 w 1322058"/>
              <a:gd name="connsiteY71" fmla="*/ 999325 h 1066533"/>
              <a:gd name="connsiteX72" fmla="*/ 486646 w 1322058"/>
              <a:gd name="connsiteY72" fmla="*/ 996682 h 1066533"/>
              <a:gd name="connsiteX73" fmla="*/ 494575 w 1322058"/>
              <a:gd name="connsiteY73" fmla="*/ 994039 h 1066533"/>
              <a:gd name="connsiteX74" fmla="*/ 510431 w 1322058"/>
              <a:gd name="connsiteY74" fmla="*/ 991397 h 1066533"/>
              <a:gd name="connsiteX75" fmla="*/ 573858 w 1322058"/>
              <a:gd name="connsiteY75" fmla="*/ 994039 h 1066533"/>
              <a:gd name="connsiteX76" fmla="*/ 589715 w 1322058"/>
              <a:gd name="connsiteY76" fmla="*/ 1004610 h 1066533"/>
              <a:gd name="connsiteX77" fmla="*/ 605571 w 1322058"/>
              <a:gd name="connsiteY77" fmla="*/ 1012539 h 1066533"/>
              <a:gd name="connsiteX78" fmla="*/ 637285 w 1322058"/>
              <a:gd name="connsiteY78" fmla="*/ 1009896 h 1066533"/>
              <a:gd name="connsiteX79" fmla="*/ 663712 w 1322058"/>
              <a:gd name="connsiteY79" fmla="*/ 1001968 h 1066533"/>
              <a:gd name="connsiteX80" fmla="*/ 679569 w 1322058"/>
              <a:gd name="connsiteY80" fmla="*/ 996682 h 1066533"/>
              <a:gd name="connsiteX81" fmla="*/ 695426 w 1322058"/>
              <a:gd name="connsiteY81" fmla="*/ 986111 h 1066533"/>
              <a:gd name="connsiteX82" fmla="*/ 703354 w 1322058"/>
              <a:gd name="connsiteY82" fmla="*/ 980825 h 1066533"/>
              <a:gd name="connsiteX83" fmla="*/ 742996 w 1322058"/>
              <a:gd name="connsiteY83" fmla="*/ 978183 h 1066533"/>
              <a:gd name="connsiteX84" fmla="*/ 758852 w 1322058"/>
              <a:gd name="connsiteY84" fmla="*/ 972897 h 1066533"/>
              <a:gd name="connsiteX85" fmla="*/ 814351 w 1322058"/>
              <a:gd name="connsiteY85" fmla="*/ 967612 h 1066533"/>
              <a:gd name="connsiteX86" fmla="*/ 846064 w 1322058"/>
              <a:gd name="connsiteY86" fmla="*/ 951755 h 1066533"/>
              <a:gd name="connsiteX87" fmla="*/ 853992 w 1322058"/>
              <a:gd name="connsiteY87" fmla="*/ 943827 h 1066533"/>
              <a:gd name="connsiteX88" fmla="*/ 861920 w 1322058"/>
              <a:gd name="connsiteY88" fmla="*/ 941184 h 1066533"/>
              <a:gd name="connsiteX89" fmla="*/ 869849 w 1322058"/>
              <a:gd name="connsiteY89" fmla="*/ 935898 h 1066533"/>
              <a:gd name="connsiteX90" fmla="*/ 880420 w 1322058"/>
              <a:gd name="connsiteY90" fmla="*/ 920042 h 1066533"/>
              <a:gd name="connsiteX91" fmla="*/ 885705 w 1322058"/>
              <a:gd name="connsiteY91" fmla="*/ 912113 h 1066533"/>
              <a:gd name="connsiteX92" fmla="*/ 893634 w 1322058"/>
              <a:gd name="connsiteY92" fmla="*/ 909471 h 1066533"/>
              <a:gd name="connsiteX93" fmla="*/ 898919 w 1322058"/>
              <a:gd name="connsiteY93" fmla="*/ 901542 h 1066533"/>
              <a:gd name="connsiteX94" fmla="*/ 906848 w 1322058"/>
              <a:gd name="connsiteY94" fmla="*/ 896257 h 1066533"/>
              <a:gd name="connsiteX95" fmla="*/ 917419 w 1322058"/>
              <a:gd name="connsiteY95" fmla="*/ 880400 h 1066533"/>
              <a:gd name="connsiteX96" fmla="*/ 941204 w 1322058"/>
              <a:gd name="connsiteY96" fmla="*/ 869829 h 1066533"/>
              <a:gd name="connsiteX97" fmla="*/ 949132 w 1322058"/>
              <a:gd name="connsiteY97" fmla="*/ 867186 h 1066533"/>
              <a:gd name="connsiteX98" fmla="*/ 964989 w 1322058"/>
              <a:gd name="connsiteY98" fmla="*/ 859258 h 1066533"/>
              <a:gd name="connsiteX99" fmla="*/ 972917 w 1322058"/>
              <a:gd name="connsiteY99" fmla="*/ 861901 h 1066533"/>
              <a:gd name="connsiteX100" fmla="*/ 991416 w 1322058"/>
              <a:gd name="connsiteY100" fmla="*/ 840758 h 1066533"/>
              <a:gd name="connsiteX101" fmla="*/ 1007273 w 1322058"/>
              <a:gd name="connsiteY101" fmla="*/ 827545 h 1066533"/>
              <a:gd name="connsiteX102" fmla="*/ 1017844 w 1322058"/>
              <a:gd name="connsiteY102" fmla="*/ 811688 h 1066533"/>
              <a:gd name="connsiteX103" fmla="*/ 1033701 w 1322058"/>
              <a:gd name="connsiteY103" fmla="*/ 801117 h 1066533"/>
              <a:gd name="connsiteX104" fmla="*/ 1046915 w 1322058"/>
              <a:gd name="connsiteY104" fmla="*/ 790546 h 1066533"/>
              <a:gd name="connsiteX105" fmla="*/ 1062771 w 1322058"/>
              <a:gd name="connsiteY105" fmla="*/ 779975 h 1066533"/>
              <a:gd name="connsiteX106" fmla="*/ 1073342 w 1322058"/>
              <a:gd name="connsiteY106" fmla="*/ 769404 h 1066533"/>
              <a:gd name="connsiteX107" fmla="*/ 1075985 w 1322058"/>
              <a:gd name="connsiteY107" fmla="*/ 761475 h 1066533"/>
              <a:gd name="connsiteX108" fmla="*/ 1083914 w 1322058"/>
              <a:gd name="connsiteY108" fmla="*/ 753547 h 1066533"/>
              <a:gd name="connsiteX109" fmla="*/ 1097127 w 1322058"/>
              <a:gd name="connsiteY109" fmla="*/ 742976 h 1066533"/>
              <a:gd name="connsiteX110" fmla="*/ 1107698 w 1322058"/>
              <a:gd name="connsiteY110" fmla="*/ 727119 h 1066533"/>
              <a:gd name="connsiteX111" fmla="*/ 1115627 w 1322058"/>
              <a:gd name="connsiteY111" fmla="*/ 719191 h 1066533"/>
              <a:gd name="connsiteX112" fmla="*/ 1126198 w 1322058"/>
              <a:gd name="connsiteY112" fmla="*/ 703334 h 1066533"/>
              <a:gd name="connsiteX113" fmla="*/ 1136769 w 1322058"/>
              <a:gd name="connsiteY113" fmla="*/ 687478 h 1066533"/>
              <a:gd name="connsiteX114" fmla="*/ 1142055 w 1322058"/>
              <a:gd name="connsiteY114" fmla="*/ 679549 h 1066533"/>
              <a:gd name="connsiteX115" fmla="*/ 1147340 w 1322058"/>
              <a:gd name="connsiteY115" fmla="*/ 671621 h 1066533"/>
              <a:gd name="connsiteX116" fmla="*/ 1163197 w 1322058"/>
              <a:gd name="connsiteY116" fmla="*/ 661050 h 1066533"/>
              <a:gd name="connsiteX117" fmla="*/ 1179053 w 1322058"/>
              <a:gd name="connsiteY117" fmla="*/ 650479 h 1066533"/>
              <a:gd name="connsiteX118" fmla="*/ 1194910 w 1322058"/>
              <a:gd name="connsiteY118" fmla="*/ 639908 h 1066533"/>
              <a:gd name="connsiteX119" fmla="*/ 1205481 w 1322058"/>
              <a:gd name="connsiteY119" fmla="*/ 624051 h 1066533"/>
              <a:gd name="connsiteX120" fmla="*/ 1210767 w 1322058"/>
              <a:gd name="connsiteY120" fmla="*/ 608194 h 1066533"/>
              <a:gd name="connsiteX121" fmla="*/ 1223981 w 1322058"/>
              <a:gd name="connsiteY121" fmla="*/ 584409 h 1066533"/>
              <a:gd name="connsiteX122" fmla="*/ 1242480 w 1322058"/>
              <a:gd name="connsiteY122" fmla="*/ 579124 h 1066533"/>
              <a:gd name="connsiteX123" fmla="*/ 1258337 w 1322058"/>
              <a:gd name="connsiteY123" fmla="*/ 568553 h 1066533"/>
              <a:gd name="connsiteX124" fmla="*/ 1266265 w 1322058"/>
              <a:gd name="connsiteY124" fmla="*/ 563267 h 1066533"/>
              <a:gd name="connsiteX125" fmla="*/ 1268908 w 1322058"/>
              <a:gd name="connsiteY125" fmla="*/ 555339 h 1066533"/>
              <a:gd name="connsiteX126" fmla="*/ 1279479 w 1322058"/>
              <a:gd name="connsiteY126" fmla="*/ 539482 h 1066533"/>
              <a:gd name="connsiteX127" fmla="*/ 1284764 w 1322058"/>
              <a:gd name="connsiteY127" fmla="*/ 523625 h 1066533"/>
              <a:gd name="connsiteX128" fmla="*/ 1287407 w 1322058"/>
              <a:gd name="connsiteY128" fmla="*/ 515697 h 1066533"/>
              <a:gd name="connsiteX129" fmla="*/ 1292693 w 1322058"/>
              <a:gd name="connsiteY129" fmla="*/ 507769 h 1066533"/>
              <a:gd name="connsiteX130" fmla="*/ 1300621 w 1322058"/>
              <a:gd name="connsiteY130" fmla="*/ 483984 h 1066533"/>
              <a:gd name="connsiteX131" fmla="*/ 1303264 w 1322058"/>
              <a:gd name="connsiteY131" fmla="*/ 476056 h 1066533"/>
              <a:gd name="connsiteX132" fmla="*/ 1308549 w 1322058"/>
              <a:gd name="connsiteY132" fmla="*/ 468127 h 1066533"/>
              <a:gd name="connsiteX133" fmla="*/ 1313835 w 1322058"/>
              <a:gd name="connsiteY133" fmla="*/ 452271 h 1066533"/>
              <a:gd name="connsiteX134" fmla="*/ 1319120 w 1322058"/>
              <a:gd name="connsiteY134" fmla="*/ 433771 h 1066533"/>
              <a:gd name="connsiteX135" fmla="*/ 1316478 w 1322058"/>
              <a:gd name="connsiteY135" fmla="*/ 404701 h 1066533"/>
              <a:gd name="connsiteX136" fmla="*/ 1300621 w 1322058"/>
              <a:gd name="connsiteY136" fmla="*/ 407343 h 1066533"/>
              <a:gd name="connsiteX137" fmla="*/ 1271551 w 1322058"/>
              <a:gd name="connsiteY137" fmla="*/ 409986 h 1066533"/>
              <a:gd name="connsiteX138" fmla="*/ 1263622 w 1322058"/>
              <a:gd name="connsiteY138" fmla="*/ 417915 h 1066533"/>
              <a:gd name="connsiteX139" fmla="*/ 1266265 w 1322058"/>
              <a:gd name="connsiteY139" fmla="*/ 359773 h 1066533"/>
              <a:gd name="connsiteX140" fmla="*/ 1268908 w 1322058"/>
              <a:gd name="connsiteY140" fmla="*/ 351845 h 1066533"/>
              <a:gd name="connsiteX141" fmla="*/ 1266265 w 1322058"/>
              <a:gd name="connsiteY141" fmla="*/ 140423 h 1066533"/>
              <a:gd name="connsiteX142" fmla="*/ 1260979 w 1322058"/>
              <a:gd name="connsiteY142" fmla="*/ 124567 h 1066533"/>
              <a:gd name="connsiteX143" fmla="*/ 1258337 w 1322058"/>
              <a:gd name="connsiteY143" fmla="*/ 108710 h 1066533"/>
              <a:gd name="connsiteX144" fmla="*/ 1250408 w 1322058"/>
              <a:gd name="connsiteY144" fmla="*/ 82282 h 1066533"/>
              <a:gd name="connsiteX145" fmla="*/ 1247766 w 1322058"/>
              <a:gd name="connsiteY145" fmla="*/ 74354 h 1066533"/>
              <a:gd name="connsiteX146" fmla="*/ 1242480 w 1322058"/>
              <a:gd name="connsiteY146" fmla="*/ 66425 h 1066533"/>
              <a:gd name="connsiteX147" fmla="*/ 1239837 w 1322058"/>
              <a:gd name="connsiteY147" fmla="*/ 58497 h 1066533"/>
              <a:gd name="connsiteX148" fmla="*/ 1229266 w 1322058"/>
              <a:gd name="connsiteY148" fmla="*/ 39998 h 1066533"/>
              <a:gd name="connsiteX149" fmla="*/ 1226623 w 1322058"/>
              <a:gd name="connsiteY149" fmla="*/ 32069 h 1066533"/>
              <a:gd name="connsiteX150" fmla="*/ 1218695 w 1322058"/>
              <a:gd name="connsiteY150" fmla="*/ 29427 h 1066533"/>
              <a:gd name="connsiteX151" fmla="*/ 1186982 w 1322058"/>
              <a:gd name="connsiteY151" fmla="*/ 32069 h 1066533"/>
              <a:gd name="connsiteX152" fmla="*/ 1160554 w 1322058"/>
              <a:gd name="connsiteY152" fmla="*/ 26784 h 1066533"/>
              <a:gd name="connsiteX153" fmla="*/ 1144697 w 1322058"/>
              <a:gd name="connsiteY153" fmla="*/ 21498 h 1066533"/>
              <a:gd name="connsiteX154" fmla="*/ 1120912 w 1322058"/>
              <a:gd name="connsiteY154" fmla="*/ 13570 h 1066533"/>
              <a:gd name="connsiteX155" fmla="*/ 1112984 w 1322058"/>
              <a:gd name="connsiteY155" fmla="*/ 10927 h 1066533"/>
              <a:gd name="connsiteX156" fmla="*/ 1097127 w 1322058"/>
              <a:gd name="connsiteY156" fmla="*/ 356 h 1066533"/>
              <a:gd name="connsiteX157" fmla="*/ 1060129 w 1322058"/>
              <a:gd name="connsiteY157" fmla="*/ 2999 h 1066533"/>
              <a:gd name="connsiteX158" fmla="*/ 1054843 w 1322058"/>
              <a:gd name="connsiteY158" fmla="*/ 10927 h 1066533"/>
              <a:gd name="connsiteX159" fmla="*/ 1046915 w 1322058"/>
              <a:gd name="connsiteY159" fmla="*/ 26784 h 1066533"/>
              <a:gd name="connsiteX160" fmla="*/ 1028415 w 1322058"/>
              <a:gd name="connsiteY160" fmla="*/ 32069 h 1066533"/>
              <a:gd name="connsiteX161" fmla="*/ 1012559 w 1322058"/>
              <a:gd name="connsiteY161" fmla="*/ 37355 h 1066533"/>
              <a:gd name="connsiteX162" fmla="*/ 1004630 w 1322058"/>
              <a:gd name="connsiteY162" fmla="*/ 39998 h 1066533"/>
              <a:gd name="connsiteX163" fmla="*/ 967631 w 1322058"/>
              <a:gd name="connsiteY163" fmla="*/ 50569 h 1066533"/>
              <a:gd name="connsiteX164" fmla="*/ 951775 w 1322058"/>
              <a:gd name="connsiteY164" fmla="*/ 55854 h 1066533"/>
              <a:gd name="connsiteX165" fmla="*/ 943846 w 1322058"/>
              <a:gd name="connsiteY165" fmla="*/ 58497 h 1066533"/>
              <a:gd name="connsiteX166" fmla="*/ 930633 w 1322058"/>
              <a:gd name="connsiteY166" fmla="*/ 74354 h 1066533"/>
              <a:gd name="connsiteX167" fmla="*/ 925347 w 1322058"/>
              <a:gd name="connsiteY167" fmla="*/ 90210 h 1066533"/>
              <a:gd name="connsiteX168" fmla="*/ 922704 w 1322058"/>
              <a:gd name="connsiteY168" fmla="*/ 98139 h 1066533"/>
              <a:gd name="connsiteX169" fmla="*/ 890991 w 1322058"/>
              <a:gd name="connsiteY169" fmla="*/ 113995 h 1066533"/>
              <a:gd name="connsiteX170" fmla="*/ 883063 w 1322058"/>
              <a:gd name="connsiteY170" fmla="*/ 116638 h 1066533"/>
              <a:gd name="connsiteX171" fmla="*/ 875134 w 1322058"/>
              <a:gd name="connsiteY171" fmla="*/ 119281 h 1066533"/>
              <a:gd name="connsiteX172" fmla="*/ 861920 w 1322058"/>
              <a:gd name="connsiteY172" fmla="*/ 132495 h 1066533"/>
              <a:gd name="connsiteX173" fmla="*/ 859278 w 1322058"/>
              <a:gd name="connsiteY173" fmla="*/ 143066 h 1066533"/>
              <a:gd name="connsiteX174" fmla="*/ 851349 w 1322058"/>
              <a:gd name="connsiteY174" fmla="*/ 166851 h 1066533"/>
              <a:gd name="connsiteX175" fmla="*/ 848707 w 1322058"/>
              <a:gd name="connsiteY175" fmla="*/ 174779 h 1066533"/>
              <a:gd name="connsiteX176" fmla="*/ 838135 w 1322058"/>
              <a:gd name="connsiteY176" fmla="*/ 190636 h 1066533"/>
              <a:gd name="connsiteX177" fmla="*/ 822279 w 1322058"/>
              <a:gd name="connsiteY177" fmla="*/ 201207 h 1066533"/>
              <a:gd name="connsiteX178" fmla="*/ 814351 w 1322058"/>
              <a:gd name="connsiteY178" fmla="*/ 206493 h 1066533"/>
              <a:gd name="connsiteX179" fmla="*/ 806422 w 1322058"/>
              <a:gd name="connsiteY179" fmla="*/ 209135 h 1066533"/>
              <a:gd name="connsiteX180" fmla="*/ 790566 w 1322058"/>
              <a:gd name="connsiteY180" fmla="*/ 219706 h 1066533"/>
              <a:gd name="connsiteX181" fmla="*/ 782637 w 1322058"/>
              <a:gd name="connsiteY181" fmla="*/ 235563 h 1066533"/>
              <a:gd name="connsiteX182" fmla="*/ 777352 w 1322058"/>
              <a:gd name="connsiteY182" fmla="*/ 243491 h 1066533"/>
              <a:gd name="connsiteX183" fmla="*/ 774709 w 1322058"/>
              <a:gd name="connsiteY183" fmla="*/ 251420 h 1066533"/>
              <a:gd name="connsiteX184" fmla="*/ 764138 w 1322058"/>
              <a:gd name="connsiteY184" fmla="*/ 267276 h 1066533"/>
              <a:gd name="connsiteX185" fmla="*/ 758852 w 1322058"/>
              <a:gd name="connsiteY185" fmla="*/ 275205 h 1066533"/>
              <a:gd name="connsiteX186" fmla="*/ 750924 w 1322058"/>
              <a:gd name="connsiteY186" fmla="*/ 280490 h 1066533"/>
              <a:gd name="connsiteX187" fmla="*/ 735067 w 1322058"/>
              <a:gd name="connsiteY187" fmla="*/ 293704 h 1066533"/>
              <a:gd name="connsiteX188" fmla="*/ 719211 w 1322058"/>
              <a:gd name="connsiteY188" fmla="*/ 298990 h 1066533"/>
              <a:gd name="connsiteX189" fmla="*/ 684855 w 1322058"/>
              <a:gd name="connsiteY189" fmla="*/ 296347 h 1066533"/>
              <a:gd name="connsiteX190" fmla="*/ 668998 w 1322058"/>
              <a:gd name="connsiteY190" fmla="*/ 291061 h 1066533"/>
              <a:gd name="connsiteX191" fmla="*/ 661070 w 1322058"/>
              <a:gd name="connsiteY191" fmla="*/ 288419 h 1066533"/>
              <a:gd name="connsiteX192" fmla="*/ 515717 w 1322058"/>
              <a:gd name="connsiteY192" fmla="*/ 291061 h 1066533"/>
              <a:gd name="connsiteX193" fmla="*/ 513074 w 1322058"/>
              <a:gd name="connsiteY193" fmla="*/ 298990 h 1066533"/>
              <a:gd name="connsiteX194" fmla="*/ 507789 w 1322058"/>
              <a:gd name="connsiteY194" fmla="*/ 306918 h 1066533"/>
              <a:gd name="connsiteX195" fmla="*/ 502503 w 1322058"/>
              <a:gd name="connsiteY195" fmla="*/ 322775 h 1066533"/>
              <a:gd name="connsiteX196" fmla="*/ 497218 w 1322058"/>
              <a:gd name="connsiteY196" fmla="*/ 330703 h 1066533"/>
              <a:gd name="connsiteX197" fmla="*/ 494575 w 1322058"/>
              <a:gd name="connsiteY197" fmla="*/ 338631 h 1066533"/>
              <a:gd name="connsiteX198" fmla="*/ 478718 w 1322058"/>
              <a:gd name="connsiteY198" fmla="*/ 343917 h 1066533"/>
              <a:gd name="connsiteX199" fmla="*/ 470790 w 1322058"/>
              <a:gd name="connsiteY199" fmla="*/ 349202 h 1066533"/>
              <a:gd name="connsiteX200" fmla="*/ 454933 w 1322058"/>
              <a:gd name="connsiteY200" fmla="*/ 354488 h 1066533"/>
              <a:gd name="connsiteX201" fmla="*/ 447005 w 1322058"/>
              <a:gd name="connsiteY201" fmla="*/ 362416 h 1066533"/>
              <a:gd name="connsiteX202" fmla="*/ 436434 w 1322058"/>
              <a:gd name="connsiteY202" fmla="*/ 386201 h 1066533"/>
              <a:gd name="connsiteX203" fmla="*/ 420577 w 1322058"/>
              <a:gd name="connsiteY203" fmla="*/ 391487 h 1066533"/>
              <a:gd name="connsiteX204" fmla="*/ 399435 w 1322058"/>
              <a:gd name="connsiteY204" fmla="*/ 388844 h 1066533"/>
              <a:gd name="connsiteX205" fmla="*/ 378293 w 1322058"/>
              <a:gd name="connsiteY205" fmla="*/ 383558 h 1066533"/>
              <a:gd name="connsiteX206" fmla="*/ 370364 w 1322058"/>
              <a:gd name="connsiteY206" fmla="*/ 380916 h 1066533"/>
              <a:gd name="connsiteX207" fmla="*/ 343937 w 1322058"/>
              <a:gd name="connsiteY207" fmla="*/ 378273 h 1066533"/>
              <a:gd name="connsiteX208" fmla="*/ 333366 w 1322058"/>
              <a:gd name="connsiteY208" fmla="*/ 372987 h 1066533"/>
              <a:gd name="connsiteX209" fmla="*/ 343937 w 1322058"/>
              <a:gd name="connsiteY209" fmla="*/ 351845 h 1066533"/>
              <a:gd name="connsiteX210" fmla="*/ 351865 w 1322058"/>
              <a:gd name="connsiteY210" fmla="*/ 346560 h 1066533"/>
              <a:gd name="connsiteX211" fmla="*/ 357151 w 1322058"/>
              <a:gd name="connsiteY211" fmla="*/ 338631 h 1066533"/>
              <a:gd name="connsiteX212" fmla="*/ 349222 w 1322058"/>
              <a:gd name="connsiteY212" fmla="*/ 288419 h 1066533"/>
              <a:gd name="connsiteX213" fmla="*/ 346579 w 1322058"/>
              <a:gd name="connsiteY213" fmla="*/ 277847 h 1066533"/>
              <a:gd name="connsiteX214" fmla="*/ 338651 w 1322058"/>
              <a:gd name="connsiteY214" fmla="*/ 269919 h 1066533"/>
              <a:gd name="connsiteX215" fmla="*/ 330723 w 1322058"/>
              <a:gd name="connsiteY215" fmla="*/ 243491 h 1066533"/>
              <a:gd name="connsiteX216" fmla="*/ 325437 w 1322058"/>
              <a:gd name="connsiteY216" fmla="*/ 235563 h 1066533"/>
              <a:gd name="connsiteX217" fmla="*/ 309581 w 1322058"/>
              <a:gd name="connsiteY217" fmla="*/ 230278 h 1066533"/>
              <a:gd name="connsiteX218" fmla="*/ 275224 w 1322058"/>
              <a:gd name="connsiteY218" fmla="*/ 240849 h 1066533"/>
              <a:gd name="connsiteX219" fmla="*/ 280510 w 1322058"/>
              <a:gd name="connsiteY219" fmla="*/ 238206 h 1066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</a:cxnLst>
            <a:rect l="l" t="t" r="r" b="b"/>
            <a:pathLst>
              <a:path w="1322058" h="1066533">
                <a:moveTo>
                  <a:pt x="280510" y="238206"/>
                </a:moveTo>
                <a:cubicBezTo>
                  <a:pt x="280951" y="286216"/>
                  <a:pt x="281326" y="432067"/>
                  <a:pt x="277867" y="528911"/>
                </a:cubicBezTo>
                <a:cubicBezTo>
                  <a:pt x="277754" y="532085"/>
                  <a:pt x="272841" y="532907"/>
                  <a:pt x="269939" y="534197"/>
                </a:cubicBezTo>
                <a:cubicBezTo>
                  <a:pt x="264848" y="536460"/>
                  <a:pt x="259368" y="537720"/>
                  <a:pt x="254082" y="539482"/>
                </a:cubicBezTo>
                <a:lnTo>
                  <a:pt x="230297" y="547410"/>
                </a:lnTo>
                <a:lnTo>
                  <a:pt x="222369" y="550053"/>
                </a:lnTo>
                <a:cubicBezTo>
                  <a:pt x="219726" y="550934"/>
                  <a:pt x="216759" y="551151"/>
                  <a:pt x="214441" y="552696"/>
                </a:cubicBezTo>
                <a:cubicBezTo>
                  <a:pt x="201876" y="561072"/>
                  <a:pt x="209526" y="556977"/>
                  <a:pt x="190656" y="563267"/>
                </a:cubicBezTo>
                <a:cubicBezTo>
                  <a:pt x="188013" y="564148"/>
                  <a:pt x="185496" y="565602"/>
                  <a:pt x="182727" y="565910"/>
                </a:cubicBezTo>
                <a:lnTo>
                  <a:pt x="158942" y="568553"/>
                </a:lnTo>
                <a:cubicBezTo>
                  <a:pt x="155048" y="568310"/>
                  <a:pt x="121934" y="569869"/>
                  <a:pt x="108730" y="563267"/>
                </a:cubicBezTo>
                <a:cubicBezTo>
                  <a:pt x="105889" y="561847"/>
                  <a:pt x="103444" y="559744"/>
                  <a:pt x="100801" y="557982"/>
                </a:cubicBezTo>
                <a:cubicBezTo>
                  <a:pt x="94520" y="539133"/>
                  <a:pt x="103425" y="561916"/>
                  <a:pt x="90230" y="542125"/>
                </a:cubicBezTo>
                <a:cubicBezTo>
                  <a:pt x="88685" y="539807"/>
                  <a:pt x="89327" y="536372"/>
                  <a:pt x="87587" y="534197"/>
                </a:cubicBezTo>
                <a:cubicBezTo>
                  <a:pt x="85603" y="531717"/>
                  <a:pt x="82099" y="530944"/>
                  <a:pt x="79659" y="528911"/>
                </a:cubicBezTo>
                <a:cubicBezTo>
                  <a:pt x="76788" y="526518"/>
                  <a:pt x="74374" y="523626"/>
                  <a:pt x="71731" y="520983"/>
                </a:cubicBezTo>
                <a:cubicBezTo>
                  <a:pt x="69969" y="515697"/>
                  <a:pt x="71081" y="508217"/>
                  <a:pt x="66445" y="505126"/>
                </a:cubicBezTo>
                <a:lnTo>
                  <a:pt x="50589" y="494555"/>
                </a:lnTo>
                <a:cubicBezTo>
                  <a:pt x="0" y="498447"/>
                  <a:pt x="23129" y="486051"/>
                  <a:pt x="13590" y="505126"/>
                </a:cubicBezTo>
                <a:cubicBezTo>
                  <a:pt x="12169" y="507967"/>
                  <a:pt x="10066" y="510411"/>
                  <a:pt x="8304" y="513054"/>
                </a:cubicBezTo>
                <a:cubicBezTo>
                  <a:pt x="3175" y="538695"/>
                  <a:pt x="3187" y="532906"/>
                  <a:pt x="8304" y="573838"/>
                </a:cubicBezTo>
                <a:cubicBezTo>
                  <a:pt x="8995" y="579367"/>
                  <a:pt x="12497" y="584232"/>
                  <a:pt x="13590" y="589695"/>
                </a:cubicBezTo>
                <a:cubicBezTo>
                  <a:pt x="18962" y="616552"/>
                  <a:pt x="13459" y="591881"/>
                  <a:pt x="18875" y="610837"/>
                </a:cubicBezTo>
                <a:cubicBezTo>
                  <a:pt x="26860" y="638787"/>
                  <a:pt x="14248" y="599595"/>
                  <a:pt x="26804" y="637265"/>
                </a:cubicBezTo>
                <a:cubicBezTo>
                  <a:pt x="26806" y="637270"/>
                  <a:pt x="32086" y="653117"/>
                  <a:pt x="32089" y="653121"/>
                </a:cubicBezTo>
                <a:lnTo>
                  <a:pt x="37375" y="661050"/>
                </a:lnTo>
                <a:cubicBezTo>
                  <a:pt x="42868" y="710483"/>
                  <a:pt x="35935" y="663222"/>
                  <a:pt x="45303" y="700691"/>
                </a:cubicBezTo>
                <a:cubicBezTo>
                  <a:pt x="46890" y="707037"/>
                  <a:pt x="47529" y="714629"/>
                  <a:pt x="53231" y="719191"/>
                </a:cubicBezTo>
                <a:cubicBezTo>
                  <a:pt x="55406" y="720931"/>
                  <a:pt x="58517" y="720953"/>
                  <a:pt x="61160" y="721834"/>
                </a:cubicBezTo>
                <a:cubicBezTo>
                  <a:pt x="73581" y="734255"/>
                  <a:pt x="65976" y="727687"/>
                  <a:pt x="84945" y="740333"/>
                </a:cubicBezTo>
                <a:lnTo>
                  <a:pt x="92873" y="745619"/>
                </a:lnTo>
                <a:cubicBezTo>
                  <a:pt x="94635" y="748262"/>
                  <a:pt x="95913" y="751301"/>
                  <a:pt x="98159" y="753547"/>
                </a:cubicBezTo>
                <a:cubicBezTo>
                  <a:pt x="100405" y="755793"/>
                  <a:pt x="104103" y="756352"/>
                  <a:pt x="106087" y="758832"/>
                </a:cubicBezTo>
                <a:cubicBezTo>
                  <a:pt x="107827" y="761007"/>
                  <a:pt x="107484" y="764269"/>
                  <a:pt x="108730" y="766761"/>
                </a:cubicBezTo>
                <a:cubicBezTo>
                  <a:pt x="110150" y="769602"/>
                  <a:pt x="112595" y="771848"/>
                  <a:pt x="114015" y="774689"/>
                </a:cubicBezTo>
                <a:cubicBezTo>
                  <a:pt x="121664" y="789987"/>
                  <a:pt x="109558" y="775516"/>
                  <a:pt x="124586" y="790546"/>
                </a:cubicBezTo>
                <a:cubicBezTo>
                  <a:pt x="135791" y="824156"/>
                  <a:pt x="131917" y="806245"/>
                  <a:pt x="127229" y="867186"/>
                </a:cubicBezTo>
                <a:cubicBezTo>
                  <a:pt x="127015" y="869964"/>
                  <a:pt x="126326" y="872940"/>
                  <a:pt x="124586" y="875115"/>
                </a:cubicBezTo>
                <a:cubicBezTo>
                  <a:pt x="120861" y="879771"/>
                  <a:pt x="113952" y="881302"/>
                  <a:pt x="108730" y="883043"/>
                </a:cubicBezTo>
                <a:cubicBezTo>
                  <a:pt x="106968" y="888328"/>
                  <a:pt x="102093" y="893494"/>
                  <a:pt x="103444" y="898899"/>
                </a:cubicBezTo>
                <a:cubicBezTo>
                  <a:pt x="104291" y="902288"/>
                  <a:pt x="106833" y="913606"/>
                  <a:pt x="108730" y="917399"/>
                </a:cubicBezTo>
                <a:cubicBezTo>
                  <a:pt x="110150" y="920240"/>
                  <a:pt x="111535" y="923343"/>
                  <a:pt x="114015" y="925327"/>
                </a:cubicBezTo>
                <a:cubicBezTo>
                  <a:pt x="116190" y="927067"/>
                  <a:pt x="119301" y="927089"/>
                  <a:pt x="121944" y="927970"/>
                </a:cubicBezTo>
                <a:cubicBezTo>
                  <a:pt x="128411" y="947373"/>
                  <a:pt x="123289" y="939887"/>
                  <a:pt x="135157" y="951755"/>
                </a:cubicBezTo>
                <a:cubicBezTo>
                  <a:pt x="136919" y="957041"/>
                  <a:pt x="141536" y="962149"/>
                  <a:pt x="140443" y="967612"/>
                </a:cubicBezTo>
                <a:cubicBezTo>
                  <a:pt x="135066" y="994493"/>
                  <a:pt x="140577" y="969781"/>
                  <a:pt x="135157" y="988754"/>
                </a:cubicBezTo>
                <a:cubicBezTo>
                  <a:pt x="134159" y="992246"/>
                  <a:pt x="133559" y="995846"/>
                  <a:pt x="132515" y="999325"/>
                </a:cubicBezTo>
                <a:cubicBezTo>
                  <a:pt x="130914" y="1004662"/>
                  <a:pt x="123290" y="1019122"/>
                  <a:pt x="127229" y="1015182"/>
                </a:cubicBezTo>
                <a:cubicBezTo>
                  <a:pt x="129872" y="1012539"/>
                  <a:pt x="131890" y="1009068"/>
                  <a:pt x="135157" y="1007253"/>
                </a:cubicBezTo>
                <a:cubicBezTo>
                  <a:pt x="140027" y="1004547"/>
                  <a:pt x="151014" y="1001968"/>
                  <a:pt x="151014" y="1001968"/>
                </a:cubicBezTo>
                <a:cubicBezTo>
                  <a:pt x="155419" y="1002849"/>
                  <a:pt x="160777" y="1001734"/>
                  <a:pt x="164228" y="1004610"/>
                </a:cubicBezTo>
                <a:cubicBezTo>
                  <a:pt x="167019" y="1006935"/>
                  <a:pt x="164856" y="1012160"/>
                  <a:pt x="166871" y="1015182"/>
                </a:cubicBezTo>
                <a:cubicBezTo>
                  <a:pt x="168633" y="1017825"/>
                  <a:pt x="172359" y="1018434"/>
                  <a:pt x="174799" y="1020467"/>
                </a:cubicBezTo>
                <a:cubicBezTo>
                  <a:pt x="177670" y="1022860"/>
                  <a:pt x="180334" y="1025524"/>
                  <a:pt x="182727" y="1028395"/>
                </a:cubicBezTo>
                <a:cubicBezTo>
                  <a:pt x="184761" y="1030835"/>
                  <a:pt x="185533" y="1034340"/>
                  <a:pt x="188013" y="1036324"/>
                </a:cubicBezTo>
                <a:cubicBezTo>
                  <a:pt x="190188" y="1038064"/>
                  <a:pt x="193449" y="1037721"/>
                  <a:pt x="195941" y="1038967"/>
                </a:cubicBezTo>
                <a:cubicBezTo>
                  <a:pt x="198782" y="1040387"/>
                  <a:pt x="201029" y="1042832"/>
                  <a:pt x="203870" y="1044252"/>
                </a:cubicBezTo>
                <a:cubicBezTo>
                  <a:pt x="206362" y="1045498"/>
                  <a:pt x="209306" y="1045649"/>
                  <a:pt x="211798" y="1046895"/>
                </a:cubicBezTo>
                <a:cubicBezTo>
                  <a:pt x="232288" y="1057140"/>
                  <a:pt x="207727" y="1048180"/>
                  <a:pt x="227655" y="1054823"/>
                </a:cubicBezTo>
                <a:cubicBezTo>
                  <a:pt x="230298" y="1056585"/>
                  <a:pt x="232742" y="1058689"/>
                  <a:pt x="235583" y="1060109"/>
                </a:cubicBezTo>
                <a:cubicBezTo>
                  <a:pt x="248431" y="1066533"/>
                  <a:pt x="260321" y="1061351"/>
                  <a:pt x="275224" y="1060109"/>
                </a:cubicBezTo>
                <a:cubicBezTo>
                  <a:pt x="297944" y="1044962"/>
                  <a:pt x="269201" y="1063120"/>
                  <a:pt x="291081" y="1052180"/>
                </a:cubicBezTo>
                <a:cubicBezTo>
                  <a:pt x="293922" y="1050760"/>
                  <a:pt x="296090" y="1048146"/>
                  <a:pt x="299009" y="1046895"/>
                </a:cubicBezTo>
                <a:cubicBezTo>
                  <a:pt x="310866" y="1041814"/>
                  <a:pt x="307222" y="1046753"/>
                  <a:pt x="317509" y="1041609"/>
                </a:cubicBezTo>
                <a:cubicBezTo>
                  <a:pt x="336737" y="1031995"/>
                  <a:pt x="310295" y="1038487"/>
                  <a:pt x="343937" y="1033681"/>
                </a:cubicBezTo>
                <a:cubicBezTo>
                  <a:pt x="346580" y="1032800"/>
                  <a:pt x="349124" y="1031536"/>
                  <a:pt x="351865" y="1031038"/>
                </a:cubicBezTo>
                <a:cubicBezTo>
                  <a:pt x="369236" y="1027879"/>
                  <a:pt x="397457" y="1026766"/>
                  <a:pt x="412649" y="1025753"/>
                </a:cubicBezTo>
                <a:cubicBezTo>
                  <a:pt x="415292" y="1024872"/>
                  <a:pt x="418142" y="1024463"/>
                  <a:pt x="420577" y="1023110"/>
                </a:cubicBezTo>
                <a:cubicBezTo>
                  <a:pt x="426130" y="1020025"/>
                  <a:pt x="430408" y="1014548"/>
                  <a:pt x="436434" y="1012539"/>
                </a:cubicBezTo>
                <a:lnTo>
                  <a:pt x="460219" y="1004610"/>
                </a:lnTo>
                <a:lnTo>
                  <a:pt x="468147" y="1001968"/>
                </a:lnTo>
                <a:cubicBezTo>
                  <a:pt x="470790" y="1001087"/>
                  <a:pt x="473373" y="1000001"/>
                  <a:pt x="476075" y="999325"/>
                </a:cubicBezTo>
                <a:cubicBezTo>
                  <a:pt x="479599" y="998444"/>
                  <a:pt x="483154" y="997680"/>
                  <a:pt x="486646" y="996682"/>
                </a:cubicBezTo>
                <a:cubicBezTo>
                  <a:pt x="489325" y="995917"/>
                  <a:pt x="491855" y="994643"/>
                  <a:pt x="494575" y="994039"/>
                </a:cubicBezTo>
                <a:cubicBezTo>
                  <a:pt x="499806" y="992877"/>
                  <a:pt x="505146" y="992278"/>
                  <a:pt x="510431" y="991397"/>
                </a:cubicBezTo>
                <a:cubicBezTo>
                  <a:pt x="531573" y="992278"/>
                  <a:pt x="552985" y="990560"/>
                  <a:pt x="573858" y="994039"/>
                </a:cubicBezTo>
                <a:cubicBezTo>
                  <a:pt x="580124" y="995083"/>
                  <a:pt x="584429" y="1001086"/>
                  <a:pt x="589715" y="1004610"/>
                </a:cubicBezTo>
                <a:cubicBezTo>
                  <a:pt x="599963" y="1011442"/>
                  <a:pt x="594628" y="1008891"/>
                  <a:pt x="605571" y="1012539"/>
                </a:cubicBezTo>
                <a:cubicBezTo>
                  <a:pt x="616142" y="1011658"/>
                  <a:pt x="626759" y="1011212"/>
                  <a:pt x="637285" y="1009896"/>
                </a:cubicBezTo>
                <a:cubicBezTo>
                  <a:pt x="643673" y="1009097"/>
                  <a:pt x="659117" y="1003500"/>
                  <a:pt x="663712" y="1001968"/>
                </a:cubicBezTo>
                <a:cubicBezTo>
                  <a:pt x="663713" y="1001968"/>
                  <a:pt x="679568" y="996683"/>
                  <a:pt x="679569" y="996682"/>
                </a:cubicBezTo>
                <a:lnTo>
                  <a:pt x="695426" y="986111"/>
                </a:lnTo>
                <a:cubicBezTo>
                  <a:pt x="698069" y="984349"/>
                  <a:pt x="700185" y="981036"/>
                  <a:pt x="703354" y="980825"/>
                </a:cubicBezTo>
                <a:lnTo>
                  <a:pt x="742996" y="978183"/>
                </a:lnTo>
                <a:lnTo>
                  <a:pt x="758852" y="972897"/>
                </a:lnTo>
                <a:cubicBezTo>
                  <a:pt x="781845" y="965232"/>
                  <a:pt x="764013" y="970408"/>
                  <a:pt x="814351" y="967612"/>
                </a:cubicBezTo>
                <a:cubicBezTo>
                  <a:pt x="827246" y="963313"/>
                  <a:pt x="835819" y="962000"/>
                  <a:pt x="846064" y="951755"/>
                </a:cubicBezTo>
                <a:cubicBezTo>
                  <a:pt x="848707" y="949112"/>
                  <a:pt x="850882" y="945900"/>
                  <a:pt x="853992" y="943827"/>
                </a:cubicBezTo>
                <a:cubicBezTo>
                  <a:pt x="856310" y="942282"/>
                  <a:pt x="859428" y="942430"/>
                  <a:pt x="861920" y="941184"/>
                </a:cubicBezTo>
                <a:cubicBezTo>
                  <a:pt x="864761" y="939763"/>
                  <a:pt x="867206" y="937660"/>
                  <a:pt x="869849" y="935898"/>
                </a:cubicBezTo>
                <a:lnTo>
                  <a:pt x="880420" y="920042"/>
                </a:lnTo>
                <a:cubicBezTo>
                  <a:pt x="882182" y="917399"/>
                  <a:pt x="882692" y="913117"/>
                  <a:pt x="885705" y="912113"/>
                </a:cubicBezTo>
                <a:lnTo>
                  <a:pt x="893634" y="909471"/>
                </a:lnTo>
                <a:cubicBezTo>
                  <a:pt x="895396" y="906828"/>
                  <a:pt x="896673" y="903788"/>
                  <a:pt x="898919" y="901542"/>
                </a:cubicBezTo>
                <a:cubicBezTo>
                  <a:pt x="901165" y="899296"/>
                  <a:pt x="904756" y="898647"/>
                  <a:pt x="906848" y="896257"/>
                </a:cubicBezTo>
                <a:cubicBezTo>
                  <a:pt x="911031" y="891476"/>
                  <a:pt x="912133" y="883924"/>
                  <a:pt x="917419" y="880400"/>
                </a:cubicBezTo>
                <a:cubicBezTo>
                  <a:pt x="929983" y="872024"/>
                  <a:pt x="922334" y="876120"/>
                  <a:pt x="941204" y="869829"/>
                </a:cubicBezTo>
                <a:cubicBezTo>
                  <a:pt x="943847" y="868948"/>
                  <a:pt x="946814" y="868731"/>
                  <a:pt x="949132" y="867186"/>
                </a:cubicBezTo>
                <a:cubicBezTo>
                  <a:pt x="959378" y="860356"/>
                  <a:pt x="954047" y="862905"/>
                  <a:pt x="964989" y="859258"/>
                </a:cubicBezTo>
                <a:cubicBezTo>
                  <a:pt x="967632" y="860139"/>
                  <a:pt x="970169" y="862359"/>
                  <a:pt x="972917" y="861901"/>
                </a:cubicBezTo>
                <a:cubicBezTo>
                  <a:pt x="983194" y="860188"/>
                  <a:pt x="984957" y="845064"/>
                  <a:pt x="991416" y="840758"/>
                </a:cubicBezTo>
                <a:cubicBezTo>
                  <a:pt x="998465" y="836060"/>
                  <a:pt x="1001794" y="834590"/>
                  <a:pt x="1007273" y="827545"/>
                </a:cubicBezTo>
                <a:cubicBezTo>
                  <a:pt x="1011173" y="822531"/>
                  <a:pt x="1012558" y="815212"/>
                  <a:pt x="1017844" y="811688"/>
                </a:cubicBezTo>
                <a:lnTo>
                  <a:pt x="1033701" y="801117"/>
                </a:lnTo>
                <a:cubicBezTo>
                  <a:pt x="1043467" y="786465"/>
                  <a:pt x="1033398" y="798055"/>
                  <a:pt x="1046915" y="790546"/>
                </a:cubicBezTo>
                <a:cubicBezTo>
                  <a:pt x="1052468" y="787461"/>
                  <a:pt x="1062771" y="779975"/>
                  <a:pt x="1062771" y="779975"/>
                </a:cubicBezTo>
                <a:cubicBezTo>
                  <a:pt x="1069820" y="758829"/>
                  <a:pt x="1059247" y="783499"/>
                  <a:pt x="1073342" y="769404"/>
                </a:cubicBezTo>
                <a:cubicBezTo>
                  <a:pt x="1075312" y="767434"/>
                  <a:pt x="1074440" y="763793"/>
                  <a:pt x="1075985" y="761475"/>
                </a:cubicBezTo>
                <a:cubicBezTo>
                  <a:pt x="1078058" y="758365"/>
                  <a:pt x="1081521" y="756418"/>
                  <a:pt x="1083914" y="753547"/>
                </a:cubicBezTo>
                <a:cubicBezTo>
                  <a:pt x="1093110" y="742512"/>
                  <a:pt x="1084111" y="747315"/>
                  <a:pt x="1097127" y="742976"/>
                </a:cubicBezTo>
                <a:cubicBezTo>
                  <a:pt x="1100651" y="737690"/>
                  <a:pt x="1103206" y="731611"/>
                  <a:pt x="1107698" y="727119"/>
                </a:cubicBezTo>
                <a:cubicBezTo>
                  <a:pt x="1110341" y="724476"/>
                  <a:pt x="1113332" y="722141"/>
                  <a:pt x="1115627" y="719191"/>
                </a:cubicBezTo>
                <a:cubicBezTo>
                  <a:pt x="1119527" y="714177"/>
                  <a:pt x="1122674" y="708620"/>
                  <a:pt x="1126198" y="703334"/>
                </a:cubicBezTo>
                <a:lnTo>
                  <a:pt x="1136769" y="687478"/>
                </a:lnTo>
                <a:lnTo>
                  <a:pt x="1142055" y="679549"/>
                </a:lnTo>
                <a:cubicBezTo>
                  <a:pt x="1143817" y="676906"/>
                  <a:pt x="1144697" y="673383"/>
                  <a:pt x="1147340" y="671621"/>
                </a:cubicBezTo>
                <a:cubicBezTo>
                  <a:pt x="1152626" y="668097"/>
                  <a:pt x="1158705" y="665542"/>
                  <a:pt x="1163197" y="661050"/>
                </a:cubicBezTo>
                <a:cubicBezTo>
                  <a:pt x="1173095" y="651151"/>
                  <a:pt x="1167579" y="654303"/>
                  <a:pt x="1179053" y="650479"/>
                </a:cubicBezTo>
                <a:cubicBezTo>
                  <a:pt x="1184339" y="646955"/>
                  <a:pt x="1193369" y="646071"/>
                  <a:pt x="1194910" y="639908"/>
                </a:cubicBezTo>
                <a:cubicBezTo>
                  <a:pt x="1198323" y="626255"/>
                  <a:pt x="1194531" y="631351"/>
                  <a:pt x="1205481" y="624051"/>
                </a:cubicBezTo>
                <a:lnTo>
                  <a:pt x="1210767" y="608194"/>
                </a:lnTo>
                <a:cubicBezTo>
                  <a:pt x="1213094" y="601212"/>
                  <a:pt x="1217162" y="586681"/>
                  <a:pt x="1223981" y="584409"/>
                </a:cubicBezTo>
                <a:cubicBezTo>
                  <a:pt x="1235355" y="580619"/>
                  <a:pt x="1229207" y="582443"/>
                  <a:pt x="1242480" y="579124"/>
                </a:cubicBezTo>
                <a:lnTo>
                  <a:pt x="1258337" y="568553"/>
                </a:lnTo>
                <a:lnTo>
                  <a:pt x="1266265" y="563267"/>
                </a:lnTo>
                <a:cubicBezTo>
                  <a:pt x="1267146" y="560624"/>
                  <a:pt x="1267555" y="557774"/>
                  <a:pt x="1268908" y="555339"/>
                </a:cubicBezTo>
                <a:cubicBezTo>
                  <a:pt x="1271993" y="549786"/>
                  <a:pt x="1277470" y="545509"/>
                  <a:pt x="1279479" y="539482"/>
                </a:cubicBezTo>
                <a:lnTo>
                  <a:pt x="1284764" y="523625"/>
                </a:lnTo>
                <a:cubicBezTo>
                  <a:pt x="1285645" y="520982"/>
                  <a:pt x="1285862" y="518015"/>
                  <a:pt x="1287407" y="515697"/>
                </a:cubicBezTo>
                <a:lnTo>
                  <a:pt x="1292693" y="507769"/>
                </a:lnTo>
                <a:lnTo>
                  <a:pt x="1300621" y="483984"/>
                </a:lnTo>
                <a:cubicBezTo>
                  <a:pt x="1301502" y="481341"/>
                  <a:pt x="1301719" y="478374"/>
                  <a:pt x="1303264" y="476056"/>
                </a:cubicBezTo>
                <a:cubicBezTo>
                  <a:pt x="1305026" y="473413"/>
                  <a:pt x="1307259" y="471030"/>
                  <a:pt x="1308549" y="468127"/>
                </a:cubicBezTo>
                <a:cubicBezTo>
                  <a:pt x="1310812" y="463036"/>
                  <a:pt x="1312073" y="457556"/>
                  <a:pt x="1313835" y="452271"/>
                </a:cubicBezTo>
                <a:cubicBezTo>
                  <a:pt x="1317626" y="440900"/>
                  <a:pt x="1315804" y="447040"/>
                  <a:pt x="1319120" y="433771"/>
                </a:cubicBezTo>
                <a:cubicBezTo>
                  <a:pt x="1318239" y="424081"/>
                  <a:pt x="1322058" y="412672"/>
                  <a:pt x="1316478" y="404701"/>
                </a:cubicBezTo>
                <a:cubicBezTo>
                  <a:pt x="1313405" y="400311"/>
                  <a:pt x="1305943" y="406717"/>
                  <a:pt x="1300621" y="407343"/>
                </a:cubicBezTo>
                <a:cubicBezTo>
                  <a:pt x="1290958" y="408480"/>
                  <a:pt x="1281241" y="409105"/>
                  <a:pt x="1271551" y="409986"/>
                </a:cubicBezTo>
                <a:cubicBezTo>
                  <a:pt x="1265384" y="428486"/>
                  <a:pt x="1268027" y="431129"/>
                  <a:pt x="1263622" y="417915"/>
                </a:cubicBezTo>
                <a:cubicBezTo>
                  <a:pt x="1264503" y="398534"/>
                  <a:pt x="1264718" y="379112"/>
                  <a:pt x="1266265" y="359773"/>
                </a:cubicBezTo>
                <a:cubicBezTo>
                  <a:pt x="1266487" y="356996"/>
                  <a:pt x="1268908" y="354631"/>
                  <a:pt x="1268908" y="351845"/>
                </a:cubicBezTo>
                <a:cubicBezTo>
                  <a:pt x="1268908" y="281365"/>
                  <a:pt x="1268722" y="210860"/>
                  <a:pt x="1266265" y="140423"/>
                </a:cubicBezTo>
                <a:cubicBezTo>
                  <a:pt x="1266071" y="134855"/>
                  <a:pt x="1260979" y="124567"/>
                  <a:pt x="1260979" y="124567"/>
                </a:cubicBezTo>
                <a:cubicBezTo>
                  <a:pt x="1260098" y="119281"/>
                  <a:pt x="1259388" y="113964"/>
                  <a:pt x="1258337" y="108710"/>
                </a:cubicBezTo>
                <a:cubicBezTo>
                  <a:pt x="1256341" y="98727"/>
                  <a:pt x="1253778" y="92392"/>
                  <a:pt x="1250408" y="82282"/>
                </a:cubicBezTo>
                <a:cubicBezTo>
                  <a:pt x="1249527" y="79639"/>
                  <a:pt x="1249311" y="76672"/>
                  <a:pt x="1247766" y="74354"/>
                </a:cubicBezTo>
                <a:cubicBezTo>
                  <a:pt x="1246004" y="71711"/>
                  <a:pt x="1243901" y="69266"/>
                  <a:pt x="1242480" y="66425"/>
                </a:cubicBezTo>
                <a:cubicBezTo>
                  <a:pt x="1241234" y="63933"/>
                  <a:pt x="1240934" y="61057"/>
                  <a:pt x="1239837" y="58497"/>
                </a:cubicBezTo>
                <a:cubicBezTo>
                  <a:pt x="1235812" y="49105"/>
                  <a:pt x="1234577" y="47963"/>
                  <a:pt x="1229266" y="39998"/>
                </a:cubicBezTo>
                <a:cubicBezTo>
                  <a:pt x="1228385" y="37355"/>
                  <a:pt x="1228593" y="34039"/>
                  <a:pt x="1226623" y="32069"/>
                </a:cubicBezTo>
                <a:cubicBezTo>
                  <a:pt x="1224653" y="30099"/>
                  <a:pt x="1221481" y="29427"/>
                  <a:pt x="1218695" y="29427"/>
                </a:cubicBezTo>
                <a:cubicBezTo>
                  <a:pt x="1208087" y="29427"/>
                  <a:pt x="1197553" y="31188"/>
                  <a:pt x="1186982" y="32069"/>
                </a:cubicBezTo>
                <a:cubicBezTo>
                  <a:pt x="1176262" y="30283"/>
                  <a:pt x="1170413" y="29742"/>
                  <a:pt x="1160554" y="26784"/>
                </a:cubicBezTo>
                <a:cubicBezTo>
                  <a:pt x="1155217" y="25183"/>
                  <a:pt x="1149983" y="23260"/>
                  <a:pt x="1144697" y="21498"/>
                </a:cubicBezTo>
                <a:lnTo>
                  <a:pt x="1120912" y="13570"/>
                </a:lnTo>
                <a:cubicBezTo>
                  <a:pt x="1118269" y="12689"/>
                  <a:pt x="1115302" y="12472"/>
                  <a:pt x="1112984" y="10927"/>
                </a:cubicBezTo>
                <a:lnTo>
                  <a:pt x="1097127" y="356"/>
                </a:lnTo>
                <a:cubicBezTo>
                  <a:pt x="1084794" y="1237"/>
                  <a:pt x="1072124" y="0"/>
                  <a:pt x="1060129" y="2999"/>
                </a:cubicBezTo>
                <a:cubicBezTo>
                  <a:pt x="1057048" y="3769"/>
                  <a:pt x="1056264" y="8086"/>
                  <a:pt x="1054843" y="10927"/>
                </a:cubicBezTo>
                <a:cubicBezTo>
                  <a:pt x="1051651" y="17310"/>
                  <a:pt x="1053226" y="21736"/>
                  <a:pt x="1046915" y="26784"/>
                </a:cubicBezTo>
                <a:cubicBezTo>
                  <a:pt x="1045137" y="28206"/>
                  <a:pt x="1029178" y="31840"/>
                  <a:pt x="1028415" y="32069"/>
                </a:cubicBezTo>
                <a:cubicBezTo>
                  <a:pt x="1023079" y="33670"/>
                  <a:pt x="1017844" y="35593"/>
                  <a:pt x="1012559" y="37355"/>
                </a:cubicBezTo>
                <a:cubicBezTo>
                  <a:pt x="1009916" y="38236"/>
                  <a:pt x="1007333" y="39322"/>
                  <a:pt x="1004630" y="39998"/>
                </a:cubicBezTo>
                <a:cubicBezTo>
                  <a:pt x="978085" y="46634"/>
                  <a:pt x="990377" y="42986"/>
                  <a:pt x="967631" y="50569"/>
                </a:cubicBezTo>
                <a:lnTo>
                  <a:pt x="951775" y="55854"/>
                </a:lnTo>
                <a:lnTo>
                  <a:pt x="943846" y="58497"/>
                </a:lnTo>
                <a:cubicBezTo>
                  <a:pt x="938865" y="63478"/>
                  <a:pt x="933578" y="67728"/>
                  <a:pt x="930633" y="74354"/>
                </a:cubicBezTo>
                <a:cubicBezTo>
                  <a:pt x="928370" y="79445"/>
                  <a:pt x="927109" y="84925"/>
                  <a:pt x="925347" y="90210"/>
                </a:cubicBezTo>
                <a:cubicBezTo>
                  <a:pt x="924466" y="92853"/>
                  <a:pt x="925022" y="96594"/>
                  <a:pt x="922704" y="98139"/>
                </a:cubicBezTo>
                <a:cubicBezTo>
                  <a:pt x="902210" y="111802"/>
                  <a:pt x="912876" y="106700"/>
                  <a:pt x="890991" y="113995"/>
                </a:cubicBezTo>
                <a:lnTo>
                  <a:pt x="883063" y="116638"/>
                </a:lnTo>
                <a:lnTo>
                  <a:pt x="875134" y="119281"/>
                </a:lnTo>
                <a:cubicBezTo>
                  <a:pt x="868088" y="123979"/>
                  <a:pt x="865443" y="124275"/>
                  <a:pt x="861920" y="132495"/>
                </a:cubicBezTo>
                <a:cubicBezTo>
                  <a:pt x="860489" y="135833"/>
                  <a:pt x="860322" y="139587"/>
                  <a:pt x="859278" y="143066"/>
                </a:cubicBezTo>
                <a:cubicBezTo>
                  <a:pt x="859270" y="143093"/>
                  <a:pt x="852675" y="162873"/>
                  <a:pt x="851349" y="166851"/>
                </a:cubicBezTo>
                <a:cubicBezTo>
                  <a:pt x="850468" y="169494"/>
                  <a:pt x="850252" y="172461"/>
                  <a:pt x="848707" y="174779"/>
                </a:cubicBezTo>
                <a:cubicBezTo>
                  <a:pt x="845183" y="180065"/>
                  <a:pt x="843421" y="187112"/>
                  <a:pt x="838135" y="190636"/>
                </a:cubicBezTo>
                <a:lnTo>
                  <a:pt x="822279" y="201207"/>
                </a:lnTo>
                <a:cubicBezTo>
                  <a:pt x="819636" y="202969"/>
                  <a:pt x="817364" y="205489"/>
                  <a:pt x="814351" y="206493"/>
                </a:cubicBezTo>
                <a:lnTo>
                  <a:pt x="806422" y="209135"/>
                </a:lnTo>
                <a:cubicBezTo>
                  <a:pt x="801137" y="212659"/>
                  <a:pt x="794090" y="214421"/>
                  <a:pt x="790566" y="219706"/>
                </a:cubicBezTo>
                <a:cubicBezTo>
                  <a:pt x="775419" y="242426"/>
                  <a:pt x="793577" y="213683"/>
                  <a:pt x="782637" y="235563"/>
                </a:cubicBezTo>
                <a:cubicBezTo>
                  <a:pt x="781217" y="238404"/>
                  <a:pt x="778772" y="240650"/>
                  <a:pt x="777352" y="243491"/>
                </a:cubicBezTo>
                <a:cubicBezTo>
                  <a:pt x="776106" y="245983"/>
                  <a:pt x="776062" y="248985"/>
                  <a:pt x="774709" y="251420"/>
                </a:cubicBezTo>
                <a:cubicBezTo>
                  <a:pt x="771624" y="256973"/>
                  <a:pt x="767662" y="261991"/>
                  <a:pt x="764138" y="267276"/>
                </a:cubicBezTo>
                <a:cubicBezTo>
                  <a:pt x="762376" y="269919"/>
                  <a:pt x="761495" y="273443"/>
                  <a:pt x="758852" y="275205"/>
                </a:cubicBezTo>
                <a:cubicBezTo>
                  <a:pt x="756209" y="276967"/>
                  <a:pt x="753364" y="278457"/>
                  <a:pt x="750924" y="280490"/>
                </a:cubicBezTo>
                <a:cubicBezTo>
                  <a:pt x="743806" y="286422"/>
                  <a:pt x="743509" y="289952"/>
                  <a:pt x="735067" y="293704"/>
                </a:cubicBezTo>
                <a:cubicBezTo>
                  <a:pt x="729976" y="295967"/>
                  <a:pt x="719211" y="298990"/>
                  <a:pt x="719211" y="298990"/>
                </a:cubicBezTo>
                <a:cubicBezTo>
                  <a:pt x="707759" y="298109"/>
                  <a:pt x="696200" y="298139"/>
                  <a:pt x="684855" y="296347"/>
                </a:cubicBezTo>
                <a:cubicBezTo>
                  <a:pt x="679352" y="295478"/>
                  <a:pt x="674284" y="292823"/>
                  <a:pt x="668998" y="291061"/>
                </a:cubicBezTo>
                <a:lnTo>
                  <a:pt x="661070" y="288419"/>
                </a:lnTo>
                <a:lnTo>
                  <a:pt x="515717" y="291061"/>
                </a:lnTo>
                <a:cubicBezTo>
                  <a:pt x="512938" y="291259"/>
                  <a:pt x="514320" y="296498"/>
                  <a:pt x="513074" y="298990"/>
                </a:cubicBezTo>
                <a:cubicBezTo>
                  <a:pt x="511654" y="301831"/>
                  <a:pt x="509079" y="304016"/>
                  <a:pt x="507789" y="306918"/>
                </a:cubicBezTo>
                <a:cubicBezTo>
                  <a:pt x="505526" y="312009"/>
                  <a:pt x="505593" y="318139"/>
                  <a:pt x="502503" y="322775"/>
                </a:cubicBezTo>
                <a:cubicBezTo>
                  <a:pt x="500741" y="325418"/>
                  <a:pt x="498638" y="327862"/>
                  <a:pt x="497218" y="330703"/>
                </a:cubicBezTo>
                <a:cubicBezTo>
                  <a:pt x="495972" y="333195"/>
                  <a:pt x="496842" y="337012"/>
                  <a:pt x="494575" y="338631"/>
                </a:cubicBezTo>
                <a:cubicBezTo>
                  <a:pt x="490041" y="341869"/>
                  <a:pt x="483354" y="340827"/>
                  <a:pt x="478718" y="343917"/>
                </a:cubicBezTo>
                <a:cubicBezTo>
                  <a:pt x="476075" y="345679"/>
                  <a:pt x="473692" y="347912"/>
                  <a:pt x="470790" y="349202"/>
                </a:cubicBezTo>
                <a:cubicBezTo>
                  <a:pt x="465699" y="351465"/>
                  <a:pt x="454933" y="354488"/>
                  <a:pt x="454933" y="354488"/>
                </a:cubicBezTo>
                <a:cubicBezTo>
                  <a:pt x="452290" y="357131"/>
                  <a:pt x="448820" y="359149"/>
                  <a:pt x="447005" y="362416"/>
                </a:cubicBezTo>
                <a:cubicBezTo>
                  <a:pt x="445234" y="365604"/>
                  <a:pt x="442233" y="382576"/>
                  <a:pt x="436434" y="386201"/>
                </a:cubicBezTo>
                <a:cubicBezTo>
                  <a:pt x="431709" y="389154"/>
                  <a:pt x="420577" y="391487"/>
                  <a:pt x="420577" y="391487"/>
                </a:cubicBezTo>
                <a:cubicBezTo>
                  <a:pt x="413530" y="390606"/>
                  <a:pt x="406416" y="390153"/>
                  <a:pt x="399435" y="388844"/>
                </a:cubicBezTo>
                <a:cubicBezTo>
                  <a:pt x="392295" y="387505"/>
                  <a:pt x="385185" y="385854"/>
                  <a:pt x="378293" y="383558"/>
                </a:cubicBezTo>
                <a:cubicBezTo>
                  <a:pt x="375650" y="382677"/>
                  <a:pt x="373117" y="381340"/>
                  <a:pt x="370364" y="380916"/>
                </a:cubicBezTo>
                <a:cubicBezTo>
                  <a:pt x="361614" y="379570"/>
                  <a:pt x="352746" y="379154"/>
                  <a:pt x="343937" y="378273"/>
                </a:cubicBezTo>
                <a:cubicBezTo>
                  <a:pt x="340413" y="376511"/>
                  <a:pt x="334612" y="376724"/>
                  <a:pt x="333366" y="372987"/>
                </a:cubicBezTo>
                <a:cubicBezTo>
                  <a:pt x="326253" y="351649"/>
                  <a:pt x="334638" y="356494"/>
                  <a:pt x="343937" y="351845"/>
                </a:cubicBezTo>
                <a:cubicBezTo>
                  <a:pt x="346778" y="350425"/>
                  <a:pt x="349222" y="348322"/>
                  <a:pt x="351865" y="346560"/>
                </a:cubicBezTo>
                <a:cubicBezTo>
                  <a:pt x="353627" y="343917"/>
                  <a:pt x="356953" y="341801"/>
                  <a:pt x="357151" y="338631"/>
                </a:cubicBezTo>
                <a:cubicBezTo>
                  <a:pt x="359452" y="301813"/>
                  <a:pt x="355535" y="313671"/>
                  <a:pt x="349222" y="288419"/>
                </a:cubicBezTo>
                <a:cubicBezTo>
                  <a:pt x="348341" y="284895"/>
                  <a:pt x="348381" y="281001"/>
                  <a:pt x="346579" y="277847"/>
                </a:cubicBezTo>
                <a:cubicBezTo>
                  <a:pt x="344725" y="274602"/>
                  <a:pt x="341294" y="272562"/>
                  <a:pt x="338651" y="269919"/>
                </a:cubicBezTo>
                <a:cubicBezTo>
                  <a:pt x="337174" y="264012"/>
                  <a:pt x="333295" y="247348"/>
                  <a:pt x="330723" y="243491"/>
                </a:cubicBezTo>
                <a:cubicBezTo>
                  <a:pt x="328961" y="240848"/>
                  <a:pt x="328130" y="237246"/>
                  <a:pt x="325437" y="235563"/>
                </a:cubicBezTo>
                <a:cubicBezTo>
                  <a:pt x="320713" y="232610"/>
                  <a:pt x="309581" y="230278"/>
                  <a:pt x="309581" y="230278"/>
                </a:cubicBezTo>
                <a:cubicBezTo>
                  <a:pt x="296545" y="231463"/>
                  <a:pt x="279640" y="225394"/>
                  <a:pt x="275224" y="240849"/>
                </a:cubicBezTo>
                <a:cubicBezTo>
                  <a:pt x="274256" y="244237"/>
                  <a:pt x="280070" y="190196"/>
                  <a:pt x="280510" y="238206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29" name="Freeform 28"/>
          <p:cNvSpPr/>
          <p:nvPr/>
        </p:nvSpPr>
        <p:spPr>
          <a:xfrm>
            <a:off x="5187950" y="6201835"/>
            <a:ext cx="217488" cy="175684"/>
          </a:xfrm>
          <a:custGeom>
            <a:avLst/>
            <a:gdLst>
              <a:gd name="connsiteX0" fmla="*/ 177513 w 218336"/>
              <a:gd name="connsiteY0" fmla="*/ 15857 h 174423"/>
              <a:gd name="connsiteX1" fmla="*/ 161657 w 218336"/>
              <a:gd name="connsiteY1" fmla="*/ 13214 h 174423"/>
              <a:gd name="connsiteX2" fmla="*/ 143157 w 218336"/>
              <a:gd name="connsiteY2" fmla="*/ 7928 h 174423"/>
              <a:gd name="connsiteX3" fmla="*/ 129943 w 218336"/>
              <a:gd name="connsiteY3" fmla="*/ 5285 h 174423"/>
              <a:gd name="connsiteX4" fmla="*/ 111444 w 218336"/>
              <a:gd name="connsiteY4" fmla="*/ 0 h 174423"/>
              <a:gd name="connsiteX5" fmla="*/ 95587 w 218336"/>
              <a:gd name="connsiteY5" fmla="*/ 5285 h 174423"/>
              <a:gd name="connsiteX6" fmla="*/ 87659 w 218336"/>
              <a:gd name="connsiteY6" fmla="*/ 7928 h 174423"/>
              <a:gd name="connsiteX7" fmla="*/ 79731 w 218336"/>
              <a:gd name="connsiteY7" fmla="*/ 13214 h 174423"/>
              <a:gd name="connsiteX8" fmla="*/ 69160 w 218336"/>
              <a:gd name="connsiteY8" fmla="*/ 36999 h 174423"/>
              <a:gd name="connsiteX9" fmla="*/ 53303 w 218336"/>
              <a:gd name="connsiteY9" fmla="*/ 47570 h 174423"/>
              <a:gd name="connsiteX10" fmla="*/ 42732 w 218336"/>
              <a:gd name="connsiteY10" fmla="*/ 63426 h 174423"/>
              <a:gd name="connsiteX11" fmla="*/ 34804 w 218336"/>
              <a:gd name="connsiteY11" fmla="*/ 66069 h 174423"/>
              <a:gd name="connsiteX12" fmla="*/ 11019 w 218336"/>
              <a:gd name="connsiteY12" fmla="*/ 84569 h 174423"/>
              <a:gd name="connsiteX13" fmla="*/ 5733 w 218336"/>
              <a:gd name="connsiteY13" fmla="*/ 92497 h 174423"/>
              <a:gd name="connsiteX14" fmla="*/ 13661 w 218336"/>
              <a:gd name="connsiteY14" fmla="*/ 108354 h 174423"/>
              <a:gd name="connsiteX15" fmla="*/ 24232 w 218336"/>
              <a:gd name="connsiteY15" fmla="*/ 132139 h 174423"/>
              <a:gd name="connsiteX16" fmla="*/ 32161 w 218336"/>
              <a:gd name="connsiteY16" fmla="*/ 137424 h 174423"/>
              <a:gd name="connsiteX17" fmla="*/ 34804 w 218336"/>
              <a:gd name="connsiteY17" fmla="*/ 145353 h 174423"/>
              <a:gd name="connsiteX18" fmla="*/ 55946 w 218336"/>
              <a:gd name="connsiteY18" fmla="*/ 163852 h 174423"/>
              <a:gd name="connsiteX19" fmla="*/ 63874 w 218336"/>
              <a:gd name="connsiteY19" fmla="*/ 169137 h 174423"/>
              <a:gd name="connsiteX20" fmla="*/ 79731 w 218336"/>
              <a:gd name="connsiteY20" fmla="*/ 174423 h 174423"/>
              <a:gd name="connsiteX21" fmla="*/ 90302 w 218336"/>
              <a:gd name="connsiteY21" fmla="*/ 158566 h 174423"/>
              <a:gd name="connsiteX22" fmla="*/ 103516 w 218336"/>
              <a:gd name="connsiteY22" fmla="*/ 142710 h 174423"/>
              <a:gd name="connsiteX23" fmla="*/ 111444 w 218336"/>
              <a:gd name="connsiteY23" fmla="*/ 137424 h 174423"/>
              <a:gd name="connsiteX24" fmla="*/ 143157 w 218336"/>
              <a:gd name="connsiteY24" fmla="*/ 132139 h 174423"/>
              <a:gd name="connsiteX25" fmla="*/ 161657 w 218336"/>
              <a:gd name="connsiteY25" fmla="*/ 113639 h 174423"/>
              <a:gd name="connsiteX26" fmla="*/ 166942 w 218336"/>
              <a:gd name="connsiteY26" fmla="*/ 105711 h 174423"/>
              <a:gd name="connsiteX27" fmla="*/ 169585 w 218336"/>
              <a:gd name="connsiteY27" fmla="*/ 97783 h 174423"/>
              <a:gd name="connsiteX28" fmla="*/ 177513 w 218336"/>
              <a:gd name="connsiteY28" fmla="*/ 92497 h 174423"/>
              <a:gd name="connsiteX29" fmla="*/ 201298 w 218336"/>
              <a:gd name="connsiteY29" fmla="*/ 73998 h 174423"/>
              <a:gd name="connsiteX30" fmla="*/ 209227 w 218336"/>
              <a:gd name="connsiteY30" fmla="*/ 68712 h 174423"/>
              <a:gd name="connsiteX31" fmla="*/ 214512 w 218336"/>
              <a:gd name="connsiteY31" fmla="*/ 52855 h 174423"/>
              <a:gd name="connsiteX32" fmla="*/ 217155 w 218336"/>
              <a:gd name="connsiteY32" fmla="*/ 44927 h 174423"/>
              <a:gd name="connsiteX33" fmla="*/ 214512 w 218336"/>
              <a:gd name="connsiteY33" fmla="*/ 26428 h 174423"/>
              <a:gd name="connsiteX34" fmla="*/ 198656 w 218336"/>
              <a:gd name="connsiteY34" fmla="*/ 21142 h 174423"/>
              <a:gd name="connsiteX35" fmla="*/ 159014 w 218336"/>
              <a:gd name="connsiteY35" fmla="*/ 18499 h 174423"/>
              <a:gd name="connsiteX36" fmla="*/ 135229 w 218336"/>
              <a:gd name="connsiteY36" fmla="*/ 13214 h 174423"/>
              <a:gd name="connsiteX37" fmla="*/ 119372 w 218336"/>
              <a:gd name="connsiteY37" fmla="*/ 7928 h 174423"/>
              <a:gd name="connsiteX38" fmla="*/ 82373 w 218336"/>
              <a:gd name="connsiteY38" fmla="*/ 10571 h 174423"/>
              <a:gd name="connsiteX39" fmla="*/ 66517 w 218336"/>
              <a:gd name="connsiteY39" fmla="*/ 21142 h 174423"/>
              <a:gd name="connsiteX40" fmla="*/ 63874 w 218336"/>
              <a:gd name="connsiteY40" fmla="*/ 31713 h 174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18336" h="174423">
                <a:moveTo>
                  <a:pt x="177513" y="15857"/>
                </a:moveTo>
                <a:cubicBezTo>
                  <a:pt x="172228" y="14976"/>
                  <a:pt x="166911" y="14265"/>
                  <a:pt x="161657" y="13214"/>
                </a:cubicBezTo>
                <a:cubicBezTo>
                  <a:pt x="136942" y="8271"/>
                  <a:pt x="163307" y="12966"/>
                  <a:pt x="143157" y="7928"/>
                </a:cubicBezTo>
                <a:cubicBezTo>
                  <a:pt x="138799" y="6839"/>
                  <a:pt x="134328" y="6259"/>
                  <a:pt x="129943" y="5285"/>
                </a:cubicBezTo>
                <a:cubicBezTo>
                  <a:pt x="119980" y="3071"/>
                  <a:pt x="120278" y="2945"/>
                  <a:pt x="111444" y="0"/>
                </a:cubicBezTo>
                <a:lnTo>
                  <a:pt x="95587" y="5285"/>
                </a:lnTo>
                <a:cubicBezTo>
                  <a:pt x="92944" y="6166"/>
                  <a:pt x="89977" y="6383"/>
                  <a:pt x="87659" y="7928"/>
                </a:cubicBezTo>
                <a:lnTo>
                  <a:pt x="79731" y="13214"/>
                </a:lnTo>
                <a:cubicBezTo>
                  <a:pt x="77764" y="19116"/>
                  <a:pt x="75070" y="31827"/>
                  <a:pt x="69160" y="36999"/>
                </a:cubicBezTo>
                <a:cubicBezTo>
                  <a:pt x="64379" y="41182"/>
                  <a:pt x="53303" y="47570"/>
                  <a:pt x="53303" y="47570"/>
                </a:cubicBezTo>
                <a:cubicBezTo>
                  <a:pt x="49779" y="52855"/>
                  <a:pt x="48758" y="61417"/>
                  <a:pt x="42732" y="63426"/>
                </a:cubicBezTo>
                <a:cubicBezTo>
                  <a:pt x="40089" y="64307"/>
                  <a:pt x="37239" y="64716"/>
                  <a:pt x="34804" y="66069"/>
                </a:cubicBezTo>
                <a:cubicBezTo>
                  <a:pt x="25654" y="71152"/>
                  <a:pt x="17663" y="76596"/>
                  <a:pt x="11019" y="84569"/>
                </a:cubicBezTo>
                <a:cubicBezTo>
                  <a:pt x="8986" y="87009"/>
                  <a:pt x="7495" y="89854"/>
                  <a:pt x="5733" y="92497"/>
                </a:cubicBezTo>
                <a:cubicBezTo>
                  <a:pt x="15372" y="121409"/>
                  <a:pt x="0" y="77616"/>
                  <a:pt x="13661" y="108354"/>
                </a:cubicBezTo>
                <a:cubicBezTo>
                  <a:pt x="17845" y="117767"/>
                  <a:pt x="17058" y="124965"/>
                  <a:pt x="24232" y="132139"/>
                </a:cubicBezTo>
                <a:cubicBezTo>
                  <a:pt x="26478" y="134385"/>
                  <a:pt x="29518" y="135662"/>
                  <a:pt x="32161" y="137424"/>
                </a:cubicBezTo>
                <a:cubicBezTo>
                  <a:pt x="33042" y="140067"/>
                  <a:pt x="33558" y="142861"/>
                  <a:pt x="34804" y="145353"/>
                </a:cubicBezTo>
                <a:cubicBezTo>
                  <a:pt x="40309" y="156365"/>
                  <a:pt x="44053" y="155924"/>
                  <a:pt x="55946" y="163852"/>
                </a:cubicBezTo>
                <a:cubicBezTo>
                  <a:pt x="58589" y="165614"/>
                  <a:pt x="60861" y="168133"/>
                  <a:pt x="63874" y="169137"/>
                </a:cubicBezTo>
                <a:lnTo>
                  <a:pt x="79731" y="174423"/>
                </a:lnTo>
                <a:lnTo>
                  <a:pt x="90302" y="158566"/>
                </a:lnTo>
                <a:cubicBezTo>
                  <a:pt x="95501" y="150768"/>
                  <a:pt x="95882" y="149071"/>
                  <a:pt x="103516" y="142710"/>
                </a:cubicBezTo>
                <a:cubicBezTo>
                  <a:pt x="105956" y="140677"/>
                  <a:pt x="108375" y="138242"/>
                  <a:pt x="111444" y="137424"/>
                </a:cubicBezTo>
                <a:cubicBezTo>
                  <a:pt x="121799" y="134663"/>
                  <a:pt x="143157" y="132139"/>
                  <a:pt x="143157" y="132139"/>
                </a:cubicBezTo>
                <a:cubicBezTo>
                  <a:pt x="157112" y="127487"/>
                  <a:pt x="149541" y="131814"/>
                  <a:pt x="161657" y="113639"/>
                </a:cubicBezTo>
                <a:cubicBezTo>
                  <a:pt x="163419" y="110996"/>
                  <a:pt x="165938" y="108724"/>
                  <a:pt x="166942" y="105711"/>
                </a:cubicBezTo>
                <a:cubicBezTo>
                  <a:pt x="167823" y="103068"/>
                  <a:pt x="167845" y="99958"/>
                  <a:pt x="169585" y="97783"/>
                </a:cubicBezTo>
                <a:cubicBezTo>
                  <a:pt x="171569" y="95303"/>
                  <a:pt x="175073" y="94530"/>
                  <a:pt x="177513" y="92497"/>
                </a:cubicBezTo>
                <a:cubicBezTo>
                  <a:pt x="202348" y="71802"/>
                  <a:pt x="161234" y="100708"/>
                  <a:pt x="201298" y="73998"/>
                </a:cubicBezTo>
                <a:lnTo>
                  <a:pt x="209227" y="68712"/>
                </a:lnTo>
                <a:lnTo>
                  <a:pt x="214512" y="52855"/>
                </a:lnTo>
                <a:lnTo>
                  <a:pt x="217155" y="44927"/>
                </a:lnTo>
                <a:cubicBezTo>
                  <a:pt x="216274" y="38761"/>
                  <a:pt x="218336" y="31345"/>
                  <a:pt x="214512" y="26428"/>
                </a:cubicBezTo>
                <a:cubicBezTo>
                  <a:pt x="211092" y="22030"/>
                  <a:pt x="204215" y="21513"/>
                  <a:pt x="198656" y="21142"/>
                </a:cubicBezTo>
                <a:lnTo>
                  <a:pt x="159014" y="18499"/>
                </a:lnTo>
                <a:cubicBezTo>
                  <a:pt x="136319" y="10936"/>
                  <a:pt x="172462" y="22523"/>
                  <a:pt x="135229" y="13214"/>
                </a:cubicBezTo>
                <a:cubicBezTo>
                  <a:pt x="129824" y="11863"/>
                  <a:pt x="119372" y="7928"/>
                  <a:pt x="119372" y="7928"/>
                </a:cubicBezTo>
                <a:cubicBezTo>
                  <a:pt x="107039" y="8809"/>
                  <a:pt x="94368" y="7572"/>
                  <a:pt x="82373" y="10571"/>
                </a:cubicBezTo>
                <a:cubicBezTo>
                  <a:pt x="76210" y="12112"/>
                  <a:pt x="66517" y="21142"/>
                  <a:pt x="66517" y="21142"/>
                </a:cubicBezTo>
                <a:cubicBezTo>
                  <a:pt x="63595" y="29906"/>
                  <a:pt x="63874" y="26284"/>
                  <a:pt x="63874" y="31713"/>
                </a:cubicBezTo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30" name="Freeform 29"/>
          <p:cNvSpPr/>
          <p:nvPr/>
        </p:nvSpPr>
        <p:spPr>
          <a:xfrm>
            <a:off x="5502276" y="5971117"/>
            <a:ext cx="122238" cy="127000"/>
          </a:xfrm>
          <a:custGeom>
            <a:avLst/>
            <a:gdLst>
              <a:gd name="connsiteX0" fmla="*/ 103570 w 122224"/>
              <a:gd name="connsiteY0" fmla="*/ 7928 h 126853"/>
              <a:gd name="connsiteX1" fmla="*/ 90356 w 122224"/>
              <a:gd name="connsiteY1" fmla="*/ 5285 h 126853"/>
              <a:gd name="connsiteX2" fmla="*/ 74499 w 122224"/>
              <a:gd name="connsiteY2" fmla="*/ 0 h 126853"/>
              <a:gd name="connsiteX3" fmla="*/ 40143 w 122224"/>
              <a:gd name="connsiteY3" fmla="*/ 5285 h 126853"/>
              <a:gd name="connsiteX4" fmla="*/ 32215 w 122224"/>
              <a:gd name="connsiteY4" fmla="*/ 10571 h 126853"/>
              <a:gd name="connsiteX5" fmla="*/ 29572 w 122224"/>
              <a:gd name="connsiteY5" fmla="*/ 18499 h 126853"/>
              <a:gd name="connsiteX6" fmla="*/ 21644 w 122224"/>
              <a:gd name="connsiteY6" fmla="*/ 44927 h 126853"/>
              <a:gd name="connsiteX7" fmla="*/ 16358 w 122224"/>
              <a:gd name="connsiteY7" fmla="*/ 55498 h 126853"/>
              <a:gd name="connsiteX8" fmla="*/ 13716 w 122224"/>
              <a:gd name="connsiteY8" fmla="*/ 63426 h 126853"/>
              <a:gd name="connsiteX9" fmla="*/ 5787 w 122224"/>
              <a:gd name="connsiteY9" fmla="*/ 71354 h 126853"/>
              <a:gd name="connsiteX10" fmla="*/ 5787 w 122224"/>
              <a:gd name="connsiteY10" fmla="*/ 100425 h 126853"/>
              <a:gd name="connsiteX11" fmla="*/ 13716 w 122224"/>
              <a:gd name="connsiteY11" fmla="*/ 103068 h 126853"/>
              <a:gd name="connsiteX12" fmla="*/ 29572 w 122224"/>
              <a:gd name="connsiteY12" fmla="*/ 113639 h 126853"/>
              <a:gd name="connsiteX13" fmla="*/ 37500 w 122224"/>
              <a:gd name="connsiteY13" fmla="*/ 116282 h 126853"/>
              <a:gd name="connsiteX14" fmla="*/ 53357 w 122224"/>
              <a:gd name="connsiteY14" fmla="*/ 126853 h 126853"/>
              <a:gd name="connsiteX15" fmla="*/ 111498 w 122224"/>
              <a:gd name="connsiteY15" fmla="*/ 124210 h 126853"/>
              <a:gd name="connsiteX16" fmla="*/ 119427 w 122224"/>
              <a:gd name="connsiteY16" fmla="*/ 121567 h 126853"/>
              <a:gd name="connsiteX17" fmla="*/ 122069 w 122224"/>
              <a:gd name="connsiteY17" fmla="*/ 113639 h 126853"/>
              <a:gd name="connsiteX18" fmla="*/ 119427 w 122224"/>
              <a:gd name="connsiteY18" fmla="*/ 100425 h 126853"/>
              <a:gd name="connsiteX19" fmla="*/ 111498 w 122224"/>
              <a:gd name="connsiteY19" fmla="*/ 97782 h 126853"/>
              <a:gd name="connsiteX20" fmla="*/ 103570 w 122224"/>
              <a:gd name="connsiteY20" fmla="*/ 81926 h 126853"/>
              <a:gd name="connsiteX21" fmla="*/ 108855 w 122224"/>
              <a:gd name="connsiteY21" fmla="*/ 55498 h 126853"/>
              <a:gd name="connsiteX22" fmla="*/ 114141 w 122224"/>
              <a:gd name="connsiteY22" fmla="*/ 39641 h 126853"/>
              <a:gd name="connsiteX23" fmla="*/ 116784 w 122224"/>
              <a:gd name="connsiteY23" fmla="*/ 31713 h 126853"/>
              <a:gd name="connsiteX24" fmla="*/ 106213 w 122224"/>
              <a:gd name="connsiteY24" fmla="*/ 2642 h 126853"/>
              <a:gd name="connsiteX25" fmla="*/ 103570 w 122224"/>
              <a:gd name="connsiteY25" fmla="*/ 7928 h 126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22224" h="126853">
                <a:moveTo>
                  <a:pt x="103570" y="7928"/>
                </a:moveTo>
                <a:cubicBezTo>
                  <a:pt x="100927" y="8368"/>
                  <a:pt x="94690" y="6467"/>
                  <a:pt x="90356" y="5285"/>
                </a:cubicBezTo>
                <a:cubicBezTo>
                  <a:pt x="84981" y="3819"/>
                  <a:pt x="74499" y="0"/>
                  <a:pt x="74499" y="0"/>
                </a:cubicBezTo>
                <a:cubicBezTo>
                  <a:pt x="66919" y="758"/>
                  <a:pt x="49667" y="523"/>
                  <a:pt x="40143" y="5285"/>
                </a:cubicBezTo>
                <a:cubicBezTo>
                  <a:pt x="37302" y="6706"/>
                  <a:pt x="34858" y="8809"/>
                  <a:pt x="32215" y="10571"/>
                </a:cubicBezTo>
                <a:cubicBezTo>
                  <a:pt x="31334" y="13214"/>
                  <a:pt x="30337" y="15821"/>
                  <a:pt x="29572" y="18499"/>
                </a:cubicBezTo>
                <a:cubicBezTo>
                  <a:pt x="27044" y="27346"/>
                  <a:pt x="25828" y="36559"/>
                  <a:pt x="21644" y="44927"/>
                </a:cubicBezTo>
                <a:cubicBezTo>
                  <a:pt x="19882" y="48451"/>
                  <a:pt x="17910" y="51877"/>
                  <a:pt x="16358" y="55498"/>
                </a:cubicBezTo>
                <a:cubicBezTo>
                  <a:pt x="15261" y="58058"/>
                  <a:pt x="15261" y="61108"/>
                  <a:pt x="13716" y="63426"/>
                </a:cubicBezTo>
                <a:cubicBezTo>
                  <a:pt x="11643" y="66536"/>
                  <a:pt x="8430" y="68711"/>
                  <a:pt x="5787" y="71354"/>
                </a:cubicBezTo>
                <a:cubicBezTo>
                  <a:pt x="3167" y="81833"/>
                  <a:pt x="0" y="88852"/>
                  <a:pt x="5787" y="100425"/>
                </a:cubicBezTo>
                <a:cubicBezTo>
                  <a:pt x="7033" y="102917"/>
                  <a:pt x="11281" y="101715"/>
                  <a:pt x="13716" y="103068"/>
                </a:cubicBezTo>
                <a:cubicBezTo>
                  <a:pt x="19269" y="106153"/>
                  <a:pt x="23546" y="111630"/>
                  <a:pt x="29572" y="113639"/>
                </a:cubicBezTo>
                <a:cubicBezTo>
                  <a:pt x="32215" y="114520"/>
                  <a:pt x="35065" y="114929"/>
                  <a:pt x="37500" y="116282"/>
                </a:cubicBezTo>
                <a:cubicBezTo>
                  <a:pt x="43053" y="119367"/>
                  <a:pt x="53357" y="126853"/>
                  <a:pt x="53357" y="126853"/>
                </a:cubicBezTo>
                <a:cubicBezTo>
                  <a:pt x="72737" y="125972"/>
                  <a:pt x="92159" y="125757"/>
                  <a:pt x="111498" y="124210"/>
                </a:cubicBezTo>
                <a:cubicBezTo>
                  <a:pt x="114275" y="123988"/>
                  <a:pt x="117457" y="123537"/>
                  <a:pt x="119427" y="121567"/>
                </a:cubicBezTo>
                <a:cubicBezTo>
                  <a:pt x="121397" y="119597"/>
                  <a:pt x="121188" y="116282"/>
                  <a:pt x="122069" y="113639"/>
                </a:cubicBezTo>
                <a:cubicBezTo>
                  <a:pt x="121188" y="109234"/>
                  <a:pt x="121919" y="104162"/>
                  <a:pt x="119427" y="100425"/>
                </a:cubicBezTo>
                <a:cubicBezTo>
                  <a:pt x="117882" y="98107"/>
                  <a:pt x="113673" y="99522"/>
                  <a:pt x="111498" y="97782"/>
                </a:cubicBezTo>
                <a:cubicBezTo>
                  <a:pt x="106842" y="94057"/>
                  <a:pt x="105311" y="87148"/>
                  <a:pt x="103570" y="81926"/>
                </a:cubicBezTo>
                <a:cubicBezTo>
                  <a:pt x="105354" y="71223"/>
                  <a:pt x="105901" y="65346"/>
                  <a:pt x="108855" y="55498"/>
                </a:cubicBezTo>
                <a:cubicBezTo>
                  <a:pt x="110456" y="50161"/>
                  <a:pt x="112379" y="44927"/>
                  <a:pt x="114141" y="39641"/>
                </a:cubicBezTo>
                <a:lnTo>
                  <a:pt x="116784" y="31713"/>
                </a:lnTo>
                <a:cubicBezTo>
                  <a:pt x="114867" y="12542"/>
                  <a:pt x="122224" y="4930"/>
                  <a:pt x="106213" y="2642"/>
                </a:cubicBezTo>
                <a:cubicBezTo>
                  <a:pt x="102725" y="2144"/>
                  <a:pt x="106213" y="7488"/>
                  <a:pt x="103570" y="7928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31" name="Freeform 30"/>
          <p:cNvSpPr/>
          <p:nvPr/>
        </p:nvSpPr>
        <p:spPr>
          <a:xfrm>
            <a:off x="3916368" y="5211235"/>
            <a:ext cx="1182687" cy="1013884"/>
          </a:xfrm>
          <a:custGeom>
            <a:avLst/>
            <a:gdLst>
              <a:gd name="connsiteX0" fmla="*/ 27427 w 1182963"/>
              <a:gd name="connsiteY0" fmla="*/ 7929 h 1014826"/>
              <a:gd name="connsiteX1" fmla="*/ 19498 w 1182963"/>
              <a:gd name="connsiteY1" fmla="*/ 21143 h 1014826"/>
              <a:gd name="connsiteX2" fmla="*/ 19498 w 1182963"/>
              <a:gd name="connsiteY2" fmla="*/ 58141 h 1014826"/>
              <a:gd name="connsiteX3" fmla="*/ 32712 w 1182963"/>
              <a:gd name="connsiteY3" fmla="*/ 73998 h 1014826"/>
              <a:gd name="connsiteX4" fmla="*/ 37998 w 1182963"/>
              <a:gd name="connsiteY4" fmla="*/ 81926 h 1014826"/>
              <a:gd name="connsiteX5" fmla="*/ 43283 w 1182963"/>
              <a:gd name="connsiteY5" fmla="*/ 97783 h 1014826"/>
              <a:gd name="connsiteX6" fmla="*/ 53854 w 1182963"/>
              <a:gd name="connsiteY6" fmla="*/ 113640 h 1014826"/>
              <a:gd name="connsiteX7" fmla="*/ 59140 w 1182963"/>
              <a:gd name="connsiteY7" fmla="*/ 129496 h 1014826"/>
              <a:gd name="connsiteX8" fmla="*/ 61783 w 1182963"/>
              <a:gd name="connsiteY8" fmla="*/ 140067 h 1014826"/>
              <a:gd name="connsiteX9" fmla="*/ 67068 w 1182963"/>
              <a:gd name="connsiteY9" fmla="*/ 147996 h 1014826"/>
              <a:gd name="connsiteX10" fmla="*/ 72354 w 1182963"/>
              <a:gd name="connsiteY10" fmla="*/ 163852 h 1014826"/>
              <a:gd name="connsiteX11" fmla="*/ 77639 w 1182963"/>
              <a:gd name="connsiteY11" fmla="*/ 179709 h 1014826"/>
              <a:gd name="connsiteX12" fmla="*/ 80282 w 1182963"/>
              <a:gd name="connsiteY12" fmla="*/ 187637 h 1014826"/>
              <a:gd name="connsiteX13" fmla="*/ 88210 w 1182963"/>
              <a:gd name="connsiteY13" fmla="*/ 190280 h 1014826"/>
              <a:gd name="connsiteX14" fmla="*/ 96139 w 1182963"/>
              <a:gd name="connsiteY14" fmla="*/ 198209 h 1014826"/>
              <a:gd name="connsiteX15" fmla="*/ 106710 w 1182963"/>
              <a:gd name="connsiteY15" fmla="*/ 214065 h 1014826"/>
              <a:gd name="connsiteX16" fmla="*/ 114638 w 1182963"/>
              <a:gd name="connsiteY16" fmla="*/ 237850 h 1014826"/>
              <a:gd name="connsiteX17" fmla="*/ 117281 w 1182963"/>
              <a:gd name="connsiteY17" fmla="*/ 245778 h 1014826"/>
              <a:gd name="connsiteX18" fmla="*/ 122567 w 1182963"/>
              <a:gd name="connsiteY18" fmla="*/ 253707 h 1014826"/>
              <a:gd name="connsiteX19" fmla="*/ 135780 w 1182963"/>
              <a:gd name="connsiteY19" fmla="*/ 277492 h 1014826"/>
              <a:gd name="connsiteX20" fmla="*/ 146352 w 1182963"/>
              <a:gd name="connsiteY20" fmla="*/ 293348 h 1014826"/>
              <a:gd name="connsiteX21" fmla="*/ 148994 w 1182963"/>
              <a:gd name="connsiteY21" fmla="*/ 301277 h 1014826"/>
              <a:gd name="connsiteX22" fmla="*/ 159565 w 1182963"/>
              <a:gd name="connsiteY22" fmla="*/ 317133 h 1014826"/>
              <a:gd name="connsiteX23" fmla="*/ 164851 w 1182963"/>
              <a:gd name="connsiteY23" fmla="*/ 325062 h 1014826"/>
              <a:gd name="connsiteX24" fmla="*/ 180708 w 1182963"/>
              <a:gd name="connsiteY24" fmla="*/ 335633 h 1014826"/>
              <a:gd name="connsiteX25" fmla="*/ 188636 w 1182963"/>
              <a:gd name="connsiteY25" fmla="*/ 340918 h 1014826"/>
              <a:gd name="connsiteX26" fmla="*/ 204493 w 1182963"/>
              <a:gd name="connsiteY26" fmla="*/ 356775 h 1014826"/>
              <a:gd name="connsiteX27" fmla="*/ 209778 w 1182963"/>
              <a:gd name="connsiteY27" fmla="*/ 367346 h 1014826"/>
              <a:gd name="connsiteX28" fmla="*/ 215064 w 1182963"/>
              <a:gd name="connsiteY28" fmla="*/ 375274 h 1014826"/>
              <a:gd name="connsiteX29" fmla="*/ 222992 w 1182963"/>
              <a:gd name="connsiteY29" fmla="*/ 401702 h 1014826"/>
              <a:gd name="connsiteX30" fmla="*/ 228278 w 1182963"/>
              <a:gd name="connsiteY30" fmla="*/ 417559 h 1014826"/>
              <a:gd name="connsiteX31" fmla="*/ 246777 w 1182963"/>
              <a:gd name="connsiteY31" fmla="*/ 441344 h 1014826"/>
              <a:gd name="connsiteX32" fmla="*/ 249420 w 1182963"/>
              <a:gd name="connsiteY32" fmla="*/ 451915 h 1014826"/>
              <a:gd name="connsiteX33" fmla="*/ 252062 w 1182963"/>
              <a:gd name="connsiteY33" fmla="*/ 459843 h 1014826"/>
              <a:gd name="connsiteX34" fmla="*/ 254705 w 1182963"/>
              <a:gd name="connsiteY34" fmla="*/ 615767 h 1014826"/>
              <a:gd name="connsiteX35" fmla="*/ 265276 w 1182963"/>
              <a:gd name="connsiteY35" fmla="*/ 639552 h 1014826"/>
              <a:gd name="connsiteX36" fmla="*/ 273205 w 1182963"/>
              <a:gd name="connsiteY36" fmla="*/ 644837 h 1014826"/>
              <a:gd name="connsiteX37" fmla="*/ 275847 w 1182963"/>
              <a:gd name="connsiteY37" fmla="*/ 655409 h 1014826"/>
              <a:gd name="connsiteX38" fmla="*/ 281133 w 1182963"/>
              <a:gd name="connsiteY38" fmla="*/ 671265 h 1014826"/>
              <a:gd name="connsiteX39" fmla="*/ 283776 w 1182963"/>
              <a:gd name="connsiteY39" fmla="*/ 710907 h 1014826"/>
              <a:gd name="connsiteX40" fmla="*/ 286419 w 1182963"/>
              <a:gd name="connsiteY40" fmla="*/ 737335 h 1014826"/>
              <a:gd name="connsiteX41" fmla="*/ 291704 w 1182963"/>
              <a:gd name="connsiteY41" fmla="*/ 763762 h 1014826"/>
              <a:gd name="connsiteX42" fmla="*/ 302275 w 1182963"/>
              <a:gd name="connsiteY42" fmla="*/ 779619 h 1014826"/>
              <a:gd name="connsiteX43" fmla="*/ 320775 w 1182963"/>
              <a:gd name="connsiteY43" fmla="*/ 792833 h 1014826"/>
              <a:gd name="connsiteX44" fmla="*/ 320775 w 1182963"/>
              <a:gd name="connsiteY44" fmla="*/ 864188 h 1014826"/>
              <a:gd name="connsiteX45" fmla="*/ 328703 w 1182963"/>
              <a:gd name="connsiteY45" fmla="*/ 880044 h 1014826"/>
              <a:gd name="connsiteX46" fmla="*/ 339274 w 1182963"/>
              <a:gd name="connsiteY46" fmla="*/ 885330 h 1014826"/>
              <a:gd name="connsiteX47" fmla="*/ 349845 w 1182963"/>
              <a:gd name="connsiteY47" fmla="*/ 909115 h 1014826"/>
              <a:gd name="connsiteX48" fmla="*/ 352488 w 1182963"/>
              <a:gd name="connsiteY48" fmla="*/ 917043 h 1014826"/>
              <a:gd name="connsiteX49" fmla="*/ 357773 w 1182963"/>
              <a:gd name="connsiteY49" fmla="*/ 924972 h 1014826"/>
              <a:gd name="connsiteX50" fmla="*/ 360416 w 1182963"/>
              <a:gd name="connsiteY50" fmla="*/ 932900 h 1014826"/>
              <a:gd name="connsiteX51" fmla="*/ 376273 w 1182963"/>
              <a:gd name="connsiteY51" fmla="*/ 946114 h 1014826"/>
              <a:gd name="connsiteX52" fmla="*/ 392130 w 1182963"/>
              <a:gd name="connsiteY52" fmla="*/ 961970 h 1014826"/>
              <a:gd name="connsiteX53" fmla="*/ 415915 w 1182963"/>
              <a:gd name="connsiteY53" fmla="*/ 977827 h 1014826"/>
              <a:gd name="connsiteX54" fmla="*/ 423843 w 1182963"/>
              <a:gd name="connsiteY54" fmla="*/ 983113 h 1014826"/>
              <a:gd name="connsiteX55" fmla="*/ 431771 w 1182963"/>
              <a:gd name="connsiteY55" fmla="*/ 988398 h 1014826"/>
              <a:gd name="connsiteX56" fmla="*/ 439699 w 1182963"/>
              <a:gd name="connsiteY56" fmla="*/ 972541 h 1014826"/>
              <a:gd name="connsiteX57" fmla="*/ 450271 w 1182963"/>
              <a:gd name="connsiteY57" fmla="*/ 948757 h 1014826"/>
              <a:gd name="connsiteX58" fmla="*/ 458199 w 1182963"/>
              <a:gd name="connsiteY58" fmla="*/ 943471 h 1014826"/>
              <a:gd name="connsiteX59" fmla="*/ 497841 w 1182963"/>
              <a:gd name="connsiteY59" fmla="*/ 946114 h 1014826"/>
              <a:gd name="connsiteX60" fmla="*/ 500483 w 1182963"/>
              <a:gd name="connsiteY60" fmla="*/ 954042 h 1014826"/>
              <a:gd name="connsiteX61" fmla="*/ 508412 w 1182963"/>
              <a:gd name="connsiteY61" fmla="*/ 959328 h 1014826"/>
              <a:gd name="connsiteX62" fmla="*/ 524268 w 1182963"/>
              <a:gd name="connsiteY62" fmla="*/ 991041 h 1014826"/>
              <a:gd name="connsiteX63" fmla="*/ 529554 w 1182963"/>
              <a:gd name="connsiteY63" fmla="*/ 998969 h 1014826"/>
              <a:gd name="connsiteX64" fmla="*/ 537482 w 1182963"/>
              <a:gd name="connsiteY64" fmla="*/ 1001612 h 1014826"/>
              <a:gd name="connsiteX65" fmla="*/ 545410 w 1182963"/>
              <a:gd name="connsiteY65" fmla="*/ 1009540 h 1014826"/>
              <a:gd name="connsiteX66" fmla="*/ 561267 w 1182963"/>
              <a:gd name="connsiteY66" fmla="*/ 1014826 h 1014826"/>
              <a:gd name="connsiteX67" fmla="*/ 598266 w 1182963"/>
              <a:gd name="connsiteY67" fmla="*/ 1012183 h 1014826"/>
              <a:gd name="connsiteX68" fmla="*/ 606194 w 1182963"/>
              <a:gd name="connsiteY68" fmla="*/ 1009540 h 1014826"/>
              <a:gd name="connsiteX69" fmla="*/ 616765 w 1182963"/>
              <a:gd name="connsiteY69" fmla="*/ 1006898 h 1014826"/>
              <a:gd name="connsiteX70" fmla="*/ 666978 w 1182963"/>
              <a:gd name="connsiteY70" fmla="*/ 1001612 h 1014826"/>
              <a:gd name="connsiteX71" fmla="*/ 674906 w 1182963"/>
              <a:gd name="connsiteY71" fmla="*/ 998969 h 1014826"/>
              <a:gd name="connsiteX72" fmla="*/ 693406 w 1182963"/>
              <a:gd name="connsiteY72" fmla="*/ 993684 h 1014826"/>
              <a:gd name="connsiteX73" fmla="*/ 703977 w 1182963"/>
              <a:gd name="connsiteY73" fmla="*/ 980470 h 1014826"/>
              <a:gd name="connsiteX74" fmla="*/ 711905 w 1182963"/>
              <a:gd name="connsiteY74" fmla="*/ 975184 h 1014826"/>
              <a:gd name="connsiteX75" fmla="*/ 717191 w 1182963"/>
              <a:gd name="connsiteY75" fmla="*/ 959328 h 1014826"/>
              <a:gd name="connsiteX76" fmla="*/ 719834 w 1182963"/>
              <a:gd name="connsiteY76" fmla="*/ 951399 h 1014826"/>
              <a:gd name="connsiteX77" fmla="*/ 717191 w 1182963"/>
              <a:gd name="connsiteY77" fmla="*/ 705621 h 1014826"/>
              <a:gd name="connsiteX78" fmla="*/ 714548 w 1182963"/>
              <a:gd name="connsiteY78" fmla="*/ 697693 h 1014826"/>
              <a:gd name="connsiteX79" fmla="*/ 703977 w 1182963"/>
              <a:gd name="connsiteY79" fmla="*/ 681836 h 1014826"/>
              <a:gd name="connsiteX80" fmla="*/ 688120 w 1182963"/>
              <a:gd name="connsiteY80" fmla="*/ 676551 h 1014826"/>
              <a:gd name="connsiteX81" fmla="*/ 680192 w 1182963"/>
              <a:gd name="connsiteY81" fmla="*/ 671265 h 1014826"/>
              <a:gd name="connsiteX82" fmla="*/ 672264 w 1182963"/>
              <a:gd name="connsiteY82" fmla="*/ 652766 h 1014826"/>
              <a:gd name="connsiteX83" fmla="*/ 664335 w 1182963"/>
              <a:gd name="connsiteY83" fmla="*/ 647480 h 1014826"/>
              <a:gd name="connsiteX84" fmla="*/ 664335 w 1182963"/>
              <a:gd name="connsiteY84" fmla="*/ 591982 h 1014826"/>
              <a:gd name="connsiteX85" fmla="*/ 669621 w 1182963"/>
              <a:gd name="connsiteY85" fmla="*/ 576125 h 1014826"/>
              <a:gd name="connsiteX86" fmla="*/ 672264 w 1182963"/>
              <a:gd name="connsiteY86" fmla="*/ 568197 h 1014826"/>
              <a:gd name="connsiteX87" fmla="*/ 680192 w 1182963"/>
              <a:gd name="connsiteY87" fmla="*/ 549698 h 1014826"/>
              <a:gd name="connsiteX88" fmla="*/ 685478 w 1182963"/>
              <a:gd name="connsiteY88" fmla="*/ 517984 h 1014826"/>
              <a:gd name="connsiteX89" fmla="*/ 688120 w 1182963"/>
              <a:gd name="connsiteY89" fmla="*/ 510056 h 1014826"/>
              <a:gd name="connsiteX90" fmla="*/ 696049 w 1182963"/>
              <a:gd name="connsiteY90" fmla="*/ 480985 h 1014826"/>
              <a:gd name="connsiteX91" fmla="*/ 703977 w 1182963"/>
              <a:gd name="connsiteY91" fmla="*/ 457200 h 1014826"/>
              <a:gd name="connsiteX92" fmla="*/ 711905 w 1182963"/>
              <a:gd name="connsiteY92" fmla="*/ 441344 h 1014826"/>
              <a:gd name="connsiteX93" fmla="*/ 722476 w 1182963"/>
              <a:gd name="connsiteY93" fmla="*/ 438701 h 1014826"/>
              <a:gd name="connsiteX94" fmla="*/ 767404 w 1182963"/>
              <a:gd name="connsiteY94" fmla="*/ 436058 h 1014826"/>
              <a:gd name="connsiteX95" fmla="*/ 788546 w 1182963"/>
              <a:gd name="connsiteY95" fmla="*/ 433415 h 1014826"/>
              <a:gd name="connsiteX96" fmla="*/ 796474 w 1182963"/>
              <a:gd name="connsiteY96" fmla="*/ 430773 h 1014826"/>
              <a:gd name="connsiteX97" fmla="*/ 799117 w 1182963"/>
              <a:gd name="connsiteY97" fmla="*/ 422844 h 1014826"/>
              <a:gd name="connsiteX98" fmla="*/ 814973 w 1182963"/>
              <a:gd name="connsiteY98" fmla="*/ 406988 h 1014826"/>
              <a:gd name="connsiteX99" fmla="*/ 817616 w 1182963"/>
              <a:gd name="connsiteY99" fmla="*/ 399059 h 1014826"/>
              <a:gd name="connsiteX100" fmla="*/ 825545 w 1182963"/>
              <a:gd name="connsiteY100" fmla="*/ 383203 h 1014826"/>
              <a:gd name="connsiteX101" fmla="*/ 822902 w 1182963"/>
              <a:gd name="connsiteY101" fmla="*/ 348847 h 1014826"/>
              <a:gd name="connsiteX102" fmla="*/ 820259 w 1182963"/>
              <a:gd name="connsiteY102" fmla="*/ 338276 h 1014826"/>
              <a:gd name="connsiteX103" fmla="*/ 817616 w 1182963"/>
              <a:gd name="connsiteY103" fmla="*/ 203494 h 1014826"/>
              <a:gd name="connsiteX104" fmla="*/ 820259 w 1182963"/>
              <a:gd name="connsiteY104" fmla="*/ 116283 h 1014826"/>
              <a:gd name="connsiteX105" fmla="*/ 836116 w 1182963"/>
              <a:gd name="connsiteY105" fmla="*/ 110997 h 1014826"/>
              <a:gd name="connsiteX106" fmla="*/ 844044 w 1182963"/>
              <a:gd name="connsiteY106" fmla="*/ 108354 h 1014826"/>
              <a:gd name="connsiteX107" fmla="*/ 859901 w 1182963"/>
              <a:gd name="connsiteY107" fmla="*/ 100426 h 1014826"/>
              <a:gd name="connsiteX108" fmla="*/ 881043 w 1182963"/>
              <a:gd name="connsiteY108" fmla="*/ 95140 h 1014826"/>
              <a:gd name="connsiteX109" fmla="*/ 907471 w 1182963"/>
              <a:gd name="connsiteY109" fmla="*/ 89855 h 1014826"/>
              <a:gd name="connsiteX110" fmla="*/ 1002610 w 1182963"/>
              <a:gd name="connsiteY110" fmla="*/ 92498 h 1014826"/>
              <a:gd name="connsiteX111" fmla="*/ 1013182 w 1182963"/>
              <a:gd name="connsiteY111" fmla="*/ 105711 h 1014826"/>
              <a:gd name="connsiteX112" fmla="*/ 1029038 w 1182963"/>
              <a:gd name="connsiteY112" fmla="*/ 110997 h 1014826"/>
              <a:gd name="connsiteX113" fmla="*/ 1055466 w 1182963"/>
              <a:gd name="connsiteY113" fmla="*/ 108354 h 1014826"/>
              <a:gd name="connsiteX114" fmla="*/ 1060752 w 1182963"/>
              <a:gd name="connsiteY114" fmla="*/ 100426 h 1014826"/>
              <a:gd name="connsiteX115" fmla="*/ 1068680 w 1182963"/>
              <a:gd name="connsiteY115" fmla="*/ 92498 h 1014826"/>
              <a:gd name="connsiteX116" fmla="*/ 1071323 w 1182963"/>
              <a:gd name="connsiteY116" fmla="*/ 84569 h 1014826"/>
              <a:gd name="connsiteX117" fmla="*/ 1103036 w 1182963"/>
              <a:gd name="connsiteY117" fmla="*/ 68713 h 1014826"/>
              <a:gd name="connsiteX118" fmla="*/ 1118893 w 1182963"/>
              <a:gd name="connsiteY118" fmla="*/ 63427 h 1014826"/>
              <a:gd name="connsiteX119" fmla="*/ 1132106 w 1182963"/>
              <a:gd name="connsiteY119" fmla="*/ 60784 h 1014826"/>
              <a:gd name="connsiteX120" fmla="*/ 1177034 w 1182963"/>
              <a:gd name="connsiteY120" fmla="*/ 63427 h 1014826"/>
              <a:gd name="connsiteX121" fmla="*/ 1166462 w 1182963"/>
              <a:gd name="connsiteY121" fmla="*/ 47570 h 1014826"/>
              <a:gd name="connsiteX122" fmla="*/ 1161177 w 1182963"/>
              <a:gd name="connsiteY122" fmla="*/ 39642 h 1014826"/>
              <a:gd name="connsiteX123" fmla="*/ 1158534 w 1182963"/>
              <a:gd name="connsiteY123" fmla="*/ 29071 h 1014826"/>
              <a:gd name="connsiteX124" fmla="*/ 1134749 w 1182963"/>
              <a:gd name="connsiteY124" fmla="*/ 29071 h 1014826"/>
              <a:gd name="connsiteX125" fmla="*/ 1060752 w 1182963"/>
              <a:gd name="connsiteY125" fmla="*/ 36999 h 1014826"/>
              <a:gd name="connsiteX126" fmla="*/ 1042252 w 1182963"/>
              <a:gd name="connsiteY126" fmla="*/ 42285 h 1014826"/>
              <a:gd name="connsiteX127" fmla="*/ 1026395 w 1182963"/>
              <a:gd name="connsiteY127" fmla="*/ 47570 h 1014826"/>
              <a:gd name="connsiteX128" fmla="*/ 1010539 w 1182963"/>
              <a:gd name="connsiteY128" fmla="*/ 50213 h 1014826"/>
              <a:gd name="connsiteX129" fmla="*/ 1002610 w 1182963"/>
              <a:gd name="connsiteY129" fmla="*/ 52856 h 1014826"/>
              <a:gd name="connsiteX130" fmla="*/ 984111 w 1182963"/>
              <a:gd name="connsiteY130" fmla="*/ 55499 h 1014826"/>
              <a:gd name="connsiteX131" fmla="*/ 902185 w 1182963"/>
              <a:gd name="connsiteY131" fmla="*/ 63427 h 1014826"/>
              <a:gd name="connsiteX132" fmla="*/ 873115 w 1182963"/>
              <a:gd name="connsiteY132" fmla="*/ 68713 h 1014826"/>
              <a:gd name="connsiteX133" fmla="*/ 685478 w 1182963"/>
              <a:gd name="connsiteY133" fmla="*/ 66070 h 1014826"/>
              <a:gd name="connsiteX134" fmla="*/ 653764 w 1182963"/>
              <a:gd name="connsiteY134" fmla="*/ 58141 h 1014826"/>
              <a:gd name="connsiteX135" fmla="*/ 653764 w 1182963"/>
              <a:gd name="connsiteY135" fmla="*/ 58141 h 1014826"/>
              <a:gd name="connsiteX136" fmla="*/ 624694 w 1182963"/>
              <a:gd name="connsiteY136" fmla="*/ 50213 h 1014826"/>
              <a:gd name="connsiteX137" fmla="*/ 616765 w 1182963"/>
              <a:gd name="connsiteY137" fmla="*/ 47570 h 1014826"/>
              <a:gd name="connsiteX138" fmla="*/ 600909 w 1182963"/>
              <a:gd name="connsiteY138" fmla="*/ 39642 h 1014826"/>
              <a:gd name="connsiteX139" fmla="*/ 577124 w 1182963"/>
              <a:gd name="connsiteY139" fmla="*/ 29071 h 1014826"/>
              <a:gd name="connsiteX140" fmla="*/ 569195 w 1182963"/>
              <a:gd name="connsiteY140" fmla="*/ 26428 h 1014826"/>
              <a:gd name="connsiteX141" fmla="*/ 201850 w 1182963"/>
              <a:gd name="connsiteY141" fmla="*/ 23785 h 1014826"/>
              <a:gd name="connsiteX142" fmla="*/ 196564 w 1182963"/>
              <a:gd name="connsiteY142" fmla="*/ 15857 h 1014826"/>
              <a:gd name="connsiteX143" fmla="*/ 180708 w 1182963"/>
              <a:gd name="connsiteY143" fmla="*/ 10572 h 1014826"/>
              <a:gd name="connsiteX144" fmla="*/ 172779 w 1182963"/>
              <a:gd name="connsiteY144" fmla="*/ 5286 h 1014826"/>
              <a:gd name="connsiteX145" fmla="*/ 154280 w 1182963"/>
              <a:gd name="connsiteY145" fmla="*/ 0 h 1014826"/>
              <a:gd name="connsiteX146" fmla="*/ 96139 w 1182963"/>
              <a:gd name="connsiteY146" fmla="*/ 5286 h 1014826"/>
              <a:gd name="connsiteX147" fmla="*/ 8927 w 1182963"/>
              <a:gd name="connsiteY147" fmla="*/ 10572 h 1014826"/>
              <a:gd name="connsiteX148" fmla="*/ 8927 w 1182963"/>
              <a:gd name="connsiteY148" fmla="*/ 55499 h 1014826"/>
              <a:gd name="connsiteX149" fmla="*/ 16856 w 1182963"/>
              <a:gd name="connsiteY149" fmla="*/ 63427 h 1014826"/>
              <a:gd name="connsiteX150" fmla="*/ 27427 w 1182963"/>
              <a:gd name="connsiteY150" fmla="*/ 79284 h 1014826"/>
              <a:gd name="connsiteX151" fmla="*/ 37998 w 1182963"/>
              <a:gd name="connsiteY151" fmla="*/ 95140 h 1014826"/>
              <a:gd name="connsiteX152" fmla="*/ 43283 w 1182963"/>
              <a:gd name="connsiteY152" fmla="*/ 103069 h 1014826"/>
              <a:gd name="connsiteX153" fmla="*/ 51212 w 1182963"/>
              <a:gd name="connsiteY153" fmla="*/ 118925 h 1014826"/>
              <a:gd name="connsiteX154" fmla="*/ 59140 w 1182963"/>
              <a:gd name="connsiteY154" fmla="*/ 124211 h 1014826"/>
              <a:gd name="connsiteX155" fmla="*/ 61783 w 1182963"/>
              <a:gd name="connsiteY155" fmla="*/ 132139 h 1014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</a:cxnLst>
            <a:rect l="l" t="t" r="r" b="b"/>
            <a:pathLst>
              <a:path w="1182963" h="1014826">
                <a:moveTo>
                  <a:pt x="27427" y="7929"/>
                </a:moveTo>
                <a:cubicBezTo>
                  <a:pt x="24784" y="12334"/>
                  <a:pt x="21584" y="16449"/>
                  <a:pt x="19498" y="21143"/>
                </a:cubicBezTo>
                <a:cubicBezTo>
                  <a:pt x="14497" y="32396"/>
                  <a:pt x="17013" y="47372"/>
                  <a:pt x="19498" y="58141"/>
                </a:cubicBezTo>
                <a:cubicBezTo>
                  <a:pt x="20754" y="63586"/>
                  <a:pt x="29718" y="70405"/>
                  <a:pt x="32712" y="73998"/>
                </a:cubicBezTo>
                <a:cubicBezTo>
                  <a:pt x="34745" y="76438"/>
                  <a:pt x="36236" y="79283"/>
                  <a:pt x="37998" y="81926"/>
                </a:cubicBezTo>
                <a:cubicBezTo>
                  <a:pt x="39760" y="87212"/>
                  <a:pt x="40193" y="93147"/>
                  <a:pt x="43283" y="97783"/>
                </a:cubicBezTo>
                <a:cubicBezTo>
                  <a:pt x="46807" y="103069"/>
                  <a:pt x="51845" y="107614"/>
                  <a:pt x="53854" y="113640"/>
                </a:cubicBezTo>
                <a:cubicBezTo>
                  <a:pt x="55616" y="118925"/>
                  <a:pt x="57789" y="124091"/>
                  <a:pt x="59140" y="129496"/>
                </a:cubicBezTo>
                <a:cubicBezTo>
                  <a:pt x="60021" y="133020"/>
                  <a:pt x="60352" y="136729"/>
                  <a:pt x="61783" y="140067"/>
                </a:cubicBezTo>
                <a:cubicBezTo>
                  <a:pt x="63034" y="142987"/>
                  <a:pt x="65778" y="145093"/>
                  <a:pt x="67068" y="147996"/>
                </a:cubicBezTo>
                <a:cubicBezTo>
                  <a:pt x="69331" y="153087"/>
                  <a:pt x="70592" y="158567"/>
                  <a:pt x="72354" y="163852"/>
                </a:cubicBezTo>
                <a:lnTo>
                  <a:pt x="77639" y="179709"/>
                </a:lnTo>
                <a:cubicBezTo>
                  <a:pt x="78520" y="182352"/>
                  <a:pt x="77639" y="186756"/>
                  <a:pt x="80282" y="187637"/>
                </a:cubicBezTo>
                <a:lnTo>
                  <a:pt x="88210" y="190280"/>
                </a:lnTo>
                <a:cubicBezTo>
                  <a:pt x="90853" y="192923"/>
                  <a:pt x="93844" y="195259"/>
                  <a:pt x="96139" y="198209"/>
                </a:cubicBezTo>
                <a:cubicBezTo>
                  <a:pt x="100039" y="203223"/>
                  <a:pt x="106710" y="214065"/>
                  <a:pt x="106710" y="214065"/>
                </a:cubicBezTo>
                <a:lnTo>
                  <a:pt x="114638" y="237850"/>
                </a:lnTo>
                <a:cubicBezTo>
                  <a:pt x="115519" y="240493"/>
                  <a:pt x="115736" y="243460"/>
                  <a:pt x="117281" y="245778"/>
                </a:cubicBezTo>
                <a:lnTo>
                  <a:pt x="122567" y="253707"/>
                </a:lnTo>
                <a:cubicBezTo>
                  <a:pt x="129034" y="273109"/>
                  <a:pt x="123913" y="265623"/>
                  <a:pt x="135780" y="277492"/>
                </a:cubicBezTo>
                <a:cubicBezTo>
                  <a:pt x="142066" y="296347"/>
                  <a:pt x="133151" y="273547"/>
                  <a:pt x="146352" y="293348"/>
                </a:cubicBezTo>
                <a:cubicBezTo>
                  <a:pt x="147897" y="295666"/>
                  <a:pt x="147641" y="298842"/>
                  <a:pt x="148994" y="301277"/>
                </a:cubicBezTo>
                <a:cubicBezTo>
                  <a:pt x="152079" y="306830"/>
                  <a:pt x="156041" y="311848"/>
                  <a:pt x="159565" y="317133"/>
                </a:cubicBezTo>
                <a:cubicBezTo>
                  <a:pt x="161327" y="319776"/>
                  <a:pt x="162208" y="323300"/>
                  <a:pt x="164851" y="325062"/>
                </a:cubicBezTo>
                <a:lnTo>
                  <a:pt x="180708" y="335633"/>
                </a:lnTo>
                <a:cubicBezTo>
                  <a:pt x="183351" y="337395"/>
                  <a:pt x="186390" y="338672"/>
                  <a:pt x="188636" y="340918"/>
                </a:cubicBezTo>
                <a:lnTo>
                  <a:pt x="204493" y="356775"/>
                </a:lnTo>
                <a:cubicBezTo>
                  <a:pt x="206255" y="360299"/>
                  <a:pt x="207823" y="363926"/>
                  <a:pt x="209778" y="367346"/>
                </a:cubicBezTo>
                <a:cubicBezTo>
                  <a:pt x="211354" y="370104"/>
                  <a:pt x="213774" y="372372"/>
                  <a:pt x="215064" y="375274"/>
                </a:cubicBezTo>
                <a:cubicBezTo>
                  <a:pt x="220811" y="388205"/>
                  <a:pt x="219445" y="389880"/>
                  <a:pt x="222992" y="401702"/>
                </a:cubicBezTo>
                <a:cubicBezTo>
                  <a:pt x="224593" y="407039"/>
                  <a:pt x="225187" y="412923"/>
                  <a:pt x="228278" y="417559"/>
                </a:cubicBezTo>
                <a:cubicBezTo>
                  <a:pt x="240922" y="436525"/>
                  <a:pt x="234358" y="428923"/>
                  <a:pt x="246777" y="441344"/>
                </a:cubicBezTo>
                <a:cubicBezTo>
                  <a:pt x="247658" y="444868"/>
                  <a:pt x="248422" y="448423"/>
                  <a:pt x="249420" y="451915"/>
                </a:cubicBezTo>
                <a:cubicBezTo>
                  <a:pt x="250185" y="454593"/>
                  <a:pt x="251972" y="457059"/>
                  <a:pt x="252062" y="459843"/>
                </a:cubicBezTo>
                <a:cubicBezTo>
                  <a:pt x="253738" y="511798"/>
                  <a:pt x="252308" y="563840"/>
                  <a:pt x="254705" y="615767"/>
                </a:cubicBezTo>
                <a:cubicBezTo>
                  <a:pt x="254958" y="621251"/>
                  <a:pt x="260342" y="634618"/>
                  <a:pt x="265276" y="639552"/>
                </a:cubicBezTo>
                <a:cubicBezTo>
                  <a:pt x="267522" y="641798"/>
                  <a:pt x="270562" y="643075"/>
                  <a:pt x="273205" y="644837"/>
                </a:cubicBezTo>
                <a:cubicBezTo>
                  <a:pt x="274086" y="648361"/>
                  <a:pt x="274803" y="651930"/>
                  <a:pt x="275847" y="655409"/>
                </a:cubicBezTo>
                <a:cubicBezTo>
                  <a:pt x="277448" y="660745"/>
                  <a:pt x="281133" y="671265"/>
                  <a:pt x="281133" y="671265"/>
                </a:cubicBezTo>
                <a:cubicBezTo>
                  <a:pt x="282014" y="684479"/>
                  <a:pt x="282720" y="697706"/>
                  <a:pt x="283776" y="710907"/>
                </a:cubicBezTo>
                <a:cubicBezTo>
                  <a:pt x="284482" y="719732"/>
                  <a:pt x="285385" y="728542"/>
                  <a:pt x="286419" y="737335"/>
                </a:cubicBezTo>
                <a:cubicBezTo>
                  <a:pt x="286929" y="741671"/>
                  <a:pt x="288221" y="757492"/>
                  <a:pt x="291704" y="763762"/>
                </a:cubicBezTo>
                <a:cubicBezTo>
                  <a:pt x="294789" y="769315"/>
                  <a:pt x="297193" y="775808"/>
                  <a:pt x="302275" y="779619"/>
                </a:cubicBezTo>
                <a:cubicBezTo>
                  <a:pt x="315387" y="789453"/>
                  <a:pt x="309181" y="785104"/>
                  <a:pt x="320775" y="792833"/>
                </a:cubicBezTo>
                <a:cubicBezTo>
                  <a:pt x="317563" y="828161"/>
                  <a:pt x="316495" y="823522"/>
                  <a:pt x="320775" y="864188"/>
                </a:cubicBezTo>
                <a:cubicBezTo>
                  <a:pt x="321226" y="868474"/>
                  <a:pt x="325515" y="877387"/>
                  <a:pt x="328703" y="880044"/>
                </a:cubicBezTo>
                <a:cubicBezTo>
                  <a:pt x="331730" y="882566"/>
                  <a:pt x="335750" y="883568"/>
                  <a:pt x="339274" y="885330"/>
                </a:cubicBezTo>
                <a:cubicBezTo>
                  <a:pt x="347651" y="897895"/>
                  <a:pt x="343555" y="890243"/>
                  <a:pt x="349845" y="909115"/>
                </a:cubicBezTo>
                <a:cubicBezTo>
                  <a:pt x="350726" y="911758"/>
                  <a:pt x="350943" y="914725"/>
                  <a:pt x="352488" y="917043"/>
                </a:cubicBezTo>
                <a:cubicBezTo>
                  <a:pt x="354250" y="919686"/>
                  <a:pt x="356353" y="922131"/>
                  <a:pt x="357773" y="924972"/>
                </a:cubicBezTo>
                <a:cubicBezTo>
                  <a:pt x="359019" y="927464"/>
                  <a:pt x="358871" y="930582"/>
                  <a:pt x="360416" y="932900"/>
                </a:cubicBezTo>
                <a:cubicBezTo>
                  <a:pt x="366987" y="942755"/>
                  <a:pt x="368298" y="939025"/>
                  <a:pt x="376273" y="946114"/>
                </a:cubicBezTo>
                <a:cubicBezTo>
                  <a:pt x="381860" y="951080"/>
                  <a:pt x="385911" y="957824"/>
                  <a:pt x="392130" y="961970"/>
                </a:cubicBezTo>
                <a:lnTo>
                  <a:pt x="415915" y="977827"/>
                </a:lnTo>
                <a:lnTo>
                  <a:pt x="423843" y="983113"/>
                </a:lnTo>
                <a:lnTo>
                  <a:pt x="431771" y="988398"/>
                </a:lnTo>
                <a:cubicBezTo>
                  <a:pt x="441410" y="959486"/>
                  <a:pt x="426038" y="1003279"/>
                  <a:pt x="439699" y="972541"/>
                </a:cubicBezTo>
                <a:cubicBezTo>
                  <a:pt x="443887" y="963118"/>
                  <a:pt x="443093" y="955935"/>
                  <a:pt x="450271" y="948757"/>
                </a:cubicBezTo>
                <a:cubicBezTo>
                  <a:pt x="452517" y="946511"/>
                  <a:pt x="455556" y="945233"/>
                  <a:pt x="458199" y="943471"/>
                </a:cubicBezTo>
                <a:cubicBezTo>
                  <a:pt x="471413" y="944352"/>
                  <a:pt x="484993" y="942902"/>
                  <a:pt x="497841" y="946114"/>
                </a:cubicBezTo>
                <a:cubicBezTo>
                  <a:pt x="500543" y="946790"/>
                  <a:pt x="498743" y="951867"/>
                  <a:pt x="500483" y="954042"/>
                </a:cubicBezTo>
                <a:cubicBezTo>
                  <a:pt x="502467" y="956522"/>
                  <a:pt x="505769" y="957566"/>
                  <a:pt x="508412" y="959328"/>
                </a:cubicBezTo>
                <a:cubicBezTo>
                  <a:pt x="515705" y="981209"/>
                  <a:pt x="510607" y="970551"/>
                  <a:pt x="524268" y="991041"/>
                </a:cubicBezTo>
                <a:cubicBezTo>
                  <a:pt x="526030" y="993684"/>
                  <a:pt x="526541" y="997964"/>
                  <a:pt x="529554" y="998969"/>
                </a:cubicBezTo>
                <a:lnTo>
                  <a:pt x="537482" y="1001612"/>
                </a:lnTo>
                <a:cubicBezTo>
                  <a:pt x="540125" y="1004255"/>
                  <a:pt x="542143" y="1007725"/>
                  <a:pt x="545410" y="1009540"/>
                </a:cubicBezTo>
                <a:cubicBezTo>
                  <a:pt x="550280" y="1012246"/>
                  <a:pt x="561267" y="1014826"/>
                  <a:pt x="561267" y="1014826"/>
                </a:cubicBezTo>
                <a:cubicBezTo>
                  <a:pt x="573600" y="1013945"/>
                  <a:pt x="585986" y="1013628"/>
                  <a:pt x="598266" y="1012183"/>
                </a:cubicBezTo>
                <a:cubicBezTo>
                  <a:pt x="601033" y="1011857"/>
                  <a:pt x="603516" y="1010305"/>
                  <a:pt x="606194" y="1009540"/>
                </a:cubicBezTo>
                <a:cubicBezTo>
                  <a:pt x="609686" y="1008542"/>
                  <a:pt x="613182" y="1007495"/>
                  <a:pt x="616765" y="1006898"/>
                </a:cubicBezTo>
                <a:cubicBezTo>
                  <a:pt x="630628" y="1004588"/>
                  <a:pt x="654034" y="1002789"/>
                  <a:pt x="666978" y="1001612"/>
                </a:cubicBezTo>
                <a:cubicBezTo>
                  <a:pt x="669621" y="1000731"/>
                  <a:pt x="672228" y="999734"/>
                  <a:pt x="674906" y="998969"/>
                </a:cubicBezTo>
                <a:cubicBezTo>
                  <a:pt x="698161" y="992324"/>
                  <a:pt x="674378" y="1000025"/>
                  <a:pt x="693406" y="993684"/>
                </a:cubicBezTo>
                <a:cubicBezTo>
                  <a:pt x="716127" y="978535"/>
                  <a:pt x="689388" y="998706"/>
                  <a:pt x="703977" y="980470"/>
                </a:cubicBezTo>
                <a:cubicBezTo>
                  <a:pt x="705961" y="977990"/>
                  <a:pt x="709262" y="976946"/>
                  <a:pt x="711905" y="975184"/>
                </a:cubicBezTo>
                <a:lnTo>
                  <a:pt x="717191" y="959328"/>
                </a:lnTo>
                <a:lnTo>
                  <a:pt x="719834" y="951399"/>
                </a:lnTo>
                <a:cubicBezTo>
                  <a:pt x="718953" y="869473"/>
                  <a:pt x="718898" y="787534"/>
                  <a:pt x="717191" y="705621"/>
                </a:cubicBezTo>
                <a:cubicBezTo>
                  <a:pt x="717133" y="702836"/>
                  <a:pt x="715313" y="700371"/>
                  <a:pt x="714548" y="697693"/>
                </a:cubicBezTo>
                <a:cubicBezTo>
                  <a:pt x="711487" y="686981"/>
                  <a:pt x="714619" y="686566"/>
                  <a:pt x="703977" y="681836"/>
                </a:cubicBezTo>
                <a:cubicBezTo>
                  <a:pt x="698886" y="679573"/>
                  <a:pt x="688120" y="676551"/>
                  <a:pt x="688120" y="676551"/>
                </a:cubicBezTo>
                <a:cubicBezTo>
                  <a:pt x="685477" y="674789"/>
                  <a:pt x="682438" y="673511"/>
                  <a:pt x="680192" y="671265"/>
                </a:cubicBezTo>
                <a:cubicBezTo>
                  <a:pt x="665264" y="656337"/>
                  <a:pt x="684398" y="670967"/>
                  <a:pt x="672264" y="652766"/>
                </a:cubicBezTo>
                <a:cubicBezTo>
                  <a:pt x="670502" y="650123"/>
                  <a:pt x="666978" y="649242"/>
                  <a:pt x="664335" y="647480"/>
                </a:cubicBezTo>
                <a:cubicBezTo>
                  <a:pt x="659578" y="623686"/>
                  <a:pt x="659359" y="628476"/>
                  <a:pt x="664335" y="591982"/>
                </a:cubicBezTo>
                <a:cubicBezTo>
                  <a:pt x="665088" y="586461"/>
                  <a:pt x="667859" y="581411"/>
                  <a:pt x="669621" y="576125"/>
                </a:cubicBezTo>
                <a:cubicBezTo>
                  <a:pt x="670502" y="573482"/>
                  <a:pt x="671018" y="570689"/>
                  <a:pt x="672264" y="568197"/>
                </a:cubicBezTo>
                <a:cubicBezTo>
                  <a:pt x="676044" y="560636"/>
                  <a:pt x="678248" y="557473"/>
                  <a:pt x="680192" y="549698"/>
                </a:cubicBezTo>
                <a:cubicBezTo>
                  <a:pt x="684917" y="530800"/>
                  <a:pt x="681007" y="540342"/>
                  <a:pt x="685478" y="517984"/>
                </a:cubicBezTo>
                <a:cubicBezTo>
                  <a:pt x="686024" y="515253"/>
                  <a:pt x="687444" y="512758"/>
                  <a:pt x="688120" y="510056"/>
                </a:cubicBezTo>
                <a:cubicBezTo>
                  <a:pt x="695589" y="480175"/>
                  <a:pt x="684711" y="515000"/>
                  <a:pt x="696049" y="480985"/>
                </a:cubicBezTo>
                <a:lnTo>
                  <a:pt x="703977" y="457200"/>
                </a:lnTo>
                <a:cubicBezTo>
                  <a:pt x="705484" y="452678"/>
                  <a:pt x="707515" y="444271"/>
                  <a:pt x="711905" y="441344"/>
                </a:cubicBezTo>
                <a:cubicBezTo>
                  <a:pt x="714927" y="439329"/>
                  <a:pt x="718860" y="439045"/>
                  <a:pt x="722476" y="438701"/>
                </a:cubicBezTo>
                <a:cubicBezTo>
                  <a:pt x="737410" y="437279"/>
                  <a:pt x="752428" y="436939"/>
                  <a:pt x="767404" y="436058"/>
                </a:cubicBezTo>
                <a:cubicBezTo>
                  <a:pt x="774451" y="435177"/>
                  <a:pt x="781558" y="434685"/>
                  <a:pt x="788546" y="433415"/>
                </a:cubicBezTo>
                <a:cubicBezTo>
                  <a:pt x="791287" y="432917"/>
                  <a:pt x="794504" y="432743"/>
                  <a:pt x="796474" y="430773"/>
                </a:cubicBezTo>
                <a:cubicBezTo>
                  <a:pt x="798444" y="428803"/>
                  <a:pt x="797407" y="425043"/>
                  <a:pt x="799117" y="422844"/>
                </a:cubicBezTo>
                <a:cubicBezTo>
                  <a:pt x="803706" y="416944"/>
                  <a:pt x="814973" y="406988"/>
                  <a:pt x="814973" y="406988"/>
                </a:cubicBezTo>
                <a:cubicBezTo>
                  <a:pt x="815854" y="404345"/>
                  <a:pt x="816370" y="401551"/>
                  <a:pt x="817616" y="399059"/>
                </a:cubicBezTo>
                <a:cubicBezTo>
                  <a:pt x="827864" y="378564"/>
                  <a:pt x="818901" y="403133"/>
                  <a:pt x="825545" y="383203"/>
                </a:cubicBezTo>
                <a:cubicBezTo>
                  <a:pt x="824664" y="371751"/>
                  <a:pt x="824244" y="360254"/>
                  <a:pt x="822902" y="348847"/>
                </a:cubicBezTo>
                <a:cubicBezTo>
                  <a:pt x="822478" y="345240"/>
                  <a:pt x="820391" y="341906"/>
                  <a:pt x="820259" y="338276"/>
                </a:cubicBezTo>
                <a:cubicBezTo>
                  <a:pt x="818626" y="293370"/>
                  <a:pt x="818497" y="248421"/>
                  <a:pt x="817616" y="203494"/>
                </a:cubicBezTo>
                <a:cubicBezTo>
                  <a:pt x="818497" y="174424"/>
                  <a:pt x="814555" y="144802"/>
                  <a:pt x="820259" y="116283"/>
                </a:cubicBezTo>
                <a:cubicBezTo>
                  <a:pt x="821352" y="110820"/>
                  <a:pt x="830830" y="112759"/>
                  <a:pt x="836116" y="110997"/>
                </a:cubicBezTo>
                <a:lnTo>
                  <a:pt x="844044" y="108354"/>
                </a:lnTo>
                <a:cubicBezTo>
                  <a:pt x="863971" y="101711"/>
                  <a:pt x="839408" y="110672"/>
                  <a:pt x="859901" y="100426"/>
                </a:cubicBezTo>
                <a:cubicBezTo>
                  <a:pt x="865944" y="97405"/>
                  <a:pt x="875009" y="96648"/>
                  <a:pt x="881043" y="95140"/>
                </a:cubicBezTo>
                <a:cubicBezTo>
                  <a:pt x="905639" y="88992"/>
                  <a:pt x="862155" y="96329"/>
                  <a:pt x="907471" y="89855"/>
                </a:cubicBezTo>
                <a:cubicBezTo>
                  <a:pt x="939184" y="90736"/>
                  <a:pt x="970978" y="90065"/>
                  <a:pt x="1002610" y="92498"/>
                </a:cubicBezTo>
                <a:cubicBezTo>
                  <a:pt x="1018290" y="93704"/>
                  <a:pt x="1004770" y="99702"/>
                  <a:pt x="1013182" y="105711"/>
                </a:cubicBezTo>
                <a:cubicBezTo>
                  <a:pt x="1017716" y="108949"/>
                  <a:pt x="1029038" y="110997"/>
                  <a:pt x="1029038" y="110997"/>
                </a:cubicBezTo>
                <a:cubicBezTo>
                  <a:pt x="1037847" y="110116"/>
                  <a:pt x="1047067" y="111154"/>
                  <a:pt x="1055466" y="108354"/>
                </a:cubicBezTo>
                <a:cubicBezTo>
                  <a:pt x="1058479" y="107350"/>
                  <a:pt x="1058719" y="102866"/>
                  <a:pt x="1060752" y="100426"/>
                </a:cubicBezTo>
                <a:cubicBezTo>
                  <a:pt x="1063145" y="97555"/>
                  <a:pt x="1066037" y="95141"/>
                  <a:pt x="1068680" y="92498"/>
                </a:cubicBezTo>
                <a:cubicBezTo>
                  <a:pt x="1069561" y="89855"/>
                  <a:pt x="1069353" y="86539"/>
                  <a:pt x="1071323" y="84569"/>
                </a:cubicBezTo>
                <a:cubicBezTo>
                  <a:pt x="1081570" y="74322"/>
                  <a:pt x="1090138" y="73012"/>
                  <a:pt x="1103036" y="68713"/>
                </a:cubicBezTo>
                <a:cubicBezTo>
                  <a:pt x="1103040" y="68712"/>
                  <a:pt x="1118890" y="63428"/>
                  <a:pt x="1118893" y="63427"/>
                </a:cubicBezTo>
                <a:lnTo>
                  <a:pt x="1132106" y="60784"/>
                </a:lnTo>
                <a:cubicBezTo>
                  <a:pt x="1147082" y="61665"/>
                  <a:pt x="1163032" y="68812"/>
                  <a:pt x="1177034" y="63427"/>
                </a:cubicBezTo>
                <a:cubicBezTo>
                  <a:pt x="1182963" y="61146"/>
                  <a:pt x="1169986" y="52856"/>
                  <a:pt x="1166462" y="47570"/>
                </a:cubicBezTo>
                <a:lnTo>
                  <a:pt x="1161177" y="39642"/>
                </a:lnTo>
                <a:cubicBezTo>
                  <a:pt x="1160296" y="36118"/>
                  <a:pt x="1160803" y="31907"/>
                  <a:pt x="1158534" y="29071"/>
                </a:cubicBezTo>
                <a:cubicBezTo>
                  <a:pt x="1153941" y="23330"/>
                  <a:pt x="1137159" y="28669"/>
                  <a:pt x="1134749" y="29071"/>
                </a:cubicBezTo>
                <a:cubicBezTo>
                  <a:pt x="1100488" y="40493"/>
                  <a:pt x="1124459" y="34104"/>
                  <a:pt x="1060752" y="36999"/>
                </a:cubicBezTo>
                <a:cubicBezTo>
                  <a:pt x="1034124" y="45875"/>
                  <a:pt x="1075412" y="32338"/>
                  <a:pt x="1042252" y="42285"/>
                </a:cubicBezTo>
                <a:cubicBezTo>
                  <a:pt x="1036915" y="43886"/>
                  <a:pt x="1031891" y="46654"/>
                  <a:pt x="1026395" y="47570"/>
                </a:cubicBezTo>
                <a:cubicBezTo>
                  <a:pt x="1021110" y="48451"/>
                  <a:pt x="1015770" y="49051"/>
                  <a:pt x="1010539" y="50213"/>
                </a:cubicBezTo>
                <a:cubicBezTo>
                  <a:pt x="1007819" y="50817"/>
                  <a:pt x="1005342" y="52310"/>
                  <a:pt x="1002610" y="52856"/>
                </a:cubicBezTo>
                <a:cubicBezTo>
                  <a:pt x="996502" y="54078"/>
                  <a:pt x="990288" y="54693"/>
                  <a:pt x="984111" y="55499"/>
                </a:cubicBezTo>
                <a:cubicBezTo>
                  <a:pt x="933417" y="62111"/>
                  <a:pt x="951588" y="60133"/>
                  <a:pt x="902185" y="63427"/>
                </a:cubicBezTo>
                <a:cubicBezTo>
                  <a:pt x="891035" y="67144"/>
                  <a:pt x="888057" y="68713"/>
                  <a:pt x="873115" y="68713"/>
                </a:cubicBezTo>
                <a:cubicBezTo>
                  <a:pt x="810563" y="68713"/>
                  <a:pt x="748024" y="66951"/>
                  <a:pt x="685478" y="66070"/>
                </a:cubicBezTo>
                <a:cubicBezTo>
                  <a:pt x="664125" y="62511"/>
                  <a:pt x="674705" y="65122"/>
                  <a:pt x="653764" y="58141"/>
                </a:cubicBezTo>
                <a:lnTo>
                  <a:pt x="653764" y="58141"/>
                </a:lnTo>
                <a:cubicBezTo>
                  <a:pt x="635085" y="54406"/>
                  <a:pt x="644813" y="56920"/>
                  <a:pt x="624694" y="50213"/>
                </a:cubicBezTo>
                <a:cubicBezTo>
                  <a:pt x="622051" y="49332"/>
                  <a:pt x="619083" y="49115"/>
                  <a:pt x="616765" y="47570"/>
                </a:cubicBezTo>
                <a:cubicBezTo>
                  <a:pt x="594050" y="32427"/>
                  <a:pt x="622787" y="50580"/>
                  <a:pt x="600909" y="39642"/>
                </a:cubicBezTo>
                <a:cubicBezTo>
                  <a:pt x="575783" y="27080"/>
                  <a:pt x="618026" y="42706"/>
                  <a:pt x="577124" y="29071"/>
                </a:cubicBezTo>
                <a:cubicBezTo>
                  <a:pt x="574481" y="28190"/>
                  <a:pt x="571981" y="26448"/>
                  <a:pt x="569195" y="26428"/>
                </a:cubicBezTo>
                <a:lnTo>
                  <a:pt x="201850" y="23785"/>
                </a:lnTo>
                <a:cubicBezTo>
                  <a:pt x="200088" y="21142"/>
                  <a:pt x="199257" y="17540"/>
                  <a:pt x="196564" y="15857"/>
                </a:cubicBezTo>
                <a:cubicBezTo>
                  <a:pt x="191840" y="12904"/>
                  <a:pt x="180708" y="10572"/>
                  <a:pt x="180708" y="10572"/>
                </a:cubicBezTo>
                <a:cubicBezTo>
                  <a:pt x="178065" y="8810"/>
                  <a:pt x="175620" y="6707"/>
                  <a:pt x="172779" y="5286"/>
                </a:cubicBezTo>
                <a:cubicBezTo>
                  <a:pt x="168987" y="3390"/>
                  <a:pt x="157668" y="847"/>
                  <a:pt x="154280" y="0"/>
                </a:cubicBezTo>
                <a:cubicBezTo>
                  <a:pt x="137436" y="1685"/>
                  <a:pt x="112545" y="4321"/>
                  <a:pt x="96139" y="5286"/>
                </a:cubicBezTo>
                <a:cubicBezTo>
                  <a:pt x="0" y="10942"/>
                  <a:pt x="71501" y="4883"/>
                  <a:pt x="8927" y="10572"/>
                </a:cubicBezTo>
                <a:cubicBezTo>
                  <a:pt x="7323" y="25010"/>
                  <a:pt x="3671" y="41048"/>
                  <a:pt x="8927" y="55499"/>
                </a:cubicBezTo>
                <a:cubicBezTo>
                  <a:pt x="10204" y="59011"/>
                  <a:pt x="14213" y="60784"/>
                  <a:pt x="16856" y="63427"/>
                </a:cubicBezTo>
                <a:cubicBezTo>
                  <a:pt x="21908" y="78588"/>
                  <a:pt x="15880" y="64438"/>
                  <a:pt x="27427" y="79284"/>
                </a:cubicBezTo>
                <a:cubicBezTo>
                  <a:pt x="31327" y="84298"/>
                  <a:pt x="34475" y="89855"/>
                  <a:pt x="37998" y="95140"/>
                </a:cubicBezTo>
                <a:cubicBezTo>
                  <a:pt x="39760" y="97783"/>
                  <a:pt x="42278" y="100056"/>
                  <a:pt x="43283" y="103069"/>
                </a:cubicBezTo>
                <a:cubicBezTo>
                  <a:pt x="45433" y="109518"/>
                  <a:pt x="46088" y="113801"/>
                  <a:pt x="51212" y="118925"/>
                </a:cubicBezTo>
                <a:cubicBezTo>
                  <a:pt x="53458" y="121171"/>
                  <a:pt x="56497" y="122449"/>
                  <a:pt x="59140" y="124211"/>
                </a:cubicBezTo>
                <a:lnTo>
                  <a:pt x="61783" y="132139"/>
                </a:lnTo>
              </a:path>
            </a:pathLst>
          </a:custGeom>
          <a:solidFill>
            <a:srgbClr val="3399FF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33" name="Freeform 32"/>
          <p:cNvSpPr/>
          <p:nvPr/>
        </p:nvSpPr>
        <p:spPr>
          <a:xfrm>
            <a:off x="4810131" y="4430187"/>
            <a:ext cx="1025525" cy="876300"/>
          </a:xfrm>
          <a:custGeom>
            <a:avLst/>
            <a:gdLst>
              <a:gd name="connsiteX0" fmla="*/ 190658 w 1025775"/>
              <a:gd name="connsiteY0" fmla="*/ 261720 h 877486"/>
              <a:gd name="connsiteX1" fmla="*/ 211801 w 1025775"/>
              <a:gd name="connsiteY1" fmla="*/ 264363 h 877486"/>
              <a:gd name="connsiteX2" fmla="*/ 222372 w 1025775"/>
              <a:gd name="connsiteY2" fmla="*/ 288148 h 877486"/>
              <a:gd name="connsiteX3" fmla="*/ 230300 w 1025775"/>
              <a:gd name="connsiteY3" fmla="*/ 293433 h 877486"/>
              <a:gd name="connsiteX4" fmla="*/ 248800 w 1025775"/>
              <a:gd name="connsiteY4" fmla="*/ 288148 h 877486"/>
              <a:gd name="connsiteX5" fmla="*/ 256728 w 1025775"/>
              <a:gd name="connsiteY5" fmla="*/ 285505 h 877486"/>
              <a:gd name="connsiteX6" fmla="*/ 272584 w 1025775"/>
              <a:gd name="connsiteY6" fmla="*/ 274934 h 877486"/>
              <a:gd name="connsiteX7" fmla="*/ 288441 w 1025775"/>
              <a:gd name="connsiteY7" fmla="*/ 269648 h 877486"/>
              <a:gd name="connsiteX8" fmla="*/ 304298 w 1025775"/>
              <a:gd name="connsiteY8" fmla="*/ 272291 h 877486"/>
              <a:gd name="connsiteX9" fmla="*/ 306941 w 1025775"/>
              <a:gd name="connsiteY9" fmla="*/ 280219 h 877486"/>
              <a:gd name="connsiteX10" fmla="*/ 309583 w 1025775"/>
              <a:gd name="connsiteY10" fmla="*/ 290790 h 877486"/>
              <a:gd name="connsiteX11" fmla="*/ 320154 w 1025775"/>
              <a:gd name="connsiteY11" fmla="*/ 304004 h 877486"/>
              <a:gd name="connsiteX12" fmla="*/ 325440 w 1025775"/>
              <a:gd name="connsiteY12" fmla="*/ 311933 h 877486"/>
              <a:gd name="connsiteX13" fmla="*/ 346582 w 1025775"/>
              <a:gd name="connsiteY13" fmla="*/ 317218 h 877486"/>
              <a:gd name="connsiteX14" fmla="*/ 362439 w 1025775"/>
              <a:gd name="connsiteY14" fmla="*/ 327789 h 877486"/>
              <a:gd name="connsiteX15" fmla="*/ 370367 w 1025775"/>
              <a:gd name="connsiteY15" fmla="*/ 330432 h 877486"/>
              <a:gd name="connsiteX16" fmla="*/ 386224 w 1025775"/>
              <a:gd name="connsiteY16" fmla="*/ 341003 h 877486"/>
              <a:gd name="connsiteX17" fmla="*/ 402080 w 1025775"/>
              <a:gd name="connsiteY17" fmla="*/ 346289 h 877486"/>
              <a:gd name="connsiteX18" fmla="*/ 420580 w 1025775"/>
              <a:gd name="connsiteY18" fmla="*/ 341003 h 877486"/>
              <a:gd name="connsiteX19" fmla="*/ 428508 w 1025775"/>
              <a:gd name="connsiteY19" fmla="*/ 335718 h 877486"/>
              <a:gd name="connsiteX20" fmla="*/ 444365 w 1025775"/>
              <a:gd name="connsiteY20" fmla="*/ 330432 h 877486"/>
              <a:gd name="connsiteX21" fmla="*/ 462864 w 1025775"/>
              <a:gd name="connsiteY21" fmla="*/ 311933 h 877486"/>
              <a:gd name="connsiteX22" fmla="*/ 476078 w 1025775"/>
              <a:gd name="connsiteY22" fmla="*/ 314575 h 877486"/>
              <a:gd name="connsiteX23" fmla="*/ 481364 w 1025775"/>
              <a:gd name="connsiteY23" fmla="*/ 335718 h 877486"/>
              <a:gd name="connsiteX24" fmla="*/ 494578 w 1025775"/>
              <a:gd name="connsiteY24" fmla="*/ 359503 h 877486"/>
              <a:gd name="connsiteX25" fmla="*/ 534219 w 1025775"/>
              <a:gd name="connsiteY25" fmla="*/ 367431 h 877486"/>
              <a:gd name="connsiteX26" fmla="*/ 544790 w 1025775"/>
              <a:gd name="connsiteY26" fmla="*/ 370074 h 877486"/>
              <a:gd name="connsiteX27" fmla="*/ 560647 w 1025775"/>
              <a:gd name="connsiteY27" fmla="*/ 375359 h 877486"/>
              <a:gd name="connsiteX28" fmla="*/ 571218 w 1025775"/>
              <a:gd name="connsiteY28" fmla="*/ 391216 h 877486"/>
              <a:gd name="connsiteX29" fmla="*/ 579146 w 1025775"/>
              <a:gd name="connsiteY29" fmla="*/ 407072 h 877486"/>
              <a:gd name="connsiteX30" fmla="*/ 587075 w 1025775"/>
              <a:gd name="connsiteY30" fmla="*/ 422929 h 877486"/>
              <a:gd name="connsiteX31" fmla="*/ 600289 w 1025775"/>
              <a:gd name="connsiteY31" fmla="*/ 446714 h 877486"/>
              <a:gd name="connsiteX32" fmla="*/ 605574 w 1025775"/>
              <a:gd name="connsiteY32" fmla="*/ 454642 h 877486"/>
              <a:gd name="connsiteX33" fmla="*/ 624074 w 1025775"/>
              <a:gd name="connsiteY33" fmla="*/ 459928 h 877486"/>
              <a:gd name="connsiteX34" fmla="*/ 661072 w 1025775"/>
              <a:gd name="connsiteY34" fmla="*/ 457285 h 877486"/>
              <a:gd name="connsiteX35" fmla="*/ 676929 w 1025775"/>
              <a:gd name="connsiteY35" fmla="*/ 452000 h 877486"/>
              <a:gd name="connsiteX36" fmla="*/ 695428 w 1025775"/>
              <a:gd name="connsiteY36" fmla="*/ 449357 h 877486"/>
              <a:gd name="connsiteX37" fmla="*/ 700714 w 1025775"/>
              <a:gd name="connsiteY37" fmla="*/ 417644 h 877486"/>
              <a:gd name="connsiteX38" fmla="*/ 703357 w 1025775"/>
              <a:gd name="connsiteY38" fmla="*/ 409715 h 877486"/>
              <a:gd name="connsiteX39" fmla="*/ 706000 w 1025775"/>
              <a:gd name="connsiteY39" fmla="*/ 396501 h 877486"/>
              <a:gd name="connsiteX40" fmla="*/ 703357 w 1025775"/>
              <a:gd name="connsiteY40" fmla="*/ 362145 h 877486"/>
              <a:gd name="connsiteX41" fmla="*/ 698071 w 1025775"/>
              <a:gd name="connsiteY41" fmla="*/ 354217 h 877486"/>
              <a:gd name="connsiteX42" fmla="*/ 690143 w 1025775"/>
              <a:gd name="connsiteY42" fmla="*/ 356860 h 877486"/>
              <a:gd name="connsiteX43" fmla="*/ 669001 w 1025775"/>
              <a:gd name="connsiteY43" fmla="*/ 375359 h 877486"/>
              <a:gd name="connsiteX44" fmla="*/ 661072 w 1025775"/>
              <a:gd name="connsiteY44" fmla="*/ 380645 h 877486"/>
              <a:gd name="connsiteX45" fmla="*/ 645216 w 1025775"/>
              <a:gd name="connsiteY45" fmla="*/ 385930 h 877486"/>
              <a:gd name="connsiteX46" fmla="*/ 632002 w 1025775"/>
              <a:gd name="connsiteY46" fmla="*/ 383287 h 877486"/>
              <a:gd name="connsiteX47" fmla="*/ 624074 w 1025775"/>
              <a:gd name="connsiteY47" fmla="*/ 380645 h 877486"/>
              <a:gd name="connsiteX48" fmla="*/ 613502 w 1025775"/>
              <a:gd name="connsiteY48" fmla="*/ 378002 h 877486"/>
              <a:gd name="connsiteX49" fmla="*/ 605574 w 1025775"/>
              <a:gd name="connsiteY49" fmla="*/ 372716 h 877486"/>
              <a:gd name="connsiteX50" fmla="*/ 600289 w 1025775"/>
              <a:gd name="connsiteY50" fmla="*/ 356860 h 877486"/>
              <a:gd name="connsiteX51" fmla="*/ 595003 w 1025775"/>
              <a:gd name="connsiteY51" fmla="*/ 348931 h 877486"/>
              <a:gd name="connsiteX52" fmla="*/ 589717 w 1025775"/>
              <a:gd name="connsiteY52" fmla="*/ 330432 h 877486"/>
              <a:gd name="connsiteX53" fmla="*/ 581789 w 1025775"/>
              <a:gd name="connsiteY53" fmla="*/ 319861 h 877486"/>
              <a:gd name="connsiteX54" fmla="*/ 573861 w 1025775"/>
              <a:gd name="connsiteY54" fmla="*/ 304004 h 877486"/>
              <a:gd name="connsiteX55" fmla="*/ 571218 w 1025775"/>
              <a:gd name="connsiteY55" fmla="*/ 296076 h 877486"/>
              <a:gd name="connsiteX56" fmla="*/ 576504 w 1025775"/>
              <a:gd name="connsiteY56" fmla="*/ 269648 h 877486"/>
              <a:gd name="connsiteX57" fmla="*/ 581789 w 1025775"/>
              <a:gd name="connsiteY57" fmla="*/ 248506 h 877486"/>
              <a:gd name="connsiteX58" fmla="*/ 595003 w 1025775"/>
              <a:gd name="connsiteY58" fmla="*/ 224721 h 877486"/>
              <a:gd name="connsiteX59" fmla="*/ 592360 w 1025775"/>
              <a:gd name="connsiteY59" fmla="*/ 148081 h 877486"/>
              <a:gd name="connsiteX60" fmla="*/ 587075 w 1025775"/>
              <a:gd name="connsiteY60" fmla="*/ 140152 h 877486"/>
              <a:gd name="connsiteX61" fmla="*/ 571218 w 1025775"/>
              <a:gd name="connsiteY61" fmla="*/ 129581 h 877486"/>
              <a:gd name="connsiteX62" fmla="*/ 581789 w 1025775"/>
              <a:gd name="connsiteY62" fmla="*/ 92582 h 877486"/>
              <a:gd name="connsiteX63" fmla="*/ 589717 w 1025775"/>
              <a:gd name="connsiteY63" fmla="*/ 87297 h 877486"/>
              <a:gd name="connsiteX64" fmla="*/ 597646 w 1025775"/>
              <a:gd name="connsiteY64" fmla="*/ 84654 h 877486"/>
              <a:gd name="connsiteX65" fmla="*/ 605574 w 1025775"/>
              <a:gd name="connsiteY65" fmla="*/ 79368 h 877486"/>
              <a:gd name="connsiteX66" fmla="*/ 618788 w 1025775"/>
              <a:gd name="connsiteY66" fmla="*/ 68797 h 877486"/>
              <a:gd name="connsiteX67" fmla="*/ 624074 w 1025775"/>
              <a:gd name="connsiteY67" fmla="*/ 52941 h 877486"/>
              <a:gd name="connsiteX68" fmla="*/ 626716 w 1025775"/>
              <a:gd name="connsiteY68" fmla="*/ 31798 h 877486"/>
              <a:gd name="connsiteX69" fmla="*/ 650501 w 1025775"/>
              <a:gd name="connsiteY69" fmla="*/ 21227 h 877486"/>
              <a:gd name="connsiteX70" fmla="*/ 679572 w 1025775"/>
              <a:gd name="connsiteY70" fmla="*/ 15942 h 877486"/>
              <a:gd name="connsiteX71" fmla="*/ 703357 w 1025775"/>
              <a:gd name="connsiteY71" fmla="*/ 10656 h 877486"/>
              <a:gd name="connsiteX72" fmla="*/ 716571 w 1025775"/>
              <a:gd name="connsiteY72" fmla="*/ 8013 h 877486"/>
              <a:gd name="connsiteX73" fmla="*/ 753569 w 1025775"/>
              <a:gd name="connsiteY73" fmla="*/ 5371 h 877486"/>
              <a:gd name="connsiteX74" fmla="*/ 774712 w 1025775"/>
              <a:gd name="connsiteY74" fmla="*/ 5371 h 877486"/>
              <a:gd name="connsiteX75" fmla="*/ 779997 w 1025775"/>
              <a:gd name="connsiteY75" fmla="*/ 13299 h 877486"/>
              <a:gd name="connsiteX76" fmla="*/ 803782 w 1025775"/>
              <a:gd name="connsiteY76" fmla="*/ 31798 h 877486"/>
              <a:gd name="connsiteX77" fmla="*/ 827567 w 1025775"/>
              <a:gd name="connsiteY77" fmla="*/ 42370 h 877486"/>
              <a:gd name="connsiteX78" fmla="*/ 832853 w 1025775"/>
              <a:gd name="connsiteY78" fmla="*/ 50298 h 877486"/>
              <a:gd name="connsiteX79" fmla="*/ 864566 w 1025775"/>
              <a:gd name="connsiteY79" fmla="*/ 66155 h 877486"/>
              <a:gd name="connsiteX80" fmla="*/ 872494 w 1025775"/>
              <a:gd name="connsiteY80" fmla="*/ 68797 h 877486"/>
              <a:gd name="connsiteX81" fmla="*/ 898922 w 1025775"/>
              <a:gd name="connsiteY81" fmla="*/ 76726 h 877486"/>
              <a:gd name="connsiteX82" fmla="*/ 914779 w 1025775"/>
              <a:gd name="connsiteY82" fmla="*/ 87297 h 877486"/>
              <a:gd name="connsiteX83" fmla="*/ 922707 w 1025775"/>
              <a:gd name="connsiteY83" fmla="*/ 95225 h 877486"/>
              <a:gd name="connsiteX84" fmla="*/ 938564 w 1025775"/>
              <a:gd name="connsiteY84" fmla="*/ 100511 h 877486"/>
              <a:gd name="connsiteX85" fmla="*/ 954420 w 1025775"/>
              <a:gd name="connsiteY85" fmla="*/ 105796 h 877486"/>
              <a:gd name="connsiteX86" fmla="*/ 962349 w 1025775"/>
              <a:gd name="connsiteY86" fmla="*/ 108439 h 877486"/>
              <a:gd name="connsiteX87" fmla="*/ 980848 w 1025775"/>
              <a:gd name="connsiteY87" fmla="*/ 111082 h 877486"/>
              <a:gd name="connsiteX88" fmla="*/ 996705 w 1025775"/>
              <a:gd name="connsiteY88" fmla="*/ 119010 h 877486"/>
              <a:gd name="connsiteX89" fmla="*/ 1007276 w 1025775"/>
              <a:gd name="connsiteY89" fmla="*/ 142795 h 877486"/>
              <a:gd name="connsiteX90" fmla="*/ 1015204 w 1025775"/>
              <a:gd name="connsiteY90" fmla="*/ 166580 h 877486"/>
              <a:gd name="connsiteX91" fmla="*/ 1023132 w 1025775"/>
              <a:gd name="connsiteY91" fmla="*/ 190365 h 877486"/>
              <a:gd name="connsiteX92" fmla="*/ 1025775 w 1025775"/>
              <a:gd name="connsiteY92" fmla="*/ 198293 h 877486"/>
              <a:gd name="connsiteX93" fmla="*/ 1023132 w 1025775"/>
              <a:gd name="connsiteY93" fmla="*/ 224721 h 877486"/>
              <a:gd name="connsiteX94" fmla="*/ 1020490 w 1025775"/>
              <a:gd name="connsiteY94" fmla="*/ 232649 h 877486"/>
              <a:gd name="connsiteX95" fmla="*/ 1012561 w 1025775"/>
              <a:gd name="connsiteY95" fmla="*/ 259077 h 877486"/>
              <a:gd name="connsiteX96" fmla="*/ 1007276 w 1025775"/>
              <a:gd name="connsiteY96" fmla="*/ 277577 h 877486"/>
              <a:gd name="connsiteX97" fmla="*/ 1004633 w 1025775"/>
              <a:gd name="connsiteY97" fmla="*/ 285505 h 877486"/>
              <a:gd name="connsiteX98" fmla="*/ 1007276 w 1025775"/>
              <a:gd name="connsiteY98" fmla="*/ 311933 h 877486"/>
              <a:gd name="connsiteX99" fmla="*/ 1012561 w 1025775"/>
              <a:gd name="connsiteY99" fmla="*/ 330432 h 877486"/>
              <a:gd name="connsiteX100" fmla="*/ 1007276 w 1025775"/>
              <a:gd name="connsiteY100" fmla="*/ 367431 h 877486"/>
              <a:gd name="connsiteX101" fmla="*/ 1001990 w 1025775"/>
              <a:gd name="connsiteY101" fmla="*/ 375359 h 877486"/>
              <a:gd name="connsiteX102" fmla="*/ 996705 w 1025775"/>
              <a:gd name="connsiteY102" fmla="*/ 391216 h 877486"/>
              <a:gd name="connsiteX103" fmla="*/ 994062 w 1025775"/>
              <a:gd name="connsiteY103" fmla="*/ 399144 h 877486"/>
              <a:gd name="connsiteX104" fmla="*/ 991419 w 1025775"/>
              <a:gd name="connsiteY104" fmla="*/ 407072 h 877486"/>
              <a:gd name="connsiteX105" fmla="*/ 975563 w 1025775"/>
              <a:gd name="connsiteY105" fmla="*/ 417644 h 877486"/>
              <a:gd name="connsiteX106" fmla="*/ 967634 w 1025775"/>
              <a:gd name="connsiteY106" fmla="*/ 422929 h 877486"/>
              <a:gd name="connsiteX107" fmla="*/ 964991 w 1025775"/>
              <a:gd name="connsiteY107" fmla="*/ 430857 h 877486"/>
              <a:gd name="connsiteX108" fmla="*/ 957063 w 1025775"/>
              <a:gd name="connsiteY108" fmla="*/ 452000 h 877486"/>
              <a:gd name="connsiteX109" fmla="*/ 949135 w 1025775"/>
              <a:gd name="connsiteY109" fmla="*/ 457285 h 877486"/>
              <a:gd name="connsiteX110" fmla="*/ 941206 w 1025775"/>
              <a:gd name="connsiteY110" fmla="*/ 481070 h 877486"/>
              <a:gd name="connsiteX111" fmla="*/ 949135 w 1025775"/>
              <a:gd name="connsiteY111" fmla="*/ 486356 h 877486"/>
              <a:gd name="connsiteX112" fmla="*/ 962349 w 1025775"/>
              <a:gd name="connsiteY112" fmla="*/ 499570 h 877486"/>
              <a:gd name="connsiteX113" fmla="*/ 975563 w 1025775"/>
              <a:gd name="connsiteY113" fmla="*/ 515426 h 877486"/>
              <a:gd name="connsiteX114" fmla="*/ 972920 w 1025775"/>
              <a:gd name="connsiteY114" fmla="*/ 531283 h 877486"/>
              <a:gd name="connsiteX115" fmla="*/ 957063 w 1025775"/>
              <a:gd name="connsiteY115" fmla="*/ 536568 h 877486"/>
              <a:gd name="connsiteX116" fmla="*/ 941206 w 1025775"/>
              <a:gd name="connsiteY116" fmla="*/ 539211 h 877486"/>
              <a:gd name="connsiteX117" fmla="*/ 930635 w 1025775"/>
              <a:gd name="connsiteY117" fmla="*/ 541854 h 877486"/>
              <a:gd name="connsiteX118" fmla="*/ 917421 w 1025775"/>
              <a:gd name="connsiteY118" fmla="*/ 544497 h 877486"/>
              <a:gd name="connsiteX119" fmla="*/ 901565 w 1025775"/>
              <a:gd name="connsiteY119" fmla="*/ 547140 h 877486"/>
              <a:gd name="connsiteX120" fmla="*/ 872494 w 1025775"/>
              <a:gd name="connsiteY120" fmla="*/ 552425 h 877486"/>
              <a:gd name="connsiteX121" fmla="*/ 856638 w 1025775"/>
              <a:gd name="connsiteY121" fmla="*/ 557711 h 877486"/>
              <a:gd name="connsiteX122" fmla="*/ 840781 w 1025775"/>
              <a:gd name="connsiteY122" fmla="*/ 562996 h 877486"/>
              <a:gd name="connsiteX123" fmla="*/ 824924 w 1025775"/>
              <a:gd name="connsiteY123" fmla="*/ 568282 h 877486"/>
              <a:gd name="connsiteX124" fmla="*/ 811711 w 1025775"/>
              <a:gd name="connsiteY124" fmla="*/ 570924 h 877486"/>
              <a:gd name="connsiteX125" fmla="*/ 803782 w 1025775"/>
              <a:gd name="connsiteY125" fmla="*/ 573567 h 877486"/>
              <a:gd name="connsiteX126" fmla="*/ 764141 w 1025775"/>
              <a:gd name="connsiteY126" fmla="*/ 576210 h 877486"/>
              <a:gd name="connsiteX127" fmla="*/ 748284 w 1025775"/>
              <a:gd name="connsiteY127" fmla="*/ 584138 h 877486"/>
              <a:gd name="connsiteX128" fmla="*/ 740356 w 1025775"/>
              <a:gd name="connsiteY128" fmla="*/ 589424 h 877486"/>
              <a:gd name="connsiteX129" fmla="*/ 724499 w 1025775"/>
              <a:gd name="connsiteY129" fmla="*/ 597352 h 877486"/>
              <a:gd name="connsiteX130" fmla="*/ 719213 w 1025775"/>
              <a:gd name="connsiteY130" fmla="*/ 613209 h 877486"/>
              <a:gd name="connsiteX131" fmla="*/ 716571 w 1025775"/>
              <a:gd name="connsiteY131" fmla="*/ 621137 h 877486"/>
              <a:gd name="connsiteX132" fmla="*/ 713928 w 1025775"/>
              <a:gd name="connsiteY132" fmla="*/ 647565 h 877486"/>
              <a:gd name="connsiteX133" fmla="*/ 698071 w 1025775"/>
              <a:gd name="connsiteY133" fmla="*/ 652850 h 877486"/>
              <a:gd name="connsiteX134" fmla="*/ 690143 w 1025775"/>
              <a:gd name="connsiteY134" fmla="*/ 655493 h 877486"/>
              <a:gd name="connsiteX135" fmla="*/ 682215 w 1025775"/>
              <a:gd name="connsiteY135" fmla="*/ 658136 h 877486"/>
              <a:gd name="connsiteX136" fmla="*/ 666358 w 1025775"/>
              <a:gd name="connsiteY136" fmla="*/ 668707 h 877486"/>
              <a:gd name="connsiteX137" fmla="*/ 658430 w 1025775"/>
              <a:gd name="connsiteY137" fmla="*/ 671350 h 877486"/>
              <a:gd name="connsiteX138" fmla="*/ 639930 w 1025775"/>
              <a:gd name="connsiteY138" fmla="*/ 676635 h 877486"/>
              <a:gd name="connsiteX139" fmla="*/ 616145 w 1025775"/>
              <a:gd name="connsiteY139" fmla="*/ 687207 h 877486"/>
              <a:gd name="connsiteX140" fmla="*/ 608217 w 1025775"/>
              <a:gd name="connsiteY140" fmla="*/ 689849 h 877486"/>
              <a:gd name="connsiteX141" fmla="*/ 600289 w 1025775"/>
              <a:gd name="connsiteY141" fmla="*/ 724205 h 877486"/>
              <a:gd name="connsiteX142" fmla="*/ 584432 w 1025775"/>
              <a:gd name="connsiteY142" fmla="*/ 737419 h 877486"/>
              <a:gd name="connsiteX143" fmla="*/ 576504 w 1025775"/>
              <a:gd name="connsiteY143" fmla="*/ 745348 h 877486"/>
              <a:gd name="connsiteX144" fmla="*/ 571218 w 1025775"/>
              <a:gd name="connsiteY144" fmla="*/ 753276 h 877486"/>
              <a:gd name="connsiteX145" fmla="*/ 563290 w 1025775"/>
              <a:gd name="connsiteY145" fmla="*/ 755919 h 877486"/>
              <a:gd name="connsiteX146" fmla="*/ 555361 w 1025775"/>
              <a:gd name="connsiteY146" fmla="*/ 763847 h 877486"/>
              <a:gd name="connsiteX147" fmla="*/ 534219 w 1025775"/>
              <a:gd name="connsiteY147" fmla="*/ 769133 h 877486"/>
              <a:gd name="connsiteX148" fmla="*/ 518363 w 1025775"/>
              <a:gd name="connsiteY148" fmla="*/ 774418 h 877486"/>
              <a:gd name="connsiteX149" fmla="*/ 510434 w 1025775"/>
              <a:gd name="connsiteY149" fmla="*/ 777061 h 877486"/>
              <a:gd name="connsiteX150" fmla="*/ 494578 w 1025775"/>
              <a:gd name="connsiteY150" fmla="*/ 790275 h 877486"/>
              <a:gd name="connsiteX151" fmla="*/ 484006 w 1025775"/>
              <a:gd name="connsiteY151" fmla="*/ 814060 h 877486"/>
              <a:gd name="connsiteX152" fmla="*/ 473435 w 1025775"/>
              <a:gd name="connsiteY152" fmla="*/ 837845 h 877486"/>
              <a:gd name="connsiteX153" fmla="*/ 465507 w 1025775"/>
              <a:gd name="connsiteY153" fmla="*/ 853701 h 877486"/>
              <a:gd name="connsiteX154" fmla="*/ 457579 w 1025775"/>
              <a:gd name="connsiteY154" fmla="*/ 856344 h 877486"/>
              <a:gd name="connsiteX155" fmla="*/ 449650 w 1025775"/>
              <a:gd name="connsiteY155" fmla="*/ 861630 h 877486"/>
              <a:gd name="connsiteX156" fmla="*/ 415294 w 1025775"/>
              <a:gd name="connsiteY156" fmla="*/ 869558 h 877486"/>
              <a:gd name="connsiteX157" fmla="*/ 399438 w 1025775"/>
              <a:gd name="connsiteY157" fmla="*/ 874844 h 877486"/>
              <a:gd name="connsiteX158" fmla="*/ 391509 w 1025775"/>
              <a:gd name="connsiteY158" fmla="*/ 877486 h 877486"/>
              <a:gd name="connsiteX159" fmla="*/ 365082 w 1025775"/>
              <a:gd name="connsiteY159" fmla="*/ 874844 h 877486"/>
              <a:gd name="connsiteX160" fmla="*/ 357153 w 1025775"/>
              <a:gd name="connsiteY160" fmla="*/ 869558 h 877486"/>
              <a:gd name="connsiteX161" fmla="*/ 336011 w 1025775"/>
              <a:gd name="connsiteY161" fmla="*/ 864272 h 877486"/>
              <a:gd name="connsiteX162" fmla="*/ 328083 w 1025775"/>
              <a:gd name="connsiteY162" fmla="*/ 861630 h 877486"/>
              <a:gd name="connsiteX163" fmla="*/ 312226 w 1025775"/>
              <a:gd name="connsiteY163" fmla="*/ 851059 h 877486"/>
              <a:gd name="connsiteX164" fmla="*/ 304298 w 1025775"/>
              <a:gd name="connsiteY164" fmla="*/ 848416 h 877486"/>
              <a:gd name="connsiteX165" fmla="*/ 285798 w 1025775"/>
              <a:gd name="connsiteY165" fmla="*/ 843130 h 877486"/>
              <a:gd name="connsiteX166" fmla="*/ 283156 w 1025775"/>
              <a:gd name="connsiteY166" fmla="*/ 835202 h 877486"/>
              <a:gd name="connsiteX167" fmla="*/ 259371 w 1025775"/>
              <a:gd name="connsiteY167" fmla="*/ 821988 h 877486"/>
              <a:gd name="connsiteX168" fmla="*/ 108732 w 1025775"/>
              <a:gd name="connsiteY168" fmla="*/ 824631 h 877486"/>
              <a:gd name="connsiteX169" fmla="*/ 100804 w 1025775"/>
              <a:gd name="connsiteY169" fmla="*/ 827274 h 877486"/>
              <a:gd name="connsiteX170" fmla="*/ 98161 w 1025775"/>
              <a:gd name="connsiteY170" fmla="*/ 814060 h 877486"/>
              <a:gd name="connsiteX171" fmla="*/ 95519 w 1025775"/>
              <a:gd name="connsiteY171" fmla="*/ 806131 h 877486"/>
              <a:gd name="connsiteX172" fmla="*/ 84947 w 1025775"/>
              <a:gd name="connsiteY172" fmla="*/ 790275 h 877486"/>
              <a:gd name="connsiteX173" fmla="*/ 79662 w 1025775"/>
              <a:gd name="connsiteY173" fmla="*/ 782346 h 877486"/>
              <a:gd name="connsiteX174" fmla="*/ 71734 w 1025775"/>
              <a:gd name="connsiteY174" fmla="*/ 766490 h 877486"/>
              <a:gd name="connsiteX175" fmla="*/ 55877 w 1025775"/>
              <a:gd name="connsiteY175" fmla="*/ 755919 h 877486"/>
              <a:gd name="connsiteX176" fmla="*/ 47949 w 1025775"/>
              <a:gd name="connsiteY176" fmla="*/ 750633 h 877486"/>
              <a:gd name="connsiteX177" fmla="*/ 40020 w 1025775"/>
              <a:gd name="connsiteY177" fmla="*/ 745348 h 877486"/>
              <a:gd name="connsiteX178" fmla="*/ 32092 w 1025775"/>
              <a:gd name="connsiteY178" fmla="*/ 734777 h 877486"/>
              <a:gd name="connsiteX179" fmla="*/ 24164 w 1025775"/>
              <a:gd name="connsiteY179" fmla="*/ 732134 h 877486"/>
              <a:gd name="connsiteX180" fmla="*/ 18878 w 1025775"/>
              <a:gd name="connsiteY180" fmla="*/ 724205 h 877486"/>
              <a:gd name="connsiteX181" fmla="*/ 10950 w 1025775"/>
              <a:gd name="connsiteY181" fmla="*/ 718920 h 877486"/>
              <a:gd name="connsiteX182" fmla="*/ 5664 w 1025775"/>
              <a:gd name="connsiteY182" fmla="*/ 703063 h 877486"/>
              <a:gd name="connsiteX183" fmla="*/ 10950 w 1025775"/>
              <a:gd name="connsiteY183" fmla="*/ 557711 h 877486"/>
              <a:gd name="connsiteX184" fmla="*/ 8307 w 1025775"/>
              <a:gd name="connsiteY184" fmla="*/ 444071 h 877486"/>
              <a:gd name="connsiteX185" fmla="*/ 13593 w 1025775"/>
              <a:gd name="connsiteY185" fmla="*/ 433500 h 877486"/>
              <a:gd name="connsiteX186" fmla="*/ 124589 w 1025775"/>
              <a:gd name="connsiteY186" fmla="*/ 433500 h 877486"/>
              <a:gd name="connsiteX187" fmla="*/ 151017 w 1025775"/>
              <a:gd name="connsiteY187" fmla="*/ 425572 h 877486"/>
              <a:gd name="connsiteX188" fmla="*/ 158945 w 1025775"/>
              <a:gd name="connsiteY188" fmla="*/ 422929 h 877486"/>
              <a:gd name="connsiteX189" fmla="*/ 166874 w 1025775"/>
              <a:gd name="connsiteY189" fmla="*/ 420286 h 877486"/>
              <a:gd name="connsiteX190" fmla="*/ 174802 w 1025775"/>
              <a:gd name="connsiteY190" fmla="*/ 412358 h 877486"/>
              <a:gd name="connsiteX191" fmla="*/ 185373 w 1025775"/>
              <a:gd name="connsiteY191" fmla="*/ 396501 h 877486"/>
              <a:gd name="connsiteX192" fmla="*/ 188016 w 1025775"/>
              <a:gd name="connsiteY192" fmla="*/ 388573 h 877486"/>
              <a:gd name="connsiteX193" fmla="*/ 190658 w 1025775"/>
              <a:gd name="connsiteY193" fmla="*/ 261720 h 877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</a:cxnLst>
            <a:rect l="l" t="t" r="r" b="b"/>
            <a:pathLst>
              <a:path w="1025775" h="877486">
                <a:moveTo>
                  <a:pt x="190658" y="261720"/>
                </a:moveTo>
                <a:cubicBezTo>
                  <a:pt x="194622" y="241018"/>
                  <a:pt x="205206" y="261725"/>
                  <a:pt x="211801" y="264363"/>
                </a:cubicBezTo>
                <a:cubicBezTo>
                  <a:pt x="216998" y="266442"/>
                  <a:pt x="221658" y="287672"/>
                  <a:pt x="222372" y="288148"/>
                </a:cubicBezTo>
                <a:lnTo>
                  <a:pt x="230300" y="293433"/>
                </a:lnTo>
                <a:cubicBezTo>
                  <a:pt x="249308" y="287096"/>
                  <a:pt x="225571" y="294784"/>
                  <a:pt x="248800" y="288148"/>
                </a:cubicBezTo>
                <a:cubicBezTo>
                  <a:pt x="251478" y="287383"/>
                  <a:pt x="254293" y="286858"/>
                  <a:pt x="256728" y="285505"/>
                </a:cubicBezTo>
                <a:cubicBezTo>
                  <a:pt x="262281" y="282420"/>
                  <a:pt x="266558" y="276943"/>
                  <a:pt x="272584" y="274934"/>
                </a:cubicBezTo>
                <a:lnTo>
                  <a:pt x="288441" y="269648"/>
                </a:lnTo>
                <a:cubicBezTo>
                  <a:pt x="293727" y="270529"/>
                  <a:pt x="299645" y="269632"/>
                  <a:pt x="304298" y="272291"/>
                </a:cubicBezTo>
                <a:cubicBezTo>
                  <a:pt x="306717" y="273673"/>
                  <a:pt x="306176" y="277541"/>
                  <a:pt x="306941" y="280219"/>
                </a:cubicBezTo>
                <a:cubicBezTo>
                  <a:pt x="307939" y="283711"/>
                  <a:pt x="308585" y="287298"/>
                  <a:pt x="309583" y="290790"/>
                </a:cubicBezTo>
                <a:cubicBezTo>
                  <a:pt x="312586" y="301303"/>
                  <a:pt x="310642" y="297663"/>
                  <a:pt x="320154" y="304004"/>
                </a:cubicBezTo>
                <a:cubicBezTo>
                  <a:pt x="321916" y="306647"/>
                  <a:pt x="322960" y="309949"/>
                  <a:pt x="325440" y="311933"/>
                </a:cubicBezTo>
                <a:cubicBezTo>
                  <a:pt x="328147" y="314098"/>
                  <a:pt x="345928" y="317087"/>
                  <a:pt x="346582" y="317218"/>
                </a:cubicBezTo>
                <a:cubicBezTo>
                  <a:pt x="351868" y="320742"/>
                  <a:pt x="356413" y="325780"/>
                  <a:pt x="362439" y="327789"/>
                </a:cubicBezTo>
                <a:cubicBezTo>
                  <a:pt x="365082" y="328670"/>
                  <a:pt x="367932" y="329079"/>
                  <a:pt x="370367" y="330432"/>
                </a:cubicBezTo>
                <a:cubicBezTo>
                  <a:pt x="375920" y="333517"/>
                  <a:pt x="380198" y="338994"/>
                  <a:pt x="386224" y="341003"/>
                </a:cubicBezTo>
                <a:lnTo>
                  <a:pt x="402080" y="346289"/>
                </a:lnTo>
                <a:cubicBezTo>
                  <a:pt x="405469" y="345442"/>
                  <a:pt x="416787" y="342900"/>
                  <a:pt x="420580" y="341003"/>
                </a:cubicBezTo>
                <a:cubicBezTo>
                  <a:pt x="423421" y="339583"/>
                  <a:pt x="425606" y="337008"/>
                  <a:pt x="428508" y="335718"/>
                </a:cubicBezTo>
                <a:cubicBezTo>
                  <a:pt x="433599" y="333455"/>
                  <a:pt x="444365" y="330432"/>
                  <a:pt x="444365" y="330432"/>
                </a:cubicBezTo>
                <a:cubicBezTo>
                  <a:pt x="456481" y="312257"/>
                  <a:pt x="448909" y="316583"/>
                  <a:pt x="462864" y="311933"/>
                </a:cubicBezTo>
                <a:cubicBezTo>
                  <a:pt x="467269" y="312814"/>
                  <a:pt x="473320" y="311029"/>
                  <a:pt x="476078" y="314575"/>
                </a:cubicBezTo>
                <a:cubicBezTo>
                  <a:pt x="480538" y="320309"/>
                  <a:pt x="479067" y="328826"/>
                  <a:pt x="481364" y="335718"/>
                </a:cubicBezTo>
                <a:cubicBezTo>
                  <a:pt x="484118" y="343981"/>
                  <a:pt x="486787" y="354309"/>
                  <a:pt x="494578" y="359503"/>
                </a:cubicBezTo>
                <a:cubicBezTo>
                  <a:pt x="511332" y="370672"/>
                  <a:pt x="499341" y="364524"/>
                  <a:pt x="534219" y="367431"/>
                </a:cubicBezTo>
                <a:cubicBezTo>
                  <a:pt x="537743" y="368312"/>
                  <a:pt x="541311" y="369030"/>
                  <a:pt x="544790" y="370074"/>
                </a:cubicBezTo>
                <a:cubicBezTo>
                  <a:pt x="550127" y="371675"/>
                  <a:pt x="560647" y="375359"/>
                  <a:pt x="560647" y="375359"/>
                </a:cubicBezTo>
                <a:cubicBezTo>
                  <a:pt x="564171" y="380645"/>
                  <a:pt x="569209" y="385190"/>
                  <a:pt x="571218" y="391216"/>
                </a:cubicBezTo>
                <a:cubicBezTo>
                  <a:pt x="577862" y="411147"/>
                  <a:pt x="568899" y="386576"/>
                  <a:pt x="579146" y="407072"/>
                </a:cubicBezTo>
                <a:cubicBezTo>
                  <a:pt x="590083" y="428947"/>
                  <a:pt x="571933" y="400219"/>
                  <a:pt x="587075" y="422929"/>
                </a:cubicBezTo>
                <a:cubicBezTo>
                  <a:pt x="591726" y="436885"/>
                  <a:pt x="588171" y="428538"/>
                  <a:pt x="600289" y="446714"/>
                </a:cubicBezTo>
                <a:cubicBezTo>
                  <a:pt x="602051" y="449357"/>
                  <a:pt x="602493" y="453872"/>
                  <a:pt x="605574" y="454642"/>
                </a:cubicBezTo>
                <a:cubicBezTo>
                  <a:pt x="618848" y="457961"/>
                  <a:pt x="612699" y="456136"/>
                  <a:pt x="624074" y="459928"/>
                </a:cubicBezTo>
                <a:cubicBezTo>
                  <a:pt x="636407" y="459047"/>
                  <a:pt x="648845" y="459119"/>
                  <a:pt x="661072" y="457285"/>
                </a:cubicBezTo>
                <a:cubicBezTo>
                  <a:pt x="666582" y="456459"/>
                  <a:pt x="671413" y="452788"/>
                  <a:pt x="676929" y="452000"/>
                </a:cubicBezTo>
                <a:lnTo>
                  <a:pt x="695428" y="449357"/>
                </a:lnTo>
                <a:cubicBezTo>
                  <a:pt x="701624" y="430771"/>
                  <a:pt x="694813" y="453047"/>
                  <a:pt x="700714" y="417644"/>
                </a:cubicBezTo>
                <a:cubicBezTo>
                  <a:pt x="701172" y="414896"/>
                  <a:pt x="702681" y="412418"/>
                  <a:pt x="703357" y="409715"/>
                </a:cubicBezTo>
                <a:cubicBezTo>
                  <a:pt x="704446" y="405357"/>
                  <a:pt x="705119" y="400906"/>
                  <a:pt x="706000" y="396501"/>
                </a:cubicBezTo>
                <a:cubicBezTo>
                  <a:pt x="705119" y="385049"/>
                  <a:pt x="705474" y="373434"/>
                  <a:pt x="703357" y="362145"/>
                </a:cubicBezTo>
                <a:cubicBezTo>
                  <a:pt x="702772" y="359023"/>
                  <a:pt x="701020" y="355397"/>
                  <a:pt x="698071" y="354217"/>
                </a:cubicBezTo>
                <a:cubicBezTo>
                  <a:pt x="695485" y="353183"/>
                  <a:pt x="692786" y="355979"/>
                  <a:pt x="690143" y="356860"/>
                </a:cubicBezTo>
                <a:cubicBezTo>
                  <a:pt x="681333" y="370073"/>
                  <a:pt x="687500" y="363026"/>
                  <a:pt x="669001" y="375359"/>
                </a:cubicBezTo>
                <a:cubicBezTo>
                  <a:pt x="666358" y="377121"/>
                  <a:pt x="664086" y="379641"/>
                  <a:pt x="661072" y="380645"/>
                </a:cubicBezTo>
                <a:lnTo>
                  <a:pt x="645216" y="385930"/>
                </a:lnTo>
                <a:cubicBezTo>
                  <a:pt x="640811" y="385049"/>
                  <a:pt x="636360" y="384376"/>
                  <a:pt x="632002" y="383287"/>
                </a:cubicBezTo>
                <a:cubicBezTo>
                  <a:pt x="629300" y="382611"/>
                  <a:pt x="626752" y="381410"/>
                  <a:pt x="624074" y="380645"/>
                </a:cubicBezTo>
                <a:cubicBezTo>
                  <a:pt x="620581" y="379647"/>
                  <a:pt x="617026" y="378883"/>
                  <a:pt x="613502" y="378002"/>
                </a:cubicBezTo>
                <a:cubicBezTo>
                  <a:pt x="610859" y="376240"/>
                  <a:pt x="607257" y="375409"/>
                  <a:pt x="605574" y="372716"/>
                </a:cubicBezTo>
                <a:cubicBezTo>
                  <a:pt x="602621" y="367992"/>
                  <a:pt x="603379" y="361496"/>
                  <a:pt x="600289" y="356860"/>
                </a:cubicBezTo>
                <a:lnTo>
                  <a:pt x="595003" y="348931"/>
                </a:lnTo>
                <a:cubicBezTo>
                  <a:pt x="594431" y="346642"/>
                  <a:pt x="591402" y="333382"/>
                  <a:pt x="589717" y="330432"/>
                </a:cubicBezTo>
                <a:cubicBezTo>
                  <a:pt x="587532" y="326608"/>
                  <a:pt x="584432" y="323385"/>
                  <a:pt x="581789" y="319861"/>
                </a:cubicBezTo>
                <a:cubicBezTo>
                  <a:pt x="575146" y="299934"/>
                  <a:pt x="584107" y="324497"/>
                  <a:pt x="573861" y="304004"/>
                </a:cubicBezTo>
                <a:cubicBezTo>
                  <a:pt x="572615" y="301512"/>
                  <a:pt x="572099" y="298719"/>
                  <a:pt x="571218" y="296076"/>
                </a:cubicBezTo>
                <a:cubicBezTo>
                  <a:pt x="577696" y="250733"/>
                  <a:pt x="570352" y="294259"/>
                  <a:pt x="576504" y="269648"/>
                </a:cubicBezTo>
                <a:cubicBezTo>
                  <a:pt x="577570" y="265383"/>
                  <a:pt x="579041" y="253452"/>
                  <a:pt x="581789" y="248506"/>
                </a:cubicBezTo>
                <a:cubicBezTo>
                  <a:pt x="596934" y="221244"/>
                  <a:pt x="589023" y="242660"/>
                  <a:pt x="595003" y="224721"/>
                </a:cubicBezTo>
                <a:cubicBezTo>
                  <a:pt x="594122" y="199174"/>
                  <a:pt x="594746" y="173531"/>
                  <a:pt x="592360" y="148081"/>
                </a:cubicBezTo>
                <a:cubicBezTo>
                  <a:pt x="592064" y="144919"/>
                  <a:pt x="589465" y="142244"/>
                  <a:pt x="587075" y="140152"/>
                </a:cubicBezTo>
                <a:cubicBezTo>
                  <a:pt x="582294" y="135969"/>
                  <a:pt x="571218" y="129581"/>
                  <a:pt x="571218" y="129581"/>
                </a:cubicBezTo>
                <a:cubicBezTo>
                  <a:pt x="572704" y="117696"/>
                  <a:pt x="572313" y="102059"/>
                  <a:pt x="581789" y="92582"/>
                </a:cubicBezTo>
                <a:cubicBezTo>
                  <a:pt x="584035" y="90336"/>
                  <a:pt x="586876" y="88717"/>
                  <a:pt x="589717" y="87297"/>
                </a:cubicBezTo>
                <a:cubicBezTo>
                  <a:pt x="592209" y="86051"/>
                  <a:pt x="595003" y="85535"/>
                  <a:pt x="597646" y="84654"/>
                </a:cubicBezTo>
                <a:cubicBezTo>
                  <a:pt x="600289" y="82892"/>
                  <a:pt x="602733" y="80788"/>
                  <a:pt x="605574" y="79368"/>
                </a:cubicBezTo>
                <a:cubicBezTo>
                  <a:pt x="614991" y="74659"/>
                  <a:pt x="613695" y="80255"/>
                  <a:pt x="618788" y="68797"/>
                </a:cubicBezTo>
                <a:cubicBezTo>
                  <a:pt x="621051" y="63706"/>
                  <a:pt x="624074" y="52941"/>
                  <a:pt x="624074" y="52941"/>
                </a:cubicBezTo>
                <a:cubicBezTo>
                  <a:pt x="624955" y="45893"/>
                  <a:pt x="624078" y="38393"/>
                  <a:pt x="626716" y="31798"/>
                </a:cubicBezTo>
                <a:cubicBezTo>
                  <a:pt x="628648" y="26968"/>
                  <a:pt x="650282" y="21300"/>
                  <a:pt x="650501" y="21227"/>
                </a:cubicBezTo>
                <a:cubicBezTo>
                  <a:pt x="666666" y="15839"/>
                  <a:pt x="651846" y="20208"/>
                  <a:pt x="679572" y="15942"/>
                </a:cubicBezTo>
                <a:cubicBezTo>
                  <a:pt x="692526" y="13949"/>
                  <a:pt x="691519" y="13287"/>
                  <a:pt x="703357" y="10656"/>
                </a:cubicBezTo>
                <a:cubicBezTo>
                  <a:pt x="707742" y="9681"/>
                  <a:pt x="712104" y="8483"/>
                  <a:pt x="716571" y="8013"/>
                </a:cubicBezTo>
                <a:cubicBezTo>
                  <a:pt x="728867" y="6719"/>
                  <a:pt x="741236" y="6252"/>
                  <a:pt x="753569" y="5371"/>
                </a:cubicBezTo>
                <a:cubicBezTo>
                  <a:pt x="761699" y="2661"/>
                  <a:pt x="765312" y="0"/>
                  <a:pt x="774712" y="5371"/>
                </a:cubicBezTo>
                <a:cubicBezTo>
                  <a:pt x="777470" y="6947"/>
                  <a:pt x="777964" y="10859"/>
                  <a:pt x="779997" y="13299"/>
                </a:cubicBezTo>
                <a:cubicBezTo>
                  <a:pt x="785258" y="19612"/>
                  <a:pt x="796985" y="29532"/>
                  <a:pt x="803782" y="31798"/>
                </a:cubicBezTo>
                <a:cubicBezTo>
                  <a:pt x="822652" y="38088"/>
                  <a:pt x="815003" y="33993"/>
                  <a:pt x="827567" y="42370"/>
                </a:cubicBezTo>
                <a:cubicBezTo>
                  <a:pt x="829329" y="45013"/>
                  <a:pt x="830463" y="48206"/>
                  <a:pt x="832853" y="50298"/>
                </a:cubicBezTo>
                <a:cubicBezTo>
                  <a:pt x="845463" y="61332"/>
                  <a:pt x="849596" y="61165"/>
                  <a:pt x="864566" y="66155"/>
                </a:cubicBezTo>
                <a:cubicBezTo>
                  <a:pt x="867209" y="67036"/>
                  <a:pt x="869792" y="68121"/>
                  <a:pt x="872494" y="68797"/>
                </a:cubicBezTo>
                <a:cubicBezTo>
                  <a:pt x="878404" y="70275"/>
                  <a:pt x="895061" y="74152"/>
                  <a:pt x="898922" y="76726"/>
                </a:cubicBezTo>
                <a:cubicBezTo>
                  <a:pt x="904208" y="80250"/>
                  <a:pt x="910287" y="82805"/>
                  <a:pt x="914779" y="87297"/>
                </a:cubicBezTo>
                <a:cubicBezTo>
                  <a:pt x="917422" y="89940"/>
                  <a:pt x="919440" y="93410"/>
                  <a:pt x="922707" y="95225"/>
                </a:cubicBezTo>
                <a:cubicBezTo>
                  <a:pt x="927577" y="97931"/>
                  <a:pt x="933278" y="98749"/>
                  <a:pt x="938564" y="100511"/>
                </a:cubicBezTo>
                <a:lnTo>
                  <a:pt x="954420" y="105796"/>
                </a:lnTo>
                <a:cubicBezTo>
                  <a:pt x="957063" y="106677"/>
                  <a:pt x="959591" y="108045"/>
                  <a:pt x="962349" y="108439"/>
                </a:cubicBezTo>
                <a:lnTo>
                  <a:pt x="980848" y="111082"/>
                </a:lnTo>
                <a:cubicBezTo>
                  <a:pt x="987297" y="113231"/>
                  <a:pt x="991581" y="113886"/>
                  <a:pt x="996705" y="119010"/>
                </a:cubicBezTo>
                <a:cubicBezTo>
                  <a:pt x="1002986" y="125291"/>
                  <a:pt x="1004660" y="134947"/>
                  <a:pt x="1007276" y="142795"/>
                </a:cubicBezTo>
                <a:lnTo>
                  <a:pt x="1015204" y="166580"/>
                </a:lnTo>
                <a:lnTo>
                  <a:pt x="1023132" y="190365"/>
                </a:lnTo>
                <a:lnTo>
                  <a:pt x="1025775" y="198293"/>
                </a:lnTo>
                <a:cubicBezTo>
                  <a:pt x="1024894" y="207102"/>
                  <a:pt x="1024478" y="215971"/>
                  <a:pt x="1023132" y="224721"/>
                </a:cubicBezTo>
                <a:cubicBezTo>
                  <a:pt x="1022708" y="227474"/>
                  <a:pt x="1021255" y="229971"/>
                  <a:pt x="1020490" y="232649"/>
                </a:cubicBezTo>
                <a:cubicBezTo>
                  <a:pt x="1012505" y="260599"/>
                  <a:pt x="1025117" y="221407"/>
                  <a:pt x="1012561" y="259077"/>
                </a:cubicBezTo>
                <a:cubicBezTo>
                  <a:pt x="1006228" y="278077"/>
                  <a:pt x="1013910" y="254358"/>
                  <a:pt x="1007276" y="277577"/>
                </a:cubicBezTo>
                <a:cubicBezTo>
                  <a:pt x="1006511" y="280255"/>
                  <a:pt x="1005514" y="282862"/>
                  <a:pt x="1004633" y="285505"/>
                </a:cubicBezTo>
                <a:cubicBezTo>
                  <a:pt x="1005514" y="294314"/>
                  <a:pt x="1006024" y="303169"/>
                  <a:pt x="1007276" y="311933"/>
                </a:cubicBezTo>
                <a:cubicBezTo>
                  <a:pt x="1008105" y="317736"/>
                  <a:pt x="1010680" y="324788"/>
                  <a:pt x="1012561" y="330432"/>
                </a:cubicBezTo>
                <a:cubicBezTo>
                  <a:pt x="1012095" y="335095"/>
                  <a:pt x="1011026" y="358683"/>
                  <a:pt x="1007276" y="367431"/>
                </a:cubicBezTo>
                <a:cubicBezTo>
                  <a:pt x="1006025" y="370350"/>
                  <a:pt x="1003280" y="372457"/>
                  <a:pt x="1001990" y="375359"/>
                </a:cubicBezTo>
                <a:cubicBezTo>
                  <a:pt x="999727" y="380450"/>
                  <a:pt x="998467" y="385930"/>
                  <a:pt x="996705" y="391216"/>
                </a:cubicBezTo>
                <a:lnTo>
                  <a:pt x="994062" y="399144"/>
                </a:lnTo>
                <a:cubicBezTo>
                  <a:pt x="993181" y="401787"/>
                  <a:pt x="993737" y="405527"/>
                  <a:pt x="991419" y="407072"/>
                </a:cubicBezTo>
                <a:lnTo>
                  <a:pt x="975563" y="417644"/>
                </a:lnTo>
                <a:lnTo>
                  <a:pt x="967634" y="422929"/>
                </a:lnTo>
                <a:cubicBezTo>
                  <a:pt x="966753" y="425572"/>
                  <a:pt x="965667" y="428155"/>
                  <a:pt x="964991" y="430857"/>
                </a:cubicBezTo>
                <a:cubicBezTo>
                  <a:pt x="962470" y="440943"/>
                  <a:pt x="964315" y="444748"/>
                  <a:pt x="957063" y="452000"/>
                </a:cubicBezTo>
                <a:cubicBezTo>
                  <a:pt x="954817" y="454246"/>
                  <a:pt x="951778" y="455523"/>
                  <a:pt x="949135" y="457285"/>
                </a:cubicBezTo>
                <a:cubicBezTo>
                  <a:pt x="943770" y="465332"/>
                  <a:pt x="933595" y="471556"/>
                  <a:pt x="941206" y="481070"/>
                </a:cubicBezTo>
                <a:cubicBezTo>
                  <a:pt x="943190" y="483550"/>
                  <a:pt x="946492" y="484594"/>
                  <a:pt x="949135" y="486356"/>
                </a:cubicBezTo>
                <a:cubicBezTo>
                  <a:pt x="958824" y="500890"/>
                  <a:pt x="949135" y="488559"/>
                  <a:pt x="962349" y="499570"/>
                </a:cubicBezTo>
                <a:cubicBezTo>
                  <a:pt x="969979" y="505928"/>
                  <a:pt x="970366" y="507632"/>
                  <a:pt x="975563" y="515426"/>
                </a:cubicBezTo>
                <a:cubicBezTo>
                  <a:pt x="974682" y="520712"/>
                  <a:pt x="976449" y="527250"/>
                  <a:pt x="972920" y="531283"/>
                </a:cubicBezTo>
                <a:cubicBezTo>
                  <a:pt x="969251" y="535476"/>
                  <a:pt x="962559" y="535652"/>
                  <a:pt x="957063" y="536568"/>
                </a:cubicBezTo>
                <a:cubicBezTo>
                  <a:pt x="951777" y="537449"/>
                  <a:pt x="946461" y="538160"/>
                  <a:pt x="941206" y="539211"/>
                </a:cubicBezTo>
                <a:cubicBezTo>
                  <a:pt x="937644" y="539923"/>
                  <a:pt x="934181" y="541066"/>
                  <a:pt x="930635" y="541854"/>
                </a:cubicBezTo>
                <a:cubicBezTo>
                  <a:pt x="926250" y="542829"/>
                  <a:pt x="921840" y="543693"/>
                  <a:pt x="917421" y="544497"/>
                </a:cubicBezTo>
                <a:cubicBezTo>
                  <a:pt x="912149" y="545456"/>
                  <a:pt x="906861" y="546325"/>
                  <a:pt x="901565" y="547140"/>
                </a:cubicBezTo>
                <a:cubicBezTo>
                  <a:pt x="887551" y="549296"/>
                  <a:pt x="884396" y="548854"/>
                  <a:pt x="872494" y="552425"/>
                </a:cubicBezTo>
                <a:cubicBezTo>
                  <a:pt x="867158" y="554026"/>
                  <a:pt x="861923" y="555949"/>
                  <a:pt x="856638" y="557711"/>
                </a:cubicBezTo>
                <a:lnTo>
                  <a:pt x="840781" y="562996"/>
                </a:lnTo>
                <a:cubicBezTo>
                  <a:pt x="840777" y="562997"/>
                  <a:pt x="824927" y="568281"/>
                  <a:pt x="824924" y="568282"/>
                </a:cubicBezTo>
                <a:cubicBezTo>
                  <a:pt x="820520" y="569163"/>
                  <a:pt x="816068" y="569835"/>
                  <a:pt x="811711" y="570924"/>
                </a:cubicBezTo>
                <a:cubicBezTo>
                  <a:pt x="809008" y="571600"/>
                  <a:pt x="806551" y="573259"/>
                  <a:pt x="803782" y="573567"/>
                </a:cubicBezTo>
                <a:cubicBezTo>
                  <a:pt x="790620" y="575030"/>
                  <a:pt x="777355" y="575329"/>
                  <a:pt x="764141" y="576210"/>
                </a:cubicBezTo>
                <a:cubicBezTo>
                  <a:pt x="741411" y="591363"/>
                  <a:pt x="770173" y="573194"/>
                  <a:pt x="748284" y="584138"/>
                </a:cubicBezTo>
                <a:cubicBezTo>
                  <a:pt x="745443" y="585558"/>
                  <a:pt x="743197" y="588003"/>
                  <a:pt x="740356" y="589424"/>
                </a:cubicBezTo>
                <a:cubicBezTo>
                  <a:pt x="718465" y="600370"/>
                  <a:pt x="747227" y="582201"/>
                  <a:pt x="724499" y="597352"/>
                </a:cubicBezTo>
                <a:lnTo>
                  <a:pt x="719213" y="613209"/>
                </a:lnTo>
                <a:lnTo>
                  <a:pt x="716571" y="621137"/>
                </a:lnTo>
                <a:cubicBezTo>
                  <a:pt x="715690" y="629946"/>
                  <a:pt x="718389" y="639918"/>
                  <a:pt x="713928" y="647565"/>
                </a:cubicBezTo>
                <a:cubicBezTo>
                  <a:pt x="711121" y="652378"/>
                  <a:pt x="703357" y="651088"/>
                  <a:pt x="698071" y="652850"/>
                </a:cubicBezTo>
                <a:lnTo>
                  <a:pt x="690143" y="655493"/>
                </a:lnTo>
                <a:cubicBezTo>
                  <a:pt x="687500" y="656374"/>
                  <a:pt x="684533" y="656591"/>
                  <a:pt x="682215" y="658136"/>
                </a:cubicBezTo>
                <a:cubicBezTo>
                  <a:pt x="676929" y="661660"/>
                  <a:pt x="672384" y="666698"/>
                  <a:pt x="666358" y="668707"/>
                </a:cubicBezTo>
                <a:cubicBezTo>
                  <a:pt x="663715" y="669588"/>
                  <a:pt x="661108" y="670585"/>
                  <a:pt x="658430" y="671350"/>
                </a:cubicBezTo>
                <a:cubicBezTo>
                  <a:pt x="635175" y="677995"/>
                  <a:pt x="658958" y="670294"/>
                  <a:pt x="639930" y="676635"/>
                </a:cubicBezTo>
                <a:cubicBezTo>
                  <a:pt x="627367" y="685011"/>
                  <a:pt x="635013" y="680918"/>
                  <a:pt x="616145" y="687207"/>
                </a:cubicBezTo>
                <a:lnTo>
                  <a:pt x="608217" y="689849"/>
                </a:lnTo>
                <a:cubicBezTo>
                  <a:pt x="593925" y="711287"/>
                  <a:pt x="614661" y="677497"/>
                  <a:pt x="600289" y="724205"/>
                </a:cubicBezTo>
                <a:cubicBezTo>
                  <a:pt x="598691" y="729398"/>
                  <a:pt x="588182" y="734294"/>
                  <a:pt x="584432" y="737419"/>
                </a:cubicBezTo>
                <a:cubicBezTo>
                  <a:pt x="581561" y="739812"/>
                  <a:pt x="578897" y="742477"/>
                  <a:pt x="576504" y="745348"/>
                </a:cubicBezTo>
                <a:cubicBezTo>
                  <a:pt x="574471" y="747788"/>
                  <a:pt x="573698" y="751292"/>
                  <a:pt x="571218" y="753276"/>
                </a:cubicBezTo>
                <a:cubicBezTo>
                  <a:pt x="569043" y="755016"/>
                  <a:pt x="565933" y="755038"/>
                  <a:pt x="563290" y="755919"/>
                </a:cubicBezTo>
                <a:cubicBezTo>
                  <a:pt x="560647" y="758562"/>
                  <a:pt x="558764" y="762300"/>
                  <a:pt x="555361" y="763847"/>
                </a:cubicBezTo>
                <a:cubicBezTo>
                  <a:pt x="548748" y="766853"/>
                  <a:pt x="541111" y="766836"/>
                  <a:pt x="534219" y="769133"/>
                </a:cubicBezTo>
                <a:lnTo>
                  <a:pt x="518363" y="774418"/>
                </a:lnTo>
                <a:cubicBezTo>
                  <a:pt x="515720" y="775299"/>
                  <a:pt x="512752" y="775516"/>
                  <a:pt x="510434" y="777061"/>
                </a:cubicBezTo>
                <a:cubicBezTo>
                  <a:pt x="499396" y="784419"/>
                  <a:pt x="504752" y="780100"/>
                  <a:pt x="494578" y="790275"/>
                </a:cubicBezTo>
                <a:cubicBezTo>
                  <a:pt x="488287" y="809144"/>
                  <a:pt x="492382" y="801495"/>
                  <a:pt x="484006" y="814060"/>
                </a:cubicBezTo>
                <a:cubicBezTo>
                  <a:pt x="477717" y="832930"/>
                  <a:pt x="481811" y="825280"/>
                  <a:pt x="473435" y="837845"/>
                </a:cubicBezTo>
                <a:cubicBezTo>
                  <a:pt x="471694" y="843070"/>
                  <a:pt x="470166" y="849974"/>
                  <a:pt x="465507" y="853701"/>
                </a:cubicBezTo>
                <a:cubicBezTo>
                  <a:pt x="463332" y="855441"/>
                  <a:pt x="460071" y="855098"/>
                  <a:pt x="457579" y="856344"/>
                </a:cubicBezTo>
                <a:cubicBezTo>
                  <a:pt x="454738" y="857765"/>
                  <a:pt x="452553" y="860340"/>
                  <a:pt x="449650" y="861630"/>
                </a:cubicBezTo>
                <a:cubicBezTo>
                  <a:pt x="435905" y="867739"/>
                  <a:pt x="430341" y="867408"/>
                  <a:pt x="415294" y="869558"/>
                </a:cubicBezTo>
                <a:lnTo>
                  <a:pt x="399438" y="874844"/>
                </a:lnTo>
                <a:lnTo>
                  <a:pt x="391509" y="877486"/>
                </a:lnTo>
                <a:cubicBezTo>
                  <a:pt x="382700" y="876605"/>
                  <a:pt x="373708" y="876835"/>
                  <a:pt x="365082" y="874844"/>
                </a:cubicBezTo>
                <a:cubicBezTo>
                  <a:pt x="361987" y="874130"/>
                  <a:pt x="359994" y="870979"/>
                  <a:pt x="357153" y="869558"/>
                </a:cubicBezTo>
                <a:cubicBezTo>
                  <a:pt x="351112" y="866537"/>
                  <a:pt x="342043" y="865780"/>
                  <a:pt x="336011" y="864272"/>
                </a:cubicBezTo>
                <a:cubicBezTo>
                  <a:pt x="333309" y="863596"/>
                  <a:pt x="330726" y="862511"/>
                  <a:pt x="328083" y="861630"/>
                </a:cubicBezTo>
                <a:cubicBezTo>
                  <a:pt x="322797" y="858106"/>
                  <a:pt x="318252" y="853068"/>
                  <a:pt x="312226" y="851059"/>
                </a:cubicBezTo>
                <a:cubicBezTo>
                  <a:pt x="309583" y="850178"/>
                  <a:pt x="306976" y="849181"/>
                  <a:pt x="304298" y="848416"/>
                </a:cubicBezTo>
                <a:cubicBezTo>
                  <a:pt x="281060" y="841776"/>
                  <a:pt x="304815" y="849469"/>
                  <a:pt x="285798" y="843130"/>
                </a:cubicBezTo>
                <a:cubicBezTo>
                  <a:pt x="284917" y="840487"/>
                  <a:pt x="285126" y="837172"/>
                  <a:pt x="283156" y="835202"/>
                </a:cubicBezTo>
                <a:cubicBezTo>
                  <a:pt x="274070" y="826116"/>
                  <a:pt x="269340" y="825311"/>
                  <a:pt x="259371" y="821988"/>
                </a:cubicBezTo>
                <a:lnTo>
                  <a:pt x="108732" y="824631"/>
                </a:lnTo>
                <a:cubicBezTo>
                  <a:pt x="105948" y="824724"/>
                  <a:pt x="102774" y="829244"/>
                  <a:pt x="100804" y="827274"/>
                </a:cubicBezTo>
                <a:cubicBezTo>
                  <a:pt x="97628" y="824098"/>
                  <a:pt x="99250" y="818418"/>
                  <a:pt x="98161" y="814060"/>
                </a:cubicBezTo>
                <a:cubicBezTo>
                  <a:pt x="97485" y="811357"/>
                  <a:pt x="96872" y="808566"/>
                  <a:pt x="95519" y="806131"/>
                </a:cubicBezTo>
                <a:cubicBezTo>
                  <a:pt x="92434" y="800578"/>
                  <a:pt x="88471" y="795561"/>
                  <a:pt x="84947" y="790275"/>
                </a:cubicBezTo>
                <a:cubicBezTo>
                  <a:pt x="83185" y="787632"/>
                  <a:pt x="80667" y="785359"/>
                  <a:pt x="79662" y="782346"/>
                </a:cubicBezTo>
                <a:cubicBezTo>
                  <a:pt x="77777" y="776692"/>
                  <a:pt x="76555" y="770708"/>
                  <a:pt x="71734" y="766490"/>
                </a:cubicBezTo>
                <a:cubicBezTo>
                  <a:pt x="66953" y="762307"/>
                  <a:pt x="61163" y="759443"/>
                  <a:pt x="55877" y="755919"/>
                </a:cubicBezTo>
                <a:lnTo>
                  <a:pt x="47949" y="750633"/>
                </a:lnTo>
                <a:lnTo>
                  <a:pt x="40020" y="745348"/>
                </a:lnTo>
                <a:cubicBezTo>
                  <a:pt x="37377" y="741824"/>
                  <a:pt x="35476" y="737597"/>
                  <a:pt x="32092" y="734777"/>
                </a:cubicBezTo>
                <a:cubicBezTo>
                  <a:pt x="29952" y="732994"/>
                  <a:pt x="26339" y="733874"/>
                  <a:pt x="24164" y="732134"/>
                </a:cubicBezTo>
                <a:cubicBezTo>
                  <a:pt x="21684" y="730150"/>
                  <a:pt x="21124" y="726451"/>
                  <a:pt x="18878" y="724205"/>
                </a:cubicBezTo>
                <a:cubicBezTo>
                  <a:pt x="16632" y="721959"/>
                  <a:pt x="13593" y="720682"/>
                  <a:pt x="10950" y="718920"/>
                </a:cubicBezTo>
                <a:cubicBezTo>
                  <a:pt x="9188" y="713634"/>
                  <a:pt x="5545" y="708633"/>
                  <a:pt x="5664" y="703063"/>
                </a:cubicBezTo>
                <a:cubicBezTo>
                  <a:pt x="8458" y="571752"/>
                  <a:pt x="3170" y="619946"/>
                  <a:pt x="10950" y="557711"/>
                </a:cubicBezTo>
                <a:cubicBezTo>
                  <a:pt x="10069" y="519831"/>
                  <a:pt x="9953" y="481925"/>
                  <a:pt x="8307" y="444071"/>
                </a:cubicBezTo>
                <a:cubicBezTo>
                  <a:pt x="7804" y="432493"/>
                  <a:pt x="0" y="438031"/>
                  <a:pt x="13593" y="433500"/>
                </a:cubicBezTo>
                <a:cubicBezTo>
                  <a:pt x="62529" y="438938"/>
                  <a:pt x="43092" y="437906"/>
                  <a:pt x="124589" y="433500"/>
                </a:cubicBezTo>
                <a:cubicBezTo>
                  <a:pt x="129353" y="433242"/>
                  <a:pt x="148913" y="426273"/>
                  <a:pt x="151017" y="425572"/>
                </a:cubicBezTo>
                <a:lnTo>
                  <a:pt x="158945" y="422929"/>
                </a:lnTo>
                <a:lnTo>
                  <a:pt x="166874" y="420286"/>
                </a:lnTo>
                <a:cubicBezTo>
                  <a:pt x="169517" y="417643"/>
                  <a:pt x="172729" y="415468"/>
                  <a:pt x="174802" y="412358"/>
                </a:cubicBezTo>
                <a:cubicBezTo>
                  <a:pt x="190104" y="389406"/>
                  <a:pt x="160077" y="421800"/>
                  <a:pt x="185373" y="396501"/>
                </a:cubicBezTo>
                <a:cubicBezTo>
                  <a:pt x="186254" y="393858"/>
                  <a:pt x="187412" y="391292"/>
                  <a:pt x="188016" y="388573"/>
                </a:cubicBezTo>
                <a:cubicBezTo>
                  <a:pt x="197028" y="348014"/>
                  <a:pt x="186694" y="282422"/>
                  <a:pt x="190658" y="261720"/>
                </a:cubicBezTo>
                <a:close/>
              </a:path>
            </a:pathLst>
          </a:custGeom>
          <a:gradFill>
            <a:gsLst>
              <a:gs pos="0">
                <a:srgbClr val="FF3399"/>
              </a:gs>
              <a:gs pos="25000">
                <a:srgbClr val="FF6633"/>
              </a:gs>
              <a:gs pos="50000">
                <a:srgbClr val="FFFF00"/>
              </a:gs>
              <a:gs pos="75000">
                <a:srgbClr val="01A78F"/>
              </a:gs>
              <a:gs pos="100000">
                <a:srgbClr val="3366FF"/>
              </a:gs>
            </a:gsLst>
            <a:lin ang="5400000" scaled="0"/>
          </a:gra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37" name="Freeform 36"/>
          <p:cNvSpPr/>
          <p:nvPr/>
        </p:nvSpPr>
        <p:spPr>
          <a:xfrm>
            <a:off x="3929063" y="4231219"/>
            <a:ext cx="1065212" cy="1054100"/>
          </a:xfrm>
          <a:custGeom>
            <a:avLst/>
            <a:gdLst>
              <a:gd name="connsiteX0" fmla="*/ 885449 w 1065158"/>
              <a:gd name="connsiteY0" fmla="*/ 126853 h 1054467"/>
              <a:gd name="connsiteX1" fmla="*/ 888092 w 1065158"/>
              <a:gd name="connsiteY1" fmla="*/ 351489 h 1054467"/>
              <a:gd name="connsiteX2" fmla="*/ 896020 w 1065158"/>
              <a:gd name="connsiteY2" fmla="*/ 354132 h 1054467"/>
              <a:gd name="connsiteX3" fmla="*/ 911877 w 1065158"/>
              <a:gd name="connsiteY3" fmla="*/ 362060 h 1054467"/>
              <a:gd name="connsiteX4" fmla="*/ 917163 w 1065158"/>
              <a:gd name="connsiteY4" fmla="*/ 396416 h 1054467"/>
              <a:gd name="connsiteX5" fmla="*/ 919805 w 1065158"/>
              <a:gd name="connsiteY5" fmla="*/ 404345 h 1054467"/>
              <a:gd name="connsiteX6" fmla="*/ 927734 w 1065158"/>
              <a:gd name="connsiteY6" fmla="*/ 406987 h 1054467"/>
              <a:gd name="connsiteX7" fmla="*/ 927734 w 1065158"/>
              <a:gd name="connsiteY7" fmla="*/ 433415 h 1054467"/>
              <a:gd name="connsiteX8" fmla="*/ 925091 w 1065158"/>
              <a:gd name="connsiteY8" fmla="*/ 441343 h 1054467"/>
              <a:gd name="connsiteX9" fmla="*/ 917163 w 1065158"/>
              <a:gd name="connsiteY9" fmla="*/ 446629 h 1054467"/>
              <a:gd name="connsiteX10" fmla="*/ 909234 w 1065158"/>
              <a:gd name="connsiteY10" fmla="*/ 454557 h 1054467"/>
              <a:gd name="connsiteX11" fmla="*/ 911877 w 1065158"/>
              <a:gd name="connsiteY11" fmla="*/ 467771 h 1054467"/>
              <a:gd name="connsiteX12" fmla="*/ 977946 w 1065158"/>
              <a:gd name="connsiteY12" fmla="*/ 462486 h 1054467"/>
              <a:gd name="connsiteX13" fmla="*/ 988517 w 1065158"/>
              <a:gd name="connsiteY13" fmla="*/ 459843 h 1054467"/>
              <a:gd name="connsiteX14" fmla="*/ 1004374 w 1065158"/>
              <a:gd name="connsiteY14" fmla="*/ 454557 h 1054467"/>
              <a:gd name="connsiteX15" fmla="*/ 1049301 w 1065158"/>
              <a:gd name="connsiteY15" fmla="*/ 457200 h 1054467"/>
              <a:gd name="connsiteX16" fmla="*/ 1057230 w 1065158"/>
              <a:gd name="connsiteY16" fmla="*/ 459843 h 1054467"/>
              <a:gd name="connsiteX17" fmla="*/ 1059872 w 1065158"/>
              <a:gd name="connsiteY17" fmla="*/ 470414 h 1054467"/>
              <a:gd name="connsiteX18" fmla="*/ 1065158 w 1065158"/>
              <a:gd name="connsiteY18" fmla="*/ 491556 h 1054467"/>
              <a:gd name="connsiteX19" fmla="*/ 1062515 w 1065158"/>
              <a:gd name="connsiteY19" fmla="*/ 599910 h 1054467"/>
              <a:gd name="connsiteX20" fmla="*/ 1059872 w 1065158"/>
              <a:gd name="connsiteY20" fmla="*/ 607838 h 1054467"/>
              <a:gd name="connsiteX21" fmla="*/ 1054587 w 1065158"/>
              <a:gd name="connsiteY21" fmla="*/ 615767 h 1054467"/>
              <a:gd name="connsiteX22" fmla="*/ 1022874 w 1065158"/>
              <a:gd name="connsiteY22" fmla="*/ 631623 h 1054467"/>
              <a:gd name="connsiteX23" fmla="*/ 1014945 w 1065158"/>
              <a:gd name="connsiteY23" fmla="*/ 634266 h 1054467"/>
              <a:gd name="connsiteX24" fmla="*/ 909234 w 1065158"/>
              <a:gd name="connsiteY24" fmla="*/ 636909 h 1054467"/>
              <a:gd name="connsiteX25" fmla="*/ 890735 w 1065158"/>
              <a:gd name="connsiteY25" fmla="*/ 639552 h 1054467"/>
              <a:gd name="connsiteX26" fmla="*/ 882806 w 1065158"/>
              <a:gd name="connsiteY26" fmla="*/ 644837 h 1054467"/>
              <a:gd name="connsiteX27" fmla="*/ 890735 w 1065158"/>
              <a:gd name="connsiteY27" fmla="*/ 650123 h 1054467"/>
              <a:gd name="connsiteX28" fmla="*/ 893378 w 1065158"/>
              <a:gd name="connsiteY28" fmla="*/ 658051 h 1054467"/>
              <a:gd name="connsiteX29" fmla="*/ 888092 w 1065158"/>
              <a:gd name="connsiteY29" fmla="*/ 679193 h 1054467"/>
              <a:gd name="connsiteX30" fmla="*/ 885449 w 1065158"/>
              <a:gd name="connsiteY30" fmla="*/ 832474 h 1054467"/>
              <a:gd name="connsiteX31" fmla="*/ 880164 w 1065158"/>
              <a:gd name="connsiteY31" fmla="*/ 872116 h 1054467"/>
              <a:gd name="connsiteX32" fmla="*/ 877521 w 1065158"/>
              <a:gd name="connsiteY32" fmla="*/ 882687 h 1054467"/>
              <a:gd name="connsiteX33" fmla="*/ 872235 w 1065158"/>
              <a:gd name="connsiteY33" fmla="*/ 898543 h 1054467"/>
              <a:gd name="connsiteX34" fmla="*/ 874878 w 1065158"/>
              <a:gd name="connsiteY34" fmla="*/ 906472 h 1054467"/>
              <a:gd name="connsiteX35" fmla="*/ 885449 w 1065158"/>
              <a:gd name="connsiteY35" fmla="*/ 909115 h 1054467"/>
              <a:gd name="connsiteX36" fmla="*/ 893378 w 1065158"/>
              <a:gd name="connsiteY36" fmla="*/ 911757 h 1054467"/>
              <a:gd name="connsiteX37" fmla="*/ 901306 w 1065158"/>
              <a:gd name="connsiteY37" fmla="*/ 930257 h 1054467"/>
              <a:gd name="connsiteX38" fmla="*/ 903949 w 1065158"/>
              <a:gd name="connsiteY38" fmla="*/ 938185 h 1054467"/>
              <a:gd name="connsiteX39" fmla="*/ 911877 w 1065158"/>
              <a:gd name="connsiteY39" fmla="*/ 940828 h 1054467"/>
              <a:gd name="connsiteX40" fmla="*/ 927734 w 1065158"/>
              <a:gd name="connsiteY40" fmla="*/ 951399 h 1054467"/>
              <a:gd name="connsiteX41" fmla="*/ 933019 w 1065158"/>
              <a:gd name="connsiteY41" fmla="*/ 959327 h 1054467"/>
              <a:gd name="connsiteX42" fmla="*/ 940948 w 1065158"/>
              <a:gd name="connsiteY42" fmla="*/ 961970 h 1054467"/>
              <a:gd name="connsiteX43" fmla="*/ 951519 w 1065158"/>
              <a:gd name="connsiteY43" fmla="*/ 977827 h 1054467"/>
              <a:gd name="connsiteX44" fmla="*/ 956804 w 1065158"/>
              <a:gd name="connsiteY44" fmla="*/ 993683 h 1054467"/>
              <a:gd name="connsiteX45" fmla="*/ 967375 w 1065158"/>
              <a:gd name="connsiteY45" fmla="*/ 1009540 h 1054467"/>
              <a:gd name="connsiteX46" fmla="*/ 977946 w 1065158"/>
              <a:gd name="connsiteY46" fmla="*/ 1033325 h 1054467"/>
              <a:gd name="connsiteX47" fmla="*/ 970018 w 1065158"/>
              <a:gd name="connsiteY47" fmla="*/ 1041253 h 1054467"/>
              <a:gd name="connsiteX48" fmla="*/ 954161 w 1065158"/>
              <a:gd name="connsiteY48" fmla="*/ 1046539 h 1054467"/>
              <a:gd name="connsiteX49" fmla="*/ 946233 w 1065158"/>
              <a:gd name="connsiteY49" fmla="*/ 1049182 h 1054467"/>
              <a:gd name="connsiteX50" fmla="*/ 938305 w 1065158"/>
              <a:gd name="connsiteY50" fmla="*/ 1051824 h 1054467"/>
              <a:gd name="connsiteX51" fmla="*/ 930376 w 1065158"/>
              <a:gd name="connsiteY51" fmla="*/ 1054467 h 1054467"/>
              <a:gd name="connsiteX52" fmla="*/ 795595 w 1065158"/>
              <a:gd name="connsiteY52" fmla="*/ 1051824 h 1054467"/>
              <a:gd name="connsiteX53" fmla="*/ 779738 w 1065158"/>
              <a:gd name="connsiteY53" fmla="*/ 1046539 h 1054467"/>
              <a:gd name="connsiteX54" fmla="*/ 763882 w 1065158"/>
              <a:gd name="connsiteY54" fmla="*/ 1041253 h 1054467"/>
              <a:gd name="connsiteX55" fmla="*/ 732168 w 1065158"/>
              <a:gd name="connsiteY55" fmla="*/ 1035968 h 1054467"/>
              <a:gd name="connsiteX56" fmla="*/ 666099 w 1065158"/>
              <a:gd name="connsiteY56" fmla="*/ 1030682 h 1054467"/>
              <a:gd name="connsiteX57" fmla="*/ 658171 w 1065158"/>
              <a:gd name="connsiteY57" fmla="*/ 1028039 h 1054467"/>
              <a:gd name="connsiteX58" fmla="*/ 589459 w 1065158"/>
              <a:gd name="connsiteY58" fmla="*/ 1022754 h 1054467"/>
              <a:gd name="connsiteX59" fmla="*/ 573602 w 1065158"/>
              <a:gd name="connsiteY59" fmla="*/ 1017468 h 1054467"/>
              <a:gd name="connsiteX60" fmla="*/ 565674 w 1065158"/>
              <a:gd name="connsiteY60" fmla="*/ 1014826 h 1054467"/>
              <a:gd name="connsiteX61" fmla="*/ 557745 w 1065158"/>
              <a:gd name="connsiteY61" fmla="*/ 1012183 h 1054467"/>
              <a:gd name="connsiteX62" fmla="*/ 322538 w 1065158"/>
              <a:gd name="connsiteY62" fmla="*/ 1006897 h 1054467"/>
              <a:gd name="connsiteX63" fmla="*/ 182471 w 1065158"/>
              <a:gd name="connsiteY63" fmla="*/ 1001612 h 1054467"/>
              <a:gd name="connsiteX64" fmla="*/ 174543 w 1065158"/>
              <a:gd name="connsiteY64" fmla="*/ 996326 h 1054467"/>
              <a:gd name="connsiteX65" fmla="*/ 166615 w 1065158"/>
              <a:gd name="connsiteY65" fmla="*/ 993683 h 1054467"/>
              <a:gd name="connsiteX66" fmla="*/ 142830 w 1065158"/>
              <a:gd name="connsiteY66" fmla="*/ 980469 h 1054467"/>
              <a:gd name="connsiteX67" fmla="*/ 111116 w 1065158"/>
              <a:gd name="connsiteY67" fmla="*/ 983112 h 1054467"/>
              <a:gd name="connsiteX68" fmla="*/ 95260 w 1065158"/>
              <a:gd name="connsiteY68" fmla="*/ 988398 h 1054467"/>
              <a:gd name="connsiteX69" fmla="*/ 84689 w 1065158"/>
              <a:gd name="connsiteY69" fmla="*/ 991041 h 1054467"/>
              <a:gd name="connsiteX70" fmla="*/ 5405 w 1065158"/>
              <a:gd name="connsiteY70" fmla="*/ 988398 h 1054467"/>
              <a:gd name="connsiteX71" fmla="*/ 10691 w 1065158"/>
              <a:gd name="connsiteY71" fmla="*/ 972541 h 1054467"/>
              <a:gd name="connsiteX72" fmla="*/ 8048 w 1065158"/>
              <a:gd name="connsiteY72" fmla="*/ 961970 h 1054467"/>
              <a:gd name="connsiteX73" fmla="*/ 8048 w 1065158"/>
              <a:gd name="connsiteY73" fmla="*/ 853616 h 1054467"/>
              <a:gd name="connsiteX74" fmla="*/ 18619 w 1065158"/>
              <a:gd name="connsiteY74" fmla="*/ 837760 h 1054467"/>
              <a:gd name="connsiteX75" fmla="*/ 26548 w 1065158"/>
              <a:gd name="connsiteY75" fmla="*/ 813975 h 1054467"/>
              <a:gd name="connsiteX76" fmla="*/ 29190 w 1065158"/>
              <a:gd name="connsiteY76" fmla="*/ 806046 h 1054467"/>
              <a:gd name="connsiteX77" fmla="*/ 37119 w 1065158"/>
              <a:gd name="connsiteY77" fmla="*/ 790190 h 1054467"/>
              <a:gd name="connsiteX78" fmla="*/ 42404 w 1065158"/>
              <a:gd name="connsiteY78" fmla="*/ 758476 h 1054467"/>
              <a:gd name="connsiteX79" fmla="*/ 52975 w 1065158"/>
              <a:gd name="connsiteY79" fmla="*/ 734691 h 1054467"/>
              <a:gd name="connsiteX80" fmla="*/ 58261 w 1065158"/>
              <a:gd name="connsiteY80" fmla="*/ 718835 h 1054467"/>
              <a:gd name="connsiteX81" fmla="*/ 63546 w 1065158"/>
              <a:gd name="connsiteY81" fmla="*/ 700335 h 1054467"/>
              <a:gd name="connsiteX82" fmla="*/ 66189 w 1065158"/>
              <a:gd name="connsiteY82" fmla="*/ 689764 h 1054467"/>
              <a:gd name="connsiteX83" fmla="*/ 71475 w 1065158"/>
              <a:gd name="connsiteY83" fmla="*/ 673908 h 1054467"/>
              <a:gd name="connsiteX84" fmla="*/ 76760 w 1065158"/>
              <a:gd name="connsiteY84" fmla="*/ 665979 h 1054467"/>
              <a:gd name="connsiteX85" fmla="*/ 79403 w 1065158"/>
              <a:gd name="connsiteY85" fmla="*/ 658051 h 1054467"/>
              <a:gd name="connsiteX86" fmla="*/ 87331 w 1065158"/>
              <a:gd name="connsiteY86" fmla="*/ 650123 h 1054467"/>
              <a:gd name="connsiteX87" fmla="*/ 92617 w 1065158"/>
              <a:gd name="connsiteY87" fmla="*/ 639552 h 1054467"/>
              <a:gd name="connsiteX88" fmla="*/ 108474 w 1065158"/>
              <a:gd name="connsiteY88" fmla="*/ 615767 h 1054467"/>
              <a:gd name="connsiteX89" fmla="*/ 113759 w 1065158"/>
              <a:gd name="connsiteY89" fmla="*/ 607838 h 1054467"/>
              <a:gd name="connsiteX90" fmla="*/ 132259 w 1065158"/>
              <a:gd name="connsiteY90" fmla="*/ 602553 h 1054467"/>
              <a:gd name="connsiteX91" fmla="*/ 142830 w 1065158"/>
              <a:gd name="connsiteY91" fmla="*/ 586696 h 1054467"/>
              <a:gd name="connsiteX92" fmla="*/ 150758 w 1065158"/>
              <a:gd name="connsiteY92" fmla="*/ 578768 h 1054467"/>
              <a:gd name="connsiteX93" fmla="*/ 156043 w 1065158"/>
              <a:gd name="connsiteY93" fmla="*/ 562911 h 1054467"/>
              <a:gd name="connsiteX94" fmla="*/ 166615 w 1065158"/>
              <a:gd name="connsiteY94" fmla="*/ 547054 h 1054467"/>
              <a:gd name="connsiteX95" fmla="*/ 171900 w 1065158"/>
              <a:gd name="connsiteY95" fmla="*/ 539126 h 1054467"/>
              <a:gd name="connsiteX96" fmla="*/ 177186 w 1065158"/>
              <a:gd name="connsiteY96" fmla="*/ 523269 h 1054467"/>
              <a:gd name="connsiteX97" fmla="*/ 179828 w 1065158"/>
              <a:gd name="connsiteY97" fmla="*/ 515341 h 1054467"/>
              <a:gd name="connsiteX98" fmla="*/ 185114 w 1065158"/>
              <a:gd name="connsiteY98" fmla="*/ 507413 h 1054467"/>
              <a:gd name="connsiteX99" fmla="*/ 182471 w 1065158"/>
              <a:gd name="connsiteY99" fmla="*/ 494199 h 1054467"/>
              <a:gd name="connsiteX100" fmla="*/ 179828 w 1065158"/>
              <a:gd name="connsiteY100" fmla="*/ 486271 h 1054467"/>
              <a:gd name="connsiteX101" fmla="*/ 177186 w 1065158"/>
              <a:gd name="connsiteY101" fmla="*/ 473057 h 1054467"/>
              <a:gd name="connsiteX102" fmla="*/ 171900 w 1065158"/>
              <a:gd name="connsiteY102" fmla="*/ 457200 h 1054467"/>
              <a:gd name="connsiteX103" fmla="*/ 169257 w 1065158"/>
              <a:gd name="connsiteY103" fmla="*/ 404345 h 1054467"/>
              <a:gd name="connsiteX104" fmla="*/ 166615 w 1065158"/>
              <a:gd name="connsiteY104" fmla="*/ 396416 h 1054467"/>
              <a:gd name="connsiteX105" fmla="*/ 158686 w 1065158"/>
              <a:gd name="connsiteY105" fmla="*/ 391131 h 1054467"/>
              <a:gd name="connsiteX106" fmla="*/ 145472 w 1065158"/>
              <a:gd name="connsiteY106" fmla="*/ 367346 h 1054467"/>
              <a:gd name="connsiteX107" fmla="*/ 137544 w 1065158"/>
              <a:gd name="connsiteY107" fmla="*/ 348846 h 1054467"/>
              <a:gd name="connsiteX108" fmla="*/ 132259 w 1065158"/>
              <a:gd name="connsiteY108" fmla="*/ 332990 h 1054467"/>
              <a:gd name="connsiteX109" fmla="*/ 129616 w 1065158"/>
              <a:gd name="connsiteY109" fmla="*/ 325061 h 1054467"/>
              <a:gd name="connsiteX110" fmla="*/ 126973 w 1065158"/>
              <a:gd name="connsiteY110" fmla="*/ 317133 h 1054467"/>
              <a:gd name="connsiteX111" fmla="*/ 121687 w 1065158"/>
              <a:gd name="connsiteY111" fmla="*/ 295991 h 1054467"/>
              <a:gd name="connsiteX112" fmla="*/ 124330 w 1065158"/>
              <a:gd name="connsiteY112" fmla="*/ 277491 h 1054467"/>
              <a:gd name="connsiteX113" fmla="*/ 129616 w 1065158"/>
              <a:gd name="connsiteY113" fmla="*/ 261635 h 1054467"/>
              <a:gd name="connsiteX114" fmla="*/ 134901 w 1065158"/>
              <a:gd name="connsiteY114" fmla="*/ 245778 h 1054467"/>
              <a:gd name="connsiteX115" fmla="*/ 137544 w 1065158"/>
              <a:gd name="connsiteY115" fmla="*/ 237850 h 1054467"/>
              <a:gd name="connsiteX116" fmla="*/ 142830 w 1065158"/>
              <a:gd name="connsiteY116" fmla="*/ 216708 h 1054467"/>
              <a:gd name="connsiteX117" fmla="*/ 140187 w 1065158"/>
              <a:gd name="connsiteY117" fmla="*/ 190280 h 1054467"/>
              <a:gd name="connsiteX118" fmla="*/ 129616 w 1065158"/>
              <a:gd name="connsiteY118" fmla="*/ 166495 h 1054467"/>
              <a:gd name="connsiteX119" fmla="*/ 121687 w 1065158"/>
              <a:gd name="connsiteY119" fmla="*/ 150638 h 1054467"/>
              <a:gd name="connsiteX120" fmla="*/ 119045 w 1065158"/>
              <a:gd name="connsiteY120" fmla="*/ 142710 h 1054467"/>
              <a:gd name="connsiteX121" fmla="*/ 113759 w 1065158"/>
              <a:gd name="connsiteY121" fmla="*/ 121568 h 1054467"/>
              <a:gd name="connsiteX122" fmla="*/ 108474 w 1065158"/>
              <a:gd name="connsiteY122" fmla="*/ 105711 h 1054467"/>
              <a:gd name="connsiteX123" fmla="*/ 105831 w 1065158"/>
              <a:gd name="connsiteY123" fmla="*/ 97783 h 1054467"/>
              <a:gd name="connsiteX124" fmla="*/ 103188 w 1065158"/>
              <a:gd name="connsiteY124" fmla="*/ 89854 h 1054467"/>
              <a:gd name="connsiteX125" fmla="*/ 97902 w 1065158"/>
              <a:gd name="connsiteY125" fmla="*/ 81926 h 1054467"/>
              <a:gd name="connsiteX126" fmla="*/ 87331 w 1065158"/>
              <a:gd name="connsiteY126" fmla="*/ 58141 h 1054467"/>
              <a:gd name="connsiteX127" fmla="*/ 79403 w 1065158"/>
              <a:gd name="connsiteY127" fmla="*/ 50213 h 1054467"/>
              <a:gd name="connsiteX128" fmla="*/ 71475 w 1065158"/>
              <a:gd name="connsiteY128" fmla="*/ 34356 h 1054467"/>
              <a:gd name="connsiteX129" fmla="*/ 63546 w 1065158"/>
              <a:gd name="connsiteY129" fmla="*/ 29071 h 1054467"/>
              <a:gd name="connsiteX130" fmla="*/ 60904 w 1065158"/>
              <a:gd name="connsiteY130" fmla="*/ 10571 h 1054467"/>
              <a:gd name="connsiteX131" fmla="*/ 82046 w 1065158"/>
              <a:gd name="connsiteY131" fmla="*/ 5286 h 1054467"/>
              <a:gd name="connsiteX132" fmla="*/ 97902 w 1065158"/>
              <a:gd name="connsiteY132" fmla="*/ 0 h 1054467"/>
              <a:gd name="connsiteX133" fmla="*/ 417678 w 1065158"/>
              <a:gd name="connsiteY133" fmla="*/ 2643 h 1054467"/>
              <a:gd name="connsiteX134" fmla="*/ 425606 w 1065158"/>
              <a:gd name="connsiteY134" fmla="*/ 5286 h 1054467"/>
              <a:gd name="connsiteX135" fmla="*/ 436178 w 1065158"/>
              <a:gd name="connsiteY135" fmla="*/ 21142 h 1054467"/>
              <a:gd name="connsiteX136" fmla="*/ 441463 w 1065158"/>
              <a:gd name="connsiteY136" fmla="*/ 79283 h 1054467"/>
              <a:gd name="connsiteX137" fmla="*/ 446749 w 1065158"/>
              <a:gd name="connsiteY137" fmla="*/ 95140 h 1054467"/>
              <a:gd name="connsiteX138" fmla="*/ 457320 w 1065158"/>
              <a:gd name="connsiteY138" fmla="*/ 124210 h 1054467"/>
              <a:gd name="connsiteX139" fmla="*/ 462605 w 1065158"/>
              <a:gd name="connsiteY139" fmla="*/ 145353 h 1054467"/>
              <a:gd name="connsiteX140" fmla="*/ 465248 w 1065158"/>
              <a:gd name="connsiteY140" fmla="*/ 153281 h 1054467"/>
              <a:gd name="connsiteX141" fmla="*/ 473176 w 1065158"/>
              <a:gd name="connsiteY141" fmla="*/ 161209 h 1054467"/>
              <a:gd name="connsiteX142" fmla="*/ 481105 w 1065158"/>
              <a:gd name="connsiteY142" fmla="*/ 163852 h 1054467"/>
              <a:gd name="connsiteX143" fmla="*/ 486390 w 1065158"/>
              <a:gd name="connsiteY143" fmla="*/ 171780 h 1054467"/>
              <a:gd name="connsiteX144" fmla="*/ 494319 w 1065158"/>
              <a:gd name="connsiteY144" fmla="*/ 174423 h 1054467"/>
              <a:gd name="connsiteX145" fmla="*/ 502247 w 1065158"/>
              <a:gd name="connsiteY145" fmla="*/ 179709 h 1054467"/>
              <a:gd name="connsiteX146" fmla="*/ 510175 w 1065158"/>
              <a:gd name="connsiteY146" fmla="*/ 182352 h 1054467"/>
              <a:gd name="connsiteX147" fmla="*/ 518104 w 1065158"/>
              <a:gd name="connsiteY147" fmla="*/ 187637 h 1054467"/>
              <a:gd name="connsiteX148" fmla="*/ 539246 w 1065158"/>
              <a:gd name="connsiteY148" fmla="*/ 192923 h 1054467"/>
              <a:gd name="connsiteX149" fmla="*/ 581530 w 1065158"/>
              <a:gd name="connsiteY149" fmla="*/ 190280 h 1054467"/>
              <a:gd name="connsiteX150" fmla="*/ 597387 w 1065158"/>
              <a:gd name="connsiteY150" fmla="*/ 184994 h 1054467"/>
              <a:gd name="connsiteX151" fmla="*/ 642314 w 1065158"/>
              <a:gd name="connsiteY151" fmla="*/ 182352 h 1054467"/>
              <a:gd name="connsiteX152" fmla="*/ 658171 w 1065158"/>
              <a:gd name="connsiteY152" fmla="*/ 174423 h 1054467"/>
              <a:gd name="connsiteX153" fmla="*/ 676670 w 1065158"/>
              <a:gd name="connsiteY153" fmla="*/ 155924 h 1054467"/>
              <a:gd name="connsiteX154" fmla="*/ 681956 w 1065158"/>
              <a:gd name="connsiteY154" fmla="*/ 147995 h 1054467"/>
              <a:gd name="connsiteX155" fmla="*/ 687241 w 1065158"/>
              <a:gd name="connsiteY155" fmla="*/ 108354 h 1054467"/>
              <a:gd name="connsiteX156" fmla="*/ 695169 w 1065158"/>
              <a:gd name="connsiteY156" fmla="*/ 103068 h 1054467"/>
              <a:gd name="connsiteX157" fmla="*/ 766524 w 1065158"/>
              <a:gd name="connsiteY157" fmla="*/ 105711 h 1054467"/>
              <a:gd name="connsiteX158" fmla="*/ 774453 w 1065158"/>
              <a:gd name="connsiteY158" fmla="*/ 124210 h 1054467"/>
              <a:gd name="connsiteX159" fmla="*/ 845808 w 1065158"/>
              <a:gd name="connsiteY159" fmla="*/ 126853 h 1054467"/>
              <a:gd name="connsiteX160" fmla="*/ 885449 w 1065158"/>
              <a:gd name="connsiteY160" fmla="*/ 126853 h 1054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1065158" h="1054467">
                <a:moveTo>
                  <a:pt x="885449" y="126853"/>
                </a:moveTo>
                <a:cubicBezTo>
                  <a:pt x="892496" y="164292"/>
                  <a:pt x="884613" y="276686"/>
                  <a:pt x="888092" y="351489"/>
                </a:cubicBezTo>
                <a:cubicBezTo>
                  <a:pt x="888221" y="354272"/>
                  <a:pt x="893528" y="352886"/>
                  <a:pt x="896020" y="354132"/>
                </a:cubicBezTo>
                <a:cubicBezTo>
                  <a:pt x="916513" y="364378"/>
                  <a:pt x="891950" y="355417"/>
                  <a:pt x="911877" y="362060"/>
                </a:cubicBezTo>
                <a:cubicBezTo>
                  <a:pt x="918238" y="381143"/>
                  <a:pt x="911325" y="358462"/>
                  <a:pt x="917163" y="396416"/>
                </a:cubicBezTo>
                <a:cubicBezTo>
                  <a:pt x="917587" y="399169"/>
                  <a:pt x="917835" y="402375"/>
                  <a:pt x="919805" y="404345"/>
                </a:cubicBezTo>
                <a:cubicBezTo>
                  <a:pt x="921775" y="406315"/>
                  <a:pt x="925091" y="406106"/>
                  <a:pt x="927734" y="406987"/>
                </a:cubicBezTo>
                <a:cubicBezTo>
                  <a:pt x="932005" y="419806"/>
                  <a:pt x="931529" y="414437"/>
                  <a:pt x="927734" y="433415"/>
                </a:cubicBezTo>
                <a:cubicBezTo>
                  <a:pt x="927188" y="436147"/>
                  <a:pt x="926831" y="439168"/>
                  <a:pt x="925091" y="441343"/>
                </a:cubicBezTo>
                <a:cubicBezTo>
                  <a:pt x="923107" y="443823"/>
                  <a:pt x="919603" y="444596"/>
                  <a:pt x="917163" y="446629"/>
                </a:cubicBezTo>
                <a:cubicBezTo>
                  <a:pt x="914292" y="449022"/>
                  <a:pt x="911877" y="451914"/>
                  <a:pt x="909234" y="454557"/>
                </a:cubicBezTo>
                <a:cubicBezTo>
                  <a:pt x="910115" y="458962"/>
                  <a:pt x="907452" y="467001"/>
                  <a:pt x="911877" y="467771"/>
                </a:cubicBezTo>
                <a:cubicBezTo>
                  <a:pt x="962699" y="476610"/>
                  <a:pt x="953063" y="469595"/>
                  <a:pt x="977946" y="462486"/>
                </a:cubicBezTo>
                <a:cubicBezTo>
                  <a:pt x="981438" y="461488"/>
                  <a:pt x="985038" y="460887"/>
                  <a:pt x="988517" y="459843"/>
                </a:cubicBezTo>
                <a:cubicBezTo>
                  <a:pt x="993854" y="458242"/>
                  <a:pt x="1004374" y="454557"/>
                  <a:pt x="1004374" y="454557"/>
                </a:cubicBezTo>
                <a:cubicBezTo>
                  <a:pt x="1019350" y="455438"/>
                  <a:pt x="1034374" y="455707"/>
                  <a:pt x="1049301" y="457200"/>
                </a:cubicBezTo>
                <a:cubicBezTo>
                  <a:pt x="1052073" y="457477"/>
                  <a:pt x="1055490" y="457668"/>
                  <a:pt x="1057230" y="459843"/>
                </a:cubicBezTo>
                <a:cubicBezTo>
                  <a:pt x="1059499" y="462679"/>
                  <a:pt x="1059084" y="466868"/>
                  <a:pt x="1059872" y="470414"/>
                </a:cubicBezTo>
                <a:cubicBezTo>
                  <a:pt x="1064122" y="489541"/>
                  <a:pt x="1060437" y="477394"/>
                  <a:pt x="1065158" y="491556"/>
                </a:cubicBezTo>
                <a:cubicBezTo>
                  <a:pt x="1064277" y="527674"/>
                  <a:pt x="1064156" y="563819"/>
                  <a:pt x="1062515" y="599910"/>
                </a:cubicBezTo>
                <a:cubicBezTo>
                  <a:pt x="1062388" y="602693"/>
                  <a:pt x="1061118" y="605346"/>
                  <a:pt x="1059872" y="607838"/>
                </a:cubicBezTo>
                <a:cubicBezTo>
                  <a:pt x="1058452" y="610679"/>
                  <a:pt x="1056977" y="613675"/>
                  <a:pt x="1054587" y="615767"/>
                </a:cubicBezTo>
                <a:cubicBezTo>
                  <a:pt x="1041977" y="626801"/>
                  <a:pt x="1037843" y="626633"/>
                  <a:pt x="1022874" y="631623"/>
                </a:cubicBezTo>
                <a:cubicBezTo>
                  <a:pt x="1020231" y="632504"/>
                  <a:pt x="1017730" y="634196"/>
                  <a:pt x="1014945" y="634266"/>
                </a:cubicBezTo>
                <a:lnTo>
                  <a:pt x="909234" y="636909"/>
                </a:lnTo>
                <a:cubicBezTo>
                  <a:pt x="903068" y="637790"/>
                  <a:pt x="896701" y="637762"/>
                  <a:pt x="890735" y="639552"/>
                </a:cubicBezTo>
                <a:cubicBezTo>
                  <a:pt x="887693" y="640465"/>
                  <a:pt x="882806" y="641661"/>
                  <a:pt x="882806" y="644837"/>
                </a:cubicBezTo>
                <a:cubicBezTo>
                  <a:pt x="882806" y="648013"/>
                  <a:pt x="888092" y="648361"/>
                  <a:pt x="890735" y="650123"/>
                </a:cubicBezTo>
                <a:cubicBezTo>
                  <a:pt x="891616" y="652766"/>
                  <a:pt x="893378" y="655265"/>
                  <a:pt x="893378" y="658051"/>
                </a:cubicBezTo>
                <a:cubicBezTo>
                  <a:pt x="893378" y="664430"/>
                  <a:pt x="890178" y="672937"/>
                  <a:pt x="888092" y="679193"/>
                </a:cubicBezTo>
                <a:cubicBezTo>
                  <a:pt x="887211" y="730287"/>
                  <a:pt x="886974" y="781395"/>
                  <a:pt x="885449" y="832474"/>
                </a:cubicBezTo>
                <a:cubicBezTo>
                  <a:pt x="885202" y="840752"/>
                  <a:pt x="882110" y="862384"/>
                  <a:pt x="880164" y="872116"/>
                </a:cubicBezTo>
                <a:cubicBezTo>
                  <a:pt x="879452" y="875678"/>
                  <a:pt x="878565" y="879208"/>
                  <a:pt x="877521" y="882687"/>
                </a:cubicBezTo>
                <a:cubicBezTo>
                  <a:pt x="875920" y="888023"/>
                  <a:pt x="872235" y="898543"/>
                  <a:pt x="872235" y="898543"/>
                </a:cubicBezTo>
                <a:cubicBezTo>
                  <a:pt x="873116" y="901186"/>
                  <a:pt x="872703" y="904732"/>
                  <a:pt x="874878" y="906472"/>
                </a:cubicBezTo>
                <a:cubicBezTo>
                  <a:pt x="877714" y="908741"/>
                  <a:pt x="881957" y="908117"/>
                  <a:pt x="885449" y="909115"/>
                </a:cubicBezTo>
                <a:cubicBezTo>
                  <a:pt x="888128" y="909880"/>
                  <a:pt x="890735" y="910876"/>
                  <a:pt x="893378" y="911757"/>
                </a:cubicBezTo>
                <a:cubicBezTo>
                  <a:pt x="898875" y="933752"/>
                  <a:pt x="892182" y="912010"/>
                  <a:pt x="901306" y="930257"/>
                </a:cubicBezTo>
                <a:cubicBezTo>
                  <a:pt x="902552" y="932749"/>
                  <a:pt x="901979" y="936215"/>
                  <a:pt x="903949" y="938185"/>
                </a:cubicBezTo>
                <a:cubicBezTo>
                  <a:pt x="905919" y="940155"/>
                  <a:pt x="909442" y="939475"/>
                  <a:pt x="911877" y="940828"/>
                </a:cubicBezTo>
                <a:cubicBezTo>
                  <a:pt x="917430" y="943913"/>
                  <a:pt x="927734" y="951399"/>
                  <a:pt x="927734" y="951399"/>
                </a:cubicBezTo>
                <a:cubicBezTo>
                  <a:pt x="929496" y="954042"/>
                  <a:pt x="930539" y="957343"/>
                  <a:pt x="933019" y="959327"/>
                </a:cubicBezTo>
                <a:cubicBezTo>
                  <a:pt x="935194" y="961067"/>
                  <a:pt x="938978" y="960000"/>
                  <a:pt x="940948" y="961970"/>
                </a:cubicBezTo>
                <a:cubicBezTo>
                  <a:pt x="945440" y="966462"/>
                  <a:pt x="951519" y="977827"/>
                  <a:pt x="951519" y="977827"/>
                </a:cubicBezTo>
                <a:cubicBezTo>
                  <a:pt x="953281" y="983112"/>
                  <a:pt x="953714" y="989047"/>
                  <a:pt x="956804" y="993683"/>
                </a:cubicBezTo>
                <a:cubicBezTo>
                  <a:pt x="960328" y="998969"/>
                  <a:pt x="965366" y="1003514"/>
                  <a:pt x="967375" y="1009540"/>
                </a:cubicBezTo>
                <a:cubicBezTo>
                  <a:pt x="973665" y="1028410"/>
                  <a:pt x="969571" y="1020761"/>
                  <a:pt x="977946" y="1033325"/>
                </a:cubicBezTo>
                <a:cubicBezTo>
                  <a:pt x="975303" y="1035968"/>
                  <a:pt x="973285" y="1039438"/>
                  <a:pt x="970018" y="1041253"/>
                </a:cubicBezTo>
                <a:cubicBezTo>
                  <a:pt x="965148" y="1043959"/>
                  <a:pt x="959447" y="1044777"/>
                  <a:pt x="954161" y="1046539"/>
                </a:cubicBezTo>
                <a:lnTo>
                  <a:pt x="946233" y="1049182"/>
                </a:lnTo>
                <a:lnTo>
                  <a:pt x="938305" y="1051824"/>
                </a:lnTo>
                <a:lnTo>
                  <a:pt x="930376" y="1054467"/>
                </a:lnTo>
                <a:cubicBezTo>
                  <a:pt x="885449" y="1053586"/>
                  <a:pt x="840469" y="1054186"/>
                  <a:pt x="795595" y="1051824"/>
                </a:cubicBezTo>
                <a:cubicBezTo>
                  <a:pt x="790031" y="1051531"/>
                  <a:pt x="785024" y="1048301"/>
                  <a:pt x="779738" y="1046539"/>
                </a:cubicBezTo>
                <a:lnTo>
                  <a:pt x="763882" y="1041253"/>
                </a:lnTo>
                <a:cubicBezTo>
                  <a:pt x="746421" y="1036887"/>
                  <a:pt x="756915" y="1039060"/>
                  <a:pt x="732168" y="1035968"/>
                </a:cubicBezTo>
                <a:cubicBezTo>
                  <a:pt x="704643" y="1026792"/>
                  <a:pt x="735330" y="1036221"/>
                  <a:pt x="666099" y="1030682"/>
                </a:cubicBezTo>
                <a:cubicBezTo>
                  <a:pt x="663322" y="1030460"/>
                  <a:pt x="660942" y="1028326"/>
                  <a:pt x="658171" y="1028039"/>
                </a:cubicBezTo>
                <a:cubicBezTo>
                  <a:pt x="635321" y="1025675"/>
                  <a:pt x="589459" y="1022754"/>
                  <a:pt x="589459" y="1022754"/>
                </a:cubicBezTo>
                <a:lnTo>
                  <a:pt x="573602" y="1017468"/>
                </a:lnTo>
                <a:lnTo>
                  <a:pt x="565674" y="1014826"/>
                </a:lnTo>
                <a:lnTo>
                  <a:pt x="557745" y="1012183"/>
                </a:lnTo>
                <a:cubicBezTo>
                  <a:pt x="477936" y="985578"/>
                  <a:pt x="552744" y="1009574"/>
                  <a:pt x="322538" y="1006897"/>
                </a:cubicBezTo>
                <a:cubicBezTo>
                  <a:pt x="271688" y="989945"/>
                  <a:pt x="335241" y="1010259"/>
                  <a:pt x="182471" y="1001612"/>
                </a:cubicBezTo>
                <a:cubicBezTo>
                  <a:pt x="179300" y="1001433"/>
                  <a:pt x="177384" y="997747"/>
                  <a:pt x="174543" y="996326"/>
                </a:cubicBezTo>
                <a:cubicBezTo>
                  <a:pt x="172052" y="995080"/>
                  <a:pt x="169050" y="995036"/>
                  <a:pt x="166615" y="993683"/>
                </a:cubicBezTo>
                <a:cubicBezTo>
                  <a:pt x="139353" y="978538"/>
                  <a:pt x="160769" y="986449"/>
                  <a:pt x="142830" y="980469"/>
                </a:cubicBezTo>
                <a:cubicBezTo>
                  <a:pt x="132259" y="981350"/>
                  <a:pt x="121580" y="981368"/>
                  <a:pt x="111116" y="983112"/>
                </a:cubicBezTo>
                <a:cubicBezTo>
                  <a:pt x="105621" y="984028"/>
                  <a:pt x="100665" y="987047"/>
                  <a:pt x="95260" y="988398"/>
                </a:cubicBezTo>
                <a:lnTo>
                  <a:pt x="84689" y="991041"/>
                </a:lnTo>
                <a:cubicBezTo>
                  <a:pt x="58261" y="990160"/>
                  <a:pt x="31058" y="994811"/>
                  <a:pt x="5405" y="988398"/>
                </a:cubicBezTo>
                <a:cubicBezTo>
                  <a:pt x="0" y="987047"/>
                  <a:pt x="10691" y="972541"/>
                  <a:pt x="10691" y="972541"/>
                </a:cubicBezTo>
                <a:cubicBezTo>
                  <a:pt x="9810" y="969017"/>
                  <a:pt x="8600" y="965560"/>
                  <a:pt x="8048" y="961970"/>
                </a:cubicBezTo>
                <a:cubicBezTo>
                  <a:pt x="2685" y="927113"/>
                  <a:pt x="3760" y="886201"/>
                  <a:pt x="8048" y="853616"/>
                </a:cubicBezTo>
                <a:cubicBezTo>
                  <a:pt x="8877" y="847318"/>
                  <a:pt x="16610" y="843786"/>
                  <a:pt x="18619" y="837760"/>
                </a:cubicBezTo>
                <a:lnTo>
                  <a:pt x="26548" y="813975"/>
                </a:lnTo>
                <a:cubicBezTo>
                  <a:pt x="27429" y="811332"/>
                  <a:pt x="27645" y="808364"/>
                  <a:pt x="29190" y="806046"/>
                </a:cubicBezTo>
                <a:cubicBezTo>
                  <a:pt x="34980" y="797361"/>
                  <a:pt x="34384" y="799762"/>
                  <a:pt x="37119" y="790190"/>
                </a:cubicBezTo>
                <a:cubicBezTo>
                  <a:pt x="44131" y="765646"/>
                  <a:pt x="34133" y="797073"/>
                  <a:pt x="42404" y="758476"/>
                </a:cubicBezTo>
                <a:cubicBezTo>
                  <a:pt x="48914" y="728100"/>
                  <a:pt x="44475" y="753816"/>
                  <a:pt x="52975" y="734691"/>
                </a:cubicBezTo>
                <a:cubicBezTo>
                  <a:pt x="55238" y="729600"/>
                  <a:pt x="56910" y="724240"/>
                  <a:pt x="58261" y="718835"/>
                </a:cubicBezTo>
                <a:cubicBezTo>
                  <a:pt x="66523" y="685790"/>
                  <a:pt x="55964" y="726875"/>
                  <a:pt x="63546" y="700335"/>
                </a:cubicBezTo>
                <a:cubicBezTo>
                  <a:pt x="64544" y="696843"/>
                  <a:pt x="65145" y="693243"/>
                  <a:pt x="66189" y="689764"/>
                </a:cubicBezTo>
                <a:cubicBezTo>
                  <a:pt x="67790" y="684428"/>
                  <a:pt x="68385" y="678544"/>
                  <a:pt x="71475" y="673908"/>
                </a:cubicBezTo>
                <a:cubicBezTo>
                  <a:pt x="73237" y="671265"/>
                  <a:pt x="75340" y="668820"/>
                  <a:pt x="76760" y="665979"/>
                </a:cubicBezTo>
                <a:cubicBezTo>
                  <a:pt x="78006" y="663487"/>
                  <a:pt x="77858" y="660369"/>
                  <a:pt x="79403" y="658051"/>
                </a:cubicBezTo>
                <a:cubicBezTo>
                  <a:pt x="81476" y="654941"/>
                  <a:pt x="85159" y="653164"/>
                  <a:pt x="87331" y="650123"/>
                </a:cubicBezTo>
                <a:cubicBezTo>
                  <a:pt x="89621" y="646917"/>
                  <a:pt x="90590" y="642930"/>
                  <a:pt x="92617" y="639552"/>
                </a:cubicBezTo>
                <a:cubicBezTo>
                  <a:pt x="92642" y="639510"/>
                  <a:pt x="105818" y="619751"/>
                  <a:pt x="108474" y="615767"/>
                </a:cubicBezTo>
                <a:cubicBezTo>
                  <a:pt x="110236" y="613124"/>
                  <a:pt x="110746" y="608843"/>
                  <a:pt x="113759" y="607838"/>
                </a:cubicBezTo>
                <a:cubicBezTo>
                  <a:pt x="125133" y="604046"/>
                  <a:pt x="118984" y="605870"/>
                  <a:pt x="132259" y="602553"/>
                </a:cubicBezTo>
                <a:cubicBezTo>
                  <a:pt x="157555" y="577254"/>
                  <a:pt x="127528" y="609648"/>
                  <a:pt x="142830" y="586696"/>
                </a:cubicBezTo>
                <a:cubicBezTo>
                  <a:pt x="144903" y="583586"/>
                  <a:pt x="148115" y="581411"/>
                  <a:pt x="150758" y="578768"/>
                </a:cubicBezTo>
                <a:cubicBezTo>
                  <a:pt x="152520" y="573482"/>
                  <a:pt x="152952" y="567547"/>
                  <a:pt x="156043" y="562911"/>
                </a:cubicBezTo>
                <a:lnTo>
                  <a:pt x="166615" y="547054"/>
                </a:lnTo>
                <a:cubicBezTo>
                  <a:pt x="168377" y="544411"/>
                  <a:pt x="170896" y="542139"/>
                  <a:pt x="171900" y="539126"/>
                </a:cubicBezTo>
                <a:lnTo>
                  <a:pt x="177186" y="523269"/>
                </a:lnTo>
                <a:cubicBezTo>
                  <a:pt x="178067" y="520626"/>
                  <a:pt x="178283" y="517659"/>
                  <a:pt x="179828" y="515341"/>
                </a:cubicBezTo>
                <a:lnTo>
                  <a:pt x="185114" y="507413"/>
                </a:lnTo>
                <a:cubicBezTo>
                  <a:pt x="184233" y="503008"/>
                  <a:pt x="183561" y="498557"/>
                  <a:pt x="182471" y="494199"/>
                </a:cubicBezTo>
                <a:cubicBezTo>
                  <a:pt x="181795" y="491497"/>
                  <a:pt x="180504" y="488973"/>
                  <a:pt x="179828" y="486271"/>
                </a:cubicBezTo>
                <a:cubicBezTo>
                  <a:pt x="178739" y="481913"/>
                  <a:pt x="178368" y="477391"/>
                  <a:pt x="177186" y="473057"/>
                </a:cubicBezTo>
                <a:cubicBezTo>
                  <a:pt x="175720" y="467682"/>
                  <a:pt x="171900" y="457200"/>
                  <a:pt x="171900" y="457200"/>
                </a:cubicBezTo>
                <a:cubicBezTo>
                  <a:pt x="171019" y="439582"/>
                  <a:pt x="170785" y="421919"/>
                  <a:pt x="169257" y="404345"/>
                </a:cubicBezTo>
                <a:cubicBezTo>
                  <a:pt x="169016" y="401570"/>
                  <a:pt x="168355" y="398591"/>
                  <a:pt x="166615" y="396416"/>
                </a:cubicBezTo>
                <a:cubicBezTo>
                  <a:pt x="164631" y="393936"/>
                  <a:pt x="161329" y="392893"/>
                  <a:pt x="158686" y="391131"/>
                </a:cubicBezTo>
                <a:cubicBezTo>
                  <a:pt x="152219" y="371728"/>
                  <a:pt x="157341" y="379213"/>
                  <a:pt x="145472" y="367346"/>
                </a:cubicBezTo>
                <a:cubicBezTo>
                  <a:pt x="138484" y="339387"/>
                  <a:pt x="147972" y="372309"/>
                  <a:pt x="137544" y="348846"/>
                </a:cubicBezTo>
                <a:cubicBezTo>
                  <a:pt x="135281" y="343755"/>
                  <a:pt x="134021" y="338275"/>
                  <a:pt x="132259" y="332990"/>
                </a:cubicBezTo>
                <a:lnTo>
                  <a:pt x="129616" y="325061"/>
                </a:lnTo>
                <a:cubicBezTo>
                  <a:pt x="128735" y="322418"/>
                  <a:pt x="127519" y="319865"/>
                  <a:pt x="126973" y="317133"/>
                </a:cubicBezTo>
                <a:cubicBezTo>
                  <a:pt x="123784" y="301187"/>
                  <a:pt x="125751" y="308180"/>
                  <a:pt x="121687" y="295991"/>
                </a:cubicBezTo>
                <a:cubicBezTo>
                  <a:pt x="122568" y="289824"/>
                  <a:pt x="122929" y="283561"/>
                  <a:pt x="124330" y="277491"/>
                </a:cubicBezTo>
                <a:cubicBezTo>
                  <a:pt x="125583" y="272062"/>
                  <a:pt x="127854" y="266920"/>
                  <a:pt x="129616" y="261635"/>
                </a:cubicBezTo>
                <a:lnTo>
                  <a:pt x="134901" y="245778"/>
                </a:lnTo>
                <a:cubicBezTo>
                  <a:pt x="135782" y="243135"/>
                  <a:pt x="136868" y="240552"/>
                  <a:pt x="137544" y="237850"/>
                </a:cubicBezTo>
                <a:lnTo>
                  <a:pt x="142830" y="216708"/>
                </a:lnTo>
                <a:cubicBezTo>
                  <a:pt x="141949" y="207899"/>
                  <a:pt x="141819" y="198982"/>
                  <a:pt x="140187" y="190280"/>
                </a:cubicBezTo>
                <a:cubicBezTo>
                  <a:pt x="136096" y="168464"/>
                  <a:pt x="136738" y="180738"/>
                  <a:pt x="129616" y="166495"/>
                </a:cubicBezTo>
                <a:cubicBezTo>
                  <a:pt x="118676" y="144615"/>
                  <a:pt x="136834" y="173358"/>
                  <a:pt x="121687" y="150638"/>
                </a:cubicBezTo>
                <a:cubicBezTo>
                  <a:pt x="120806" y="147995"/>
                  <a:pt x="119778" y="145397"/>
                  <a:pt x="119045" y="142710"/>
                </a:cubicBezTo>
                <a:cubicBezTo>
                  <a:pt x="117134" y="135702"/>
                  <a:pt x="116056" y="128460"/>
                  <a:pt x="113759" y="121568"/>
                </a:cubicBezTo>
                <a:lnTo>
                  <a:pt x="108474" y="105711"/>
                </a:lnTo>
                <a:lnTo>
                  <a:pt x="105831" y="97783"/>
                </a:lnTo>
                <a:cubicBezTo>
                  <a:pt x="104950" y="95140"/>
                  <a:pt x="104734" y="92172"/>
                  <a:pt x="103188" y="89854"/>
                </a:cubicBezTo>
                <a:lnTo>
                  <a:pt x="97902" y="81926"/>
                </a:lnTo>
                <a:cubicBezTo>
                  <a:pt x="94060" y="70399"/>
                  <a:pt x="94313" y="66518"/>
                  <a:pt x="87331" y="58141"/>
                </a:cubicBezTo>
                <a:cubicBezTo>
                  <a:pt x="84938" y="55270"/>
                  <a:pt x="82046" y="52856"/>
                  <a:pt x="79403" y="50213"/>
                </a:cubicBezTo>
                <a:cubicBezTo>
                  <a:pt x="77254" y="43766"/>
                  <a:pt x="76597" y="39478"/>
                  <a:pt x="71475" y="34356"/>
                </a:cubicBezTo>
                <a:cubicBezTo>
                  <a:pt x="69229" y="32110"/>
                  <a:pt x="66189" y="30833"/>
                  <a:pt x="63546" y="29071"/>
                </a:cubicBezTo>
                <a:cubicBezTo>
                  <a:pt x="60838" y="25008"/>
                  <a:pt x="52240" y="16347"/>
                  <a:pt x="60904" y="10571"/>
                </a:cubicBezTo>
                <a:cubicBezTo>
                  <a:pt x="66948" y="6542"/>
                  <a:pt x="75155" y="7583"/>
                  <a:pt x="82046" y="5286"/>
                </a:cubicBezTo>
                <a:lnTo>
                  <a:pt x="97902" y="0"/>
                </a:lnTo>
                <a:lnTo>
                  <a:pt x="417678" y="2643"/>
                </a:lnTo>
                <a:cubicBezTo>
                  <a:pt x="420463" y="2688"/>
                  <a:pt x="423636" y="3316"/>
                  <a:pt x="425606" y="5286"/>
                </a:cubicBezTo>
                <a:cubicBezTo>
                  <a:pt x="430098" y="9778"/>
                  <a:pt x="436178" y="21142"/>
                  <a:pt x="436178" y="21142"/>
                </a:cubicBezTo>
                <a:cubicBezTo>
                  <a:pt x="445046" y="47756"/>
                  <a:pt x="433093" y="9542"/>
                  <a:pt x="441463" y="79283"/>
                </a:cubicBezTo>
                <a:cubicBezTo>
                  <a:pt x="442127" y="84815"/>
                  <a:pt x="445398" y="89735"/>
                  <a:pt x="446749" y="95140"/>
                </a:cubicBezTo>
                <a:cubicBezTo>
                  <a:pt x="452804" y="119363"/>
                  <a:pt x="448004" y="110238"/>
                  <a:pt x="457320" y="124210"/>
                </a:cubicBezTo>
                <a:cubicBezTo>
                  <a:pt x="459082" y="131258"/>
                  <a:pt x="460308" y="138461"/>
                  <a:pt x="462605" y="145353"/>
                </a:cubicBezTo>
                <a:cubicBezTo>
                  <a:pt x="463486" y="147996"/>
                  <a:pt x="463703" y="150963"/>
                  <a:pt x="465248" y="153281"/>
                </a:cubicBezTo>
                <a:cubicBezTo>
                  <a:pt x="467321" y="156391"/>
                  <a:pt x="470066" y="159136"/>
                  <a:pt x="473176" y="161209"/>
                </a:cubicBezTo>
                <a:cubicBezTo>
                  <a:pt x="475494" y="162754"/>
                  <a:pt x="478462" y="162971"/>
                  <a:pt x="481105" y="163852"/>
                </a:cubicBezTo>
                <a:cubicBezTo>
                  <a:pt x="482867" y="166495"/>
                  <a:pt x="483910" y="169796"/>
                  <a:pt x="486390" y="171780"/>
                </a:cubicBezTo>
                <a:cubicBezTo>
                  <a:pt x="488565" y="173520"/>
                  <a:pt x="491827" y="173177"/>
                  <a:pt x="494319" y="174423"/>
                </a:cubicBezTo>
                <a:cubicBezTo>
                  <a:pt x="497160" y="175844"/>
                  <a:pt x="499406" y="178288"/>
                  <a:pt x="502247" y="179709"/>
                </a:cubicBezTo>
                <a:cubicBezTo>
                  <a:pt x="504738" y="180955"/>
                  <a:pt x="507683" y="181106"/>
                  <a:pt x="510175" y="182352"/>
                </a:cubicBezTo>
                <a:cubicBezTo>
                  <a:pt x="513016" y="183772"/>
                  <a:pt x="515119" y="186552"/>
                  <a:pt x="518104" y="187637"/>
                </a:cubicBezTo>
                <a:cubicBezTo>
                  <a:pt x="524931" y="190119"/>
                  <a:pt x="539246" y="192923"/>
                  <a:pt x="539246" y="192923"/>
                </a:cubicBezTo>
                <a:cubicBezTo>
                  <a:pt x="553341" y="192042"/>
                  <a:pt x="567537" y="192188"/>
                  <a:pt x="581530" y="190280"/>
                </a:cubicBezTo>
                <a:cubicBezTo>
                  <a:pt x="587051" y="189527"/>
                  <a:pt x="591825" y="185321"/>
                  <a:pt x="597387" y="184994"/>
                </a:cubicBezTo>
                <a:lnTo>
                  <a:pt x="642314" y="182352"/>
                </a:lnTo>
                <a:cubicBezTo>
                  <a:pt x="647969" y="180467"/>
                  <a:pt x="653952" y="179245"/>
                  <a:pt x="658171" y="174423"/>
                </a:cubicBezTo>
                <a:cubicBezTo>
                  <a:pt x="675633" y="154467"/>
                  <a:pt x="660371" y="161358"/>
                  <a:pt x="676670" y="155924"/>
                </a:cubicBezTo>
                <a:cubicBezTo>
                  <a:pt x="678432" y="153281"/>
                  <a:pt x="680841" y="150969"/>
                  <a:pt x="681956" y="147995"/>
                </a:cubicBezTo>
                <a:cubicBezTo>
                  <a:pt x="688591" y="130302"/>
                  <a:pt x="679702" y="130971"/>
                  <a:pt x="687241" y="108354"/>
                </a:cubicBezTo>
                <a:cubicBezTo>
                  <a:pt x="688245" y="105341"/>
                  <a:pt x="692526" y="104830"/>
                  <a:pt x="695169" y="103068"/>
                </a:cubicBezTo>
                <a:cubicBezTo>
                  <a:pt x="718954" y="103949"/>
                  <a:pt x="742946" y="102459"/>
                  <a:pt x="766524" y="105711"/>
                </a:cubicBezTo>
                <a:cubicBezTo>
                  <a:pt x="809812" y="111682"/>
                  <a:pt x="729887" y="116252"/>
                  <a:pt x="774453" y="124210"/>
                </a:cubicBezTo>
                <a:cubicBezTo>
                  <a:pt x="797884" y="128394"/>
                  <a:pt x="822035" y="125693"/>
                  <a:pt x="845808" y="126853"/>
                </a:cubicBezTo>
                <a:cubicBezTo>
                  <a:pt x="902558" y="129622"/>
                  <a:pt x="878402" y="89414"/>
                  <a:pt x="885449" y="126853"/>
                </a:cubicBezTo>
                <a:close/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40" name="Freeform 39"/>
          <p:cNvSpPr/>
          <p:nvPr/>
        </p:nvSpPr>
        <p:spPr>
          <a:xfrm>
            <a:off x="3984631" y="3244851"/>
            <a:ext cx="1635125" cy="1653116"/>
          </a:xfrm>
          <a:custGeom>
            <a:avLst/>
            <a:gdLst>
              <a:gd name="connsiteX0" fmla="*/ 0 w 1635205"/>
              <a:gd name="connsiteY0" fmla="*/ 994678 h 1653119"/>
              <a:gd name="connsiteX1" fmla="*/ 5286 w 1635205"/>
              <a:gd name="connsiteY1" fmla="*/ 970893 h 1653119"/>
              <a:gd name="connsiteX2" fmla="*/ 10571 w 1635205"/>
              <a:gd name="connsiteY2" fmla="*/ 955037 h 1653119"/>
              <a:gd name="connsiteX3" fmla="*/ 13214 w 1635205"/>
              <a:gd name="connsiteY3" fmla="*/ 947108 h 1653119"/>
              <a:gd name="connsiteX4" fmla="*/ 15857 w 1635205"/>
              <a:gd name="connsiteY4" fmla="*/ 902181 h 1653119"/>
              <a:gd name="connsiteX5" fmla="*/ 23785 w 1635205"/>
              <a:gd name="connsiteY5" fmla="*/ 896896 h 1653119"/>
              <a:gd name="connsiteX6" fmla="*/ 42284 w 1635205"/>
              <a:gd name="connsiteY6" fmla="*/ 888967 h 1653119"/>
              <a:gd name="connsiteX7" fmla="*/ 118925 w 1635205"/>
              <a:gd name="connsiteY7" fmla="*/ 886325 h 1653119"/>
              <a:gd name="connsiteX8" fmla="*/ 124210 w 1635205"/>
              <a:gd name="connsiteY8" fmla="*/ 878396 h 1653119"/>
              <a:gd name="connsiteX9" fmla="*/ 140067 w 1635205"/>
              <a:gd name="connsiteY9" fmla="*/ 867825 h 1653119"/>
              <a:gd name="connsiteX10" fmla="*/ 142710 w 1635205"/>
              <a:gd name="connsiteY10" fmla="*/ 859897 h 1653119"/>
              <a:gd name="connsiteX11" fmla="*/ 158567 w 1635205"/>
              <a:gd name="connsiteY11" fmla="*/ 854611 h 1653119"/>
              <a:gd name="connsiteX12" fmla="*/ 169138 w 1635205"/>
              <a:gd name="connsiteY12" fmla="*/ 894253 h 1653119"/>
              <a:gd name="connsiteX13" fmla="*/ 190280 w 1635205"/>
              <a:gd name="connsiteY13" fmla="*/ 912752 h 1653119"/>
              <a:gd name="connsiteX14" fmla="*/ 221993 w 1635205"/>
              <a:gd name="connsiteY14" fmla="*/ 910110 h 1653119"/>
              <a:gd name="connsiteX15" fmla="*/ 232564 w 1635205"/>
              <a:gd name="connsiteY15" fmla="*/ 894253 h 1653119"/>
              <a:gd name="connsiteX16" fmla="*/ 237850 w 1635205"/>
              <a:gd name="connsiteY16" fmla="*/ 886325 h 1653119"/>
              <a:gd name="connsiteX17" fmla="*/ 243135 w 1635205"/>
              <a:gd name="connsiteY17" fmla="*/ 867825 h 1653119"/>
              <a:gd name="connsiteX18" fmla="*/ 245778 w 1635205"/>
              <a:gd name="connsiteY18" fmla="*/ 859897 h 1653119"/>
              <a:gd name="connsiteX19" fmla="*/ 269563 w 1635205"/>
              <a:gd name="connsiteY19" fmla="*/ 849326 h 1653119"/>
              <a:gd name="connsiteX20" fmla="*/ 285420 w 1635205"/>
              <a:gd name="connsiteY20" fmla="*/ 844040 h 1653119"/>
              <a:gd name="connsiteX21" fmla="*/ 293348 w 1635205"/>
              <a:gd name="connsiteY21" fmla="*/ 841397 h 1653119"/>
              <a:gd name="connsiteX22" fmla="*/ 309205 w 1635205"/>
              <a:gd name="connsiteY22" fmla="*/ 833469 h 1653119"/>
              <a:gd name="connsiteX23" fmla="*/ 314490 w 1635205"/>
              <a:gd name="connsiteY23" fmla="*/ 817613 h 1653119"/>
              <a:gd name="connsiteX24" fmla="*/ 319776 w 1635205"/>
              <a:gd name="connsiteY24" fmla="*/ 809684 h 1653119"/>
              <a:gd name="connsiteX25" fmla="*/ 325061 w 1635205"/>
              <a:gd name="connsiteY25" fmla="*/ 793828 h 1653119"/>
              <a:gd name="connsiteX26" fmla="*/ 327704 w 1635205"/>
              <a:gd name="connsiteY26" fmla="*/ 785899 h 1653119"/>
              <a:gd name="connsiteX27" fmla="*/ 332990 w 1635205"/>
              <a:gd name="connsiteY27" fmla="*/ 770043 h 1653119"/>
              <a:gd name="connsiteX28" fmla="*/ 335632 w 1635205"/>
              <a:gd name="connsiteY28" fmla="*/ 762114 h 1653119"/>
              <a:gd name="connsiteX29" fmla="*/ 338275 w 1635205"/>
              <a:gd name="connsiteY29" fmla="*/ 661689 h 1653119"/>
              <a:gd name="connsiteX30" fmla="*/ 340918 w 1635205"/>
              <a:gd name="connsiteY30" fmla="*/ 653760 h 1653119"/>
              <a:gd name="connsiteX31" fmla="*/ 351489 w 1635205"/>
              <a:gd name="connsiteY31" fmla="*/ 648475 h 1653119"/>
              <a:gd name="connsiteX32" fmla="*/ 369988 w 1635205"/>
              <a:gd name="connsiteY32" fmla="*/ 635261 h 1653119"/>
              <a:gd name="connsiteX33" fmla="*/ 377917 w 1635205"/>
              <a:gd name="connsiteY33" fmla="*/ 629976 h 1653119"/>
              <a:gd name="connsiteX34" fmla="*/ 383202 w 1635205"/>
              <a:gd name="connsiteY34" fmla="*/ 622047 h 1653119"/>
              <a:gd name="connsiteX35" fmla="*/ 393773 w 1635205"/>
              <a:gd name="connsiteY35" fmla="*/ 603548 h 1653119"/>
              <a:gd name="connsiteX36" fmla="*/ 401702 w 1635205"/>
              <a:gd name="connsiteY36" fmla="*/ 595619 h 1653119"/>
              <a:gd name="connsiteX37" fmla="*/ 404345 w 1635205"/>
              <a:gd name="connsiteY37" fmla="*/ 587691 h 1653119"/>
              <a:gd name="connsiteX38" fmla="*/ 417558 w 1635205"/>
              <a:gd name="connsiteY38" fmla="*/ 569192 h 1653119"/>
              <a:gd name="connsiteX39" fmla="*/ 422844 w 1635205"/>
              <a:gd name="connsiteY39" fmla="*/ 561263 h 1653119"/>
              <a:gd name="connsiteX40" fmla="*/ 441343 w 1635205"/>
              <a:gd name="connsiteY40" fmla="*/ 537478 h 1653119"/>
              <a:gd name="connsiteX41" fmla="*/ 449272 w 1635205"/>
              <a:gd name="connsiteY41" fmla="*/ 513693 h 1653119"/>
              <a:gd name="connsiteX42" fmla="*/ 451914 w 1635205"/>
              <a:gd name="connsiteY42" fmla="*/ 505765 h 1653119"/>
              <a:gd name="connsiteX43" fmla="*/ 457200 w 1635205"/>
              <a:gd name="connsiteY43" fmla="*/ 497837 h 1653119"/>
              <a:gd name="connsiteX44" fmla="*/ 467771 w 1635205"/>
              <a:gd name="connsiteY44" fmla="*/ 481980 h 1653119"/>
              <a:gd name="connsiteX45" fmla="*/ 478342 w 1635205"/>
              <a:gd name="connsiteY45" fmla="*/ 466123 h 1653119"/>
              <a:gd name="connsiteX46" fmla="*/ 483628 w 1635205"/>
              <a:gd name="connsiteY46" fmla="*/ 450267 h 1653119"/>
              <a:gd name="connsiteX47" fmla="*/ 486271 w 1635205"/>
              <a:gd name="connsiteY47" fmla="*/ 442339 h 1653119"/>
              <a:gd name="connsiteX48" fmla="*/ 488913 w 1635205"/>
              <a:gd name="connsiteY48" fmla="*/ 365698 h 1653119"/>
              <a:gd name="connsiteX49" fmla="*/ 491556 w 1635205"/>
              <a:gd name="connsiteY49" fmla="*/ 341913 h 1653119"/>
              <a:gd name="connsiteX50" fmla="*/ 496842 w 1635205"/>
              <a:gd name="connsiteY50" fmla="*/ 326056 h 1653119"/>
              <a:gd name="connsiteX51" fmla="*/ 507413 w 1635205"/>
              <a:gd name="connsiteY51" fmla="*/ 289058 h 1653119"/>
              <a:gd name="connsiteX52" fmla="*/ 510056 w 1635205"/>
              <a:gd name="connsiteY52" fmla="*/ 281129 h 1653119"/>
              <a:gd name="connsiteX53" fmla="*/ 520627 w 1635205"/>
              <a:gd name="connsiteY53" fmla="*/ 265273 h 1653119"/>
              <a:gd name="connsiteX54" fmla="*/ 525912 w 1635205"/>
              <a:gd name="connsiteY54" fmla="*/ 249416 h 1653119"/>
              <a:gd name="connsiteX55" fmla="*/ 539126 w 1635205"/>
              <a:gd name="connsiteY55" fmla="*/ 233559 h 1653119"/>
              <a:gd name="connsiteX56" fmla="*/ 541769 w 1635205"/>
              <a:gd name="connsiteY56" fmla="*/ 225631 h 1653119"/>
              <a:gd name="connsiteX57" fmla="*/ 549697 w 1635205"/>
              <a:gd name="connsiteY57" fmla="*/ 207132 h 1653119"/>
              <a:gd name="connsiteX58" fmla="*/ 552340 w 1635205"/>
              <a:gd name="connsiteY58" fmla="*/ 130491 h 1653119"/>
              <a:gd name="connsiteX59" fmla="*/ 560268 w 1635205"/>
              <a:gd name="connsiteY59" fmla="*/ 104063 h 1653119"/>
              <a:gd name="connsiteX60" fmla="*/ 573482 w 1635205"/>
              <a:gd name="connsiteY60" fmla="*/ 64422 h 1653119"/>
              <a:gd name="connsiteX61" fmla="*/ 576125 w 1635205"/>
              <a:gd name="connsiteY61" fmla="*/ 56493 h 1653119"/>
              <a:gd name="connsiteX62" fmla="*/ 584053 w 1635205"/>
              <a:gd name="connsiteY62" fmla="*/ 40637 h 1653119"/>
              <a:gd name="connsiteX63" fmla="*/ 591982 w 1635205"/>
              <a:gd name="connsiteY63" fmla="*/ 37994 h 1653119"/>
              <a:gd name="connsiteX64" fmla="*/ 607838 w 1635205"/>
              <a:gd name="connsiteY64" fmla="*/ 27423 h 1653119"/>
              <a:gd name="connsiteX65" fmla="*/ 615767 w 1635205"/>
              <a:gd name="connsiteY65" fmla="*/ 22137 h 1653119"/>
              <a:gd name="connsiteX66" fmla="*/ 623695 w 1635205"/>
              <a:gd name="connsiteY66" fmla="*/ 19495 h 1653119"/>
              <a:gd name="connsiteX67" fmla="*/ 644837 w 1635205"/>
              <a:gd name="connsiteY67" fmla="*/ 22137 h 1653119"/>
              <a:gd name="connsiteX68" fmla="*/ 652765 w 1635205"/>
              <a:gd name="connsiteY68" fmla="*/ 27423 h 1653119"/>
              <a:gd name="connsiteX69" fmla="*/ 660694 w 1635205"/>
              <a:gd name="connsiteY69" fmla="*/ 30066 h 1653119"/>
              <a:gd name="connsiteX70" fmla="*/ 668622 w 1635205"/>
              <a:gd name="connsiteY70" fmla="*/ 37994 h 1653119"/>
              <a:gd name="connsiteX71" fmla="*/ 671265 w 1635205"/>
              <a:gd name="connsiteY71" fmla="*/ 45922 h 1653119"/>
              <a:gd name="connsiteX72" fmla="*/ 679193 w 1635205"/>
              <a:gd name="connsiteY72" fmla="*/ 51208 h 1653119"/>
              <a:gd name="connsiteX73" fmla="*/ 687121 w 1635205"/>
              <a:gd name="connsiteY73" fmla="*/ 59136 h 1653119"/>
              <a:gd name="connsiteX74" fmla="*/ 710906 w 1635205"/>
              <a:gd name="connsiteY74" fmla="*/ 72350 h 1653119"/>
              <a:gd name="connsiteX75" fmla="*/ 726763 w 1635205"/>
              <a:gd name="connsiteY75" fmla="*/ 82921 h 1653119"/>
              <a:gd name="connsiteX76" fmla="*/ 742620 w 1635205"/>
              <a:gd name="connsiteY76" fmla="*/ 93492 h 1653119"/>
              <a:gd name="connsiteX77" fmla="*/ 766405 w 1635205"/>
              <a:gd name="connsiteY77" fmla="*/ 101421 h 1653119"/>
              <a:gd name="connsiteX78" fmla="*/ 774333 w 1635205"/>
              <a:gd name="connsiteY78" fmla="*/ 104063 h 1653119"/>
              <a:gd name="connsiteX79" fmla="*/ 800761 w 1635205"/>
              <a:gd name="connsiteY79" fmla="*/ 111992 h 1653119"/>
              <a:gd name="connsiteX80" fmla="*/ 808689 w 1635205"/>
              <a:gd name="connsiteY80" fmla="*/ 114634 h 1653119"/>
              <a:gd name="connsiteX81" fmla="*/ 858902 w 1635205"/>
              <a:gd name="connsiteY81" fmla="*/ 111992 h 1653119"/>
              <a:gd name="connsiteX82" fmla="*/ 874758 w 1635205"/>
              <a:gd name="connsiteY82" fmla="*/ 104063 h 1653119"/>
              <a:gd name="connsiteX83" fmla="*/ 882687 w 1635205"/>
              <a:gd name="connsiteY83" fmla="*/ 101421 h 1653119"/>
              <a:gd name="connsiteX84" fmla="*/ 898543 w 1635205"/>
              <a:gd name="connsiteY84" fmla="*/ 90850 h 1653119"/>
              <a:gd name="connsiteX85" fmla="*/ 901186 w 1635205"/>
              <a:gd name="connsiteY85" fmla="*/ 82921 h 1653119"/>
              <a:gd name="connsiteX86" fmla="*/ 917043 w 1635205"/>
              <a:gd name="connsiteY86" fmla="*/ 74993 h 1653119"/>
              <a:gd name="connsiteX87" fmla="*/ 922328 w 1635205"/>
              <a:gd name="connsiteY87" fmla="*/ 67065 h 1653119"/>
              <a:gd name="connsiteX88" fmla="*/ 932899 w 1635205"/>
              <a:gd name="connsiteY88" fmla="*/ 64422 h 1653119"/>
              <a:gd name="connsiteX89" fmla="*/ 991041 w 1635205"/>
              <a:gd name="connsiteY89" fmla="*/ 61779 h 1653119"/>
              <a:gd name="connsiteX90" fmla="*/ 1014825 w 1635205"/>
              <a:gd name="connsiteY90" fmla="*/ 53851 h 1653119"/>
              <a:gd name="connsiteX91" fmla="*/ 1022754 w 1635205"/>
              <a:gd name="connsiteY91" fmla="*/ 51208 h 1653119"/>
              <a:gd name="connsiteX92" fmla="*/ 1046539 w 1635205"/>
              <a:gd name="connsiteY92" fmla="*/ 37994 h 1653119"/>
              <a:gd name="connsiteX93" fmla="*/ 1062395 w 1635205"/>
              <a:gd name="connsiteY93" fmla="*/ 27423 h 1653119"/>
              <a:gd name="connsiteX94" fmla="*/ 1072967 w 1635205"/>
              <a:gd name="connsiteY94" fmla="*/ 30066 h 1653119"/>
              <a:gd name="connsiteX95" fmla="*/ 1078252 w 1635205"/>
              <a:gd name="connsiteY95" fmla="*/ 37994 h 1653119"/>
              <a:gd name="connsiteX96" fmla="*/ 1128465 w 1635205"/>
              <a:gd name="connsiteY96" fmla="*/ 40637 h 1653119"/>
              <a:gd name="connsiteX97" fmla="*/ 1136393 w 1635205"/>
              <a:gd name="connsiteY97" fmla="*/ 35351 h 1653119"/>
              <a:gd name="connsiteX98" fmla="*/ 1139036 w 1635205"/>
              <a:gd name="connsiteY98" fmla="*/ 22137 h 1653119"/>
              <a:gd name="connsiteX99" fmla="*/ 1141679 w 1635205"/>
              <a:gd name="connsiteY99" fmla="*/ 3638 h 1653119"/>
              <a:gd name="connsiteX100" fmla="*/ 1149607 w 1635205"/>
              <a:gd name="connsiteY100" fmla="*/ 995 h 1653119"/>
              <a:gd name="connsiteX101" fmla="*/ 1189249 w 1635205"/>
              <a:gd name="connsiteY101" fmla="*/ 3638 h 1653119"/>
              <a:gd name="connsiteX102" fmla="*/ 1186606 w 1635205"/>
              <a:gd name="connsiteY102" fmla="*/ 11566 h 1653119"/>
              <a:gd name="connsiteX103" fmla="*/ 1202462 w 1635205"/>
              <a:gd name="connsiteY103" fmla="*/ 19495 h 1653119"/>
              <a:gd name="connsiteX104" fmla="*/ 1250032 w 1635205"/>
              <a:gd name="connsiteY104" fmla="*/ 22137 h 1653119"/>
              <a:gd name="connsiteX105" fmla="*/ 1265889 w 1635205"/>
              <a:gd name="connsiteY105" fmla="*/ 27423 h 1653119"/>
              <a:gd name="connsiteX106" fmla="*/ 1273817 w 1635205"/>
              <a:gd name="connsiteY106" fmla="*/ 30066 h 1653119"/>
              <a:gd name="connsiteX107" fmla="*/ 1297602 w 1635205"/>
              <a:gd name="connsiteY107" fmla="*/ 24780 h 1653119"/>
              <a:gd name="connsiteX108" fmla="*/ 1305531 w 1635205"/>
              <a:gd name="connsiteY108" fmla="*/ 19495 h 1653119"/>
              <a:gd name="connsiteX109" fmla="*/ 1337244 w 1635205"/>
              <a:gd name="connsiteY109" fmla="*/ 30066 h 1653119"/>
              <a:gd name="connsiteX110" fmla="*/ 1342530 w 1635205"/>
              <a:gd name="connsiteY110" fmla="*/ 45922 h 1653119"/>
              <a:gd name="connsiteX111" fmla="*/ 1350458 w 1635205"/>
              <a:gd name="connsiteY111" fmla="*/ 51208 h 1653119"/>
              <a:gd name="connsiteX112" fmla="*/ 1366314 w 1635205"/>
              <a:gd name="connsiteY112" fmla="*/ 56493 h 1653119"/>
              <a:gd name="connsiteX113" fmla="*/ 1374243 w 1635205"/>
              <a:gd name="connsiteY113" fmla="*/ 72350 h 1653119"/>
              <a:gd name="connsiteX114" fmla="*/ 1379528 w 1635205"/>
              <a:gd name="connsiteY114" fmla="*/ 88207 h 1653119"/>
              <a:gd name="connsiteX115" fmla="*/ 1382171 w 1635205"/>
              <a:gd name="connsiteY115" fmla="*/ 96135 h 1653119"/>
              <a:gd name="connsiteX116" fmla="*/ 1390099 w 1635205"/>
              <a:gd name="connsiteY116" fmla="*/ 101421 h 1653119"/>
              <a:gd name="connsiteX117" fmla="*/ 1398028 w 1635205"/>
              <a:gd name="connsiteY117" fmla="*/ 104063 h 1653119"/>
              <a:gd name="connsiteX118" fmla="*/ 1413884 w 1635205"/>
              <a:gd name="connsiteY118" fmla="*/ 101421 h 1653119"/>
              <a:gd name="connsiteX119" fmla="*/ 1424456 w 1635205"/>
              <a:gd name="connsiteY119" fmla="*/ 74993 h 1653119"/>
              <a:gd name="connsiteX120" fmla="*/ 1450883 w 1635205"/>
              <a:gd name="connsiteY120" fmla="*/ 82921 h 1653119"/>
              <a:gd name="connsiteX121" fmla="*/ 1458812 w 1635205"/>
              <a:gd name="connsiteY121" fmla="*/ 88207 h 1653119"/>
              <a:gd name="connsiteX122" fmla="*/ 1474668 w 1635205"/>
              <a:gd name="connsiteY122" fmla="*/ 93492 h 1653119"/>
              <a:gd name="connsiteX123" fmla="*/ 1482597 w 1635205"/>
              <a:gd name="connsiteY123" fmla="*/ 90850 h 1653119"/>
              <a:gd name="connsiteX124" fmla="*/ 1485239 w 1635205"/>
              <a:gd name="connsiteY124" fmla="*/ 82921 h 1653119"/>
              <a:gd name="connsiteX125" fmla="*/ 1501096 w 1635205"/>
              <a:gd name="connsiteY125" fmla="*/ 77636 h 1653119"/>
              <a:gd name="connsiteX126" fmla="*/ 1509024 w 1635205"/>
              <a:gd name="connsiteY126" fmla="*/ 72350 h 1653119"/>
              <a:gd name="connsiteX127" fmla="*/ 1532809 w 1635205"/>
              <a:gd name="connsiteY127" fmla="*/ 74993 h 1653119"/>
              <a:gd name="connsiteX128" fmla="*/ 1543380 w 1635205"/>
              <a:gd name="connsiteY128" fmla="*/ 90850 h 1653119"/>
              <a:gd name="connsiteX129" fmla="*/ 1548666 w 1635205"/>
              <a:gd name="connsiteY129" fmla="*/ 98778 h 1653119"/>
              <a:gd name="connsiteX130" fmla="*/ 1556594 w 1635205"/>
              <a:gd name="connsiteY130" fmla="*/ 101421 h 1653119"/>
              <a:gd name="connsiteX131" fmla="*/ 1561880 w 1635205"/>
              <a:gd name="connsiteY131" fmla="*/ 109349 h 1653119"/>
              <a:gd name="connsiteX132" fmla="*/ 1564523 w 1635205"/>
              <a:gd name="connsiteY132" fmla="*/ 117277 h 1653119"/>
              <a:gd name="connsiteX133" fmla="*/ 1585665 w 1635205"/>
              <a:gd name="connsiteY133" fmla="*/ 135777 h 1653119"/>
              <a:gd name="connsiteX134" fmla="*/ 1601521 w 1635205"/>
              <a:gd name="connsiteY134" fmla="*/ 141062 h 1653119"/>
              <a:gd name="connsiteX135" fmla="*/ 1606807 w 1635205"/>
              <a:gd name="connsiteY135" fmla="*/ 148991 h 1653119"/>
              <a:gd name="connsiteX136" fmla="*/ 1609450 w 1635205"/>
              <a:gd name="connsiteY136" fmla="*/ 170133 h 1653119"/>
              <a:gd name="connsiteX137" fmla="*/ 1612093 w 1635205"/>
              <a:gd name="connsiteY137" fmla="*/ 215060 h 1653119"/>
              <a:gd name="connsiteX138" fmla="*/ 1614735 w 1635205"/>
              <a:gd name="connsiteY138" fmla="*/ 222988 h 1653119"/>
              <a:gd name="connsiteX139" fmla="*/ 1625306 w 1635205"/>
              <a:gd name="connsiteY139" fmla="*/ 270558 h 1653119"/>
              <a:gd name="connsiteX140" fmla="*/ 1633235 w 1635205"/>
              <a:gd name="connsiteY140" fmla="*/ 273201 h 1653119"/>
              <a:gd name="connsiteX141" fmla="*/ 1630592 w 1635205"/>
              <a:gd name="connsiteY141" fmla="*/ 302271 h 1653119"/>
              <a:gd name="connsiteX142" fmla="*/ 1614735 w 1635205"/>
              <a:gd name="connsiteY142" fmla="*/ 307557 h 1653119"/>
              <a:gd name="connsiteX143" fmla="*/ 1598879 w 1635205"/>
              <a:gd name="connsiteY143" fmla="*/ 318128 h 1653119"/>
              <a:gd name="connsiteX144" fmla="*/ 1590950 w 1635205"/>
              <a:gd name="connsiteY144" fmla="*/ 323414 h 1653119"/>
              <a:gd name="connsiteX145" fmla="*/ 1585665 w 1635205"/>
              <a:gd name="connsiteY145" fmla="*/ 341913 h 1653119"/>
              <a:gd name="connsiteX146" fmla="*/ 1580379 w 1635205"/>
              <a:gd name="connsiteY146" fmla="*/ 357770 h 1653119"/>
              <a:gd name="connsiteX147" fmla="*/ 1577736 w 1635205"/>
              <a:gd name="connsiteY147" fmla="*/ 365698 h 1653119"/>
              <a:gd name="connsiteX148" fmla="*/ 1575094 w 1635205"/>
              <a:gd name="connsiteY148" fmla="*/ 373626 h 1653119"/>
              <a:gd name="connsiteX149" fmla="*/ 1564523 w 1635205"/>
              <a:gd name="connsiteY149" fmla="*/ 376269 h 1653119"/>
              <a:gd name="connsiteX150" fmla="*/ 1548666 w 1635205"/>
              <a:gd name="connsiteY150" fmla="*/ 389483 h 1653119"/>
              <a:gd name="connsiteX151" fmla="*/ 1546023 w 1635205"/>
              <a:gd name="connsiteY151" fmla="*/ 397411 h 1653119"/>
              <a:gd name="connsiteX152" fmla="*/ 1540738 w 1635205"/>
              <a:gd name="connsiteY152" fmla="*/ 405340 h 1653119"/>
              <a:gd name="connsiteX153" fmla="*/ 1535452 w 1635205"/>
              <a:gd name="connsiteY153" fmla="*/ 421196 h 1653119"/>
              <a:gd name="connsiteX154" fmla="*/ 1524881 w 1635205"/>
              <a:gd name="connsiteY154" fmla="*/ 437053 h 1653119"/>
              <a:gd name="connsiteX155" fmla="*/ 1519595 w 1635205"/>
              <a:gd name="connsiteY155" fmla="*/ 452910 h 1653119"/>
              <a:gd name="connsiteX156" fmla="*/ 1516953 w 1635205"/>
              <a:gd name="connsiteY156" fmla="*/ 460838 h 1653119"/>
              <a:gd name="connsiteX157" fmla="*/ 1509024 w 1635205"/>
              <a:gd name="connsiteY157" fmla="*/ 487266 h 1653119"/>
              <a:gd name="connsiteX158" fmla="*/ 1506382 w 1635205"/>
              <a:gd name="connsiteY158" fmla="*/ 495194 h 1653119"/>
              <a:gd name="connsiteX159" fmla="*/ 1503739 w 1635205"/>
              <a:gd name="connsiteY159" fmla="*/ 503122 h 1653119"/>
              <a:gd name="connsiteX160" fmla="*/ 1506382 w 1635205"/>
              <a:gd name="connsiteY160" fmla="*/ 574477 h 1653119"/>
              <a:gd name="connsiteX161" fmla="*/ 1511667 w 1635205"/>
              <a:gd name="connsiteY161" fmla="*/ 590334 h 1653119"/>
              <a:gd name="connsiteX162" fmla="*/ 1514310 w 1635205"/>
              <a:gd name="connsiteY162" fmla="*/ 598262 h 1653119"/>
              <a:gd name="connsiteX163" fmla="*/ 1498453 w 1635205"/>
              <a:gd name="connsiteY163" fmla="*/ 603548 h 1653119"/>
              <a:gd name="connsiteX164" fmla="*/ 1482597 w 1635205"/>
              <a:gd name="connsiteY164" fmla="*/ 611476 h 1653119"/>
              <a:gd name="connsiteX165" fmla="*/ 1474668 w 1635205"/>
              <a:gd name="connsiteY165" fmla="*/ 627333 h 1653119"/>
              <a:gd name="connsiteX166" fmla="*/ 1472025 w 1635205"/>
              <a:gd name="connsiteY166" fmla="*/ 653760 h 1653119"/>
              <a:gd name="connsiteX167" fmla="*/ 1469383 w 1635205"/>
              <a:gd name="connsiteY167" fmla="*/ 661689 h 1653119"/>
              <a:gd name="connsiteX168" fmla="*/ 1453526 w 1635205"/>
              <a:gd name="connsiteY168" fmla="*/ 672260 h 1653119"/>
              <a:gd name="connsiteX169" fmla="*/ 1450883 w 1635205"/>
              <a:gd name="connsiteY169" fmla="*/ 696045 h 1653119"/>
              <a:gd name="connsiteX170" fmla="*/ 1461454 w 1635205"/>
              <a:gd name="connsiteY170" fmla="*/ 711902 h 1653119"/>
              <a:gd name="connsiteX171" fmla="*/ 1464097 w 1635205"/>
              <a:gd name="connsiteY171" fmla="*/ 719830 h 1653119"/>
              <a:gd name="connsiteX172" fmla="*/ 1472025 w 1635205"/>
              <a:gd name="connsiteY172" fmla="*/ 748900 h 1653119"/>
              <a:gd name="connsiteX173" fmla="*/ 1477311 w 1635205"/>
              <a:gd name="connsiteY173" fmla="*/ 957680 h 1653119"/>
              <a:gd name="connsiteX174" fmla="*/ 1482597 w 1635205"/>
              <a:gd name="connsiteY174" fmla="*/ 973536 h 1653119"/>
              <a:gd name="connsiteX175" fmla="*/ 1487882 w 1635205"/>
              <a:gd name="connsiteY175" fmla="*/ 994678 h 1653119"/>
              <a:gd name="connsiteX176" fmla="*/ 1493168 w 1635205"/>
              <a:gd name="connsiteY176" fmla="*/ 1010535 h 1653119"/>
              <a:gd name="connsiteX177" fmla="*/ 1501096 w 1635205"/>
              <a:gd name="connsiteY177" fmla="*/ 1044891 h 1653119"/>
              <a:gd name="connsiteX178" fmla="*/ 1503739 w 1635205"/>
              <a:gd name="connsiteY178" fmla="*/ 1052819 h 1653119"/>
              <a:gd name="connsiteX179" fmla="*/ 1514310 w 1635205"/>
              <a:gd name="connsiteY179" fmla="*/ 1076604 h 1653119"/>
              <a:gd name="connsiteX180" fmla="*/ 1516953 w 1635205"/>
              <a:gd name="connsiteY180" fmla="*/ 1084533 h 1653119"/>
              <a:gd name="connsiteX181" fmla="*/ 1519595 w 1635205"/>
              <a:gd name="connsiteY181" fmla="*/ 1092461 h 1653119"/>
              <a:gd name="connsiteX182" fmla="*/ 1543380 w 1635205"/>
              <a:gd name="connsiteY182" fmla="*/ 1103032 h 1653119"/>
              <a:gd name="connsiteX183" fmla="*/ 1551309 w 1635205"/>
              <a:gd name="connsiteY183" fmla="*/ 1105675 h 1653119"/>
              <a:gd name="connsiteX184" fmla="*/ 1556594 w 1635205"/>
              <a:gd name="connsiteY184" fmla="*/ 1113603 h 1653119"/>
              <a:gd name="connsiteX185" fmla="*/ 1561880 w 1635205"/>
              <a:gd name="connsiteY185" fmla="*/ 1129460 h 1653119"/>
              <a:gd name="connsiteX186" fmla="*/ 1567165 w 1635205"/>
              <a:gd name="connsiteY186" fmla="*/ 1137388 h 1653119"/>
              <a:gd name="connsiteX187" fmla="*/ 1572451 w 1635205"/>
              <a:gd name="connsiteY187" fmla="*/ 1153245 h 1653119"/>
              <a:gd name="connsiteX188" fmla="*/ 1577736 w 1635205"/>
              <a:gd name="connsiteY188" fmla="*/ 1169102 h 1653119"/>
              <a:gd name="connsiteX189" fmla="*/ 1585665 w 1635205"/>
              <a:gd name="connsiteY189" fmla="*/ 1192886 h 1653119"/>
              <a:gd name="connsiteX190" fmla="*/ 1588308 w 1635205"/>
              <a:gd name="connsiteY190" fmla="*/ 1200815 h 1653119"/>
              <a:gd name="connsiteX191" fmla="*/ 1487882 w 1635205"/>
              <a:gd name="connsiteY191" fmla="*/ 1208743 h 1653119"/>
              <a:gd name="connsiteX192" fmla="*/ 1469383 w 1635205"/>
              <a:gd name="connsiteY192" fmla="*/ 1214029 h 1653119"/>
              <a:gd name="connsiteX193" fmla="*/ 1456169 w 1635205"/>
              <a:gd name="connsiteY193" fmla="*/ 1229885 h 1653119"/>
              <a:gd name="connsiteX194" fmla="*/ 1445598 w 1635205"/>
              <a:gd name="connsiteY194" fmla="*/ 1253670 h 1653119"/>
              <a:gd name="connsiteX195" fmla="*/ 1429741 w 1635205"/>
              <a:gd name="connsiteY195" fmla="*/ 1258956 h 1653119"/>
              <a:gd name="connsiteX196" fmla="*/ 1424456 w 1635205"/>
              <a:gd name="connsiteY196" fmla="*/ 1266884 h 1653119"/>
              <a:gd name="connsiteX197" fmla="*/ 1416527 w 1635205"/>
              <a:gd name="connsiteY197" fmla="*/ 1272170 h 1653119"/>
              <a:gd name="connsiteX198" fmla="*/ 1413884 w 1635205"/>
              <a:gd name="connsiteY198" fmla="*/ 1280098 h 1653119"/>
              <a:gd name="connsiteX199" fmla="*/ 1408599 w 1635205"/>
              <a:gd name="connsiteY199" fmla="*/ 1288026 h 1653119"/>
              <a:gd name="connsiteX200" fmla="*/ 1403313 w 1635205"/>
              <a:gd name="connsiteY200" fmla="*/ 1303883 h 1653119"/>
              <a:gd name="connsiteX201" fmla="*/ 1411242 w 1635205"/>
              <a:gd name="connsiteY201" fmla="*/ 1340882 h 1653119"/>
              <a:gd name="connsiteX202" fmla="*/ 1419170 w 1635205"/>
              <a:gd name="connsiteY202" fmla="*/ 1346167 h 1653119"/>
              <a:gd name="connsiteX203" fmla="*/ 1419170 w 1635205"/>
              <a:gd name="connsiteY203" fmla="*/ 1433379 h 1653119"/>
              <a:gd name="connsiteX204" fmla="*/ 1413884 w 1635205"/>
              <a:gd name="connsiteY204" fmla="*/ 1449236 h 1653119"/>
              <a:gd name="connsiteX205" fmla="*/ 1411242 w 1635205"/>
              <a:gd name="connsiteY205" fmla="*/ 1457164 h 1653119"/>
              <a:gd name="connsiteX206" fmla="*/ 1408599 w 1635205"/>
              <a:gd name="connsiteY206" fmla="*/ 1465092 h 1653119"/>
              <a:gd name="connsiteX207" fmla="*/ 1411242 w 1635205"/>
              <a:gd name="connsiteY207" fmla="*/ 1504734 h 1653119"/>
              <a:gd name="connsiteX208" fmla="*/ 1419170 w 1635205"/>
              <a:gd name="connsiteY208" fmla="*/ 1510019 h 1653119"/>
              <a:gd name="connsiteX209" fmla="*/ 1427098 w 1635205"/>
              <a:gd name="connsiteY209" fmla="*/ 1517948 h 1653119"/>
              <a:gd name="connsiteX210" fmla="*/ 1442955 w 1635205"/>
              <a:gd name="connsiteY210" fmla="*/ 1541733 h 1653119"/>
              <a:gd name="connsiteX211" fmla="*/ 1448241 w 1635205"/>
              <a:gd name="connsiteY211" fmla="*/ 1549661 h 1653119"/>
              <a:gd name="connsiteX212" fmla="*/ 1456169 w 1635205"/>
              <a:gd name="connsiteY212" fmla="*/ 1565518 h 1653119"/>
              <a:gd name="connsiteX213" fmla="*/ 1472025 w 1635205"/>
              <a:gd name="connsiteY213" fmla="*/ 1570803 h 1653119"/>
              <a:gd name="connsiteX214" fmla="*/ 1490525 w 1635205"/>
              <a:gd name="connsiteY214" fmla="*/ 1568160 h 1653119"/>
              <a:gd name="connsiteX215" fmla="*/ 1501096 w 1635205"/>
              <a:gd name="connsiteY215" fmla="*/ 1554947 h 1653119"/>
              <a:gd name="connsiteX216" fmla="*/ 1509024 w 1635205"/>
              <a:gd name="connsiteY216" fmla="*/ 1552304 h 1653119"/>
              <a:gd name="connsiteX217" fmla="*/ 1522238 w 1635205"/>
              <a:gd name="connsiteY217" fmla="*/ 1554947 h 1653119"/>
              <a:gd name="connsiteX218" fmla="*/ 1524881 w 1635205"/>
              <a:gd name="connsiteY218" fmla="*/ 1581374 h 1653119"/>
              <a:gd name="connsiteX219" fmla="*/ 1527524 w 1635205"/>
              <a:gd name="connsiteY219" fmla="*/ 1589303 h 1653119"/>
              <a:gd name="connsiteX220" fmla="*/ 1530167 w 1635205"/>
              <a:gd name="connsiteY220" fmla="*/ 1599874 h 1653119"/>
              <a:gd name="connsiteX221" fmla="*/ 1524881 w 1635205"/>
              <a:gd name="connsiteY221" fmla="*/ 1623659 h 1653119"/>
              <a:gd name="connsiteX222" fmla="*/ 1519595 w 1635205"/>
              <a:gd name="connsiteY222" fmla="*/ 1631587 h 1653119"/>
              <a:gd name="connsiteX223" fmla="*/ 1511667 w 1635205"/>
              <a:gd name="connsiteY223" fmla="*/ 1634230 h 1653119"/>
              <a:gd name="connsiteX224" fmla="*/ 1495810 w 1635205"/>
              <a:gd name="connsiteY224" fmla="*/ 1644801 h 1653119"/>
              <a:gd name="connsiteX225" fmla="*/ 1479954 w 1635205"/>
              <a:gd name="connsiteY225" fmla="*/ 1652729 h 1653119"/>
              <a:gd name="connsiteX226" fmla="*/ 1440312 w 1635205"/>
              <a:gd name="connsiteY226" fmla="*/ 1650086 h 1653119"/>
              <a:gd name="connsiteX227" fmla="*/ 1435027 w 1635205"/>
              <a:gd name="connsiteY227" fmla="*/ 1642158 h 1653119"/>
              <a:gd name="connsiteX228" fmla="*/ 1429741 w 1635205"/>
              <a:gd name="connsiteY228" fmla="*/ 1626302 h 1653119"/>
              <a:gd name="connsiteX229" fmla="*/ 1421813 w 1635205"/>
              <a:gd name="connsiteY229" fmla="*/ 1610445 h 1653119"/>
              <a:gd name="connsiteX230" fmla="*/ 1416527 w 1635205"/>
              <a:gd name="connsiteY230" fmla="*/ 1602517 h 1653119"/>
              <a:gd name="connsiteX231" fmla="*/ 1405956 w 1635205"/>
              <a:gd name="connsiteY231" fmla="*/ 1578732 h 1653119"/>
              <a:gd name="connsiteX232" fmla="*/ 1403313 w 1635205"/>
              <a:gd name="connsiteY232" fmla="*/ 1570803 h 1653119"/>
              <a:gd name="connsiteX233" fmla="*/ 1395385 w 1635205"/>
              <a:gd name="connsiteY233" fmla="*/ 1562875 h 1653119"/>
              <a:gd name="connsiteX234" fmla="*/ 1355743 w 1635205"/>
              <a:gd name="connsiteY234" fmla="*/ 1554947 h 1653119"/>
              <a:gd name="connsiteX235" fmla="*/ 1324030 w 1635205"/>
              <a:gd name="connsiteY235" fmla="*/ 1547018 h 1653119"/>
              <a:gd name="connsiteX236" fmla="*/ 1316102 w 1635205"/>
              <a:gd name="connsiteY236" fmla="*/ 1541733 h 1653119"/>
              <a:gd name="connsiteX237" fmla="*/ 1305531 w 1635205"/>
              <a:gd name="connsiteY237" fmla="*/ 1525876 h 1653119"/>
              <a:gd name="connsiteX238" fmla="*/ 1297602 w 1635205"/>
              <a:gd name="connsiteY238" fmla="*/ 1502091 h 1653119"/>
              <a:gd name="connsiteX239" fmla="*/ 1289674 w 1635205"/>
              <a:gd name="connsiteY239" fmla="*/ 1496806 h 1653119"/>
              <a:gd name="connsiteX240" fmla="*/ 1273817 w 1635205"/>
              <a:gd name="connsiteY240" fmla="*/ 1502091 h 1653119"/>
              <a:gd name="connsiteX241" fmla="*/ 1265889 w 1635205"/>
              <a:gd name="connsiteY241" fmla="*/ 1504734 h 1653119"/>
              <a:gd name="connsiteX242" fmla="*/ 1257961 w 1635205"/>
              <a:gd name="connsiteY242" fmla="*/ 1512662 h 1653119"/>
              <a:gd name="connsiteX243" fmla="*/ 1242104 w 1635205"/>
              <a:gd name="connsiteY243" fmla="*/ 1517948 h 1653119"/>
              <a:gd name="connsiteX244" fmla="*/ 1189249 w 1635205"/>
              <a:gd name="connsiteY244" fmla="*/ 1515305 h 1653119"/>
              <a:gd name="connsiteX245" fmla="*/ 1181320 w 1635205"/>
              <a:gd name="connsiteY245" fmla="*/ 1512662 h 1653119"/>
              <a:gd name="connsiteX246" fmla="*/ 1160178 w 1635205"/>
              <a:gd name="connsiteY246" fmla="*/ 1499448 h 1653119"/>
              <a:gd name="connsiteX247" fmla="*/ 1152250 w 1635205"/>
              <a:gd name="connsiteY247" fmla="*/ 1496806 h 1653119"/>
              <a:gd name="connsiteX248" fmla="*/ 1136393 w 1635205"/>
              <a:gd name="connsiteY248" fmla="*/ 1465092 h 1653119"/>
              <a:gd name="connsiteX249" fmla="*/ 1120536 w 1635205"/>
              <a:gd name="connsiteY249" fmla="*/ 1457164 h 1653119"/>
              <a:gd name="connsiteX250" fmla="*/ 1086180 w 1635205"/>
              <a:gd name="connsiteY250" fmla="*/ 1459807 h 1653119"/>
              <a:gd name="connsiteX251" fmla="*/ 1070324 w 1635205"/>
              <a:gd name="connsiteY251" fmla="*/ 1465092 h 1653119"/>
              <a:gd name="connsiteX252" fmla="*/ 1062395 w 1635205"/>
              <a:gd name="connsiteY252" fmla="*/ 1467735 h 1653119"/>
              <a:gd name="connsiteX253" fmla="*/ 1049182 w 1635205"/>
              <a:gd name="connsiteY253" fmla="*/ 1465092 h 1653119"/>
              <a:gd name="connsiteX254" fmla="*/ 1046539 w 1635205"/>
              <a:gd name="connsiteY254" fmla="*/ 1457164 h 1653119"/>
              <a:gd name="connsiteX255" fmla="*/ 1041253 w 1635205"/>
              <a:gd name="connsiteY255" fmla="*/ 1449236 h 1653119"/>
              <a:gd name="connsiteX256" fmla="*/ 1009540 w 1635205"/>
              <a:gd name="connsiteY256" fmla="*/ 1438665 h 1653119"/>
              <a:gd name="connsiteX257" fmla="*/ 993683 w 1635205"/>
              <a:gd name="connsiteY257" fmla="*/ 1433379 h 1653119"/>
              <a:gd name="connsiteX258" fmla="*/ 975184 w 1635205"/>
              <a:gd name="connsiteY258" fmla="*/ 1428093 h 1653119"/>
              <a:gd name="connsiteX259" fmla="*/ 927614 w 1635205"/>
              <a:gd name="connsiteY259" fmla="*/ 1430736 h 1653119"/>
              <a:gd name="connsiteX260" fmla="*/ 903829 w 1635205"/>
              <a:gd name="connsiteY260" fmla="*/ 1443950 h 1653119"/>
              <a:gd name="connsiteX261" fmla="*/ 895901 w 1635205"/>
              <a:gd name="connsiteY261" fmla="*/ 1446593 h 1653119"/>
              <a:gd name="connsiteX262" fmla="*/ 853616 w 1635205"/>
              <a:gd name="connsiteY262" fmla="*/ 1443950 h 1653119"/>
              <a:gd name="connsiteX263" fmla="*/ 858902 w 1635205"/>
              <a:gd name="connsiteY263" fmla="*/ 1436022 h 1653119"/>
              <a:gd name="connsiteX264" fmla="*/ 861545 w 1635205"/>
              <a:gd name="connsiteY264" fmla="*/ 1425451 h 1653119"/>
              <a:gd name="connsiteX265" fmla="*/ 866830 w 1635205"/>
              <a:gd name="connsiteY265" fmla="*/ 1409594 h 1653119"/>
              <a:gd name="connsiteX266" fmla="*/ 869473 w 1635205"/>
              <a:gd name="connsiteY266" fmla="*/ 1401666 h 1653119"/>
              <a:gd name="connsiteX267" fmla="*/ 866830 w 1635205"/>
              <a:gd name="connsiteY267" fmla="*/ 1385809 h 1653119"/>
              <a:gd name="connsiteX268" fmla="*/ 858902 w 1635205"/>
              <a:gd name="connsiteY268" fmla="*/ 1380523 h 1653119"/>
              <a:gd name="connsiteX269" fmla="*/ 853616 w 1635205"/>
              <a:gd name="connsiteY269" fmla="*/ 1364667 h 1653119"/>
              <a:gd name="connsiteX270" fmla="*/ 850973 w 1635205"/>
              <a:gd name="connsiteY270" fmla="*/ 1356739 h 1653119"/>
              <a:gd name="connsiteX271" fmla="*/ 848331 w 1635205"/>
              <a:gd name="connsiteY271" fmla="*/ 1348810 h 1653119"/>
              <a:gd name="connsiteX272" fmla="*/ 843045 w 1635205"/>
              <a:gd name="connsiteY272" fmla="*/ 1340882 h 1653119"/>
              <a:gd name="connsiteX273" fmla="*/ 840402 w 1635205"/>
              <a:gd name="connsiteY273" fmla="*/ 1290669 h 1653119"/>
              <a:gd name="connsiteX274" fmla="*/ 837760 w 1635205"/>
              <a:gd name="connsiteY274" fmla="*/ 1280098 h 1653119"/>
              <a:gd name="connsiteX275" fmla="*/ 835117 w 1635205"/>
              <a:gd name="connsiteY275" fmla="*/ 1121532 h 1653119"/>
              <a:gd name="connsiteX276" fmla="*/ 832474 w 1635205"/>
              <a:gd name="connsiteY276" fmla="*/ 1113603 h 1653119"/>
              <a:gd name="connsiteX277" fmla="*/ 827188 w 1635205"/>
              <a:gd name="connsiteY277" fmla="*/ 1105675 h 1653119"/>
              <a:gd name="connsiteX278" fmla="*/ 739977 w 1635205"/>
              <a:gd name="connsiteY278" fmla="*/ 1105675 h 1653119"/>
              <a:gd name="connsiteX279" fmla="*/ 724120 w 1635205"/>
              <a:gd name="connsiteY279" fmla="*/ 1100389 h 1653119"/>
              <a:gd name="connsiteX280" fmla="*/ 700335 w 1635205"/>
              <a:gd name="connsiteY280" fmla="*/ 1081890 h 1653119"/>
              <a:gd name="connsiteX281" fmla="*/ 663336 w 1635205"/>
              <a:gd name="connsiteY281" fmla="*/ 1084533 h 1653119"/>
              <a:gd name="connsiteX282" fmla="*/ 650123 w 1635205"/>
              <a:gd name="connsiteY282" fmla="*/ 1087176 h 1653119"/>
              <a:gd name="connsiteX283" fmla="*/ 631623 w 1635205"/>
              <a:gd name="connsiteY283" fmla="*/ 1089818 h 1653119"/>
              <a:gd name="connsiteX284" fmla="*/ 628980 w 1635205"/>
              <a:gd name="connsiteY284" fmla="*/ 1097747 h 1653119"/>
              <a:gd name="connsiteX285" fmla="*/ 623695 w 1635205"/>
              <a:gd name="connsiteY285" fmla="*/ 1124174 h 1653119"/>
              <a:gd name="connsiteX286" fmla="*/ 621052 w 1635205"/>
              <a:gd name="connsiteY286" fmla="*/ 1132103 h 1653119"/>
              <a:gd name="connsiteX287" fmla="*/ 605195 w 1635205"/>
              <a:gd name="connsiteY287" fmla="*/ 1142674 h 1653119"/>
              <a:gd name="connsiteX288" fmla="*/ 597267 w 1635205"/>
              <a:gd name="connsiteY288" fmla="*/ 1145317 h 1653119"/>
              <a:gd name="connsiteX289" fmla="*/ 578768 w 1635205"/>
              <a:gd name="connsiteY289" fmla="*/ 1155888 h 1653119"/>
              <a:gd name="connsiteX290" fmla="*/ 562911 w 1635205"/>
              <a:gd name="connsiteY290" fmla="*/ 1161173 h 1653119"/>
              <a:gd name="connsiteX291" fmla="*/ 554983 w 1635205"/>
              <a:gd name="connsiteY291" fmla="*/ 1163816 h 1653119"/>
              <a:gd name="connsiteX292" fmla="*/ 441343 w 1635205"/>
              <a:gd name="connsiteY292" fmla="*/ 1161173 h 1653119"/>
              <a:gd name="connsiteX293" fmla="*/ 433415 w 1635205"/>
              <a:gd name="connsiteY293" fmla="*/ 1158530 h 1653119"/>
              <a:gd name="connsiteX294" fmla="*/ 430772 w 1635205"/>
              <a:gd name="connsiteY294" fmla="*/ 1150602 h 1653119"/>
              <a:gd name="connsiteX295" fmla="*/ 425487 w 1635205"/>
              <a:gd name="connsiteY295" fmla="*/ 1132103 h 1653119"/>
              <a:gd name="connsiteX296" fmla="*/ 420201 w 1635205"/>
              <a:gd name="connsiteY296" fmla="*/ 1124174 h 1653119"/>
              <a:gd name="connsiteX297" fmla="*/ 404345 w 1635205"/>
              <a:gd name="connsiteY297" fmla="*/ 1113603 h 1653119"/>
              <a:gd name="connsiteX298" fmla="*/ 396416 w 1635205"/>
              <a:gd name="connsiteY298" fmla="*/ 1089818 h 1653119"/>
              <a:gd name="connsiteX299" fmla="*/ 393773 w 1635205"/>
              <a:gd name="connsiteY299" fmla="*/ 1081890 h 1653119"/>
              <a:gd name="connsiteX300" fmla="*/ 391131 w 1635205"/>
              <a:gd name="connsiteY300" fmla="*/ 1068676 h 1653119"/>
              <a:gd name="connsiteX301" fmla="*/ 388488 w 1635205"/>
              <a:gd name="connsiteY301" fmla="*/ 1060748 h 1653119"/>
              <a:gd name="connsiteX302" fmla="*/ 377917 w 1635205"/>
              <a:gd name="connsiteY302" fmla="*/ 1018463 h 1653119"/>
              <a:gd name="connsiteX303" fmla="*/ 372631 w 1635205"/>
              <a:gd name="connsiteY303" fmla="*/ 1010535 h 1653119"/>
              <a:gd name="connsiteX304" fmla="*/ 375274 w 1635205"/>
              <a:gd name="connsiteY304" fmla="*/ 1002607 h 1653119"/>
              <a:gd name="connsiteX305" fmla="*/ 359417 w 1635205"/>
              <a:gd name="connsiteY305" fmla="*/ 997321 h 1653119"/>
              <a:gd name="connsiteX306" fmla="*/ 325061 w 1635205"/>
              <a:gd name="connsiteY306" fmla="*/ 992036 h 1653119"/>
              <a:gd name="connsiteX307" fmla="*/ 303919 w 1635205"/>
              <a:gd name="connsiteY307" fmla="*/ 989393 h 1653119"/>
              <a:gd name="connsiteX308" fmla="*/ 288062 w 1635205"/>
              <a:gd name="connsiteY308" fmla="*/ 984107 h 1653119"/>
              <a:gd name="connsiteX309" fmla="*/ 248421 w 1635205"/>
              <a:gd name="connsiteY309" fmla="*/ 978822 h 1653119"/>
              <a:gd name="connsiteX310" fmla="*/ 0 w 1635205"/>
              <a:gd name="connsiteY310" fmla="*/ 994678 h 1653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</a:cxnLst>
            <a:rect l="l" t="t" r="r" b="b"/>
            <a:pathLst>
              <a:path w="1635205" h="1653119">
                <a:moveTo>
                  <a:pt x="0" y="994678"/>
                </a:moveTo>
                <a:cubicBezTo>
                  <a:pt x="1509" y="987135"/>
                  <a:pt x="3047" y="978357"/>
                  <a:pt x="5286" y="970893"/>
                </a:cubicBezTo>
                <a:cubicBezTo>
                  <a:pt x="6887" y="965557"/>
                  <a:pt x="8809" y="960322"/>
                  <a:pt x="10571" y="955037"/>
                </a:cubicBezTo>
                <a:lnTo>
                  <a:pt x="13214" y="947108"/>
                </a:lnTo>
                <a:cubicBezTo>
                  <a:pt x="14095" y="932132"/>
                  <a:pt x="12767" y="916861"/>
                  <a:pt x="15857" y="902181"/>
                </a:cubicBezTo>
                <a:cubicBezTo>
                  <a:pt x="16511" y="899073"/>
                  <a:pt x="21027" y="898472"/>
                  <a:pt x="23785" y="896896"/>
                </a:cubicBezTo>
                <a:cubicBezTo>
                  <a:pt x="26234" y="895496"/>
                  <a:pt x="38123" y="889227"/>
                  <a:pt x="42284" y="888967"/>
                </a:cubicBezTo>
                <a:cubicBezTo>
                  <a:pt x="67796" y="887373"/>
                  <a:pt x="93378" y="887206"/>
                  <a:pt x="118925" y="886325"/>
                </a:cubicBezTo>
                <a:cubicBezTo>
                  <a:pt x="120687" y="883682"/>
                  <a:pt x="121820" y="880488"/>
                  <a:pt x="124210" y="878396"/>
                </a:cubicBezTo>
                <a:cubicBezTo>
                  <a:pt x="128991" y="874213"/>
                  <a:pt x="140067" y="867825"/>
                  <a:pt x="140067" y="867825"/>
                </a:cubicBezTo>
                <a:cubicBezTo>
                  <a:pt x="140948" y="865182"/>
                  <a:pt x="140443" y="861516"/>
                  <a:pt x="142710" y="859897"/>
                </a:cubicBezTo>
                <a:cubicBezTo>
                  <a:pt x="147244" y="856659"/>
                  <a:pt x="158567" y="854611"/>
                  <a:pt x="158567" y="854611"/>
                </a:cubicBezTo>
                <a:cubicBezTo>
                  <a:pt x="179971" y="861746"/>
                  <a:pt x="158548" y="851892"/>
                  <a:pt x="169138" y="894253"/>
                </a:cubicBezTo>
                <a:cubicBezTo>
                  <a:pt x="173334" y="911035"/>
                  <a:pt x="178343" y="909769"/>
                  <a:pt x="190280" y="912752"/>
                </a:cubicBezTo>
                <a:cubicBezTo>
                  <a:pt x="200851" y="911871"/>
                  <a:pt x="212275" y="914362"/>
                  <a:pt x="221993" y="910110"/>
                </a:cubicBezTo>
                <a:cubicBezTo>
                  <a:pt x="227813" y="907564"/>
                  <a:pt x="229040" y="899539"/>
                  <a:pt x="232564" y="894253"/>
                </a:cubicBezTo>
                <a:lnTo>
                  <a:pt x="237850" y="886325"/>
                </a:lnTo>
                <a:cubicBezTo>
                  <a:pt x="244189" y="867308"/>
                  <a:pt x="236496" y="891063"/>
                  <a:pt x="243135" y="867825"/>
                </a:cubicBezTo>
                <a:cubicBezTo>
                  <a:pt x="243900" y="865147"/>
                  <a:pt x="244038" y="862072"/>
                  <a:pt x="245778" y="859897"/>
                </a:cubicBezTo>
                <a:cubicBezTo>
                  <a:pt x="250348" y="854184"/>
                  <a:pt x="264714" y="850942"/>
                  <a:pt x="269563" y="849326"/>
                </a:cubicBezTo>
                <a:lnTo>
                  <a:pt x="285420" y="844040"/>
                </a:lnTo>
                <a:cubicBezTo>
                  <a:pt x="288063" y="843159"/>
                  <a:pt x="291030" y="842942"/>
                  <a:pt x="293348" y="841397"/>
                </a:cubicBezTo>
                <a:cubicBezTo>
                  <a:pt x="303594" y="834567"/>
                  <a:pt x="298263" y="837116"/>
                  <a:pt x="309205" y="833469"/>
                </a:cubicBezTo>
                <a:cubicBezTo>
                  <a:pt x="310967" y="828184"/>
                  <a:pt x="311400" y="822249"/>
                  <a:pt x="314490" y="817613"/>
                </a:cubicBezTo>
                <a:cubicBezTo>
                  <a:pt x="316252" y="814970"/>
                  <a:pt x="318486" y="812587"/>
                  <a:pt x="319776" y="809684"/>
                </a:cubicBezTo>
                <a:cubicBezTo>
                  <a:pt x="322039" y="804593"/>
                  <a:pt x="323299" y="799113"/>
                  <a:pt x="325061" y="793828"/>
                </a:cubicBezTo>
                <a:lnTo>
                  <a:pt x="327704" y="785899"/>
                </a:lnTo>
                <a:lnTo>
                  <a:pt x="332990" y="770043"/>
                </a:lnTo>
                <a:lnTo>
                  <a:pt x="335632" y="762114"/>
                </a:lnTo>
                <a:cubicBezTo>
                  <a:pt x="336513" y="728639"/>
                  <a:pt x="336643" y="695136"/>
                  <a:pt x="338275" y="661689"/>
                </a:cubicBezTo>
                <a:cubicBezTo>
                  <a:pt x="338411" y="658906"/>
                  <a:pt x="338948" y="655730"/>
                  <a:pt x="340918" y="653760"/>
                </a:cubicBezTo>
                <a:cubicBezTo>
                  <a:pt x="343704" y="650974"/>
                  <a:pt x="348069" y="650430"/>
                  <a:pt x="351489" y="648475"/>
                </a:cubicBezTo>
                <a:cubicBezTo>
                  <a:pt x="357711" y="644920"/>
                  <a:pt x="364324" y="639307"/>
                  <a:pt x="369988" y="635261"/>
                </a:cubicBezTo>
                <a:cubicBezTo>
                  <a:pt x="372573" y="633415"/>
                  <a:pt x="375274" y="631738"/>
                  <a:pt x="377917" y="629976"/>
                </a:cubicBezTo>
                <a:cubicBezTo>
                  <a:pt x="379679" y="627333"/>
                  <a:pt x="381626" y="624805"/>
                  <a:pt x="383202" y="622047"/>
                </a:cubicBezTo>
                <a:cubicBezTo>
                  <a:pt x="387898" y="613828"/>
                  <a:pt x="387923" y="610568"/>
                  <a:pt x="393773" y="603548"/>
                </a:cubicBezTo>
                <a:cubicBezTo>
                  <a:pt x="396166" y="600677"/>
                  <a:pt x="399059" y="598262"/>
                  <a:pt x="401702" y="595619"/>
                </a:cubicBezTo>
                <a:cubicBezTo>
                  <a:pt x="402583" y="592976"/>
                  <a:pt x="403099" y="590183"/>
                  <a:pt x="404345" y="587691"/>
                </a:cubicBezTo>
                <a:cubicBezTo>
                  <a:pt x="406422" y="583538"/>
                  <a:pt x="415562" y="571987"/>
                  <a:pt x="417558" y="569192"/>
                </a:cubicBezTo>
                <a:cubicBezTo>
                  <a:pt x="419404" y="566607"/>
                  <a:pt x="420810" y="563703"/>
                  <a:pt x="422844" y="561263"/>
                </a:cubicBezTo>
                <a:cubicBezTo>
                  <a:pt x="430446" y="552141"/>
                  <a:pt x="436889" y="550839"/>
                  <a:pt x="441343" y="537478"/>
                </a:cubicBezTo>
                <a:lnTo>
                  <a:pt x="449272" y="513693"/>
                </a:lnTo>
                <a:cubicBezTo>
                  <a:pt x="450153" y="511050"/>
                  <a:pt x="450369" y="508083"/>
                  <a:pt x="451914" y="505765"/>
                </a:cubicBezTo>
                <a:lnTo>
                  <a:pt x="457200" y="497837"/>
                </a:lnTo>
                <a:cubicBezTo>
                  <a:pt x="463484" y="478985"/>
                  <a:pt x="454574" y="501775"/>
                  <a:pt x="467771" y="481980"/>
                </a:cubicBezTo>
                <a:cubicBezTo>
                  <a:pt x="483073" y="459028"/>
                  <a:pt x="453046" y="491422"/>
                  <a:pt x="478342" y="466123"/>
                </a:cubicBezTo>
                <a:lnTo>
                  <a:pt x="483628" y="450267"/>
                </a:lnTo>
                <a:lnTo>
                  <a:pt x="486271" y="442339"/>
                </a:lnTo>
                <a:cubicBezTo>
                  <a:pt x="487152" y="416792"/>
                  <a:pt x="487570" y="391225"/>
                  <a:pt x="488913" y="365698"/>
                </a:cubicBezTo>
                <a:cubicBezTo>
                  <a:pt x="489332" y="357732"/>
                  <a:pt x="489991" y="349735"/>
                  <a:pt x="491556" y="341913"/>
                </a:cubicBezTo>
                <a:cubicBezTo>
                  <a:pt x="492649" y="336450"/>
                  <a:pt x="495491" y="331461"/>
                  <a:pt x="496842" y="326056"/>
                </a:cubicBezTo>
                <a:cubicBezTo>
                  <a:pt x="503479" y="299504"/>
                  <a:pt x="499829" y="311809"/>
                  <a:pt x="507413" y="289058"/>
                </a:cubicBezTo>
                <a:cubicBezTo>
                  <a:pt x="508294" y="286415"/>
                  <a:pt x="508511" y="283447"/>
                  <a:pt x="510056" y="281129"/>
                </a:cubicBezTo>
                <a:lnTo>
                  <a:pt x="520627" y="265273"/>
                </a:lnTo>
                <a:cubicBezTo>
                  <a:pt x="522389" y="259987"/>
                  <a:pt x="521972" y="253355"/>
                  <a:pt x="525912" y="249416"/>
                </a:cubicBezTo>
                <a:cubicBezTo>
                  <a:pt x="531761" y="243568"/>
                  <a:pt x="535445" y="240922"/>
                  <a:pt x="539126" y="233559"/>
                </a:cubicBezTo>
                <a:cubicBezTo>
                  <a:pt x="540372" y="231067"/>
                  <a:pt x="540672" y="228191"/>
                  <a:pt x="541769" y="225631"/>
                </a:cubicBezTo>
                <a:cubicBezTo>
                  <a:pt x="551566" y="202772"/>
                  <a:pt x="543499" y="225725"/>
                  <a:pt x="549697" y="207132"/>
                </a:cubicBezTo>
                <a:cubicBezTo>
                  <a:pt x="550578" y="181585"/>
                  <a:pt x="550793" y="156006"/>
                  <a:pt x="552340" y="130491"/>
                </a:cubicBezTo>
                <a:cubicBezTo>
                  <a:pt x="552636" y="125613"/>
                  <a:pt x="559508" y="106342"/>
                  <a:pt x="560268" y="104063"/>
                </a:cubicBezTo>
                <a:lnTo>
                  <a:pt x="573482" y="64422"/>
                </a:lnTo>
                <a:lnTo>
                  <a:pt x="576125" y="56493"/>
                </a:lnTo>
                <a:cubicBezTo>
                  <a:pt x="577866" y="51272"/>
                  <a:pt x="579397" y="44362"/>
                  <a:pt x="584053" y="40637"/>
                </a:cubicBezTo>
                <a:cubicBezTo>
                  <a:pt x="586228" y="38897"/>
                  <a:pt x="589339" y="38875"/>
                  <a:pt x="591982" y="37994"/>
                </a:cubicBezTo>
                <a:lnTo>
                  <a:pt x="607838" y="27423"/>
                </a:lnTo>
                <a:cubicBezTo>
                  <a:pt x="610481" y="25661"/>
                  <a:pt x="612753" y="23141"/>
                  <a:pt x="615767" y="22137"/>
                </a:cubicBezTo>
                <a:lnTo>
                  <a:pt x="623695" y="19495"/>
                </a:lnTo>
                <a:cubicBezTo>
                  <a:pt x="630742" y="20376"/>
                  <a:pt x="637985" y="20268"/>
                  <a:pt x="644837" y="22137"/>
                </a:cubicBezTo>
                <a:cubicBezTo>
                  <a:pt x="647901" y="22973"/>
                  <a:pt x="649924" y="26002"/>
                  <a:pt x="652765" y="27423"/>
                </a:cubicBezTo>
                <a:cubicBezTo>
                  <a:pt x="655257" y="28669"/>
                  <a:pt x="658051" y="29185"/>
                  <a:pt x="660694" y="30066"/>
                </a:cubicBezTo>
                <a:cubicBezTo>
                  <a:pt x="663337" y="32709"/>
                  <a:pt x="666549" y="34884"/>
                  <a:pt x="668622" y="37994"/>
                </a:cubicBezTo>
                <a:cubicBezTo>
                  <a:pt x="670167" y="40312"/>
                  <a:pt x="669525" y="43747"/>
                  <a:pt x="671265" y="45922"/>
                </a:cubicBezTo>
                <a:cubicBezTo>
                  <a:pt x="673249" y="48402"/>
                  <a:pt x="676753" y="49175"/>
                  <a:pt x="679193" y="51208"/>
                </a:cubicBezTo>
                <a:cubicBezTo>
                  <a:pt x="682064" y="53601"/>
                  <a:pt x="684171" y="56842"/>
                  <a:pt x="687121" y="59136"/>
                </a:cubicBezTo>
                <a:cubicBezTo>
                  <a:pt x="700751" y="69737"/>
                  <a:pt x="698944" y="68362"/>
                  <a:pt x="710906" y="72350"/>
                </a:cubicBezTo>
                <a:cubicBezTo>
                  <a:pt x="728503" y="89945"/>
                  <a:pt x="709552" y="73359"/>
                  <a:pt x="726763" y="82921"/>
                </a:cubicBezTo>
                <a:cubicBezTo>
                  <a:pt x="732316" y="86006"/>
                  <a:pt x="736594" y="91483"/>
                  <a:pt x="742620" y="93492"/>
                </a:cubicBezTo>
                <a:lnTo>
                  <a:pt x="766405" y="101421"/>
                </a:lnTo>
                <a:cubicBezTo>
                  <a:pt x="769048" y="102302"/>
                  <a:pt x="771631" y="103387"/>
                  <a:pt x="774333" y="104063"/>
                </a:cubicBezTo>
                <a:cubicBezTo>
                  <a:pt x="790315" y="108059"/>
                  <a:pt x="781450" y="105555"/>
                  <a:pt x="800761" y="111992"/>
                </a:cubicBezTo>
                <a:lnTo>
                  <a:pt x="808689" y="114634"/>
                </a:lnTo>
                <a:cubicBezTo>
                  <a:pt x="825427" y="113753"/>
                  <a:pt x="842210" y="113509"/>
                  <a:pt x="858902" y="111992"/>
                </a:cubicBezTo>
                <a:cubicBezTo>
                  <a:pt x="867021" y="111254"/>
                  <a:pt x="867730" y="107577"/>
                  <a:pt x="874758" y="104063"/>
                </a:cubicBezTo>
                <a:cubicBezTo>
                  <a:pt x="877250" y="102817"/>
                  <a:pt x="880044" y="102302"/>
                  <a:pt x="882687" y="101421"/>
                </a:cubicBezTo>
                <a:cubicBezTo>
                  <a:pt x="887972" y="97897"/>
                  <a:pt x="896534" y="96876"/>
                  <a:pt x="898543" y="90850"/>
                </a:cubicBezTo>
                <a:cubicBezTo>
                  <a:pt x="899424" y="88207"/>
                  <a:pt x="899446" y="85096"/>
                  <a:pt x="901186" y="82921"/>
                </a:cubicBezTo>
                <a:cubicBezTo>
                  <a:pt x="904911" y="78264"/>
                  <a:pt x="911821" y="76734"/>
                  <a:pt x="917043" y="74993"/>
                </a:cubicBezTo>
                <a:cubicBezTo>
                  <a:pt x="918805" y="72350"/>
                  <a:pt x="919685" y="68827"/>
                  <a:pt x="922328" y="67065"/>
                </a:cubicBezTo>
                <a:cubicBezTo>
                  <a:pt x="925350" y="65050"/>
                  <a:pt x="929278" y="64701"/>
                  <a:pt x="932899" y="64422"/>
                </a:cubicBezTo>
                <a:cubicBezTo>
                  <a:pt x="952243" y="62934"/>
                  <a:pt x="971660" y="62660"/>
                  <a:pt x="991041" y="61779"/>
                </a:cubicBezTo>
                <a:lnTo>
                  <a:pt x="1014825" y="53851"/>
                </a:lnTo>
                <a:lnTo>
                  <a:pt x="1022754" y="51208"/>
                </a:lnTo>
                <a:cubicBezTo>
                  <a:pt x="1040928" y="39092"/>
                  <a:pt x="1032584" y="42646"/>
                  <a:pt x="1046539" y="37994"/>
                </a:cubicBezTo>
                <a:cubicBezTo>
                  <a:pt x="1051305" y="33228"/>
                  <a:pt x="1054747" y="27423"/>
                  <a:pt x="1062395" y="27423"/>
                </a:cubicBezTo>
                <a:cubicBezTo>
                  <a:pt x="1066027" y="27423"/>
                  <a:pt x="1069443" y="29185"/>
                  <a:pt x="1072967" y="30066"/>
                </a:cubicBezTo>
                <a:cubicBezTo>
                  <a:pt x="1074729" y="32709"/>
                  <a:pt x="1076006" y="35748"/>
                  <a:pt x="1078252" y="37994"/>
                </a:cubicBezTo>
                <a:cubicBezTo>
                  <a:pt x="1091757" y="51500"/>
                  <a:pt x="1110457" y="41763"/>
                  <a:pt x="1128465" y="40637"/>
                </a:cubicBezTo>
                <a:cubicBezTo>
                  <a:pt x="1131108" y="38875"/>
                  <a:pt x="1134817" y="38109"/>
                  <a:pt x="1136393" y="35351"/>
                </a:cubicBezTo>
                <a:cubicBezTo>
                  <a:pt x="1138622" y="31451"/>
                  <a:pt x="1138297" y="26568"/>
                  <a:pt x="1139036" y="22137"/>
                </a:cubicBezTo>
                <a:cubicBezTo>
                  <a:pt x="1140060" y="15993"/>
                  <a:pt x="1138893" y="9209"/>
                  <a:pt x="1141679" y="3638"/>
                </a:cubicBezTo>
                <a:cubicBezTo>
                  <a:pt x="1142925" y="1146"/>
                  <a:pt x="1146964" y="1876"/>
                  <a:pt x="1149607" y="995"/>
                </a:cubicBezTo>
                <a:cubicBezTo>
                  <a:pt x="1162821" y="1876"/>
                  <a:pt x="1176515" y="0"/>
                  <a:pt x="1189249" y="3638"/>
                </a:cubicBezTo>
                <a:cubicBezTo>
                  <a:pt x="1191927" y="4403"/>
                  <a:pt x="1185572" y="8980"/>
                  <a:pt x="1186606" y="11566"/>
                </a:cubicBezTo>
                <a:cubicBezTo>
                  <a:pt x="1187805" y="14565"/>
                  <a:pt x="1199455" y="19209"/>
                  <a:pt x="1202462" y="19495"/>
                </a:cubicBezTo>
                <a:cubicBezTo>
                  <a:pt x="1218272" y="21001"/>
                  <a:pt x="1234175" y="21256"/>
                  <a:pt x="1250032" y="22137"/>
                </a:cubicBezTo>
                <a:lnTo>
                  <a:pt x="1265889" y="27423"/>
                </a:lnTo>
                <a:lnTo>
                  <a:pt x="1273817" y="30066"/>
                </a:lnTo>
                <a:cubicBezTo>
                  <a:pt x="1279911" y="29050"/>
                  <a:pt x="1291094" y="28034"/>
                  <a:pt x="1297602" y="24780"/>
                </a:cubicBezTo>
                <a:cubicBezTo>
                  <a:pt x="1300443" y="23360"/>
                  <a:pt x="1302888" y="21257"/>
                  <a:pt x="1305531" y="19495"/>
                </a:cubicBezTo>
                <a:cubicBezTo>
                  <a:pt x="1325207" y="21462"/>
                  <a:pt x="1330604" y="15126"/>
                  <a:pt x="1337244" y="30066"/>
                </a:cubicBezTo>
                <a:cubicBezTo>
                  <a:pt x="1339507" y="35157"/>
                  <a:pt x="1337895" y="42831"/>
                  <a:pt x="1342530" y="45922"/>
                </a:cubicBezTo>
                <a:cubicBezTo>
                  <a:pt x="1345173" y="47684"/>
                  <a:pt x="1347556" y="49918"/>
                  <a:pt x="1350458" y="51208"/>
                </a:cubicBezTo>
                <a:cubicBezTo>
                  <a:pt x="1355549" y="53471"/>
                  <a:pt x="1366314" y="56493"/>
                  <a:pt x="1366314" y="56493"/>
                </a:cubicBezTo>
                <a:cubicBezTo>
                  <a:pt x="1375955" y="85417"/>
                  <a:pt x="1360578" y="41603"/>
                  <a:pt x="1374243" y="72350"/>
                </a:cubicBezTo>
                <a:cubicBezTo>
                  <a:pt x="1376506" y="77441"/>
                  <a:pt x="1377766" y="82921"/>
                  <a:pt x="1379528" y="88207"/>
                </a:cubicBezTo>
                <a:cubicBezTo>
                  <a:pt x="1380409" y="90850"/>
                  <a:pt x="1379853" y="94590"/>
                  <a:pt x="1382171" y="96135"/>
                </a:cubicBezTo>
                <a:cubicBezTo>
                  <a:pt x="1384814" y="97897"/>
                  <a:pt x="1387258" y="100001"/>
                  <a:pt x="1390099" y="101421"/>
                </a:cubicBezTo>
                <a:cubicBezTo>
                  <a:pt x="1392591" y="102667"/>
                  <a:pt x="1395385" y="103182"/>
                  <a:pt x="1398028" y="104063"/>
                </a:cubicBezTo>
                <a:cubicBezTo>
                  <a:pt x="1403313" y="103182"/>
                  <a:pt x="1410811" y="105811"/>
                  <a:pt x="1413884" y="101421"/>
                </a:cubicBezTo>
                <a:cubicBezTo>
                  <a:pt x="1437231" y="68068"/>
                  <a:pt x="1401836" y="82533"/>
                  <a:pt x="1424456" y="74993"/>
                </a:cubicBezTo>
                <a:cubicBezTo>
                  <a:pt x="1430364" y="76470"/>
                  <a:pt x="1447024" y="80349"/>
                  <a:pt x="1450883" y="82921"/>
                </a:cubicBezTo>
                <a:cubicBezTo>
                  <a:pt x="1453526" y="84683"/>
                  <a:pt x="1455909" y="86917"/>
                  <a:pt x="1458812" y="88207"/>
                </a:cubicBezTo>
                <a:cubicBezTo>
                  <a:pt x="1463903" y="90470"/>
                  <a:pt x="1474668" y="93492"/>
                  <a:pt x="1474668" y="93492"/>
                </a:cubicBezTo>
                <a:cubicBezTo>
                  <a:pt x="1477311" y="92611"/>
                  <a:pt x="1480627" y="92820"/>
                  <a:pt x="1482597" y="90850"/>
                </a:cubicBezTo>
                <a:cubicBezTo>
                  <a:pt x="1484567" y="88880"/>
                  <a:pt x="1482972" y="84540"/>
                  <a:pt x="1485239" y="82921"/>
                </a:cubicBezTo>
                <a:cubicBezTo>
                  <a:pt x="1489773" y="79683"/>
                  <a:pt x="1501096" y="77636"/>
                  <a:pt x="1501096" y="77636"/>
                </a:cubicBezTo>
                <a:cubicBezTo>
                  <a:pt x="1503739" y="75874"/>
                  <a:pt x="1505859" y="72614"/>
                  <a:pt x="1509024" y="72350"/>
                </a:cubicBezTo>
                <a:cubicBezTo>
                  <a:pt x="1516974" y="71687"/>
                  <a:pt x="1525785" y="71211"/>
                  <a:pt x="1532809" y="74993"/>
                </a:cubicBezTo>
                <a:cubicBezTo>
                  <a:pt x="1538402" y="78005"/>
                  <a:pt x="1539856" y="85564"/>
                  <a:pt x="1543380" y="90850"/>
                </a:cubicBezTo>
                <a:cubicBezTo>
                  <a:pt x="1545142" y="93493"/>
                  <a:pt x="1545653" y="97773"/>
                  <a:pt x="1548666" y="98778"/>
                </a:cubicBezTo>
                <a:lnTo>
                  <a:pt x="1556594" y="101421"/>
                </a:lnTo>
                <a:cubicBezTo>
                  <a:pt x="1558356" y="104064"/>
                  <a:pt x="1560459" y="106508"/>
                  <a:pt x="1561880" y="109349"/>
                </a:cubicBezTo>
                <a:cubicBezTo>
                  <a:pt x="1563126" y="111840"/>
                  <a:pt x="1563277" y="114785"/>
                  <a:pt x="1564523" y="117277"/>
                </a:cubicBezTo>
                <a:cubicBezTo>
                  <a:pt x="1568840" y="125912"/>
                  <a:pt x="1576148" y="132605"/>
                  <a:pt x="1585665" y="135777"/>
                </a:cubicBezTo>
                <a:lnTo>
                  <a:pt x="1601521" y="141062"/>
                </a:lnTo>
                <a:cubicBezTo>
                  <a:pt x="1603283" y="143705"/>
                  <a:pt x="1605971" y="145926"/>
                  <a:pt x="1606807" y="148991"/>
                </a:cubicBezTo>
                <a:cubicBezTo>
                  <a:pt x="1608676" y="155843"/>
                  <a:pt x="1608884" y="163053"/>
                  <a:pt x="1609450" y="170133"/>
                </a:cubicBezTo>
                <a:cubicBezTo>
                  <a:pt x="1610646" y="185087"/>
                  <a:pt x="1610600" y="200133"/>
                  <a:pt x="1612093" y="215060"/>
                </a:cubicBezTo>
                <a:cubicBezTo>
                  <a:pt x="1612370" y="217832"/>
                  <a:pt x="1613854" y="220345"/>
                  <a:pt x="1614735" y="222988"/>
                </a:cubicBezTo>
                <a:cubicBezTo>
                  <a:pt x="1616635" y="253389"/>
                  <a:pt x="1605839" y="260825"/>
                  <a:pt x="1625306" y="270558"/>
                </a:cubicBezTo>
                <a:cubicBezTo>
                  <a:pt x="1627798" y="271804"/>
                  <a:pt x="1630592" y="272320"/>
                  <a:pt x="1633235" y="273201"/>
                </a:cubicBezTo>
                <a:cubicBezTo>
                  <a:pt x="1632354" y="282891"/>
                  <a:pt x="1635205" y="293704"/>
                  <a:pt x="1630592" y="302271"/>
                </a:cubicBezTo>
                <a:cubicBezTo>
                  <a:pt x="1627950" y="307177"/>
                  <a:pt x="1614735" y="307557"/>
                  <a:pt x="1614735" y="307557"/>
                </a:cubicBezTo>
                <a:lnTo>
                  <a:pt x="1598879" y="318128"/>
                </a:lnTo>
                <a:lnTo>
                  <a:pt x="1590950" y="323414"/>
                </a:lnTo>
                <a:cubicBezTo>
                  <a:pt x="1582055" y="350106"/>
                  <a:pt x="1595640" y="308666"/>
                  <a:pt x="1585665" y="341913"/>
                </a:cubicBezTo>
                <a:cubicBezTo>
                  <a:pt x="1584064" y="347250"/>
                  <a:pt x="1582141" y="352484"/>
                  <a:pt x="1580379" y="357770"/>
                </a:cubicBezTo>
                <a:lnTo>
                  <a:pt x="1577736" y="365698"/>
                </a:lnTo>
                <a:cubicBezTo>
                  <a:pt x="1576855" y="368341"/>
                  <a:pt x="1577796" y="372950"/>
                  <a:pt x="1575094" y="373626"/>
                </a:cubicBezTo>
                <a:lnTo>
                  <a:pt x="1564523" y="376269"/>
                </a:lnTo>
                <a:cubicBezTo>
                  <a:pt x="1558673" y="380169"/>
                  <a:pt x="1552736" y="383378"/>
                  <a:pt x="1548666" y="389483"/>
                </a:cubicBezTo>
                <a:cubicBezTo>
                  <a:pt x="1547121" y="391801"/>
                  <a:pt x="1547269" y="394919"/>
                  <a:pt x="1546023" y="397411"/>
                </a:cubicBezTo>
                <a:cubicBezTo>
                  <a:pt x="1544603" y="400252"/>
                  <a:pt x="1542028" y="402437"/>
                  <a:pt x="1540738" y="405340"/>
                </a:cubicBezTo>
                <a:cubicBezTo>
                  <a:pt x="1538475" y="410431"/>
                  <a:pt x="1538542" y="416560"/>
                  <a:pt x="1535452" y="421196"/>
                </a:cubicBezTo>
                <a:cubicBezTo>
                  <a:pt x="1531928" y="426482"/>
                  <a:pt x="1526890" y="431027"/>
                  <a:pt x="1524881" y="437053"/>
                </a:cubicBezTo>
                <a:lnTo>
                  <a:pt x="1519595" y="452910"/>
                </a:lnTo>
                <a:cubicBezTo>
                  <a:pt x="1518714" y="455553"/>
                  <a:pt x="1517629" y="458136"/>
                  <a:pt x="1516953" y="460838"/>
                </a:cubicBezTo>
                <a:cubicBezTo>
                  <a:pt x="1512957" y="476820"/>
                  <a:pt x="1515461" y="467955"/>
                  <a:pt x="1509024" y="487266"/>
                </a:cubicBezTo>
                <a:lnTo>
                  <a:pt x="1506382" y="495194"/>
                </a:lnTo>
                <a:lnTo>
                  <a:pt x="1503739" y="503122"/>
                </a:lnTo>
                <a:cubicBezTo>
                  <a:pt x="1504620" y="526907"/>
                  <a:pt x="1504227" y="550773"/>
                  <a:pt x="1506382" y="574477"/>
                </a:cubicBezTo>
                <a:cubicBezTo>
                  <a:pt x="1506886" y="580026"/>
                  <a:pt x="1509905" y="585048"/>
                  <a:pt x="1511667" y="590334"/>
                </a:cubicBezTo>
                <a:lnTo>
                  <a:pt x="1514310" y="598262"/>
                </a:lnTo>
                <a:cubicBezTo>
                  <a:pt x="1509024" y="600024"/>
                  <a:pt x="1503089" y="600458"/>
                  <a:pt x="1498453" y="603548"/>
                </a:cubicBezTo>
                <a:cubicBezTo>
                  <a:pt x="1488207" y="610378"/>
                  <a:pt x="1493538" y="607829"/>
                  <a:pt x="1482597" y="611476"/>
                </a:cubicBezTo>
                <a:cubicBezTo>
                  <a:pt x="1478676" y="617357"/>
                  <a:pt x="1475762" y="620220"/>
                  <a:pt x="1474668" y="627333"/>
                </a:cubicBezTo>
                <a:cubicBezTo>
                  <a:pt x="1473322" y="636083"/>
                  <a:pt x="1473371" y="645010"/>
                  <a:pt x="1472025" y="653760"/>
                </a:cubicBezTo>
                <a:cubicBezTo>
                  <a:pt x="1471601" y="656513"/>
                  <a:pt x="1471353" y="659719"/>
                  <a:pt x="1469383" y="661689"/>
                </a:cubicBezTo>
                <a:cubicBezTo>
                  <a:pt x="1464891" y="666181"/>
                  <a:pt x="1453526" y="672260"/>
                  <a:pt x="1453526" y="672260"/>
                </a:cubicBezTo>
                <a:cubicBezTo>
                  <a:pt x="1449563" y="684150"/>
                  <a:pt x="1445378" y="686136"/>
                  <a:pt x="1450883" y="696045"/>
                </a:cubicBezTo>
                <a:cubicBezTo>
                  <a:pt x="1453968" y="701598"/>
                  <a:pt x="1459445" y="705876"/>
                  <a:pt x="1461454" y="711902"/>
                </a:cubicBezTo>
                <a:cubicBezTo>
                  <a:pt x="1462335" y="714545"/>
                  <a:pt x="1463364" y="717143"/>
                  <a:pt x="1464097" y="719830"/>
                </a:cubicBezTo>
                <a:cubicBezTo>
                  <a:pt x="1473045" y="752634"/>
                  <a:pt x="1465941" y="730645"/>
                  <a:pt x="1472025" y="748900"/>
                </a:cubicBezTo>
                <a:cubicBezTo>
                  <a:pt x="1483226" y="838505"/>
                  <a:pt x="1467529" y="706633"/>
                  <a:pt x="1477311" y="957680"/>
                </a:cubicBezTo>
                <a:cubicBezTo>
                  <a:pt x="1477528" y="963247"/>
                  <a:pt x="1480835" y="968251"/>
                  <a:pt x="1482597" y="973536"/>
                </a:cubicBezTo>
                <a:cubicBezTo>
                  <a:pt x="1490611" y="997579"/>
                  <a:pt x="1478321" y="959623"/>
                  <a:pt x="1487882" y="994678"/>
                </a:cubicBezTo>
                <a:cubicBezTo>
                  <a:pt x="1489348" y="1000053"/>
                  <a:pt x="1493168" y="1010535"/>
                  <a:pt x="1493168" y="1010535"/>
                </a:cubicBezTo>
                <a:cubicBezTo>
                  <a:pt x="1496598" y="1034549"/>
                  <a:pt x="1493840" y="1023126"/>
                  <a:pt x="1501096" y="1044891"/>
                </a:cubicBezTo>
                <a:cubicBezTo>
                  <a:pt x="1501977" y="1047534"/>
                  <a:pt x="1502194" y="1050501"/>
                  <a:pt x="1503739" y="1052819"/>
                </a:cubicBezTo>
                <a:cubicBezTo>
                  <a:pt x="1512114" y="1065383"/>
                  <a:pt x="1508020" y="1057736"/>
                  <a:pt x="1514310" y="1076604"/>
                </a:cubicBezTo>
                <a:lnTo>
                  <a:pt x="1516953" y="1084533"/>
                </a:lnTo>
                <a:cubicBezTo>
                  <a:pt x="1517834" y="1087176"/>
                  <a:pt x="1517277" y="1090916"/>
                  <a:pt x="1519595" y="1092461"/>
                </a:cubicBezTo>
                <a:cubicBezTo>
                  <a:pt x="1532160" y="1100837"/>
                  <a:pt x="1524510" y="1096742"/>
                  <a:pt x="1543380" y="1103032"/>
                </a:cubicBezTo>
                <a:lnTo>
                  <a:pt x="1551309" y="1105675"/>
                </a:lnTo>
                <a:cubicBezTo>
                  <a:pt x="1553071" y="1108318"/>
                  <a:pt x="1555304" y="1110701"/>
                  <a:pt x="1556594" y="1113603"/>
                </a:cubicBezTo>
                <a:cubicBezTo>
                  <a:pt x="1558857" y="1118694"/>
                  <a:pt x="1558790" y="1124824"/>
                  <a:pt x="1561880" y="1129460"/>
                </a:cubicBezTo>
                <a:cubicBezTo>
                  <a:pt x="1563642" y="1132103"/>
                  <a:pt x="1565875" y="1134486"/>
                  <a:pt x="1567165" y="1137388"/>
                </a:cubicBezTo>
                <a:cubicBezTo>
                  <a:pt x="1569428" y="1142479"/>
                  <a:pt x="1570689" y="1147959"/>
                  <a:pt x="1572451" y="1153245"/>
                </a:cubicBezTo>
                <a:lnTo>
                  <a:pt x="1577736" y="1169102"/>
                </a:lnTo>
                <a:lnTo>
                  <a:pt x="1585665" y="1192886"/>
                </a:lnTo>
                <a:lnTo>
                  <a:pt x="1588308" y="1200815"/>
                </a:lnTo>
                <a:cubicBezTo>
                  <a:pt x="1554349" y="1223450"/>
                  <a:pt x="1587086" y="1203655"/>
                  <a:pt x="1487882" y="1208743"/>
                </a:cubicBezTo>
                <a:cubicBezTo>
                  <a:pt x="1483960" y="1208944"/>
                  <a:pt x="1473585" y="1212628"/>
                  <a:pt x="1469383" y="1214029"/>
                </a:cubicBezTo>
                <a:cubicBezTo>
                  <a:pt x="1464402" y="1219009"/>
                  <a:pt x="1459113" y="1223260"/>
                  <a:pt x="1456169" y="1229885"/>
                </a:cubicBezTo>
                <a:cubicBezTo>
                  <a:pt x="1454888" y="1232766"/>
                  <a:pt x="1451118" y="1250220"/>
                  <a:pt x="1445598" y="1253670"/>
                </a:cubicBezTo>
                <a:cubicBezTo>
                  <a:pt x="1440873" y="1256623"/>
                  <a:pt x="1429741" y="1258956"/>
                  <a:pt x="1429741" y="1258956"/>
                </a:cubicBezTo>
                <a:cubicBezTo>
                  <a:pt x="1427979" y="1261599"/>
                  <a:pt x="1426702" y="1264638"/>
                  <a:pt x="1424456" y="1266884"/>
                </a:cubicBezTo>
                <a:cubicBezTo>
                  <a:pt x="1422210" y="1269130"/>
                  <a:pt x="1418511" y="1269690"/>
                  <a:pt x="1416527" y="1272170"/>
                </a:cubicBezTo>
                <a:cubicBezTo>
                  <a:pt x="1414787" y="1274345"/>
                  <a:pt x="1415130" y="1277606"/>
                  <a:pt x="1413884" y="1280098"/>
                </a:cubicBezTo>
                <a:cubicBezTo>
                  <a:pt x="1412464" y="1282939"/>
                  <a:pt x="1409889" y="1285124"/>
                  <a:pt x="1408599" y="1288026"/>
                </a:cubicBezTo>
                <a:cubicBezTo>
                  <a:pt x="1406336" y="1293117"/>
                  <a:pt x="1403313" y="1303883"/>
                  <a:pt x="1403313" y="1303883"/>
                </a:cubicBezTo>
                <a:cubicBezTo>
                  <a:pt x="1404607" y="1318120"/>
                  <a:pt x="1401092" y="1330733"/>
                  <a:pt x="1411242" y="1340882"/>
                </a:cubicBezTo>
                <a:cubicBezTo>
                  <a:pt x="1413488" y="1343128"/>
                  <a:pt x="1416527" y="1344405"/>
                  <a:pt x="1419170" y="1346167"/>
                </a:cubicBezTo>
                <a:cubicBezTo>
                  <a:pt x="1420695" y="1378197"/>
                  <a:pt x="1424280" y="1402720"/>
                  <a:pt x="1419170" y="1433379"/>
                </a:cubicBezTo>
                <a:cubicBezTo>
                  <a:pt x="1418254" y="1438875"/>
                  <a:pt x="1415646" y="1443950"/>
                  <a:pt x="1413884" y="1449236"/>
                </a:cubicBezTo>
                <a:lnTo>
                  <a:pt x="1411242" y="1457164"/>
                </a:lnTo>
                <a:lnTo>
                  <a:pt x="1408599" y="1465092"/>
                </a:lnTo>
                <a:cubicBezTo>
                  <a:pt x="1409480" y="1478306"/>
                  <a:pt x="1408209" y="1491843"/>
                  <a:pt x="1411242" y="1504734"/>
                </a:cubicBezTo>
                <a:cubicBezTo>
                  <a:pt x="1411969" y="1507826"/>
                  <a:pt x="1416730" y="1507986"/>
                  <a:pt x="1419170" y="1510019"/>
                </a:cubicBezTo>
                <a:cubicBezTo>
                  <a:pt x="1422041" y="1512412"/>
                  <a:pt x="1424803" y="1514998"/>
                  <a:pt x="1427098" y="1517948"/>
                </a:cubicBezTo>
                <a:cubicBezTo>
                  <a:pt x="1427103" y="1517955"/>
                  <a:pt x="1440310" y="1537766"/>
                  <a:pt x="1442955" y="1541733"/>
                </a:cubicBezTo>
                <a:lnTo>
                  <a:pt x="1448241" y="1549661"/>
                </a:lnTo>
                <a:cubicBezTo>
                  <a:pt x="1449681" y="1553982"/>
                  <a:pt x="1451854" y="1562821"/>
                  <a:pt x="1456169" y="1565518"/>
                </a:cubicBezTo>
                <a:cubicBezTo>
                  <a:pt x="1460893" y="1568471"/>
                  <a:pt x="1472025" y="1570803"/>
                  <a:pt x="1472025" y="1570803"/>
                </a:cubicBezTo>
                <a:cubicBezTo>
                  <a:pt x="1478192" y="1569922"/>
                  <a:pt x="1484558" y="1569950"/>
                  <a:pt x="1490525" y="1568160"/>
                </a:cubicBezTo>
                <a:cubicBezTo>
                  <a:pt x="1507284" y="1563133"/>
                  <a:pt x="1491736" y="1564307"/>
                  <a:pt x="1501096" y="1554947"/>
                </a:cubicBezTo>
                <a:cubicBezTo>
                  <a:pt x="1503066" y="1552977"/>
                  <a:pt x="1506381" y="1553185"/>
                  <a:pt x="1509024" y="1552304"/>
                </a:cubicBezTo>
                <a:cubicBezTo>
                  <a:pt x="1513429" y="1553185"/>
                  <a:pt x="1520087" y="1551004"/>
                  <a:pt x="1522238" y="1554947"/>
                </a:cubicBezTo>
                <a:cubicBezTo>
                  <a:pt x="1526477" y="1562719"/>
                  <a:pt x="1523535" y="1572624"/>
                  <a:pt x="1524881" y="1581374"/>
                </a:cubicBezTo>
                <a:cubicBezTo>
                  <a:pt x="1525305" y="1584128"/>
                  <a:pt x="1526759" y="1586624"/>
                  <a:pt x="1527524" y="1589303"/>
                </a:cubicBezTo>
                <a:cubicBezTo>
                  <a:pt x="1528522" y="1592795"/>
                  <a:pt x="1529286" y="1596350"/>
                  <a:pt x="1530167" y="1599874"/>
                </a:cubicBezTo>
                <a:cubicBezTo>
                  <a:pt x="1529152" y="1605963"/>
                  <a:pt x="1528134" y="1617154"/>
                  <a:pt x="1524881" y="1623659"/>
                </a:cubicBezTo>
                <a:cubicBezTo>
                  <a:pt x="1523460" y="1626500"/>
                  <a:pt x="1522075" y="1629603"/>
                  <a:pt x="1519595" y="1631587"/>
                </a:cubicBezTo>
                <a:cubicBezTo>
                  <a:pt x="1517420" y="1633327"/>
                  <a:pt x="1514102" y="1632877"/>
                  <a:pt x="1511667" y="1634230"/>
                </a:cubicBezTo>
                <a:cubicBezTo>
                  <a:pt x="1506114" y="1637315"/>
                  <a:pt x="1501836" y="1642792"/>
                  <a:pt x="1495810" y="1644801"/>
                </a:cubicBezTo>
                <a:cubicBezTo>
                  <a:pt x="1484869" y="1648448"/>
                  <a:pt x="1490200" y="1645899"/>
                  <a:pt x="1479954" y="1652729"/>
                </a:cubicBezTo>
                <a:cubicBezTo>
                  <a:pt x="1466740" y="1651848"/>
                  <a:pt x="1453203" y="1653119"/>
                  <a:pt x="1440312" y="1650086"/>
                </a:cubicBezTo>
                <a:cubicBezTo>
                  <a:pt x="1437220" y="1649359"/>
                  <a:pt x="1436317" y="1645060"/>
                  <a:pt x="1435027" y="1642158"/>
                </a:cubicBezTo>
                <a:cubicBezTo>
                  <a:pt x="1432764" y="1637067"/>
                  <a:pt x="1432831" y="1630938"/>
                  <a:pt x="1429741" y="1626302"/>
                </a:cubicBezTo>
                <a:cubicBezTo>
                  <a:pt x="1414585" y="1603564"/>
                  <a:pt x="1432763" y="1632341"/>
                  <a:pt x="1421813" y="1610445"/>
                </a:cubicBezTo>
                <a:cubicBezTo>
                  <a:pt x="1420392" y="1607604"/>
                  <a:pt x="1418289" y="1605160"/>
                  <a:pt x="1416527" y="1602517"/>
                </a:cubicBezTo>
                <a:cubicBezTo>
                  <a:pt x="1410238" y="1583647"/>
                  <a:pt x="1414333" y="1591296"/>
                  <a:pt x="1405956" y="1578732"/>
                </a:cubicBezTo>
                <a:cubicBezTo>
                  <a:pt x="1405075" y="1576089"/>
                  <a:pt x="1404858" y="1573121"/>
                  <a:pt x="1403313" y="1570803"/>
                </a:cubicBezTo>
                <a:cubicBezTo>
                  <a:pt x="1401240" y="1567693"/>
                  <a:pt x="1398652" y="1564690"/>
                  <a:pt x="1395385" y="1562875"/>
                </a:cubicBezTo>
                <a:cubicBezTo>
                  <a:pt x="1383209" y="1556110"/>
                  <a:pt x="1368961" y="1556709"/>
                  <a:pt x="1355743" y="1554947"/>
                </a:cubicBezTo>
                <a:cubicBezTo>
                  <a:pt x="1348312" y="1553956"/>
                  <a:pt x="1330495" y="1551328"/>
                  <a:pt x="1324030" y="1547018"/>
                </a:cubicBezTo>
                <a:lnTo>
                  <a:pt x="1316102" y="1541733"/>
                </a:lnTo>
                <a:cubicBezTo>
                  <a:pt x="1312578" y="1536447"/>
                  <a:pt x="1306575" y="1532142"/>
                  <a:pt x="1305531" y="1525876"/>
                </a:cubicBezTo>
                <a:cubicBezTo>
                  <a:pt x="1303759" y="1515244"/>
                  <a:pt x="1305035" y="1509523"/>
                  <a:pt x="1297602" y="1502091"/>
                </a:cubicBezTo>
                <a:cubicBezTo>
                  <a:pt x="1295356" y="1499845"/>
                  <a:pt x="1292317" y="1498568"/>
                  <a:pt x="1289674" y="1496806"/>
                </a:cubicBezTo>
                <a:lnTo>
                  <a:pt x="1273817" y="1502091"/>
                </a:lnTo>
                <a:lnTo>
                  <a:pt x="1265889" y="1504734"/>
                </a:lnTo>
                <a:cubicBezTo>
                  <a:pt x="1263246" y="1507377"/>
                  <a:pt x="1261228" y="1510847"/>
                  <a:pt x="1257961" y="1512662"/>
                </a:cubicBezTo>
                <a:cubicBezTo>
                  <a:pt x="1253091" y="1515368"/>
                  <a:pt x="1242104" y="1517948"/>
                  <a:pt x="1242104" y="1517948"/>
                </a:cubicBezTo>
                <a:cubicBezTo>
                  <a:pt x="1224486" y="1517067"/>
                  <a:pt x="1206823" y="1516833"/>
                  <a:pt x="1189249" y="1515305"/>
                </a:cubicBezTo>
                <a:cubicBezTo>
                  <a:pt x="1186474" y="1515064"/>
                  <a:pt x="1183495" y="1514402"/>
                  <a:pt x="1181320" y="1512662"/>
                </a:cubicBezTo>
                <a:cubicBezTo>
                  <a:pt x="1160380" y="1495910"/>
                  <a:pt x="1201089" y="1513085"/>
                  <a:pt x="1160178" y="1499448"/>
                </a:cubicBezTo>
                <a:lnTo>
                  <a:pt x="1152250" y="1496806"/>
                </a:lnTo>
                <a:cubicBezTo>
                  <a:pt x="1149235" y="1487762"/>
                  <a:pt x="1145175" y="1470946"/>
                  <a:pt x="1136393" y="1465092"/>
                </a:cubicBezTo>
                <a:cubicBezTo>
                  <a:pt x="1126147" y="1458262"/>
                  <a:pt x="1131478" y="1460811"/>
                  <a:pt x="1120536" y="1457164"/>
                </a:cubicBezTo>
                <a:cubicBezTo>
                  <a:pt x="1109084" y="1458045"/>
                  <a:pt x="1097525" y="1458016"/>
                  <a:pt x="1086180" y="1459807"/>
                </a:cubicBezTo>
                <a:cubicBezTo>
                  <a:pt x="1080677" y="1460676"/>
                  <a:pt x="1075609" y="1463330"/>
                  <a:pt x="1070324" y="1465092"/>
                </a:cubicBezTo>
                <a:lnTo>
                  <a:pt x="1062395" y="1467735"/>
                </a:lnTo>
                <a:cubicBezTo>
                  <a:pt x="1057991" y="1466854"/>
                  <a:pt x="1052919" y="1467584"/>
                  <a:pt x="1049182" y="1465092"/>
                </a:cubicBezTo>
                <a:cubicBezTo>
                  <a:pt x="1046864" y="1463547"/>
                  <a:pt x="1047785" y="1459655"/>
                  <a:pt x="1046539" y="1457164"/>
                </a:cubicBezTo>
                <a:cubicBezTo>
                  <a:pt x="1045118" y="1454323"/>
                  <a:pt x="1043015" y="1451879"/>
                  <a:pt x="1041253" y="1449236"/>
                </a:cubicBezTo>
                <a:cubicBezTo>
                  <a:pt x="1035257" y="1431247"/>
                  <a:pt x="1042350" y="1444455"/>
                  <a:pt x="1009540" y="1438665"/>
                </a:cubicBezTo>
                <a:cubicBezTo>
                  <a:pt x="1004053" y="1437697"/>
                  <a:pt x="998969" y="1435141"/>
                  <a:pt x="993683" y="1433379"/>
                </a:cubicBezTo>
                <a:cubicBezTo>
                  <a:pt x="982307" y="1429587"/>
                  <a:pt x="988460" y="1431412"/>
                  <a:pt x="975184" y="1428093"/>
                </a:cubicBezTo>
                <a:cubicBezTo>
                  <a:pt x="959327" y="1428974"/>
                  <a:pt x="943424" y="1429230"/>
                  <a:pt x="927614" y="1430736"/>
                </a:cubicBezTo>
                <a:cubicBezTo>
                  <a:pt x="916460" y="1431798"/>
                  <a:pt x="915618" y="1440020"/>
                  <a:pt x="903829" y="1443950"/>
                </a:cubicBezTo>
                <a:lnTo>
                  <a:pt x="895901" y="1446593"/>
                </a:lnTo>
                <a:cubicBezTo>
                  <a:pt x="881806" y="1445712"/>
                  <a:pt x="867195" y="1447830"/>
                  <a:pt x="853616" y="1443950"/>
                </a:cubicBezTo>
                <a:cubicBezTo>
                  <a:pt x="850562" y="1443077"/>
                  <a:pt x="857651" y="1438941"/>
                  <a:pt x="858902" y="1436022"/>
                </a:cubicBezTo>
                <a:cubicBezTo>
                  <a:pt x="860333" y="1432684"/>
                  <a:pt x="860501" y="1428930"/>
                  <a:pt x="861545" y="1425451"/>
                </a:cubicBezTo>
                <a:cubicBezTo>
                  <a:pt x="863146" y="1420114"/>
                  <a:pt x="865068" y="1414880"/>
                  <a:pt x="866830" y="1409594"/>
                </a:cubicBezTo>
                <a:lnTo>
                  <a:pt x="869473" y="1401666"/>
                </a:lnTo>
                <a:cubicBezTo>
                  <a:pt x="868592" y="1396380"/>
                  <a:pt x="869226" y="1390602"/>
                  <a:pt x="866830" y="1385809"/>
                </a:cubicBezTo>
                <a:cubicBezTo>
                  <a:pt x="865410" y="1382968"/>
                  <a:pt x="860585" y="1383216"/>
                  <a:pt x="858902" y="1380523"/>
                </a:cubicBezTo>
                <a:cubicBezTo>
                  <a:pt x="855949" y="1375799"/>
                  <a:pt x="855378" y="1369952"/>
                  <a:pt x="853616" y="1364667"/>
                </a:cubicBezTo>
                <a:lnTo>
                  <a:pt x="850973" y="1356739"/>
                </a:lnTo>
                <a:cubicBezTo>
                  <a:pt x="850092" y="1354096"/>
                  <a:pt x="849876" y="1351128"/>
                  <a:pt x="848331" y="1348810"/>
                </a:cubicBezTo>
                <a:lnTo>
                  <a:pt x="843045" y="1340882"/>
                </a:lnTo>
                <a:cubicBezTo>
                  <a:pt x="842164" y="1324144"/>
                  <a:pt x="841854" y="1307367"/>
                  <a:pt x="840402" y="1290669"/>
                </a:cubicBezTo>
                <a:cubicBezTo>
                  <a:pt x="840087" y="1287051"/>
                  <a:pt x="837873" y="1283728"/>
                  <a:pt x="837760" y="1280098"/>
                </a:cubicBezTo>
                <a:cubicBezTo>
                  <a:pt x="836109" y="1227261"/>
                  <a:pt x="836794" y="1174368"/>
                  <a:pt x="835117" y="1121532"/>
                </a:cubicBezTo>
                <a:cubicBezTo>
                  <a:pt x="835029" y="1118747"/>
                  <a:pt x="833720" y="1116095"/>
                  <a:pt x="832474" y="1113603"/>
                </a:cubicBezTo>
                <a:cubicBezTo>
                  <a:pt x="831053" y="1110762"/>
                  <a:pt x="828950" y="1108318"/>
                  <a:pt x="827188" y="1105675"/>
                </a:cubicBezTo>
                <a:cubicBezTo>
                  <a:pt x="791466" y="1111629"/>
                  <a:pt x="800643" y="1111191"/>
                  <a:pt x="739977" y="1105675"/>
                </a:cubicBezTo>
                <a:cubicBezTo>
                  <a:pt x="734428" y="1105171"/>
                  <a:pt x="728756" y="1103480"/>
                  <a:pt x="724120" y="1100389"/>
                </a:cubicBezTo>
                <a:cubicBezTo>
                  <a:pt x="705154" y="1087745"/>
                  <a:pt x="712756" y="1094309"/>
                  <a:pt x="700335" y="1081890"/>
                </a:cubicBezTo>
                <a:cubicBezTo>
                  <a:pt x="688002" y="1082771"/>
                  <a:pt x="675632" y="1083239"/>
                  <a:pt x="663336" y="1084533"/>
                </a:cubicBezTo>
                <a:cubicBezTo>
                  <a:pt x="658869" y="1085003"/>
                  <a:pt x="654553" y="1086438"/>
                  <a:pt x="650123" y="1087176"/>
                </a:cubicBezTo>
                <a:cubicBezTo>
                  <a:pt x="643979" y="1088200"/>
                  <a:pt x="637790" y="1088937"/>
                  <a:pt x="631623" y="1089818"/>
                </a:cubicBezTo>
                <a:cubicBezTo>
                  <a:pt x="630742" y="1092461"/>
                  <a:pt x="629584" y="1095027"/>
                  <a:pt x="628980" y="1097747"/>
                </a:cubicBezTo>
                <a:cubicBezTo>
                  <a:pt x="623788" y="1121115"/>
                  <a:pt x="628962" y="1105741"/>
                  <a:pt x="623695" y="1124174"/>
                </a:cubicBezTo>
                <a:cubicBezTo>
                  <a:pt x="622930" y="1126853"/>
                  <a:pt x="623022" y="1130133"/>
                  <a:pt x="621052" y="1132103"/>
                </a:cubicBezTo>
                <a:cubicBezTo>
                  <a:pt x="616560" y="1136595"/>
                  <a:pt x="611221" y="1140665"/>
                  <a:pt x="605195" y="1142674"/>
                </a:cubicBezTo>
                <a:cubicBezTo>
                  <a:pt x="602552" y="1143555"/>
                  <a:pt x="599759" y="1144071"/>
                  <a:pt x="597267" y="1145317"/>
                </a:cubicBezTo>
                <a:cubicBezTo>
                  <a:pt x="578208" y="1154847"/>
                  <a:pt x="601921" y="1146627"/>
                  <a:pt x="578768" y="1155888"/>
                </a:cubicBezTo>
                <a:cubicBezTo>
                  <a:pt x="573595" y="1157957"/>
                  <a:pt x="568197" y="1159411"/>
                  <a:pt x="562911" y="1161173"/>
                </a:cubicBezTo>
                <a:lnTo>
                  <a:pt x="554983" y="1163816"/>
                </a:lnTo>
                <a:cubicBezTo>
                  <a:pt x="517103" y="1162935"/>
                  <a:pt x="479197" y="1162819"/>
                  <a:pt x="441343" y="1161173"/>
                </a:cubicBezTo>
                <a:cubicBezTo>
                  <a:pt x="438560" y="1161052"/>
                  <a:pt x="435385" y="1160500"/>
                  <a:pt x="433415" y="1158530"/>
                </a:cubicBezTo>
                <a:cubicBezTo>
                  <a:pt x="431445" y="1156560"/>
                  <a:pt x="431537" y="1153280"/>
                  <a:pt x="430772" y="1150602"/>
                </a:cubicBezTo>
                <a:cubicBezTo>
                  <a:pt x="429641" y="1146644"/>
                  <a:pt x="427602" y="1136332"/>
                  <a:pt x="425487" y="1132103"/>
                </a:cubicBezTo>
                <a:cubicBezTo>
                  <a:pt x="424066" y="1129262"/>
                  <a:pt x="422592" y="1126266"/>
                  <a:pt x="420201" y="1124174"/>
                </a:cubicBezTo>
                <a:cubicBezTo>
                  <a:pt x="415421" y="1119991"/>
                  <a:pt x="404345" y="1113603"/>
                  <a:pt x="404345" y="1113603"/>
                </a:cubicBezTo>
                <a:lnTo>
                  <a:pt x="396416" y="1089818"/>
                </a:lnTo>
                <a:cubicBezTo>
                  <a:pt x="395535" y="1087175"/>
                  <a:pt x="394319" y="1084622"/>
                  <a:pt x="393773" y="1081890"/>
                </a:cubicBezTo>
                <a:cubicBezTo>
                  <a:pt x="392892" y="1077485"/>
                  <a:pt x="392220" y="1073034"/>
                  <a:pt x="391131" y="1068676"/>
                </a:cubicBezTo>
                <a:cubicBezTo>
                  <a:pt x="390455" y="1065974"/>
                  <a:pt x="389114" y="1063462"/>
                  <a:pt x="388488" y="1060748"/>
                </a:cubicBezTo>
                <a:cubicBezTo>
                  <a:pt x="387548" y="1056674"/>
                  <a:pt x="382670" y="1025591"/>
                  <a:pt x="377917" y="1018463"/>
                </a:cubicBezTo>
                <a:lnTo>
                  <a:pt x="372631" y="1010535"/>
                </a:lnTo>
                <a:cubicBezTo>
                  <a:pt x="373512" y="1007892"/>
                  <a:pt x="377244" y="1004577"/>
                  <a:pt x="375274" y="1002607"/>
                </a:cubicBezTo>
                <a:cubicBezTo>
                  <a:pt x="371334" y="998667"/>
                  <a:pt x="364703" y="999083"/>
                  <a:pt x="359417" y="997321"/>
                </a:cubicBezTo>
                <a:cubicBezTo>
                  <a:pt x="342629" y="991725"/>
                  <a:pt x="355726" y="995443"/>
                  <a:pt x="325061" y="992036"/>
                </a:cubicBezTo>
                <a:cubicBezTo>
                  <a:pt x="318002" y="991252"/>
                  <a:pt x="310966" y="990274"/>
                  <a:pt x="303919" y="989393"/>
                </a:cubicBezTo>
                <a:cubicBezTo>
                  <a:pt x="298633" y="987631"/>
                  <a:pt x="293558" y="985023"/>
                  <a:pt x="288062" y="984107"/>
                </a:cubicBezTo>
                <a:cubicBezTo>
                  <a:pt x="264337" y="980154"/>
                  <a:pt x="277531" y="982057"/>
                  <a:pt x="248421" y="978822"/>
                </a:cubicBezTo>
                <a:lnTo>
                  <a:pt x="0" y="994678"/>
                </a:lnTo>
                <a:close/>
              </a:path>
            </a:pathLst>
          </a:custGeom>
          <a:solidFill>
            <a:srgbClr val="00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42" name="Freeform 41"/>
          <p:cNvSpPr/>
          <p:nvPr/>
        </p:nvSpPr>
        <p:spPr>
          <a:xfrm>
            <a:off x="3856044" y="3386670"/>
            <a:ext cx="676275" cy="878417"/>
          </a:xfrm>
          <a:custGeom>
            <a:avLst/>
            <a:gdLst>
              <a:gd name="connsiteX0" fmla="*/ 171780 w 676550"/>
              <a:gd name="connsiteY0" fmla="*/ 745263 h 878940"/>
              <a:gd name="connsiteX1" fmla="*/ 166495 w 676550"/>
              <a:gd name="connsiteY1" fmla="*/ 732049 h 878940"/>
              <a:gd name="connsiteX2" fmla="*/ 140067 w 676550"/>
              <a:gd name="connsiteY2" fmla="*/ 732049 h 878940"/>
              <a:gd name="connsiteX3" fmla="*/ 124210 w 676550"/>
              <a:gd name="connsiteY3" fmla="*/ 737334 h 878940"/>
              <a:gd name="connsiteX4" fmla="*/ 116282 w 676550"/>
              <a:gd name="connsiteY4" fmla="*/ 745263 h 878940"/>
              <a:gd name="connsiteX5" fmla="*/ 105711 w 676550"/>
              <a:gd name="connsiteY5" fmla="*/ 761119 h 878940"/>
              <a:gd name="connsiteX6" fmla="*/ 89854 w 676550"/>
              <a:gd name="connsiteY6" fmla="*/ 769048 h 878940"/>
              <a:gd name="connsiteX7" fmla="*/ 81926 w 676550"/>
              <a:gd name="connsiteY7" fmla="*/ 763762 h 878940"/>
              <a:gd name="connsiteX8" fmla="*/ 76641 w 676550"/>
              <a:gd name="connsiteY8" fmla="*/ 755834 h 878940"/>
              <a:gd name="connsiteX9" fmla="*/ 52856 w 676550"/>
              <a:gd name="connsiteY9" fmla="*/ 742620 h 878940"/>
              <a:gd name="connsiteX10" fmla="*/ 44927 w 676550"/>
              <a:gd name="connsiteY10" fmla="*/ 734692 h 878940"/>
              <a:gd name="connsiteX11" fmla="*/ 42284 w 676550"/>
              <a:gd name="connsiteY11" fmla="*/ 726763 h 878940"/>
              <a:gd name="connsiteX12" fmla="*/ 23785 w 676550"/>
              <a:gd name="connsiteY12" fmla="*/ 705621 h 878940"/>
              <a:gd name="connsiteX13" fmla="*/ 21142 w 676550"/>
              <a:gd name="connsiteY13" fmla="*/ 697693 h 878940"/>
              <a:gd name="connsiteX14" fmla="*/ 13214 w 676550"/>
              <a:gd name="connsiteY14" fmla="*/ 692407 h 878940"/>
              <a:gd name="connsiteX15" fmla="*/ 7928 w 676550"/>
              <a:gd name="connsiteY15" fmla="*/ 684479 h 878940"/>
              <a:gd name="connsiteX16" fmla="*/ 2643 w 676550"/>
              <a:gd name="connsiteY16" fmla="*/ 668622 h 878940"/>
              <a:gd name="connsiteX17" fmla="*/ 0 w 676550"/>
              <a:gd name="connsiteY17" fmla="*/ 660694 h 878940"/>
              <a:gd name="connsiteX18" fmla="*/ 18500 w 676550"/>
              <a:gd name="connsiteY18" fmla="*/ 655408 h 878940"/>
              <a:gd name="connsiteX19" fmla="*/ 21142 w 676550"/>
              <a:gd name="connsiteY19" fmla="*/ 647480 h 878940"/>
              <a:gd name="connsiteX20" fmla="*/ 29071 w 676550"/>
              <a:gd name="connsiteY20" fmla="*/ 642194 h 878940"/>
              <a:gd name="connsiteX21" fmla="*/ 55498 w 676550"/>
              <a:gd name="connsiteY21" fmla="*/ 647480 h 878940"/>
              <a:gd name="connsiteX22" fmla="*/ 63427 w 676550"/>
              <a:gd name="connsiteY22" fmla="*/ 652766 h 878940"/>
              <a:gd name="connsiteX23" fmla="*/ 79283 w 676550"/>
              <a:gd name="connsiteY23" fmla="*/ 650123 h 878940"/>
              <a:gd name="connsiteX24" fmla="*/ 68712 w 676550"/>
              <a:gd name="connsiteY24" fmla="*/ 621052 h 878940"/>
              <a:gd name="connsiteX25" fmla="*/ 63427 w 676550"/>
              <a:gd name="connsiteY25" fmla="*/ 605196 h 878940"/>
              <a:gd name="connsiteX26" fmla="*/ 55498 w 676550"/>
              <a:gd name="connsiteY26" fmla="*/ 589339 h 878940"/>
              <a:gd name="connsiteX27" fmla="*/ 58141 w 676550"/>
              <a:gd name="connsiteY27" fmla="*/ 547055 h 878940"/>
              <a:gd name="connsiteX28" fmla="*/ 68712 w 676550"/>
              <a:gd name="connsiteY28" fmla="*/ 544412 h 878940"/>
              <a:gd name="connsiteX29" fmla="*/ 97783 w 676550"/>
              <a:gd name="connsiteY29" fmla="*/ 539126 h 878940"/>
              <a:gd name="connsiteX30" fmla="*/ 105711 w 676550"/>
              <a:gd name="connsiteY30" fmla="*/ 536483 h 878940"/>
              <a:gd name="connsiteX31" fmla="*/ 121568 w 676550"/>
              <a:gd name="connsiteY31" fmla="*/ 504770 h 878940"/>
              <a:gd name="connsiteX32" fmla="*/ 137424 w 676550"/>
              <a:gd name="connsiteY32" fmla="*/ 499485 h 878940"/>
              <a:gd name="connsiteX33" fmla="*/ 161209 w 676550"/>
              <a:gd name="connsiteY33" fmla="*/ 502127 h 878940"/>
              <a:gd name="connsiteX34" fmla="*/ 169138 w 676550"/>
              <a:gd name="connsiteY34" fmla="*/ 504770 h 878940"/>
              <a:gd name="connsiteX35" fmla="*/ 179709 w 676550"/>
              <a:gd name="connsiteY35" fmla="*/ 520627 h 878940"/>
              <a:gd name="connsiteX36" fmla="*/ 195565 w 676550"/>
              <a:gd name="connsiteY36" fmla="*/ 525912 h 878940"/>
              <a:gd name="connsiteX37" fmla="*/ 232564 w 676550"/>
              <a:gd name="connsiteY37" fmla="*/ 528555 h 878940"/>
              <a:gd name="connsiteX38" fmla="*/ 248421 w 676550"/>
              <a:gd name="connsiteY38" fmla="*/ 517984 h 878940"/>
              <a:gd name="connsiteX39" fmla="*/ 251064 w 676550"/>
              <a:gd name="connsiteY39" fmla="*/ 525912 h 878940"/>
              <a:gd name="connsiteX40" fmla="*/ 258992 w 676550"/>
              <a:gd name="connsiteY40" fmla="*/ 531198 h 878940"/>
              <a:gd name="connsiteX41" fmla="*/ 264278 w 676550"/>
              <a:gd name="connsiteY41" fmla="*/ 539126 h 878940"/>
              <a:gd name="connsiteX42" fmla="*/ 280134 w 676550"/>
              <a:gd name="connsiteY42" fmla="*/ 536483 h 878940"/>
              <a:gd name="connsiteX43" fmla="*/ 285420 w 676550"/>
              <a:gd name="connsiteY43" fmla="*/ 520627 h 878940"/>
              <a:gd name="connsiteX44" fmla="*/ 288063 w 676550"/>
              <a:gd name="connsiteY44" fmla="*/ 473057 h 878940"/>
              <a:gd name="connsiteX45" fmla="*/ 301276 w 676550"/>
              <a:gd name="connsiteY45" fmla="*/ 449272 h 878940"/>
              <a:gd name="connsiteX46" fmla="*/ 303919 w 676550"/>
              <a:gd name="connsiteY46" fmla="*/ 441344 h 878940"/>
              <a:gd name="connsiteX47" fmla="*/ 309205 w 676550"/>
              <a:gd name="connsiteY47" fmla="*/ 414916 h 878940"/>
              <a:gd name="connsiteX48" fmla="*/ 311847 w 676550"/>
              <a:gd name="connsiteY48" fmla="*/ 404345 h 878940"/>
              <a:gd name="connsiteX49" fmla="*/ 309205 w 676550"/>
              <a:gd name="connsiteY49" fmla="*/ 380560 h 878940"/>
              <a:gd name="connsiteX50" fmla="*/ 293348 w 676550"/>
              <a:gd name="connsiteY50" fmla="*/ 375274 h 878940"/>
              <a:gd name="connsiteX51" fmla="*/ 285420 w 676550"/>
              <a:gd name="connsiteY51" fmla="*/ 372631 h 878940"/>
              <a:gd name="connsiteX52" fmla="*/ 277491 w 676550"/>
              <a:gd name="connsiteY52" fmla="*/ 369989 h 878940"/>
              <a:gd name="connsiteX53" fmla="*/ 264278 w 676550"/>
              <a:gd name="connsiteY53" fmla="*/ 356775 h 878940"/>
              <a:gd name="connsiteX54" fmla="*/ 256349 w 676550"/>
              <a:gd name="connsiteY54" fmla="*/ 348846 h 878940"/>
              <a:gd name="connsiteX55" fmla="*/ 251064 w 676550"/>
              <a:gd name="connsiteY55" fmla="*/ 340918 h 878940"/>
              <a:gd name="connsiteX56" fmla="*/ 243135 w 676550"/>
              <a:gd name="connsiteY56" fmla="*/ 335633 h 878940"/>
              <a:gd name="connsiteX57" fmla="*/ 237850 w 676550"/>
              <a:gd name="connsiteY57" fmla="*/ 327704 h 878940"/>
              <a:gd name="connsiteX58" fmla="*/ 240493 w 676550"/>
              <a:gd name="connsiteY58" fmla="*/ 317133 h 878940"/>
              <a:gd name="connsiteX59" fmla="*/ 266920 w 676550"/>
              <a:gd name="connsiteY59" fmla="*/ 290705 h 878940"/>
              <a:gd name="connsiteX60" fmla="*/ 280134 w 676550"/>
              <a:gd name="connsiteY60" fmla="*/ 274849 h 878940"/>
              <a:gd name="connsiteX61" fmla="*/ 282777 w 676550"/>
              <a:gd name="connsiteY61" fmla="*/ 266920 h 878940"/>
              <a:gd name="connsiteX62" fmla="*/ 272206 w 676550"/>
              <a:gd name="connsiteY62" fmla="*/ 219351 h 878940"/>
              <a:gd name="connsiteX63" fmla="*/ 258992 w 676550"/>
              <a:gd name="connsiteY63" fmla="*/ 216708 h 878940"/>
              <a:gd name="connsiteX64" fmla="*/ 198208 w 676550"/>
              <a:gd name="connsiteY64" fmla="*/ 219351 h 878940"/>
              <a:gd name="connsiteX65" fmla="*/ 190280 w 676550"/>
              <a:gd name="connsiteY65" fmla="*/ 221993 h 878940"/>
              <a:gd name="connsiteX66" fmla="*/ 184994 w 676550"/>
              <a:gd name="connsiteY66" fmla="*/ 214065 h 878940"/>
              <a:gd name="connsiteX67" fmla="*/ 187637 w 676550"/>
              <a:gd name="connsiteY67" fmla="*/ 158567 h 878940"/>
              <a:gd name="connsiteX68" fmla="*/ 192923 w 676550"/>
              <a:gd name="connsiteY68" fmla="*/ 134782 h 878940"/>
              <a:gd name="connsiteX69" fmla="*/ 200851 w 676550"/>
              <a:gd name="connsiteY69" fmla="*/ 129496 h 878940"/>
              <a:gd name="connsiteX70" fmla="*/ 208779 w 676550"/>
              <a:gd name="connsiteY70" fmla="*/ 126853 h 878940"/>
              <a:gd name="connsiteX71" fmla="*/ 261635 w 676550"/>
              <a:gd name="connsiteY71" fmla="*/ 124211 h 878940"/>
              <a:gd name="connsiteX72" fmla="*/ 338275 w 676550"/>
              <a:gd name="connsiteY72" fmla="*/ 126853 h 878940"/>
              <a:gd name="connsiteX73" fmla="*/ 354132 w 676550"/>
              <a:gd name="connsiteY73" fmla="*/ 132139 h 878940"/>
              <a:gd name="connsiteX74" fmla="*/ 369989 w 676550"/>
              <a:gd name="connsiteY74" fmla="*/ 137424 h 878940"/>
              <a:gd name="connsiteX75" fmla="*/ 401702 w 676550"/>
              <a:gd name="connsiteY75" fmla="*/ 147996 h 878940"/>
              <a:gd name="connsiteX76" fmla="*/ 409630 w 676550"/>
              <a:gd name="connsiteY76" fmla="*/ 150638 h 878940"/>
              <a:gd name="connsiteX77" fmla="*/ 417558 w 676550"/>
              <a:gd name="connsiteY77" fmla="*/ 153281 h 878940"/>
              <a:gd name="connsiteX78" fmla="*/ 436058 w 676550"/>
              <a:gd name="connsiteY78" fmla="*/ 158567 h 878940"/>
              <a:gd name="connsiteX79" fmla="*/ 449272 w 676550"/>
              <a:gd name="connsiteY79" fmla="*/ 155924 h 878940"/>
              <a:gd name="connsiteX80" fmla="*/ 451915 w 676550"/>
              <a:gd name="connsiteY80" fmla="*/ 126853 h 878940"/>
              <a:gd name="connsiteX81" fmla="*/ 454557 w 676550"/>
              <a:gd name="connsiteY81" fmla="*/ 118925 h 878940"/>
              <a:gd name="connsiteX82" fmla="*/ 462486 w 676550"/>
              <a:gd name="connsiteY82" fmla="*/ 113640 h 878940"/>
              <a:gd name="connsiteX83" fmla="*/ 473057 w 676550"/>
              <a:gd name="connsiteY83" fmla="*/ 89855 h 878940"/>
              <a:gd name="connsiteX84" fmla="*/ 478342 w 676550"/>
              <a:gd name="connsiteY84" fmla="*/ 73998 h 878940"/>
              <a:gd name="connsiteX85" fmla="*/ 480985 w 676550"/>
              <a:gd name="connsiteY85" fmla="*/ 66070 h 878940"/>
              <a:gd name="connsiteX86" fmla="*/ 486271 w 676550"/>
              <a:gd name="connsiteY86" fmla="*/ 44927 h 878940"/>
              <a:gd name="connsiteX87" fmla="*/ 496842 w 676550"/>
              <a:gd name="connsiteY87" fmla="*/ 21142 h 878940"/>
              <a:gd name="connsiteX88" fmla="*/ 523269 w 676550"/>
              <a:gd name="connsiteY88" fmla="*/ 10571 h 878940"/>
              <a:gd name="connsiteX89" fmla="*/ 539126 w 676550"/>
              <a:gd name="connsiteY89" fmla="*/ 5286 h 878940"/>
              <a:gd name="connsiteX90" fmla="*/ 547054 w 676550"/>
              <a:gd name="connsiteY90" fmla="*/ 2643 h 878940"/>
              <a:gd name="connsiteX91" fmla="*/ 557626 w 676550"/>
              <a:gd name="connsiteY91" fmla="*/ 0 h 878940"/>
              <a:gd name="connsiteX92" fmla="*/ 618409 w 676550"/>
              <a:gd name="connsiteY92" fmla="*/ 2643 h 878940"/>
              <a:gd name="connsiteX93" fmla="*/ 626338 w 676550"/>
              <a:gd name="connsiteY93" fmla="*/ 5286 h 878940"/>
              <a:gd name="connsiteX94" fmla="*/ 639552 w 676550"/>
              <a:gd name="connsiteY94" fmla="*/ 7929 h 878940"/>
              <a:gd name="connsiteX95" fmla="*/ 676550 w 676550"/>
              <a:gd name="connsiteY95" fmla="*/ 10571 h 878940"/>
              <a:gd name="connsiteX96" fmla="*/ 673908 w 676550"/>
              <a:gd name="connsiteY96" fmla="*/ 84569 h 878940"/>
              <a:gd name="connsiteX97" fmla="*/ 668622 w 676550"/>
              <a:gd name="connsiteY97" fmla="*/ 100426 h 878940"/>
              <a:gd name="connsiteX98" fmla="*/ 663337 w 676550"/>
              <a:gd name="connsiteY98" fmla="*/ 116282 h 878940"/>
              <a:gd name="connsiteX99" fmla="*/ 652765 w 676550"/>
              <a:gd name="connsiteY99" fmla="*/ 147996 h 878940"/>
              <a:gd name="connsiteX100" fmla="*/ 647480 w 676550"/>
              <a:gd name="connsiteY100" fmla="*/ 163852 h 878940"/>
              <a:gd name="connsiteX101" fmla="*/ 642194 w 676550"/>
              <a:gd name="connsiteY101" fmla="*/ 171781 h 878940"/>
              <a:gd name="connsiteX102" fmla="*/ 639552 w 676550"/>
              <a:gd name="connsiteY102" fmla="*/ 179709 h 878940"/>
              <a:gd name="connsiteX103" fmla="*/ 634266 w 676550"/>
              <a:gd name="connsiteY103" fmla="*/ 200851 h 878940"/>
              <a:gd name="connsiteX104" fmla="*/ 631623 w 676550"/>
              <a:gd name="connsiteY104" fmla="*/ 208779 h 878940"/>
              <a:gd name="connsiteX105" fmla="*/ 628980 w 676550"/>
              <a:gd name="connsiteY105" fmla="*/ 221993 h 878940"/>
              <a:gd name="connsiteX106" fmla="*/ 626338 w 676550"/>
              <a:gd name="connsiteY106" fmla="*/ 232564 h 878940"/>
              <a:gd name="connsiteX107" fmla="*/ 623695 w 676550"/>
              <a:gd name="connsiteY107" fmla="*/ 240493 h 878940"/>
              <a:gd name="connsiteX108" fmla="*/ 621052 w 676550"/>
              <a:gd name="connsiteY108" fmla="*/ 256349 h 878940"/>
              <a:gd name="connsiteX109" fmla="*/ 613124 w 676550"/>
              <a:gd name="connsiteY109" fmla="*/ 340918 h 878940"/>
              <a:gd name="connsiteX110" fmla="*/ 610481 w 676550"/>
              <a:gd name="connsiteY110" fmla="*/ 348846 h 878940"/>
              <a:gd name="connsiteX111" fmla="*/ 605195 w 676550"/>
              <a:gd name="connsiteY111" fmla="*/ 356775 h 878940"/>
              <a:gd name="connsiteX112" fmla="*/ 599910 w 676550"/>
              <a:gd name="connsiteY112" fmla="*/ 372631 h 878940"/>
              <a:gd name="connsiteX113" fmla="*/ 597267 w 676550"/>
              <a:gd name="connsiteY113" fmla="*/ 380560 h 878940"/>
              <a:gd name="connsiteX114" fmla="*/ 581410 w 676550"/>
              <a:gd name="connsiteY114" fmla="*/ 404345 h 878940"/>
              <a:gd name="connsiteX115" fmla="*/ 570839 w 676550"/>
              <a:gd name="connsiteY115" fmla="*/ 420201 h 878940"/>
              <a:gd name="connsiteX116" fmla="*/ 554983 w 676550"/>
              <a:gd name="connsiteY116" fmla="*/ 433415 h 878940"/>
              <a:gd name="connsiteX117" fmla="*/ 547054 w 676550"/>
              <a:gd name="connsiteY117" fmla="*/ 436058 h 878940"/>
              <a:gd name="connsiteX118" fmla="*/ 536483 w 676550"/>
              <a:gd name="connsiteY118" fmla="*/ 451915 h 878940"/>
              <a:gd name="connsiteX119" fmla="*/ 520627 w 676550"/>
              <a:gd name="connsiteY119" fmla="*/ 465129 h 878940"/>
              <a:gd name="connsiteX120" fmla="*/ 512698 w 676550"/>
              <a:gd name="connsiteY120" fmla="*/ 475700 h 878940"/>
              <a:gd name="connsiteX121" fmla="*/ 502127 w 676550"/>
              <a:gd name="connsiteY121" fmla="*/ 488914 h 878940"/>
              <a:gd name="connsiteX122" fmla="*/ 499484 w 676550"/>
              <a:gd name="connsiteY122" fmla="*/ 496842 h 878940"/>
              <a:gd name="connsiteX123" fmla="*/ 488913 w 676550"/>
              <a:gd name="connsiteY123" fmla="*/ 512698 h 878940"/>
              <a:gd name="connsiteX124" fmla="*/ 478342 w 676550"/>
              <a:gd name="connsiteY124" fmla="*/ 528555 h 878940"/>
              <a:gd name="connsiteX125" fmla="*/ 462486 w 676550"/>
              <a:gd name="connsiteY125" fmla="*/ 552340 h 878940"/>
              <a:gd name="connsiteX126" fmla="*/ 457200 w 676550"/>
              <a:gd name="connsiteY126" fmla="*/ 560268 h 878940"/>
              <a:gd name="connsiteX127" fmla="*/ 449272 w 676550"/>
              <a:gd name="connsiteY127" fmla="*/ 584053 h 878940"/>
              <a:gd name="connsiteX128" fmla="*/ 446629 w 676550"/>
              <a:gd name="connsiteY128" fmla="*/ 591982 h 878940"/>
              <a:gd name="connsiteX129" fmla="*/ 449272 w 676550"/>
              <a:gd name="connsiteY129" fmla="*/ 623695 h 878940"/>
              <a:gd name="connsiteX130" fmla="*/ 454557 w 676550"/>
              <a:gd name="connsiteY130" fmla="*/ 639552 h 878940"/>
              <a:gd name="connsiteX131" fmla="*/ 451915 w 676550"/>
              <a:gd name="connsiteY131" fmla="*/ 676551 h 878940"/>
              <a:gd name="connsiteX132" fmla="*/ 449272 w 676550"/>
              <a:gd name="connsiteY132" fmla="*/ 684479 h 878940"/>
              <a:gd name="connsiteX133" fmla="*/ 417558 w 676550"/>
              <a:gd name="connsiteY133" fmla="*/ 700335 h 878940"/>
              <a:gd name="connsiteX134" fmla="*/ 409630 w 676550"/>
              <a:gd name="connsiteY134" fmla="*/ 702978 h 878940"/>
              <a:gd name="connsiteX135" fmla="*/ 401702 w 676550"/>
              <a:gd name="connsiteY135" fmla="*/ 705621 h 878940"/>
              <a:gd name="connsiteX136" fmla="*/ 393774 w 676550"/>
              <a:gd name="connsiteY136" fmla="*/ 708264 h 878940"/>
              <a:gd name="connsiteX137" fmla="*/ 377917 w 676550"/>
              <a:gd name="connsiteY137" fmla="*/ 721478 h 878940"/>
              <a:gd name="connsiteX138" fmla="*/ 369989 w 676550"/>
              <a:gd name="connsiteY138" fmla="*/ 745263 h 878940"/>
              <a:gd name="connsiteX139" fmla="*/ 362060 w 676550"/>
              <a:gd name="connsiteY139" fmla="*/ 761119 h 878940"/>
              <a:gd name="connsiteX140" fmla="*/ 338275 w 676550"/>
              <a:gd name="connsiteY140" fmla="*/ 771690 h 878940"/>
              <a:gd name="connsiteX141" fmla="*/ 330347 w 676550"/>
              <a:gd name="connsiteY141" fmla="*/ 774333 h 878940"/>
              <a:gd name="connsiteX142" fmla="*/ 309205 w 676550"/>
              <a:gd name="connsiteY142" fmla="*/ 771690 h 878940"/>
              <a:gd name="connsiteX143" fmla="*/ 306562 w 676550"/>
              <a:gd name="connsiteY143" fmla="*/ 763762 h 878940"/>
              <a:gd name="connsiteX144" fmla="*/ 301276 w 676550"/>
              <a:gd name="connsiteY144" fmla="*/ 742620 h 878940"/>
              <a:gd name="connsiteX145" fmla="*/ 298634 w 676550"/>
              <a:gd name="connsiteY145" fmla="*/ 716192 h 878940"/>
              <a:gd name="connsiteX146" fmla="*/ 264278 w 676550"/>
              <a:gd name="connsiteY146" fmla="*/ 724120 h 878940"/>
              <a:gd name="connsiteX147" fmla="*/ 248421 w 676550"/>
              <a:gd name="connsiteY147" fmla="*/ 729406 h 878940"/>
              <a:gd name="connsiteX148" fmla="*/ 240493 w 676550"/>
              <a:gd name="connsiteY148" fmla="*/ 732049 h 878940"/>
              <a:gd name="connsiteX149" fmla="*/ 232564 w 676550"/>
              <a:gd name="connsiteY149" fmla="*/ 737334 h 878940"/>
              <a:gd name="connsiteX150" fmla="*/ 198208 w 676550"/>
              <a:gd name="connsiteY150" fmla="*/ 745263 h 878940"/>
              <a:gd name="connsiteX151" fmla="*/ 174423 w 676550"/>
              <a:gd name="connsiteY151" fmla="*/ 753191 h 878940"/>
              <a:gd name="connsiteX152" fmla="*/ 166495 w 676550"/>
              <a:gd name="connsiteY152" fmla="*/ 755834 h 878940"/>
              <a:gd name="connsiteX153" fmla="*/ 158567 w 676550"/>
              <a:gd name="connsiteY153" fmla="*/ 761119 h 878940"/>
              <a:gd name="connsiteX154" fmla="*/ 147995 w 676550"/>
              <a:gd name="connsiteY154" fmla="*/ 776976 h 878940"/>
              <a:gd name="connsiteX155" fmla="*/ 142710 w 676550"/>
              <a:gd name="connsiteY155" fmla="*/ 792833 h 878940"/>
              <a:gd name="connsiteX156" fmla="*/ 137424 w 676550"/>
              <a:gd name="connsiteY156" fmla="*/ 835117 h 878940"/>
              <a:gd name="connsiteX157" fmla="*/ 132139 w 676550"/>
              <a:gd name="connsiteY157" fmla="*/ 843045 h 878940"/>
              <a:gd name="connsiteX158" fmla="*/ 129496 w 676550"/>
              <a:gd name="connsiteY158" fmla="*/ 850974 h 878940"/>
              <a:gd name="connsiteX159" fmla="*/ 118925 w 676550"/>
              <a:gd name="connsiteY159" fmla="*/ 864188 h 878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</a:cxnLst>
            <a:rect l="l" t="t" r="r" b="b"/>
            <a:pathLst>
              <a:path w="676550" h="878940">
                <a:moveTo>
                  <a:pt x="171780" y="745263"/>
                </a:moveTo>
                <a:cubicBezTo>
                  <a:pt x="170018" y="740858"/>
                  <a:pt x="169532" y="735693"/>
                  <a:pt x="166495" y="732049"/>
                </a:cubicBezTo>
                <a:cubicBezTo>
                  <a:pt x="161588" y="726160"/>
                  <a:pt x="141354" y="731865"/>
                  <a:pt x="140067" y="732049"/>
                </a:cubicBezTo>
                <a:cubicBezTo>
                  <a:pt x="134781" y="733811"/>
                  <a:pt x="128149" y="733394"/>
                  <a:pt x="124210" y="737334"/>
                </a:cubicBezTo>
                <a:cubicBezTo>
                  <a:pt x="121567" y="739977"/>
                  <a:pt x="118577" y="742313"/>
                  <a:pt x="116282" y="745263"/>
                </a:cubicBezTo>
                <a:cubicBezTo>
                  <a:pt x="112382" y="750277"/>
                  <a:pt x="110996" y="757595"/>
                  <a:pt x="105711" y="761119"/>
                </a:cubicBezTo>
                <a:cubicBezTo>
                  <a:pt x="95465" y="767951"/>
                  <a:pt x="100796" y="765401"/>
                  <a:pt x="89854" y="769048"/>
                </a:cubicBezTo>
                <a:cubicBezTo>
                  <a:pt x="87211" y="767286"/>
                  <a:pt x="84172" y="766008"/>
                  <a:pt x="81926" y="763762"/>
                </a:cubicBezTo>
                <a:cubicBezTo>
                  <a:pt x="79680" y="761516"/>
                  <a:pt x="79031" y="757925"/>
                  <a:pt x="76641" y="755834"/>
                </a:cubicBezTo>
                <a:cubicBezTo>
                  <a:pt x="65457" y="746049"/>
                  <a:pt x="63745" y="746250"/>
                  <a:pt x="52856" y="742620"/>
                </a:cubicBezTo>
                <a:cubicBezTo>
                  <a:pt x="50213" y="739977"/>
                  <a:pt x="47000" y="737802"/>
                  <a:pt x="44927" y="734692"/>
                </a:cubicBezTo>
                <a:cubicBezTo>
                  <a:pt x="43382" y="732374"/>
                  <a:pt x="43637" y="729198"/>
                  <a:pt x="42284" y="726763"/>
                </a:cubicBezTo>
                <a:cubicBezTo>
                  <a:pt x="33216" y="710441"/>
                  <a:pt x="35366" y="713342"/>
                  <a:pt x="23785" y="705621"/>
                </a:cubicBezTo>
                <a:cubicBezTo>
                  <a:pt x="22904" y="702978"/>
                  <a:pt x="22882" y="699868"/>
                  <a:pt x="21142" y="697693"/>
                </a:cubicBezTo>
                <a:cubicBezTo>
                  <a:pt x="19158" y="695213"/>
                  <a:pt x="15460" y="694653"/>
                  <a:pt x="13214" y="692407"/>
                </a:cubicBezTo>
                <a:cubicBezTo>
                  <a:pt x="10968" y="690161"/>
                  <a:pt x="9690" y="687122"/>
                  <a:pt x="7928" y="684479"/>
                </a:cubicBezTo>
                <a:lnTo>
                  <a:pt x="2643" y="668622"/>
                </a:lnTo>
                <a:lnTo>
                  <a:pt x="0" y="660694"/>
                </a:lnTo>
                <a:cubicBezTo>
                  <a:pt x="92" y="660671"/>
                  <a:pt x="17236" y="656672"/>
                  <a:pt x="18500" y="655408"/>
                </a:cubicBezTo>
                <a:cubicBezTo>
                  <a:pt x="20470" y="653438"/>
                  <a:pt x="19402" y="649655"/>
                  <a:pt x="21142" y="647480"/>
                </a:cubicBezTo>
                <a:cubicBezTo>
                  <a:pt x="23126" y="645000"/>
                  <a:pt x="26428" y="643956"/>
                  <a:pt x="29071" y="642194"/>
                </a:cubicBezTo>
                <a:cubicBezTo>
                  <a:pt x="32648" y="642790"/>
                  <a:pt x="50480" y="645329"/>
                  <a:pt x="55498" y="647480"/>
                </a:cubicBezTo>
                <a:cubicBezTo>
                  <a:pt x="58418" y="648731"/>
                  <a:pt x="60784" y="651004"/>
                  <a:pt x="63427" y="652766"/>
                </a:cubicBezTo>
                <a:lnTo>
                  <a:pt x="79283" y="650123"/>
                </a:lnTo>
                <a:cubicBezTo>
                  <a:pt x="90425" y="625610"/>
                  <a:pt x="80615" y="625020"/>
                  <a:pt x="68712" y="621052"/>
                </a:cubicBezTo>
                <a:cubicBezTo>
                  <a:pt x="66950" y="615767"/>
                  <a:pt x="66517" y="609832"/>
                  <a:pt x="63427" y="605196"/>
                </a:cubicBezTo>
                <a:cubicBezTo>
                  <a:pt x="56596" y="594949"/>
                  <a:pt x="59146" y="600280"/>
                  <a:pt x="55498" y="589339"/>
                </a:cubicBezTo>
                <a:cubicBezTo>
                  <a:pt x="56379" y="575244"/>
                  <a:pt x="54156" y="560603"/>
                  <a:pt x="58141" y="547055"/>
                </a:cubicBezTo>
                <a:cubicBezTo>
                  <a:pt x="59166" y="543570"/>
                  <a:pt x="65220" y="545410"/>
                  <a:pt x="68712" y="544412"/>
                </a:cubicBezTo>
                <a:cubicBezTo>
                  <a:pt x="87723" y="538980"/>
                  <a:pt x="62802" y="543499"/>
                  <a:pt x="97783" y="539126"/>
                </a:cubicBezTo>
                <a:cubicBezTo>
                  <a:pt x="100426" y="538245"/>
                  <a:pt x="104092" y="538750"/>
                  <a:pt x="105711" y="536483"/>
                </a:cubicBezTo>
                <a:cubicBezTo>
                  <a:pt x="110841" y="529301"/>
                  <a:pt x="110375" y="508501"/>
                  <a:pt x="121568" y="504770"/>
                </a:cubicBezTo>
                <a:lnTo>
                  <a:pt x="137424" y="499485"/>
                </a:lnTo>
                <a:cubicBezTo>
                  <a:pt x="145352" y="500366"/>
                  <a:pt x="153340" y="500816"/>
                  <a:pt x="161209" y="502127"/>
                </a:cubicBezTo>
                <a:cubicBezTo>
                  <a:pt x="163957" y="502585"/>
                  <a:pt x="167168" y="502800"/>
                  <a:pt x="169138" y="504770"/>
                </a:cubicBezTo>
                <a:cubicBezTo>
                  <a:pt x="182798" y="518430"/>
                  <a:pt x="156611" y="507795"/>
                  <a:pt x="179709" y="520627"/>
                </a:cubicBezTo>
                <a:cubicBezTo>
                  <a:pt x="184579" y="523333"/>
                  <a:pt x="195565" y="525912"/>
                  <a:pt x="195565" y="525912"/>
                </a:cubicBezTo>
                <a:cubicBezTo>
                  <a:pt x="209364" y="535111"/>
                  <a:pt x="207148" y="536030"/>
                  <a:pt x="232564" y="528555"/>
                </a:cubicBezTo>
                <a:cubicBezTo>
                  <a:pt x="238658" y="526763"/>
                  <a:pt x="248421" y="517984"/>
                  <a:pt x="248421" y="517984"/>
                </a:cubicBezTo>
                <a:cubicBezTo>
                  <a:pt x="249302" y="520627"/>
                  <a:pt x="249324" y="523737"/>
                  <a:pt x="251064" y="525912"/>
                </a:cubicBezTo>
                <a:cubicBezTo>
                  <a:pt x="253048" y="528392"/>
                  <a:pt x="256746" y="528952"/>
                  <a:pt x="258992" y="531198"/>
                </a:cubicBezTo>
                <a:cubicBezTo>
                  <a:pt x="261238" y="533444"/>
                  <a:pt x="262516" y="536483"/>
                  <a:pt x="264278" y="539126"/>
                </a:cubicBezTo>
                <a:cubicBezTo>
                  <a:pt x="269563" y="538245"/>
                  <a:pt x="276101" y="540011"/>
                  <a:pt x="280134" y="536483"/>
                </a:cubicBezTo>
                <a:cubicBezTo>
                  <a:pt x="284327" y="532814"/>
                  <a:pt x="285420" y="520627"/>
                  <a:pt x="285420" y="520627"/>
                </a:cubicBezTo>
                <a:cubicBezTo>
                  <a:pt x="286301" y="504770"/>
                  <a:pt x="286557" y="488867"/>
                  <a:pt x="288063" y="473057"/>
                </a:cubicBezTo>
                <a:cubicBezTo>
                  <a:pt x="289126" y="461897"/>
                  <a:pt x="297342" y="461074"/>
                  <a:pt x="301276" y="449272"/>
                </a:cubicBezTo>
                <a:cubicBezTo>
                  <a:pt x="302157" y="446629"/>
                  <a:pt x="303293" y="444058"/>
                  <a:pt x="303919" y="441344"/>
                </a:cubicBezTo>
                <a:cubicBezTo>
                  <a:pt x="305939" y="432590"/>
                  <a:pt x="307027" y="423632"/>
                  <a:pt x="309205" y="414916"/>
                </a:cubicBezTo>
                <a:lnTo>
                  <a:pt x="311847" y="404345"/>
                </a:lnTo>
                <a:cubicBezTo>
                  <a:pt x="310966" y="396417"/>
                  <a:pt x="313488" y="387290"/>
                  <a:pt x="309205" y="380560"/>
                </a:cubicBezTo>
                <a:cubicBezTo>
                  <a:pt x="306214" y="375859"/>
                  <a:pt x="298634" y="377036"/>
                  <a:pt x="293348" y="375274"/>
                </a:cubicBezTo>
                <a:lnTo>
                  <a:pt x="285420" y="372631"/>
                </a:lnTo>
                <a:lnTo>
                  <a:pt x="277491" y="369989"/>
                </a:lnTo>
                <a:cubicBezTo>
                  <a:pt x="262955" y="360297"/>
                  <a:pt x="275290" y="369990"/>
                  <a:pt x="264278" y="356775"/>
                </a:cubicBezTo>
                <a:cubicBezTo>
                  <a:pt x="261885" y="353904"/>
                  <a:pt x="258742" y="351717"/>
                  <a:pt x="256349" y="348846"/>
                </a:cubicBezTo>
                <a:cubicBezTo>
                  <a:pt x="254316" y="346406"/>
                  <a:pt x="253310" y="343164"/>
                  <a:pt x="251064" y="340918"/>
                </a:cubicBezTo>
                <a:cubicBezTo>
                  <a:pt x="248818" y="338672"/>
                  <a:pt x="245778" y="337395"/>
                  <a:pt x="243135" y="335633"/>
                </a:cubicBezTo>
                <a:cubicBezTo>
                  <a:pt x="241373" y="332990"/>
                  <a:pt x="238299" y="330848"/>
                  <a:pt x="237850" y="327704"/>
                </a:cubicBezTo>
                <a:cubicBezTo>
                  <a:pt x="237337" y="324108"/>
                  <a:pt x="238869" y="320382"/>
                  <a:pt x="240493" y="317133"/>
                </a:cubicBezTo>
                <a:cubicBezTo>
                  <a:pt x="254583" y="288954"/>
                  <a:pt x="245783" y="311839"/>
                  <a:pt x="266920" y="290705"/>
                </a:cubicBezTo>
                <a:cubicBezTo>
                  <a:pt x="272766" y="284859"/>
                  <a:pt x="276454" y="282209"/>
                  <a:pt x="280134" y="274849"/>
                </a:cubicBezTo>
                <a:cubicBezTo>
                  <a:pt x="281380" y="272357"/>
                  <a:pt x="281896" y="269563"/>
                  <a:pt x="282777" y="266920"/>
                </a:cubicBezTo>
                <a:cubicBezTo>
                  <a:pt x="281569" y="247597"/>
                  <a:pt x="291517" y="226592"/>
                  <a:pt x="272206" y="219351"/>
                </a:cubicBezTo>
                <a:cubicBezTo>
                  <a:pt x="268000" y="217774"/>
                  <a:pt x="263397" y="217589"/>
                  <a:pt x="258992" y="216708"/>
                </a:cubicBezTo>
                <a:cubicBezTo>
                  <a:pt x="238731" y="217589"/>
                  <a:pt x="218429" y="217796"/>
                  <a:pt x="198208" y="219351"/>
                </a:cubicBezTo>
                <a:cubicBezTo>
                  <a:pt x="195431" y="219565"/>
                  <a:pt x="192866" y="223028"/>
                  <a:pt x="190280" y="221993"/>
                </a:cubicBezTo>
                <a:cubicBezTo>
                  <a:pt x="187331" y="220813"/>
                  <a:pt x="186756" y="216708"/>
                  <a:pt x="184994" y="214065"/>
                </a:cubicBezTo>
                <a:cubicBezTo>
                  <a:pt x="185875" y="195566"/>
                  <a:pt x="186269" y="177037"/>
                  <a:pt x="187637" y="158567"/>
                </a:cubicBezTo>
                <a:cubicBezTo>
                  <a:pt x="187648" y="158424"/>
                  <a:pt x="190192" y="138196"/>
                  <a:pt x="192923" y="134782"/>
                </a:cubicBezTo>
                <a:cubicBezTo>
                  <a:pt x="194907" y="132302"/>
                  <a:pt x="198010" y="130917"/>
                  <a:pt x="200851" y="129496"/>
                </a:cubicBezTo>
                <a:cubicBezTo>
                  <a:pt x="203342" y="128250"/>
                  <a:pt x="206004" y="127094"/>
                  <a:pt x="208779" y="126853"/>
                </a:cubicBezTo>
                <a:cubicBezTo>
                  <a:pt x="226353" y="125325"/>
                  <a:pt x="244016" y="125092"/>
                  <a:pt x="261635" y="124211"/>
                </a:cubicBezTo>
                <a:cubicBezTo>
                  <a:pt x="287182" y="125092"/>
                  <a:pt x="312807" y="124670"/>
                  <a:pt x="338275" y="126853"/>
                </a:cubicBezTo>
                <a:cubicBezTo>
                  <a:pt x="343826" y="127329"/>
                  <a:pt x="348846" y="130377"/>
                  <a:pt x="354132" y="132139"/>
                </a:cubicBezTo>
                <a:lnTo>
                  <a:pt x="369989" y="137424"/>
                </a:lnTo>
                <a:lnTo>
                  <a:pt x="401702" y="147996"/>
                </a:lnTo>
                <a:lnTo>
                  <a:pt x="409630" y="150638"/>
                </a:lnTo>
                <a:cubicBezTo>
                  <a:pt x="412273" y="151519"/>
                  <a:pt x="414856" y="152605"/>
                  <a:pt x="417558" y="153281"/>
                </a:cubicBezTo>
                <a:cubicBezTo>
                  <a:pt x="430832" y="156600"/>
                  <a:pt x="424684" y="154775"/>
                  <a:pt x="436058" y="158567"/>
                </a:cubicBezTo>
                <a:cubicBezTo>
                  <a:pt x="440463" y="157686"/>
                  <a:pt x="447263" y="159942"/>
                  <a:pt x="449272" y="155924"/>
                </a:cubicBezTo>
                <a:cubicBezTo>
                  <a:pt x="453624" y="147221"/>
                  <a:pt x="450539" y="136486"/>
                  <a:pt x="451915" y="126853"/>
                </a:cubicBezTo>
                <a:cubicBezTo>
                  <a:pt x="452309" y="124095"/>
                  <a:pt x="452817" y="121100"/>
                  <a:pt x="454557" y="118925"/>
                </a:cubicBezTo>
                <a:cubicBezTo>
                  <a:pt x="456541" y="116445"/>
                  <a:pt x="459843" y="115402"/>
                  <a:pt x="462486" y="113640"/>
                </a:cubicBezTo>
                <a:cubicBezTo>
                  <a:pt x="468775" y="94770"/>
                  <a:pt x="464680" y="102419"/>
                  <a:pt x="473057" y="89855"/>
                </a:cubicBezTo>
                <a:lnTo>
                  <a:pt x="478342" y="73998"/>
                </a:lnTo>
                <a:cubicBezTo>
                  <a:pt x="479223" y="71355"/>
                  <a:pt x="480309" y="68772"/>
                  <a:pt x="480985" y="66070"/>
                </a:cubicBezTo>
                <a:cubicBezTo>
                  <a:pt x="482747" y="59022"/>
                  <a:pt x="483974" y="51819"/>
                  <a:pt x="486271" y="44927"/>
                </a:cubicBezTo>
                <a:cubicBezTo>
                  <a:pt x="488888" y="37075"/>
                  <a:pt x="490560" y="27424"/>
                  <a:pt x="496842" y="21142"/>
                </a:cubicBezTo>
                <a:cubicBezTo>
                  <a:pt x="503992" y="13992"/>
                  <a:pt x="514182" y="13297"/>
                  <a:pt x="523269" y="10571"/>
                </a:cubicBezTo>
                <a:cubicBezTo>
                  <a:pt x="528606" y="8970"/>
                  <a:pt x="533840" y="7048"/>
                  <a:pt x="539126" y="5286"/>
                </a:cubicBezTo>
                <a:cubicBezTo>
                  <a:pt x="541769" y="4405"/>
                  <a:pt x="544352" y="3319"/>
                  <a:pt x="547054" y="2643"/>
                </a:cubicBezTo>
                <a:lnTo>
                  <a:pt x="557626" y="0"/>
                </a:lnTo>
                <a:cubicBezTo>
                  <a:pt x="577887" y="881"/>
                  <a:pt x="598189" y="1087"/>
                  <a:pt x="618409" y="2643"/>
                </a:cubicBezTo>
                <a:cubicBezTo>
                  <a:pt x="621187" y="2857"/>
                  <a:pt x="623635" y="4610"/>
                  <a:pt x="626338" y="5286"/>
                </a:cubicBezTo>
                <a:cubicBezTo>
                  <a:pt x="630696" y="6375"/>
                  <a:pt x="635085" y="7459"/>
                  <a:pt x="639552" y="7929"/>
                </a:cubicBezTo>
                <a:cubicBezTo>
                  <a:pt x="651848" y="9223"/>
                  <a:pt x="664217" y="9690"/>
                  <a:pt x="676550" y="10571"/>
                </a:cubicBezTo>
                <a:cubicBezTo>
                  <a:pt x="675669" y="35237"/>
                  <a:pt x="676077" y="59983"/>
                  <a:pt x="673908" y="84569"/>
                </a:cubicBezTo>
                <a:cubicBezTo>
                  <a:pt x="673418" y="90119"/>
                  <a:pt x="670384" y="95140"/>
                  <a:pt x="668622" y="100426"/>
                </a:cubicBezTo>
                <a:lnTo>
                  <a:pt x="663337" y="116282"/>
                </a:lnTo>
                <a:lnTo>
                  <a:pt x="652765" y="147996"/>
                </a:lnTo>
                <a:cubicBezTo>
                  <a:pt x="652763" y="148001"/>
                  <a:pt x="647483" y="163848"/>
                  <a:pt x="647480" y="163852"/>
                </a:cubicBezTo>
                <a:lnTo>
                  <a:pt x="642194" y="171781"/>
                </a:lnTo>
                <a:cubicBezTo>
                  <a:pt x="641313" y="174424"/>
                  <a:pt x="640285" y="177022"/>
                  <a:pt x="639552" y="179709"/>
                </a:cubicBezTo>
                <a:cubicBezTo>
                  <a:pt x="637641" y="186717"/>
                  <a:pt x="636563" y="193960"/>
                  <a:pt x="634266" y="200851"/>
                </a:cubicBezTo>
                <a:cubicBezTo>
                  <a:pt x="633385" y="203494"/>
                  <a:pt x="632299" y="206077"/>
                  <a:pt x="631623" y="208779"/>
                </a:cubicBezTo>
                <a:cubicBezTo>
                  <a:pt x="630533" y="213137"/>
                  <a:pt x="629954" y="217608"/>
                  <a:pt x="628980" y="221993"/>
                </a:cubicBezTo>
                <a:cubicBezTo>
                  <a:pt x="628192" y="225539"/>
                  <a:pt x="627336" y="229072"/>
                  <a:pt x="626338" y="232564"/>
                </a:cubicBezTo>
                <a:cubicBezTo>
                  <a:pt x="625573" y="235243"/>
                  <a:pt x="624299" y="237773"/>
                  <a:pt x="623695" y="240493"/>
                </a:cubicBezTo>
                <a:cubicBezTo>
                  <a:pt x="622533" y="245724"/>
                  <a:pt x="621933" y="251064"/>
                  <a:pt x="621052" y="256349"/>
                </a:cubicBezTo>
                <a:cubicBezTo>
                  <a:pt x="618195" y="330614"/>
                  <a:pt x="625656" y="303320"/>
                  <a:pt x="613124" y="340918"/>
                </a:cubicBezTo>
                <a:cubicBezTo>
                  <a:pt x="612243" y="343561"/>
                  <a:pt x="612026" y="346528"/>
                  <a:pt x="610481" y="348846"/>
                </a:cubicBezTo>
                <a:lnTo>
                  <a:pt x="605195" y="356775"/>
                </a:lnTo>
                <a:lnTo>
                  <a:pt x="599910" y="372631"/>
                </a:lnTo>
                <a:cubicBezTo>
                  <a:pt x="599029" y="375274"/>
                  <a:pt x="598812" y="378242"/>
                  <a:pt x="597267" y="380560"/>
                </a:cubicBezTo>
                <a:lnTo>
                  <a:pt x="581410" y="404345"/>
                </a:lnTo>
                <a:cubicBezTo>
                  <a:pt x="581407" y="404350"/>
                  <a:pt x="570843" y="420197"/>
                  <a:pt x="570839" y="420201"/>
                </a:cubicBezTo>
                <a:cubicBezTo>
                  <a:pt x="564993" y="426047"/>
                  <a:pt x="562343" y="429735"/>
                  <a:pt x="554983" y="433415"/>
                </a:cubicBezTo>
                <a:cubicBezTo>
                  <a:pt x="552491" y="434661"/>
                  <a:pt x="549697" y="435177"/>
                  <a:pt x="547054" y="436058"/>
                </a:cubicBezTo>
                <a:cubicBezTo>
                  <a:pt x="521765" y="461347"/>
                  <a:pt x="551781" y="428967"/>
                  <a:pt x="536483" y="451915"/>
                </a:cubicBezTo>
                <a:cubicBezTo>
                  <a:pt x="527828" y="464898"/>
                  <a:pt x="530374" y="455382"/>
                  <a:pt x="520627" y="465129"/>
                </a:cubicBezTo>
                <a:cubicBezTo>
                  <a:pt x="517512" y="468244"/>
                  <a:pt x="515341" y="472176"/>
                  <a:pt x="512698" y="475700"/>
                </a:cubicBezTo>
                <a:cubicBezTo>
                  <a:pt x="506058" y="495624"/>
                  <a:pt x="515787" y="471840"/>
                  <a:pt x="502127" y="488914"/>
                </a:cubicBezTo>
                <a:cubicBezTo>
                  <a:pt x="500387" y="491089"/>
                  <a:pt x="500837" y="494407"/>
                  <a:pt x="499484" y="496842"/>
                </a:cubicBezTo>
                <a:cubicBezTo>
                  <a:pt x="496399" y="502395"/>
                  <a:pt x="492436" y="507413"/>
                  <a:pt x="488913" y="512698"/>
                </a:cubicBezTo>
                <a:lnTo>
                  <a:pt x="478342" y="528555"/>
                </a:lnTo>
                <a:lnTo>
                  <a:pt x="462486" y="552340"/>
                </a:lnTo>
                <a:lnTo>
                  <a:pt x="457200" y="560268"/>
                </a:lnTo>
                <a:lnTo>
                  <a:pt x="449272" y="584053"/>
                </a:lnTo>
                <a:lnTo>
                  <a:pt x="446629" y="591982"/>
                </a:lnTo>
                <a:cubicBezTo>
                  <a:pt x="447510" y="602553"/>
                  <a:pt x="447528" y="613232"/>
                  <a:pt x="449272" y="623695"/>
                </a:cubicBezTo>
                <a:cubicBezTo>
                  <a:pt x="450188" y="629191"/>
                  <a:pt x="454557" y="639552"/>
                  <a:pt x="454557" y="639552"/>
                </a:cubicBezTo>
                <a:cubicBezTo>
                  <a:pt x="453676" y="651885"/>
                  <a:pt x="453360" y="664271"/>
                  <a:pt x="451915" y="676551"/>
                </a:cubicBezTo>
                <a:cubicBezTo>
                  <a:pt x="451590" y="679318"/>
                  <a:pt x="451242" y="682509"/>
                  <a:pt x="449272" y="684479"/>
                </a:cubicBezTo>
                <a:cubicBezTo>
                  <a:pt x="439024" y="694726"/>
                  <a:pt x="430456" y="696036"/>
                  <a:pt x="417558" y="700335"/>
                </a:cubicBezTo>
                <a:lnTo>
                  <a:pt x="409630" y="702978"/>
                </a:lnTo>
                <a:lnTo>
                  <a:pt x="401702" y="705621"/>
                </a:lnTo>
                <a:cubicBezTo>
                  <a:pt x="399059" y="706502"/>
                  <a:pt x="396092" y="706719"/>
                  <a:pt x="393774" y="708264"/>
                </a:cubicBezTo>
                <a:cubicBezTo>
                  <a:pt x="382735" y="715622"/>
                  <a:pt x="388091" y="711303"/>
                  <a:pt x="377917" y="721478"/>
                </a:cubicBezTo>
                <a:lnTo>
                  <a:pt x="369989" y="745263"/>
                </a:lnTo>
                <a:cubicBezTo>
                  <a:pt x="367840" y="751711"/>
                  <a:pt x="367183" y="755996"/>
                  <a:pt x="362060" y="761119"/>
                </a:cubicBezTo>
                <a:cubicBezTo>
                  <a:pt x="355776" y="767403"/>
                  <a:pt x="346130" y="769072"/>
                  <a:pt x="338275" y="771690"/>
                </a:cubicBezTo>
                <a:lnTo>
                  <a:pt x="330347" y="774333"/>
                </a:lnTo>
                <a:cubicBezTo>
                  <a:pt x="323300" y="773452"/>
                  <a:pt x="315695" y="774574"/>
                  <a:pt x="309205" y="771690"/>
                </a:cubicBezTo>
                <a:cubicBezTo>
                  <a:pt x="306659" y="770559"/>
                  <a:pt x="307238" y="766464"/>
                  <a:pt x="306562" y="763762"/>
                </a:cubicBezTo>
                <a:lnTo>
                  <a:pt x="301276" y="742620"/>
                </a:lnTo>
                <a:cubicBezTo>
                  <a:pt x="300395" y="733811"/>
                  <a:pt x="304516" y="722809"/>
                  <a:pt x="298634" y="716192"/>
                </a:cubicBezTo>
                <a:cubicBezTo>
                  <a:pt x="295498" y="712664"/>
                  <a:pt x="267370" y="723089"/>
                  <a:pt x="264278" y="724120"/>
                </a:cubicBezTo>
                <a:lnTo>
                  <a:pt x="248421" y="729406"/>
                </a:lnTo>
                <a:cubicBezTo>
                  <a:pt x="245778" y="730287"/>
                  <a:pt x="242811" y="730504"/>
                  <a:pt x="240493" y="732049"/>
                </a:cubicBezTo>
                <a:cubicBezTo>
                  <a:pt x="237850" y="733811"/>
                  <a:pt x="235549" y="736249"/>
                  <a:pt x="232564" y="737334"/>
                </a:cubicBezTo>
                <a:cubicBezTo>
                  <a:pt x="212626" y="744584"/>
                  <a:pt x="215106" y="740655"/>
                  <a:pt x="198208" y="745263"/>
                </a:cubicBezTo>
                <a:cubicBezTo>
                  <a:pt x="198204" y="745264"/>
                  <a:pt x="178388" y="751869"/>
                  <a:pt x="174423" y="753191"/>
                </a:cubicBezTo>
                <a:cubicBezTo>
                  <a:pt x="171780" y="754072"/>
                  <a:pt x="168813" y="754289"/>
                  <a:pt x="166495" y="755834"/>
                </a:cubicBezTo>
                <a:lnTo>
                  <a:pt x="158567" y="761119"/>
                </a:lnTo>
                <a:cubicBezTo>
                  <a:pt x="155043" y="766405"/>
                  <a:pt x="150004" y="770949"/>
                  <a:pt x="147995" y="776976"/>
                </a:cubicBezTo>
                <a:lnTo>
                  <a:pt x="142710" y="792833"/>
                </a:lnTo>
                <a:cubicBezTo>
                  <a:pt x="142391" y="796656"/>
                  <a:pt x="141741" y="825044"/>
                  <a:pt x="137424" y="835117"/>
                </a:cubicBezTo>
                <a:cubicBezTo>
                  <a:pt x="136173" y="838036"/>
                  <a:pt x="133559" y="840204"/>
                  <a:pt x="132139" y="843045"/>
                </a:cubicBezTo>
                <a:cubicBezTo>
                  <a:pt x="130893" y="845537"/>
                  <a:pt x="131041" y="848656"/>
                  <a:pt x="129496" y="850974"/>
                </a:cubicBezTo>
                <a:cubicBezTo>
                  <a:pt x="110852" y="878940"/>
                  <a:pt x="128154" y="845731"/>
                  <a:pt x="118925" y="864188"/>
                </a:cubicBezTo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44" name="Freeform 43"/>
          <p:cNvSpPr/>
          <p:nvPr/>
        </p:nvSpPr>
        <p:spPr>
          <a:xfrm>
            <a:off x="3665543" y="3477687"/>
            <a:ext cx="496887" cy="571500"/>
          </a:xfrm>
          <a:custGeom>
            <a:avLst/>
            <a:gdLst>
              <a:gd name="connsiteX0" fmla="*/ 198208 w 496842"/>
              <a:gd name="connsiteY0" fmla="*/ 570245 h 571566"/>
              <a:gd name="connsiteX1" fmla="*/ 190280 w 496842"/>
              <a:gd name="connsiteY1" fmla="*/ 557031 h 571566"/>
              <a:gd name="connsiteX2" fmla="*/ 182352 w 496842"/>
              <a:gd name="connsiteY2" fmla="*/ 554388 h 571566"/>
              <a:gd name="connsiteX3" fmla="*/ 174423 w 496842"/>
              <a:gd name="connsiteY3" fmla="*/ 546460 h 571566"/>
              <a:gd name="connsiteX4" fmla="*/ 158567 w 496842"/>
              <a:gd name="connsiteY4" fmla="*/ 535889 h 571566"/>
              <a:gd name="connsiteX5" fmla="*/ 150638 w 496842"/>
              <a:gd name="connsiteY5" fmla="*/ 530603 h 571566"/>
              <a:gd name="connsiteX6" fmla="*/ 134782 w 496842"/>
              <a:gd name="connsiteY6" fmla="*/ 514746 h 571566"/>
              <a:gd name="connsiteX7" fmla="*/ 126854 w 496842"/>
              <a:gd name="connsiteY7" fmla="*/ 506818 h 571566"/>
              <a:gd name="connsiteX8" fmla="*/ 121568 w 496842"/>
              <a:gd name="connsiteY8" fmla="*/ 498890 h 571566"/>
              <a:gd name="connsiteX9" fmla="*/ 113640 w 496842"/>
              <a:gd name="connsiteY9" fmla="*/ 490961 h 571566"/>
              <a:gd name="connsiteX10" fmla="*/ 103069 w 496842"/>
              <a:gd name="connsiteY10" fmla="*/ 475105 h 571566"/>
              <a:gd name="connsiteX11" fmla="*/ 97783 w 496842"/>
              <a:gd name="connsiteY11" fmla="*/ 467176 h 571566"/>
              <a:gd name="connsiteX12" fmla="*/ 89855 w 496842"/>
              <a:gd name="connsiteY12" fmla="*/ 461891 h 571566"/>
              <a:gd name="connsiteX13" fmla="*/ 76641 w 496842"/>
              <a:gd name="connsiteY13" fmla="*/ 438106 h 571566"/>
              <a:gd name="connsiteX14" fmla="*/ 71355 w 496842"/>
              <a:gd name="connsiteY14" fmla="*/ 430178 h 571566"/>
              <a:gd name="connsiteX15" fmla="*/ 63427 w 496842"/>
              <a:gd name="connsiteY15" fmla="*/ 424892 h 571566"/>
              <a:gd name="connsiteX16" fmla="*/ 58141 w 496842"/>
              <a:gd name="connsiteY16" fmla="*/ 409035 h 571566"/>
              <a:gd name="connsiteX17" fmla="*/ 52856 w 496842"/>
              <a:gd name="connsiteY17" fmla="*/ 401107 h 571566"/>
              <a:gd name="connsiteX18" fmla="*/ 47570 w 496842"/>
              <a:gd name="connsiteY18" fmla="*/ 385250 h 571566"/>
              <a:gd name="connsiteX19" fmla="*/ 44927 w 496842"/>
              <a:gd name="connsiteY19" fmla="*/ 377322 h 571566"/>
              <a:gd name="connsiteX20" fmla="*/ 29071 w 496842"/>
              <a:gd name="connsiteY20" fmla="*/ 353537 h 571566"/>
              <a:gd name="connsiteX21" fmla="*/ 23785 w 496842"/>
              <a:gd name="connsiteY21" fmla="*/ 345609 h 571566"/>
              <a:gd name="connsiteX22" fmla="*/ 18500 w 496842"/>
              <a:gd name="connsiteY22" fmla="*/ 337680 h 571566"/>
              <a:gd name="connsiteX23" fmla="*/ 10571 w 496842"/>
              <a:gd name="connsiteY23" fmla="*/ 329752 h 571566"/>
              <a:gd name="connsiteX24" fmla="*/ 0 w 496842"/>
              <a:gd name="connsiteY24" fmla="*/ 305967 h 571566"/>
              <a:gd name="connsiteX25" fmla="*/ 2643 w 496842"/>
              <a:gd name="connsiteY25" fmla="*/ 298039 h 571566"/>
              <a:gd name="connsiteX26" fmla="*/ 10571 w 496842"/>
              <a:gd name="connsiteY26" fmla="*/ 295396 h 571566"/>
              <a:gd name="connsiteX27" fmla="*/ 18500 w 496842"/>
              <a:gd name="connsiteY27" fmla="*/ 290111 h 571566"/>
              <a:gd name="connsiteX28" fmla="*/ 23785 w 496842"/>
              <a:gd name="connsiteY28" fmla="*/ 274254 h 571566"/>
              <a:gd name="connsiteX29" fmla="*/ 26428 w 496842"/>
              <a:gd name="connsiteY29" fmla="*/ 266326 h 571566"/>
              <a:gd name="connsiteX30" fmla="*/ 34356 w 496842"/>
              <a:gd name="connsiteY30" fmla="*/ 258397 h 571566"/>
              <a:gd name="connsiteX31" fmla="*/ 42285 w 496842"/>
              <a:gd name="connsiteY31" fmla="*/ 234612 h 571566"/>
              <a:gd name="connsiteX32" fmla="*/ 44927 w 496842"/>
              <a:gd name="connsiteY32" fmla="*/ 226684 h 571566"/>
              <a:gd name="connsiteX33" fmla="*/ 47570 w 496842"/>
              <a:gd name="connsiteY33" fmla="*/ 218756 h 571566"/>
              <a:gd name="connsiteX34" fmla="*/ 52856 w 496842"/>
              <a:gd name="connsiteY34" fmla="*/ 197613 h 571566"/>
              <a:gd name="connsiteX35" fmla="*/ 55499 w 496842"/>
              <a:gd name="connsiteY35" fmla="*/ 189685 h 571566"/>
              <a:gd name="connsiteX36" fmla="*/ 58141 w 496842"/>
              <a:gd name="connsiteY36" fmla="*/ 179114 h 571566"/>
              <a:gd name="connsiteX37" fmla="*/ 63427 w 496842"/>
              <a:gd name="connsiteY37" fmla="*/ 163257 h 571566"/>
              <a:gd name="connsiteX38" fmla="*/ 66070 w 496842"/>
              <a:gd name="connsiteY38" fmla="*/ 152686 h 571566"/>
              <a:gd name="connsiteX39" fmla="*/ 73998 w 496842"/>
              <a:gd name="connsiteY39" fmla="*/ 150043 h 571566"/>
              <a:gd name="connsiteX40" fmla="*/ 221993 w 496842"/>
              <a:gd name="connsiteY40" fmla="*/ 147401 h 571566"/>
              <a:gd name="connsiteX41" fmla="*/ 224636 w 496842"/>
              <a:gd name="connsiteY41" fmla="*/ 107759 h 571566"/>
              <a:gd name="connsiteX42" fmla="*/ 227279 w 496842"/>
              <a:gd name="connsiteY42" fmla="*/ 89260 h 571566"/>
              <a:gd name="connsiteX43" fmla="*/ 232564 w 496842"/>
              <a:gd name="connsiteY43" fmla="*/ 44332 h 571566"/>
              <a:gd name="connsiteX44" fmla="*/ 375274 w 496842"/>
              <a:gd name="connsiteY44" fmla="*/ 57546 h 571566"/>
              <a:gd name="connsiteX45" fmla="*/ 372632 w 496842"/>
              <a:gd name="connsiteY45" fmla="*/ 65475 h 571566"/>
              <a:gd name="connsiteX46" fmla="*/ 375274 w 496842"/>
              <a:gd name="connsiteY46" fmla="*/ 120973 h 571566"/>
              <a:gd name="connsiteX47" fmla="*/ 385845 w 496842"/>
              <a:gd name="connsiteY47" fmla="*/ 123616 h 571566"/>
              <a:gd name="connsiteX48" fmla="*/ 401702 w 496842"/>
              <a:gd name="connsiteY48" fmla="*/ 128901 h 571566"/>
              <a:gd name="connsiteX49" fmla="*/ 459843 w 496842"/>
              <a:gd name="connsiteY49" fmla="*/ 134187 h 571566"/>
              <a:gd name="connsiteX50" fmla="*/ 467771 w 496842"/>
              <a:gd name="connsiteY50" fmla="*/ 136830 h 571566"/>
              <a:gd name="connsiteX51" fmla="*/ 475700 w 496842"/>
              <a:gd name="connsiteY51" fmla="*/ 152686 h 571566"/>
              <a:gd name="connsiteX52" fmla="*/ 473057 w 496842"/>
              <a:gd name="connsiteY52" fmla="*/ 197613 h 571566"/>
              <a:gd name="connsiteX53" fmla="*/ 465129 w 496842"/>
              <a:gd name="connsiteY53" fmla="*/ 200256 h 571566"/>
              <a:gd name="connsiteX54" fmla="*/ 457200 w 496842"/>
              <a:gd name="connsiteY54" fmla="*/ 205542 h 571566"/>
              <a:gd name="connsiteX55" fmla="*/ 449272 w 496842"/>
              <a:gd name="connsiteY55" fmla="*/ 208185 h 571566"/>
              <a:gd name="connsiteX56" fmla="*/ 433415 w 496842"/>
              <a:gd name="connsiteY56" fmla="*/ 218756 h 571566"/>
              <a:gd name="connsiteX57" fmla="*/ 433415 w 496842"/>
              <a:gd name="connsiteY57" fmla="*/ 245183 h 571566"/>
              <a:gd name="connsiteX58" fmla="*/ 438701 w 496842"/>
              <a:gd name="connsiteY58" fmla="*/ 253112 h 571566"/>
              <a:gd name="connsiteX59" fmla="*/ 443986 w 496842"/>
              <a:gd name="connsiteY59" fmla="*/ 268968 h 571566"/>
              <a:gd name="connsiteX60" fmla="*/ 467771 w 496842"/>
              <a:gd name="connsiteY60" fmla="*/ 276897 h 571566"/>
              <a:gd name="connsiteX61" fmla="*/ 475700 w 496842"/>
              <a:gd name="connsiteY61" fmla="*/ 279539 h 571566"/>
              <a:gd name="connsiteX62" fmla="*/ 491556 w 496842"/>
              <a:gd name="connsiteY62" fmla="*/ 290111 h 571566"/>
              <a:gd name="connsiteX63" fmla="*/ 496842 w 496842"/>
              <a:gd name="connsiteY63" fmla="*/ 305967 h 571566"/>
              <a:gd name="connsiteX64" fmla="*/ 494199 w 496842"/>
              <a:gd name="connsiteY64" fmla="*/ 332395 h 571566"/>
              <a:gd name="connsiteX65" fmla="*/ 491556 w 496842"/>
              <a:gd name="connsiteY65" fmla="*/ 393179 h 571566"/>
              <a:gd name="connsiteX66" fmla="*/ 480985 w 496842"/>
              <a:gd name="connsiteY66" fmla="*/ 409035 h 571566"/>
              <a:gd name="connsiteX67" fmla="*/ 475700 w 496842"/>
              <a:gd name="connsiteY67" fmla="*/ 424892 h 571566"/>
              <a:gd name="connsiteX68" fmla="*/ 467771 w 496842"/>
              <a:gd name="connsiteY68" fmla="*/ 440749 h 571566"/>
              <a:gd name="connsiteX69" fmla="*/ 459843 w 496842"/>
              <a:gd name="connsiteY69" fmla="*/ 446034 h 571566"/>
              <a:gd name="connsiteX70" fmla="*/ 436058 w 496842"/>
              <a:gd name="connsiteY70" fmla="*/ 440749 h 571566"/>
              <a:gd name="connsiteX71" fmla="*/ 428130 w 496842"/>
              <a:gd name="connsiteY71" fmla="*/ 435463 h 571566"/>
              <a:gd name="connsiteX72" fmla="*/ 404345 w 496842"/>
              <a:gd name="connsiteY72" fmla="*/ 446034 h 571566"/>
              <a:gd name="connsiteX73" fmla="*/ 385845 w 496842"/>
              <a:gd name="connsiteY73" fmla="*/ 440749 h 571566"/>
              <a:gd name="connsiteX74" fmla="*/ 380560 w 496842"/>
              <a:gd name="connsiteY74" fmla="*/ 432820 h 571566"/>
              <a:gd name="connsiteX75" fmla="*/ 364703 w 496842"/>
              <a:gd name="connsiteY75" fmla="*/ 424892 h 571566"/>
              <a:gd name="connsiteX76" fmla="*/ 356775 w 496842"/>
              <a:gd name="connsiteY76" fmla="*/ 419606 h 571566"/>
              <a:gd name="connsiteX77" fmla="*/ 309205 w 496842"/>
              <a:gd name="connsiteY77" fmla="*/ 419606 h 571566"/>
              <a:gd name="connsiteX78" fmla="*/ 298634 w 496842"/>
              <a:gd name="connsiteY78" fmla="*/ 432820 h 571566"/>
              <a:gd name="connsiteX79" fmla="*/ 295991 w 496842"/>
              <a:gd name="connsiteY79" fmla="*/ 440749 h 571566"/>
              <a:gd name="connsiteX80" fmla="*/ 272206 w 496842"/>
              <a:gd name="connsiteY80" fmla="*/ 443391 h 571566"/>
              <a:gd name="connsiteX81" fmla="*/ 256349 w 496842"/>
              <a:gd name="connsiteY81" fmla="*/ 451320 h 571566"/>
              <a:gd name="connsiteX82" fmla="*/ 248421 w 496842"/>
              <a:gd name="connsiteY82" fmla="*/ 453963 h 571566"/>
              <a:gd name="connsiteX83" fmla="*/ 245778 w 496842"/>
              <a:gd name="connsiteY83" fmla="*/ 461891 h 571566"/>
              <a:gd name="connsiteX84" fmla="*/ 245778 w 496842"/>
              <a:gd name="connsiteY84" fmla="*/ 512104 h 571566"/>
              <a:gd name="connsiteX85" fmla="*/ 248421 w 496842"/>
              <a:gd name="connsiteY85" fmla="*/ 520032 h 571566"/>
              <a:gd name="connsiteX86" fmla="*/ 256349 w 496842"/>
              <a:gd name="connsiteY86" fmla="*/ 525317 h 571566"/>
              <a:gd name="connsiteX87" fmla="*/ 264278 w 496842"/>
              <a:gd name="connsiteY87" fmla="*/ 541174 h 571566"/>
              <a:gd name="connsiteX88" fmla="*/ 258992 w 496842"/>
              <a:gd name="connsiteY88" fmla="*/ 557031 h 571566"/>
              <a:gd name="connsiteX89" fmla="*/ 214065 w 496842"/>
              <a:gd name="connsiteY89" fmla="*/ 559674 h 571566"/>
              <a:gd name="connsiteX90" fmla="*/ 192923 w 496842"/>
              <a:gd name="connsiteY90" fmla="*/ 564959 h 571566"/>
              <a:gd name="connsiteX91" fmla="*/ 198208 w 496842"/>
              <a:gd name="connsiteY91" fmla="*/ 570245 h 571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496842" h="571566">
                <a:moveTo>
                  <a:pt x="198208" y="570245"/>
                </a:moveTo>
                <a:cubicBezTo>
                  <a:pt x="197768" y="568924"/>
                  <a:pt x="193912" y="560663"/>
                  <a:pt x="190280" y="557031"/>
                </a:cubicBezTo>
                <a:cubicBezTo>
                  <a:pt x="188310" y="555061"/>
                  <a:pt x="184670" y="555933"/>
                  <a:pt x="182352" y="554388"/>
                </a:cubicBezTo>
                <a:cubicBezTo>
                  <a:pt x="179242" y="552315"/>
                  <a:pt x="177373" y="548755"/>
                  <a:pt x="174423" y="546460"/>
                </a:cubicBezTo>
                <a:cubicBezTo>
                  <a:pt x="169409" y="542560"/>
                  <a:pt x="163852" y="539413"/>
                  <a:pt x="158567" y="535889"/>
                </a:cubicBezTo>
                <a:cubicBezTo>
                  <a:pt x="155924" y="534127"/>
                  <a:pt x="152884" y="532849"/>
                  <a:pt x="150638" y="530603"/>
                </a:cubicBezTo>
                <a:lnTo>
                  <a:pt x="134782" y="514746"/>
                </a:lnTo>
                <a:cubicBezTo>
                  <a:pt x="132139" y="512103"/>
                  <a:pt x="128927" y="509927"/>
                  <a:pt x="126854" y="506818"/>
                </a:cubicBezTo>
                <a:cubicBezTo>
                  <a:pt x="125092" y="504175"/>
                  <a:pt x="123601" y="501330"/>
                  <a:pt x="121568" y="498890"/>
                </a:cubicBezTo>
                <a:cubicBezTo>
                  <a:pt x="119175" y="496019"/>
                  <a:pt x="115935" y="493911"/>
                  <a:pt x="113640" y="490961"/>
                </a:cubicBezTo>
                <a:cubicBezTo>
                  <a:pt x="109740" y="485947"/>
                  <a:pt x="106593" y="480390"/>
                  <a:pt x="103069" y="475105"/>
                </a:cubicBezTo>
                <a:cubicBezTo>
                  <a:pt x="101307" y="472462"/>
                  <a:pt x="100426" y="468938"/>
                  <a:pt x="97783" y="467176"/>
                </a:cubicBezTo>
                <a:lnTo>
                  <a:pt x="89855" y="461891"/>
                </a:lnTo>
                <a:cubicBezTo>
                  <a:pt x="85203" y="447937"/>
                  <a:pt x="88757" y="456279"/>
                  <a:pt x="76641" y="438106"/>
                </a:cubicBezTo>
                <a:cubicBezTo>
                  <a:pt x="74879" y="435463"/>
                  <a:pt x="73998" y="431940"/>
                  <a:pt x="71355" y="430178"/>
                </a:cubicBezTo>
                <a:lnTo>
                  <a:pt x="63427" y="424892"/>
                </a:lnTo>
                <a:cubicBezTo>
                  <a:pt x="61665" y="419606"/>
                  <a:pt x="61231" y="413671"/>
                  <a:pt x="58141" y="409035"/>
                </a:cubicBezTo>
                <a:cubicBezTo>
                  <a:pt x="56379" y="406392"/>
                  <a:pt x="54146" y="404009"/>
                  <a:pt x="52856" y="401107"/>
                </a:cubicBezTo>
                <a:cubicBezTo>
                  <a:pt x="50593" y="396016"/>
                  <a:pt x="49332" y="390536"/>
                  <a:pt x="47570" y="385250"/>
                </a:cubicBezTo>
                <a:cubicBezTo>
                  <a:pt x="46689" y="382607"/>
                  <a:pt x="46472" y="379640"/>
                  <a:pt x="44927" y="377322"/>
                </a:cubicBezTo>
                <a:lnTo>
                  <a:pt x="29071" y="353537"/>
                </a:lnTo>
                <a:lnTo>
                  <a:pt x="23785" y="345609"/>
                </a:lnTo>
                <a:cubicBezTo>
                  <a:pt x="22023" y="342966"/>
                  <a:pt x="20746" y="339926"/>
                  <a:pt x="18500" y="337680"/>
                </a:cubicBezTo>
                <a:lnTo>
                  <a:pt x="10571" y="329752"/>
                </a:lnTo>
                <a:cubicBezTo>
                  <a:pt x="4282" y="310882"/>
                  <a:pt x="8376" y="318532"/>
                  <a:pt x="0" y="305967"/>
                </a:cubicBezTo>
                <a:cubicBezTo>
                  <a:pt x="881" y="303324"/>
                  <a:pt x="673" y="300009"/>
                  <a:pt x="2643" y="298039"/>
                </a:cubicBezTo>
                <a:cubicBezTo>
                  <a:pt x="4613" y="296069"/>
                  <a:pt x="8079" y="296642"/>
                  <a:pt x="10571" y="295396"/>
                </a:cubicBezTo>
                <a:cubicBezTo>
                  <a:pt x="13412" y="293976"/>
                  <a:pt x="15857" y="291873"/>
                  <a:pt x="18500" y="290111"/>
                </a:cubicBezTo>
                <a:lnTo>
                  <a:pt x="23785" y="274254"/>
                </a:lnTo>
                <a:cubicBezTo>
                  <a:pt x="24666" y="271611"/>
                  <a:pt x="24458" y="268296"/>
                  <a:pt x="26428" y="266326"/>
                </a:cubicBezTo>
                <a:lnTo>
                  <a:pt x="34356" y="258397"/>
                </a:lnTo>
                <a:lnTo>
                  <a:pt x="42285" y="234612"/>
                </a:lnTo>
                <a:lnTo>
                  <a:pt x="44927" y="226684"/>
                </a:lnTo>
                <a:cubicBezTo>
                  <a:pt x="45808" y="224041"/>
                  <a:pt x="46894" y="221458"/>
                  <a:pt x="47570" y="218756"/>
                </a:cubicBezTo>
                <a:cubicBezTo>
                  <a:pt x="49332" y="211708"/>
                  <a:pt x="50558" y="204505"/>
                  <a:pt x="52856" y="197613"/>
                </a:cubicBezTo>
                <a:cubicBezTo>
                  <a:pt x="53737" y="194970"/>
                  <a:pt x="54734" y="192363"/>
                  <a:pt x="55499" y="189685"/>
                </a:cubicBezTo>
                <a:cubicBezTo>
                  <a:pt x="56497" y="186193"/>
                  <a:pt x="57097" y="182593"/>
                  <a:pt x="58141" y="179114"/>
                </a:cubicBezTo>
                <a:cubicBezTo>
                  <a:pt x="59742" y="173777"/>
                  <a:pt x="62076" y="168662"/>
                  <a:pt x="63427" y="163257"/>
                </a:cubicBezTo>
                <a:cubicBezTo>
                  <a:pt x="64308" y="159733"/>
                  <a:pt x="63801" y="155522"/>
                  <a:pt x="66070" y="152686"/>
                </a:cubicBezTo>
                <a:cubicBezTo>
                  <a:pt x="67810" y="150511"/>
                  <a:pt x="71214" y="150137"/>
                  <a:pt x="73998" y="150043"/>
                </a:cubicBezTo>
                <a:cubicBezTo>
                  <a:pt x="123309" y="148372"/>
                  <a:pt x="172661" y="148282"/>
                  <a:pt x="221993" y="147401"/>
                </a:cubicBezTo>
                <a:cubicBezTo>
                  <a:pt x="222874" y="134187"/>
                  <a:pt x="223437" y="120948"/>
                  <a:pt x="224636" y="107759"/>
                </a:cubicBezTo>
                <a:cubicBezTo>
                  <a:pt x="225200" y="101556"/>
                  <a:pt x="226506" y="95441"/>
                  <a:pt x="227279" y="89260"/>
                </a:cubicBezTo>
                <a:cubicBezTo>
                  <a:pt x="229149" y="74297"/>
                  <a:pt x="230802" y="59308"/>
                  <a:pt x="232564" y="44332"/>
                </a:cubicBezTo>
                <a:cubicBezTo>
                  <a:pt x="354300" y="46546"/>
                  <a:pt x="391713" y="0"/>
                  <a:pt x="375274" y="57546"/>
                </a:cubicBezTo>
                <a:cubicBezTo>
                  <a:pt x="374509" y="60225"/>
                  <a:pt x="373513" y="62832"/>
                  <a:pt x="372632" y="65475"/>
                </a:cubicBezTo>
                <a:cubicBezTo>
                  <a:pt x="373513" y="83974"/>
                  <a:pt x="371170" y="102913"/>
                  <a:pt x="375274" y="120973"/>
                </a:cubicBezTo>
                <a:cubicBezTo>
                  <a:pt x="376079" y="124515"/>
                  <a:pt x="382366" y="122572"/>
                  <a:pt x="385845" y="123616"/>
                </a:cubicBezTo>
                <a:cubicBezTo>
                  <a:pt x="391182" y="125217"/>
                  <a:pt x="396297" y="127550"/>
                  <a:pt x="401702" y="128901"/>
                </a:cubicBezTo>
                <a:cubicBezTo>
                  <a:pt x="427680" y="135396"/>
                  <a:pt x="408646" y="131343"/>
                  <a:pt x="459843" y="134187"/>
                </a:cubicBezTo>
                <a:cubicBezTo>
                  <a:pt x="462486" y="135068"/>
                  <a:pt x="465596" y="135090"/>
                  <a:pt x="467771" y="136830"/>
                </a:cubicBezTo>
                <a:cubicBezTo>
                  <a:pt x="472429" y="140556"/>
                  <a:pt x="473959" y="147463"/>
                  <a:pt x="475700" y="152686"/>
                </a:cubicBezTo>
                <a:cubicBezTo>
                  <a:pt x="474819" y="167662"/>
                  <a:pt x="476311" y="182969"/>
                  <a:pt x="473057" y="197613"/>
                </a:cubicBezTo>
                <a:cubicBezTo>
                  <a:pt x="472453" y="200332"/>
                  <a:pt x="467621" y="199010"/>
                  <a:pt x="465129" y="200256"/>
                </a:cubicBezTo>
                <a:cubicBezTo>
                  <a:pt x="462288" y="201677"/>
                  <a:pt x="460041" y="204121"/>
                  <a:pt x="457200" y="205542"/>
                </a:cubicBezTo>
                <a:cubicBezTo>
                  <a:pt x="454708" y="206788"/>
                  <a:pt x="451707" y="206832"/>
                  <a:pt x="449272" y="208185"/>
                </a:cubicBezTo>
                <a:cubicBezTo>
                  <a:pt x="443719" y="211270"/>
                  <a:pt x="433415" y="218756"/>
                  <a:pt x="433415" y="218756"/>
                </a:cubicBezTo>
                <a:cubicBezTo>
                  <a:pt x="429590" y="230234"/>
                  <a:pt x="428621" y="229202"/>
                  <a:pt x="433415" y="245183"/>
                </a:cubicBezTo>
                <a:cubicBezTo>
                  <a:pt x="434328" y="248226"/>
                  <a:pt x="437411" y="250209"/>
                  <a:pt x="438701" y="253112"/>
                </a:cubicBezTo>
                <a:cubicBezTo>
                  <a:pt x="440964" y="258203"/>
                  <a:pt x="438701" y="267206"/>
                  <a:pt x="443986" y="268968"/>
                </a:cubicBezTo>
                <a:lnTo>
                  <a:pt x="467771" y="276897"/>
                </a:lnTo>
                <a:lnTo>
                  <a:pt x="475700" y="279539"/>
                </a:lnTo>
                <a:cubicBezTo>
                  <a:pt x="480985" y="283063"/>
                  <a:pt x="489547" y="284085"/>
                  <a:pt x="491556" y="290111"/>
                </a:cubicBezTo>
                <a:lnTo>
                  <a:pt x="496842" y="305967"/>
                </a:lnTo>
                <a:cubicBezTo>
                  <a:pt x="495961" y="314776"/>
                  <a:pt x="494735" y="323558"/>
                  <a:pt x="494199" y="332395"/>
                </a:cubicBezTo>
                <a:cubicBezTo>
                  <a:pt x="492972" y="352638"/>
                  <a:pt x="495002" y="373193"/>
                  <a:pt x="491556" y="393179"/>
                </a:cubicBezTo>
                <a:cubicBezTo>
                  <a:pt x="490477" y="399439"/>
                  <a:pt x="480985" y="409035"/>
                  <a:pt x="480985" y="409035"/>
                </a:cubicBezTo>
                <a:lnTo>
                  <a:pt x="475700" y="424892"/>
                </a:lnTo>
                <a:cubicBezTo>
                  <a:pt x="473551" y="431340"/>
                  <a:pt x="472893" y="435627"/>
                  <a:pt x="467771" y="440749"/>
                </a:cubicBezTo>
                <a:cubicBezTo>
                  <a:pt x="465525" y="442995"/>
                  <a:pt x="462486" y="444272"/>
                  <a:pt x="459843" y="446034"/>
                </a:cubicBezTo>
                <a:cubicBezTo>
                  <a:pt x="453760" y="445020"/>
                  <a:pt x="442560" y="444000"/>
                  <a:pt x="436058" y="440749"/>
                </a:cubicBezTo>
                <a:cubicBezTo>
                  <a:pt x="433217" y="439329"/>
                  <a:pt x="430773" y="437225"/>
                  <a:pt x="428130" y="435463"/>
                </a:cubicBezTo>
                <a:cubicBezTo>
                  <a:pt x="409260" y="441753"/>
                  <a:pt x="416909" y="437659"/>
                  <a:pt x="404345" y="446034"/>
                </a:cubicBezTo>
                <a:cubicBezTo>
                  <a:pt x="403658" y="445862"/>
                  <a:pt x="387565" y="442125"/>
                  <a:pt x="385845" y="440749"/>
                </a:cubicBezTo>
                <a:cubicBezTo>
                  <a:pt x="383365" y="438765"/>
                  <a:pt x="382806" y="435066"/>
                  <a:pt x="380560" y="432820"/>
                </a:cubicBezTo>
                <a:cubicBezTo>
                  <a:pt x="375438" y="427698"/>
                  <a:pt x="371150" y="427041"/>
                  <a:pt x="364703" y="424892"/>
                </a:cubicBezTo>
                <a:cubicBezTo>
                  <a:pt x="362060" y="423130"/>
                  <a:pt x="359694" y="420857"/>
                  <a:pt x="356775" y="419606"/>
                </a:cubicBezTo>
                <a:cubicBezTo>
                  <a:pt x="342271" y="413390"/>
                  <a:pt x="322379" y="418665"/>
                  <a:pt x="309205" y="419606"/>
                </a:cubicBezTo>
                <a:cubicBezTo>
                  <a:pt x="302561" y="439537"/>
                  <a:pt x="312296" y="415742"/>
                  <a:pt x="298634" y="432820"/>
                </a:cubicBezTo>
                <a:cubicBezTo>
                  <a:pt x="296894" y="434995"/>
                  <a:pt x="298578" y="439714"/>
                  <a:pt x="295991" y="440749"/>
                </a:cubicBezTo>
                <a:cubicBezTo>
                  <a:pt x="288584" y="443712"/>
                  <a:pt x="280134" y="442510"/>
                  <a:pt x="272206" y="443391"/>
                </a:cubicBezTo>
                <a:cubicBezTo>
                  <a:pt x="252280" y="450034"/>
                  <a:pt x="276841" y="441073"/>
                  <a:pt x="256349" y="451320"/>
                </a:cubicBezTo>
                <a:cubicBezTo>
                  <a:pt x="253857" y="452566"/>
                  <a:pt x="251064" y="453082"/>
                  <a:pt x="248421" y="453963"/>
                </a:cubicBezTo>
                <a:cubicBezTo>
                  <a:pt x="247540" y="456606"/>
                  <a:pt x="246236" y="459143"/>
                  <a:pt x="245778" y="461891"/>
                </a:cubicBezTo>
                <a:cubicBezTo>
                  <a:pt x="242157" y="483621"/>
                  <a:pt x="242345" y="489785"/>
                  <a:pt x="245778" y="512104"/>
                </a:cubicBezTo>
                <a:cubicBezTo>
                  <a:pt x="246202" y="514857"/>
                  <a:pt x="246681" y="517857"/>
                  <a:pt x="248421" y="520032"/>
                </a:cubicBezTo>
                <a:cubicBezTo>
                  <a:pt x="250405" y="522512"/>
                  <a:pt x="253706" y="523555"/>
                  <a:pt x="256349" y="525317"/>
                </a:cubicBezTo>
                <a:cubicBezTo>
                  <a:pt x="258427" y="528434"/>
                  <a:pt x="264799" y="536485"/>
                  <a:pt x="264278" y="541174"/>
                </a:cubicBezTo>
                <a:cubicBezTo>
                  <a:pt x="263663" y="546712"/>
                  <a:pt x="264220" y="555105"/>
                  <a:pt x="258992" y="557031"/>
                </a:cubicBezTo>
                <a:cubicBezTo>
                  <a:pt x="244915" y="562217"/>
                  <a:pt x="229041" y="558793"/>
                  <a:pt x="214065" y="559674"/>
                </a:cubicBezTo>
                <a:cubicBezTo>
                  <a:pt x="187209" y="565044"/>
                  <a:pt x="211878" y="559543"/>
                  <a:pt x="192923" y="564959"/>
                </a:cubicBezTo>
                <a:cubicBezTo>
                  <a:pt x="180554" y="568493"/>
                  <a:pt x="198649" y="571566"/>
                  <a:pt x="198208" y="570245"/>
                </a:cubicBezTo>
                <a:close/>
              </a:path>
            </a:pathLst>
          </a:custGeom>
          <a:solidFill>
            <a:srgbClr val="3399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45" name="Freeform 44"/>
          <p:cNvSpPr/>
          <p:nvPr/>
        </p:nvSpPr>
        <p:spPr>
          <a:xfrm>
            <a:off x="3633789" y="2671236"/>
            <a:ext cx="690562" cy="880533"/>
          </a:xfrm>
          <a:custGeom>
            <a:avLst/>
            <a:gdLst>
              <a:gd name="connsiteX0" fmla="*/ 118925 w 689764"/>
              <a:gd name="connsiteY0" fmla="*/ 832006 h 879576"/>
              <a:gd name="connsiteX1" fmla="*/ 121568 w 689764"/>
              <a:gd name="connsiteY1" fmla="*/ 789722 h 879576"/>
              <a:gd name="connsiteX2" fmla="*/ 126853 w 689764"/>
              <a:gd name="connsiteY2" fmla="*/ 773865 h 879576"/>
              <a:gd name="connsiteX3" fmla="*/ 129496 w 689764"/>
              <a:gd name="connsiteY3" fmla="*/ 765937 h 879576"/>
              <a:gd name="connsiteX4" fmla="*/ 124210 w 689764"/>
              <a:gd name="connsiteY4" fmla="*/ 739509 h 879576"/>
              <a:gd name="connsiteX5" fmla="*/ 118925 w 689764"/>
              <a:gd name="connsiteY5" fmla="*/ 731581 h 879576"/>
              <a:gd name="connsiteX6" fmla="*/ 108354 w 689764"/>
              <a:gd name="connsiteY6" fmla="*/ 726295 h 879576"/>
              <a:gd name="connsiteX7" fmla="*/ 92497 w 689764"/>
              <a:gd name="connsiteY7" fmla="*/ 721010 h 879576"/>
              <a:gd name="connsiteX8" fmla="*/ 76640 w 689764"/>
              <a:gd name="connsiteY8" fmla="*/ 707796 h 879576"/>
              <a:gd name="connsiteX9" fmla="*/ 66069 w 689764"/>
              <a:gd name="connsiteY9" fmla="*/ 697225 h 879576"/>
              <a:gd name="connsiteX10" fmla="*/ 63427 w 689764"/>
              <a:gd name="connsiteY10" fmla="*/ 689296 h 879576"/>
              <a:gd name="connsiteX11" fmla="*/ 52856 w 689764"/>
              <a:gd name="connsiteY11" fmla="*/ 686653 h 879576"/>
              <a:gd name="connsiteX12" fmla="*/ 34356 w 689764"/>
              <a:gd name="connsiteY12" fmla="*/ 676082 h 879576"/>
              <a:gd name="connsiteX13" fmla="*/ 23785 w 689764"/>
              <a:gd name="connsiteY13" fmla="*/ 660226 h 879576"/>
              <a:gd name="connsiteX14" fmla="*/ 13214 w 689764"/>
              <a:gd name="connsiteY14" fmla="*/ 644369 h 879576"/>
              <a:gd name="connsiteX15" fmla="*/ 2643 w 689764"/>
              <a:gd name="connsiteY15" fmla="*/ 628512 h 879576"/>
              <a:gd name="connsiteX16" fmla="*/ 0 w 689764"/>
              <a:gd name="connsiteY16" fmla="*/ 620584 h 879576"/>
              <a:gd name="connsiteX17" fmla="*/ 13214 w 689764"/>
              <a:gd name="connsiteY17" fmla="*/ 596799 h 879576"/>
              <a:gd name="connsiteX18" fmla="*/ 18499 w 689764"/>
              <a:gd name="connsiteY18" fmla="*/ 588871 h 879576"/>
              <a:gd name="connsiteX19" fmla="*/ 21142 w 689764"/>
              <a:gd name="connsiteY19" fmla="*/ 575657 h 879576"/>
              <a:gd name="connsiteX20" fmla="*/ 23785 w 689764"/>
              <a:gd name="connsiteY20" fmla="*/ 567729 h 879576"/>
              <a:gd name="connsiteX21" fmla="*/ 29071 w 689764"/>
              <a:gd name="connsiteY21" fmla="*/ 541301 h 879576"/>
              <a:gd name="connsiteX22" fmla="*/ 34356 w 689764"/>
              <a:gd name="connsiteY22" fmla="*/ 533373 h 879576"/>
              <a:gd name="connsiteX23" fmla="*/ 36999 w 689764"/>
              <a:gd name="connsiteY23" fmla="*/ 525444 h 879576"/>
              <a:gd name="connsiteX24" fmla="*/ 52856 w 689764"/>
              <a:gd name="connsiteY24" fmla="*/ 517516 h 879576"/>
              <a:gd name="connsiteX25" fmla="*/ 60784 w 689764"/>
              <a:gd name="connsiteY25" fmla="*/ 509588 h 879576"/>
              <a:gd name="connsiteX26" fmla="*/ 68712 w 689764"/>
              <a:gd name="connsiteY26" fmla="*/ 506945 h 879576"/>
              <a:gd name="connsiteX27" fmla="*/ 71355 w 689764"/>
              <a:gd name="connsiteY27" fmla="*/ 499016 h 879576"/>
              <a:gd name="connsiteX28" fmla="*/ 87212 w 689764"/>
              <a:gd name="connsiteY28" fmla="*/ 483160 h 879576"/>
              <a:gd name="connsiteX29" fmla="*/ 87212 w 689764"/>
              <a:gd name="connsiteY29" fmla="*/ 483160 h 879576"/>
              <a:gd name="connsiteX30" fmla="*/ 103068 w 689764"/>
              <a:gd name="connsiteY30" fmla="*/ 472589 h 879576"/>
              <a:gd name="connsiteX31" fmla="*/ 116282 w 689764"/>
              <a:gd name="connsiteY31" fmla="*/ 459375 h 879576"/>
              <a:gd name="connsiteX32" fmla="*/ 124210 w 689764"/>
              <a:gd name="connsiteY32" fmla="*/ 456732 h 879576"/>
              <a:gd name="connsiteX33" fmla="*/ 140067 w 689764"/>
              <a:gd name="connsiteY33" fmla="*/ 446161 h 879576"/>
              <a:gd name="connsiteX34" fmla="*/ 147995 w 689764"/>
              <a:gd name="connsiteY34" fmla="*/ 440875 h 879576"/>
              <a:gd name="connsiteX35" fmla="*/ 163852 w 689764"/>
              <a:gd name="connsiteY35" fmla="*/ 435590 h 879576"/>
              <a:gd name="connsiteX36" fmla="*/ 171780 w 689764"/>
              <a:gd name="connsiteY36" fmla="*/ 432947 h 879576"/>
              <a:gd name="connsiteX37" fmla="*/ 179709 w 689764"/>
              <a:gd name="connsiteY37" fmla="*/ 427662 h 879576"/>
              <a:gd name="connsiteX38" fmla="*/ 190280 w 689764"/>
              <a:gd name="connsiteY38" fmla="*/ 414448 h 879576"/>
              <a:gd name="connsiteX39" fmla="*/ 200851 w 689764"/>
              <a:gd name="connsiteY39" fmla="*/ 417090 h 879576"/>
              <a:gd name="connsiteX40" fmla="*/ 214065 w 689764"/>
              <a:gd name="connsiteY40" fmla="*/ 440875 h 879576"/>
              <a:gd name="connsiteX41" fmla="*/ 221993 w 689764"/>
              <a:gd name="connsiteY41" fmla="*/ 446161 h 879576"/>
              <a:gd name="connsiteX42" fmla="*/ 229921 w 689764"/>
              <a:gd name="connsiteY42" fmla="*/ 454089 h 879576"/>
              <a:gd name="connsiteX43" fmla="*/ 235207 w 689764"/>
              <a:gd name="connsiteY43" fmla="*/ 462018 h 879576"/>
              <a:gd name="connsiteX44" fmla="*/ 243135 w 689764"/>
              <a:gd name="connsiteY44" fmla="*/ 464660 h 879576"/>
              <a:gd name="connsiteX45" fmla="*/ 272206 w 689764"/>
              <a:gd name="connsiteY45" fmla="*/ 462018 h 879576"/>
              <a:gd name="connsiteX46" fmla="*/ 277491 w 689764"/>
              <a:gd name="connsiteY46" fmla="*/ 446161 h 879576"/>
              <a:gd name="connsiteX47" fmla="*/ 282777 w 689764"/>
              <a:gd name="connsiteY47" fmla="*/ 438233 h 879576"/>
              <a:gd name="connsiteX48" fmla="*/ 298634 w 689764"/>
              <a:gd name="connsiteY48" fmla="*/ 430304 h 879576"/>
              <a:gd name="connsiteX49" fmla="*/ 306562 w 689764"/>
              <a:gd name="connsiteY49" fmla="*/ 414448 h 879576"/>
              <a:gd name="connsiteX50" fmla="*/ 309205 w 689764"/>
              <a:gd name="connsiteY50" fmla="*/ 382734 h 879576"/>
              <a:gd name="connsiteX51" fmla="*/ 311847 w 689764"/>
              <a:gd name="connsiteY51" fmla="*/ 372163 h 879576"/>
              <a:gd name="connsiteX52" fmla="*/ 330347 w 689764"/>
              <a:gd name="connsiteY52" fmla="*/ 348378 h 879576"/>
              <a:gd name="connsiteX53" fmla="*/ 340918 w 689764"/>
              <a:gd name="connsiteY53" fmla="*/ 335164 h 879576"/>
              <a:gd name="connsiteX54" fmla="*/ 346203 w 689764"/>
              <a:gd name="connsiteY54" fmla="*/ 319308 h 879576"/>
              <a:gd name="connsiteX55" fmla="*/ 348846 w 689764"/>
              <a:gd name="connsiteY55" fmla="*/ 311379 h 879576"/>
              <a:gd name="connsiteX56" fmla="*/ 351489 w 689764"/>
              <a:gd name="connsiteY56" fmla="*/ 303451 h 879576"/>
              <a:gd name="connsiteX57" fmla="*/ 354132 w 689764"/>
              <a:gd name="connsiteY57" fmla="*/ 292880 h 879576"/>
              <a:gd name="connsiteX58" fmla="*/ 362060 w 689764"/>
              <a:gd name="connsiteY58" fmla="*/ 290237 h 879576"/>
              <a:gd name="connsiteX59" fmla="*/ 377917 w 689764"/>
              <a:gd name="connsiteY59" fmla="*/ 277023 h 879576"/>
              <a:gd name="connsiteX60" fmla="*/ 380560 w 689764"/>
              <a:gd name="connsiteY60" fmla="*/ 266452 h 879576"/>
              <a:gd name="connsiteX61" fmla="*/ 383202 w 689764"/>
              <a:gd name="connsiteY61" fmla="*/ 253238 h 879576"/>
              <a:gd name="connsiteX62" fmla="*/ 388488 w 689764"/>
              <a:gd name="connsiteY62" fmla="*/ 245310 h 879576"/>
              <a:gd name="connsiteX63" fmla="*/ 391131 w 689764"/>
              <a:gd name="connsiteY63" fmla="*/ 237382 h 879576"/>
              <a:gd name="connsiteX64" fmla="*/ 399059 w 689764"/>
              <a:gd name="connsiteY64" fmla="*/ 234739 h 879576"/>
              <a:gd name="connsiteX65" fmla="*/ 409630 w 689764"/>
              <a:gd name="connsiteY65" fmla="*/ 210954 h 879576"/>
              <a:gd name="connsiteX66" fmla="*/ 412273 w 689764"/>
              <a:gd name="connsiteY66" fmla="*/ 203026 h 879576"/>
              <a:gd name="connsiteX67" fmla="*/ 420201 w 689764"/>
              <a:gd name="connsiteY67" fmla="*/ 158099 h 879576"/>
              <a:gd name="connsiteX68" fmla="*/ 422844 w 689764"/>
              <a:gd name="connsiteY68" fmla="*/ 147527 h 879576"/>
              <a:gd name="connsiteX69" fmla="*/ 430772 w 689764"/>
              <a:gd name="connsiteY69" fmla="*/ 142242 h 879576"/>
              <a:gd name="connsiteX70" fmla="*/ 436058 w 689764"/>
              <a:gd name="connsiteY70" fmla="*/ 134314 h 879576"/>
              <a:gd name="connsiteX71" fmla="*/ 443986 w 689764"/>
              <a:gd name="connsiteY71" fmla="*/ 129028 h 879576"/>
              <a:gd name="connsiteX72" fmla="*/ 446629 w 689764"/>
              <a:gd name="connsiteY72" fmla="*/ 118457 h 879576"/>
              <a:gd name="connsiteX73" fmla="*/ 449272 w 689764"/>
              <a:gd name="connsiteY73" fmla="*/ 110529 h 879576"/>
              <a:gd name="connsiteX74" fmla="*/ 459843 w 689764"/>
              <a:gd name="connsiteY74" fmla="*/ 94672 h 879576"/>
              <a:gd name="connsiteX75" fmla="*/ 465128 w 689764"/>
              <a:gd name="connsiteY75" fmla="*/ 86744 h 879576"/>
              <a:gd name="connsiteX76" fmla="*/ 473057 w 689764"/>
              <a:gd name="connsiteY76" fmla="*/ 81458 h 879576"/>
              <a:gd name="connsiteX77" fmla="*/ 488913 w 689764"/>
              <a:gd name="connsiteY77" fmla="*/ 65601 h 879576"/>
              <a:gd name="connsiteX78" fmla="*/ 504770 w 689764"/>
              <a:gd name="connsiteY78" fmla="*/ 60316 h 879576"/>
              <a:gd name="connsiteX79" fmla="*/ 523269 w 689764"/>
              <a:gd name="connsiteY79" fmla="*/ 49745 h 879576"/>
              <a:gd name="connsiteX80" fmla="*/ 533840 w 689764"/>
              <a:gd name="connsiteY80" fmla="*/ 33888 h 879576"/>
              <a:gd name="connsiteX81" fmla="*/ 539126 w 689764"/>
              <a:gd name="connsiteY81" fmla="*/ 25960 h 879576"/>
              <a:gd name="connsiteX82" fmla="*/ 547054 w 689764"/>
              <a:gd name="connsiteY82" fmla="*/ 18032 h 879576"/>
              <a:gd name="connsiteX83" fmla="*/ 549697 w 689764"/>
              <a:gd name="connsiteY83" fmla="*/ 2175 h 879576"/>
              <a:gd name="connsiteX84" fmla="*/ 557625 w 689764"/>
              <a:gd name="connsiteY84" fmla="*/ 4818 h 879576"/>
              <a:gd name="connsiteX85" fmla="*/ 565554 w 689764"/>
              <a:gd name="connsiteY85" fmla="*/ 10103 h 879576"/>
              <a:gd name="connsiteX86" fmla="*/ 570839 w 689764"/>
              <a:gd name="connsiteY86" fmla="*/ 18032 h 879576"/>
              <a:gd name="connsiteX87" fmla="*/ 576125 w 689764"/>
              <a:gd name="connsiteY87" fmla="*/ 33888 h 879576"/>
              <a:gd name="connsiteX88" fmla="*/ 578768 w 689764"/>
              <a:gd name="connsiteY88" fmla="*/ 41816 h 879576"/>
              <a:gd name="connsiteX89" fmla="*/ 581410 w 689764"/>
              <a:gd name="connsiteY89" fmla="*/ 49745 h 879576"/>
              <a:gd name="connsiteX90" fmla="*/ 584053 w 689764"/>
              <a:gd name="connsiteY90" fmla="*/ 57673 h 879576"/>
              <a:gd name="connsiteX91" fmla="*/ 586696 w 689764"/>
              <a:gd name="connsiteY91" fmla="*/ 81458 h 879576"/>
              <a:gd name="connsiteX92" fmla="*/ 591982 w 689764"/>
              <a:gd name="connsiteY92" fmla="*/ 97315 h 879576"/>
              <a:gd name="connsiteX93" fmla="*/ 594624 w 689764"/>
              <a:gd name="connsiteY93" fmla="*/ 105243 h 879576"/>
              <a:gd name="connsiteX94" fmla="*/ 597267 w 689764"/>
              <a:gd name="connsiteY94" fmla="*/ 113171 h 879576"/>
              <a:gd name="connsiteX95" fmla="*/ 599910 w 689764"/>
              <a:gd name="connsiteY95" fmla="*/ 123742 h 879576"/>
              <a:gd name="connsiteX96" fmla="*/ 605195 w 689764"/>
              <a:gd name="connsiteY96" fmla="*/ 150170 h 879576"/>
              <a:gd name="connsiteX97" fmla="*/ 597267 w 689764"/>
              <a:gd name="connsiteY97" fmla="*/ 152813 h 879576"/>
              <a:gd name="connsiteX98" fmla="*/ 544412 w 689764"/>
              <a:gd name="connsiteY98" fmla="*/ 158099 h 879576"/>
              <a:gd name="connsiteX99" fmla="*/ 520627 w 689764"/>
              <a:gd name="connsiteY99" fmla="*/ 166027 h 879576"/>
              <a:gd name="connsiteX100" fmla="*/ 512698 w 689764"/>
              <a:gd name="connsiteY100" fmla="*/ 168670 h 879576"/>
              <a:gd name="connsiteX101" fmla="*/ 504770 w 689764"/>
              <a:gd name="connsiteY101" fmla="*/ 176598 h 879576"/>
              <a:gd name="connsiteX102" fmla="*/ 499484 w 689764"/>
              <a:gd name="connsiteY102" fmla="*/ 192455 h 879576"/>
              <a:gd name="connsiteX103" fmla="*/ 502127 w 689764"/>
              <a:gd name="connsiteY103" fmla="*/ 224168 h 879576"/>
              <a:gd name="connsiteX104" fmla="*/ 517984 w 689764"/>
              <a:gd name="connsiteY104" fmla="*/ 234739 h 879576"/>
              <a:gd name="connsiteX105" fmla="*/ 533840 w 689764"/>
              <a:gd name="connsiteY105" fmla="*/ 245310 h 879576"/>
              <a:gd name="connsiteX106" fmla="*/ 547054 w 689764"/>
              <a:gd name="connsiteY106" fmla="*/ 258524 h 879576"/>
              <a:gd name="connsiteX107" fmla="*/ 552340 w 689764"/>
              <a:gd name="connsiteY107" fmla="*/ 266452 h 879576"/>
              <a:gd name="connsiteX108" fmla="*/ 560268 w 689764"/>
              <a:gd name="connsiteY108" fmla="*/ 274381 h 879576"/>
              <a:gd name="connsiteX109" fmla="*/ 570839 w 689764"/>
              <a:gd name="connsiteY109" fmla="*/ 303451 h 879576"/>
              <a:gd name="connsiteX110" fmla="*/ 578768 w 689764"/>
              <a:gd name="connsiteY110" fmla="*/ 308737 h 879576"/>
              <a:gd name="connsiteX111" fmla="*/ 584053 w 689764"/>
              <a:gd name="connsiteY111" fmla="*/ 316665 h 879576"/>
              <a:gd name="connsiteX112" fmla="*/ 591982 w 689764"/>
              <a:gd name="connsiteY112" fmla="*/ 321951 h 879576"/>
              <a:gd name="connsiteX113" fmla="*/ 602553 w 689764"/>
              <a:gd name="connsiteY113" fmla="*/ 337807 h 879576"/>
              <a:gd name="connsiteX114" fmla="*/ 607838 w 689764"/>
              <a:gd name="connsiteY114" fmla="*/ 345736 h 879576"/>
              <a:gd name="connsiteX115" fmla="*/ 615767 w 689764"/>
              <a:gd name="connsiteY115" fmla="*/ 353664 h 879576"/>
              <a:gd name="connsiteX116" fmla="*/ 621052 w 689764"/>
              <a:gd name="connsiteY116" fmla="*/ 369521 h 879576"/>
              <a:gd name="connsiteX117" fmla="*/ 623695 w 689764"/>
              <a:gd name="connsiteY117" fmla="*/ 377449 h 879576"/>
              <a:gd name="connsiteX118" fmla="*/ 621052 w 689764"/>
              <a:gd name="connsiteY118" fmla="*/ 390663 h 879576"/>
              <a:gd name="connsiteX119" fmla="*/ 607838 w 689764"/>
              <a:gd name="connsiteY119" fmla="*/ 406519 h 879576"/>
              <a:gd name="connsiteX120" fmla="*/ 602553 w 689764"/>
              <a:gd name="connsiteY120" fmla="*/ 414448 h 879576"/>
              <a:gd name="connsiteX121" fmla="*/ 599910 w 689764"/>
              <a:gd name="connsiteY121" fmla="*/ 422376 h 879576"/>
              <a:gd name="connsiteX122" fmla="*/ 589339 w 689764"/>
              <a:gd name="connsiteY122" fmla="*/ 438233 h 879576"/>
              <a:gd name="connsiteX123" fmla="*/ 576125 w 689764"/>
              <a:gd name="connsiteY123" fmla="*/ 451447 h 879576"/>
              <a:gd name="connsiteX124" fmla="*/ 568197 w 689764"/>
              <a:gd name="connsiteY124" fmla="*/ 454089 h 879576"/>
              <a:gd name="connsiteX125" fmla="*/ 560268 w 689764"/>
              <a:gd name="connsiteY125" fmla="*/ 459375 h 879576"/>
              <a:gd name="connsiteX126" fmla="*/ 552340 w 689764"/>
              <a:gd name="connsiteY126" fmla="*/ 462018 h 879576"/>
              <a:gd name="connsiteX127" fmla="*/ 547054 w 689764"/>
              <a:gd name="connsiteY127" fmla="*/ 469946 h 879576"/>
              <a:gd name="connsiteX128" fmla="*/ 541769 w 689764"/>
              <a:gd name="connsiteY128" fmla="*/ 485803 h 879576"/>
              <a:gd name="connsiteX129" fmla="*/ 539126 w 689764"/>
              <a:gd name="connsiteY129" fmla="*/ 493731 h 879576"/>
              <a:gd name="connsiteX130" fmla="*/ 531198 w 689764"/>
              <a:gd name="connsiteY130" fmla="*/ 501659 h 879576"/>
              <a:gd name="connsiteX131" fmla="*/ 528555 w 689764"/>
              <a:gd name="connsiteY131" fmla="*/ 509588 h 879576"/>
              <a:gd name="connsiteX132" fmla="*/ 523269 w 689764"/>
              <a:gd name="connsiteY132" fmla="*/ 517516 h 879576"/>
              <a:gd name="connsiteX133" fmla="*/ 531198 w 689764"/>
              <a:gd name="connsiteY133" fmla="*/ 520159 h 879576"/>
              <a:gd name="connsiteX134" fmla="*/ 541769 w 689764"/>
              <a:gd name="connsiteY134" fmla="*/ 543944 h 879576"/>
              <a:gd name="connsiteX135" fmla="*/ 544412 w 689764"/>
              <a:gd name="connsiteY135" fmla="*/ 551872 h 879576"/>
              <a:gd name="connsiteX136" fmla="*/ 547054 w 689764"/>
              <a:gd name="connsiteY136" fmla="*/ 596799 h 879576"/>
              <a:gd name="connsiteX137" fmla="*/ 549697 w 689764"/>
              <a:gd name="connsiteY137" fmla="*/ 604727 h 879576"/>
              <a:gd name="connsiteX138" fmla="*/ 552340 w 689764"/>
              <a:gd name="connsiteY138" fmla="*/ 615299 h 879576"/>
              <a:gd name="connsiteX139" fmla="*/ 557625 w 689764"/>
              <a:gd name="connsiteY139" fmla="*/ 628512 h 879576"/>
              <a:gd name="connsiteX140" fmla="*/ 560268 w 689764"/>
              <a:gd name="connsiteY140" fmla="*/ 639084 h 879576"/>
              <a:gd name="connsiteX141" fmla="*/ 565554 w 689764"/>
              <a:gd name="connsiteY141" fmla="*/ 654940 h 879576"/>
              <a:gd name="connsiteX142" fmla="*/ 570839 w 689764"/>
              <a:gd name="connsiteY142" fmla="*/ 670797 h 879576"/>
              <a:gd name="connsiteX143" fmla="*/ 584053 w 689764"/>
              <a:gd name="connsiteY143" fmla="*/ 694582 h 879576"/>
              <a:gd name="connsiteX144" fmla="*/ 591982 w 689764"/>
              <a:gd name="connsiteY144" fmla="*/ 702510 h 879576"/>
              <a:gd name="connsiteX145" fmla="*/ 602553 w 689764"/>
              <a:gd name="connsiteY145" fmla="*/ 718367 h 879576"/>
              <a:gd name="connsiteX146" fmla="*/ 610481 w 689764"/>
              <a:gd name="connsiteY146" fmla="*/ 734223 h 879576"/>
              <a:gd name="connsiteX147" fmla="*/ 618409 w 689764"/>
              <a:gd name="connsiteY147" fmla="*/ 739509 h 879576"/>
              <a:gd name="connsiteX148" fmla="*/ 631623 w 689764"/>
              <a:gd name="connsiteY148" fmla="*/ 752723 h 879576"/>
              <a:gd name="connsiteX149" fmla="*/ 647480 w 689764"/>
              <a:gd name="connsiteY149" fmla="*/ 768579 h 879576"/>
              <a:gd name="connsiteX150" fmla="*/ 655408 w 689764"/>
              <a:gd name="connsiteY150" fmla="*/ 776508 h 879576"/>
              <a:gd name="connsiteX151" fmla="*/ 681836 w 689764"/>
              <a:gd name="connsiteY151" fmla="*/ 795007 h 879576"/>
              <a:gd name="connsiteX152" fmla="*/ 684479 w 689764"/>
              <a:gd name="connsiteY152" fmla="*/ 802936 h 879576"/>
              <a:gd name="connsiteX153" fmla="*/ 689764 w 689764"/>
              <a:gd name="connsiteY153" fmla="*/ 810864 h 879576"/>
              <a:gd name="connsiteX154" fmla="*/ 684479 w 689764"/>
              <a:gd name="connsiteY154" fmla="*/ 826721 h 879576"/>
              <a:gd name="connsiteX155" fmla="*/ 679193 w 689764"/>
              <a:gd name="connsiteY155" fmla="*/ 847863 h 879576"/>
              <a:gd name="connsiteX156" fmla="*/ 676550 w 689764"/>
              <a:gd name="connsiteY156" fmla="*/ 876933 h 879576"/>
              <a:gd name="connsiteX157" fmla="*/ 668622 w 689764"/>
              <a:gd name="connsiteY157" fmla="*/ 879576 h 879576"/>
              <a:gd name="connsiteX158" fmla="*/ 636909 w 689764"/>
              <a:gd name="connsiteY158" fmla="*/ 876933 h 879576"/>
              <a:gd name="connsiteX159" fmla="*/ 626338 w 689764"/>
              <a:gd name="connsiteY159" fmla="*/ 874290 h 879576"/>
              <a:gd name="connsiteX160" fmla="*/ 602553 w 689764"/>
              <a:gd name="connsiteY160" fmla="*/ 866362 h 879576"/>
              <a:gd name="connsiteX161" fmla="*/ 586696 w 689764"/>
              <a:gd name="connsiteY161" fmla="*/ 861077 h 879576"/>
              <a:gd name="connsiteX162" fmla="*/ 570839 w 689764"/>
              <a:gd name="connsiteY162" fmla="*/ 858434 h 879576"/>
              <a:gd name="connsiteX163" fmla="*/ 554983 w 689764"/>
              <a:gd name="connsiteY163" fmla="*/ 853148 h 879576"/>
              <a:gd name="connsiteX164" fmla="*/ 547054 w 689764"/>
              <a:gd name="connsiteY164" fmla="*/ 850505 h 879576"/>
              <a:gd name="connsiteX165" fmla="*/ 531198 w 689764"/>
              <a:gd name="connsiteY165" fmla="*/ 847863 h 879576"/>
              <a:gd name="connsiteX166" fmla="*/ 499484 w 689764"/>
              <a:gd name="connsiteY166" fmla="*/ 839934 h 879576"/>
              <a:gd name="connsiteX167" fmla="*/ 491556 w 689764"/>
              <a:gd name="connsiteY167" fmla="*/ 837292 h 879576"/>
              <a:gd name="connsiteX168" fmla="*/ 404345 w 689764"/>
              <a:gd name="connsiteY168" fmla="*/ 834649 h 879576"/>
              <a:gd name="connsiteX169" fmla="*/ 388488 w 689764"/>
              <a:gd name="connsiteY169" fmla="*/ 829363 h 879576"/>
              <a:gd name="connsiteX170" fmla="*/ 367346 w 689764"/>
              <a:gd name="connsiteY170" fmla="*/ 832006 h 879576"/>
              <a:gd name="connsiteX171" fmla="*/ 330347 w 689764"/>
              <a:gd name="connsiteY171" fmla="*/ 842577 h 879576"/>
              <a:gd name="connsiteX172" fmla="*/ 306562 w 689764"/>
              <a:gd name="connsiteY172" fmla="*/ 850505 h 879576"/>
              <a:gd name="connsiteX173" fmla="*/ 298634 w 689764"/>
              <a:gd name="connsiteY173" fmla="*/ 853148 h 879576"/>
              <a:gd name="connsiteX174" fmla="*/ 126853 w 689764"/>
              <a:gd name="connsiteY174" fmla="*/ 850505 h 879576"/>
              <a:gd name="connsiteX175" fmla="*/ 118925 w 689764"/>
              <a:gd name="connsiteY175" fmla="*/ 845220 h 879576"/>
              <a:gd name="connsiteX176" fmla="*/ 126853 w 689764"/>
              <a:gd name="connsiteY176" fmla="*/ 797650 h 879576"/>
              <a:gd name="connsiteX177" fmla="*/ 129496 w 689764"/>
              <a:gd name="connsiteY177" fmla="*/ 789722 h 879576"/>
              <a:gd name="connsiteX178" fmla="*/ 126853 w 689764"/>
              <a:gd name="connsiteY178" fmla="*/ 750080 h 879576"/>
              <a:gd name="connsiteX179" fmla="*/ 124210 w 689764"/>
              <a:gd name="connsiteY179" fmla="*/ 742152 h 879576"/>
              <a:gd name="connsiteX180" fmla="*/ 116282 w 689764"/>
              <a:gd name="connsiteY180" fmla="*/ 736866 h 879576"/>
              <a:gd name="connsiteX181" fmla="*/ 105711 w 689764"/>
              <a:gd name="connsiteY181" fmla="*/ 723652 h 879576"/>
              <a:gd name="connsiteX182" fmla="*/ 97783 w 689764"/>
              <a:gd name="connsiteY182" fmla="*/ 715724 h 879576"/>
              <a:gd name="connsiteX183" fmla="*/ 81926 w 689764"/>
              <a:gd name="connsiteY183" fmla="*/ 707796 h 879576"/>
              <a:gd name="connsiteX184" fmla="*/ 68712 w 689764"/>
              <a:gd name="connsiteY184" fmla="*/ 697225 h 879576"/>
              <a:gd name="connsiteX185" fmla="*/ 55498 w 689764"/>
              <a:gd name="connsiteY185" fmla="*/ 686653 h 879576"/>
              <a:gd name="connsiteX186" fmla="*/ 42284 w 689764"/>
              <a:gd name="connsiteY186" fmla="*/ 670797 h 879576"/>
              <a:gd name="connsiteX187" fmla="*/ 29071 w 689764"/>
              <a:gd name="connsiteY187" fmla="*/ 647012 h 879576"/>
              <a:gd name="connsiteX188" fmla="*/ 21142 w 689764"/>
              <a:gd name="connsiteY188" fmla="*/ 644369 h 879576"/>
              <a:gd name="connsiteX189" fmla="*/ 13214 w 689764"/>
              <a:gd name="connsiteY189" fmla="*/ 636441 h 879576"/>
              <a:gd name="connsiteX190" fmla="*/ 5286 w 689764"/>
              <a:gd name="connsiteY190" fmla="*/ 620584 h 879576"/>
              <a:gd name="connsiteX191" fmla="*/ 5286 w 689764"/>
              <a:gd name="connsiteY191" fmla="*/ 617941 h 879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</a:cxnLst>
            <a:rect l="l" t="t" r="r" b="b"/>
            <a:pathLst>
              <a:path w="689764" h="879576">
                <a:moveTo>
                  <a:pt x="118925" y="832006"/>
                </a:moveTo>
                <a:cubicBezTo>
                  <a:pt x="119806" y="817911"/>
                  <a:pt x="119660" y="803715"/>
                  <a:pt x="121568" y="789722"/>
                </a:cubicBezTo>
                <a:cubicBezTo>
                  <a:pt x="122321" y="784202"/>
                  <a:pt x="125091" y="779151"/>
                  <a:pt x="126853" y="773865"/>
                </a:cubicBezTo>
                <a:lnTo>
                  <a:pt x="129496" y="765937"/>
                </a:lnTo>
                <a:cubicBezTo>
                  <a:pt x="128522" y="759116"/>
                  <a:pt x="127901" y="746891"/>
                  <a:pt x="124210" y="739509"/>
                </a:cubicBezTo>
                <a:cubicBezTo>
                  <a:pt x="122790" y="736668"/>
                  <a:pt x="121365" y="733614"/>
                  <a:pt x="118925" y="731581"/>
                </a:cubicBezTo>
                <a:cubicBezTo>
                  <a:pt x="115899" y="729059"/>
                  <a:pt x="112012" y="727758"/>
                  <a:pt x="108354" y="726295"/>
                </a:cubicBezTo>
                <a:cubicBezTo>
                  <a:pt x="103181" y="724226"/>
                  <a:pt x="92497" y="721010"/>
                  <a:pt x="92497" y="721010"/>
                </a:cubicBezTo>
                <a:cubicBezTo>
                  <a:pt x="86649" y="717111"/>
                  <a:pt x="80708" y="713898"/>
                  <a:pt x="76640" y="707796"/>
                </a:cubicBezTo>
                <a:cubicBezTo>
                  <a:pt x="68586" y="695714"/>
                  <a:pt x="81173" y="702258"/>
                  <a:pt x="66069" y="697225"/>
                </a:cubicBezTo>
                <a:cubicBezTo>
                  <a:pt x="65188" y="694582"/>
                  <a:pt x="65602" y="691036"/>
                  <a:pt x="63427" y="689296"/>
                </a:cubicBezTo>
                <a:cubicBezTo>
                  <a:pt x="60591" y="687027"/>
                  <a:pt x="56257" y="687928"/>
                  <a:pt x="52856" y="686653"/>
                </a:cubicBezTo>
                <a:cubicBezTo>
                  <a:pt x="45186" y="683777"/>
                  <a:pt x="40932" y="680466"/>
                  <a:pt x="34356" y="676082"/>
                </a:cubicBezTo>
                <a:cubicBezTo>
                  <a:pt x="29301" y="660919"/>
                  <a:pt x="35333" y="675074"/>
                  <a:pt x="23785" y="660226"/>
                </a:cubicBezTo>
                <a:cubicBezTo>
                  <a:pt x="19885" y="655212"/>
                  <a:pt x="16738" y="649655"/>
                  <a:pt x="13214" y="644369"/>
                </a:cubicBezTo>
                <a:lnTo>
                  <a:pt x="2643" y="628512"/>
                </a:lnTo>
                <a:lnTo>
                  <a:pt x="0" y="620584"/>
                </a:lnTo>
                <a:cubicBezTo>
                  <a:pt x="4652" y="606629"/>
                  <a:pt x="1098" y="614974"/>
                  <a:pt x="13214" y="596799"/>
                </a:cubicBezTo>
                <a:lnTo>
                  <a:pt x="18499" y="588871"/>
                </a:lnTo>
                <a:cubicBezTo>
                  <a:pt x="19380" y="584466"/>
                  <a:pt x="20052" y="580015"/>
                  <a:pt x="21142" y="575657"/>
                </a:cubicBezTo>
                <a:cubicBezTo>
                  <a:pt x="21818" y="572955"/>
                  <a:pt x="23181" y="570448"/>
                  <a:pt x="23785" y="567729"/>
                </a:cubicBezTo>
                <a:cubicBezTo>
                  <a:pt x="24795" y="563187"/>
                  <a:pt x="26640" y="546973"/>
                  <a:pt x="29071" y="541301"/>
                </a:cubicBezTo>
                <a:cubicBezTo>
                  <a:pt x="30322" y="538382"/>
                  <a:pt x="32936" y="536214"/>
                  <a:pt x="34356" y="533373"/>
                </a:cubicBezTo>
                <a:cubicBezTo>
                  <a:pt x="35602" y="530881"/>
                  <a:pt x="35259" y="527619"/>
                  <a:pt x="36999" y="525444"/>
                </a:cubicBezTo>
                <a:cubicBezTo>
                  <a:pt x="40724" y="520787"/>
                  <a:pt x="47634" y="519257"/>
                  <a:pt x="52856" y="517516"/>
                </a:cubicBezTo>
                <a:cubicBezTo>
                  <a:pt x="55499" y="514873"/>
                  <a:pt x="57674" y="511661"/>
                  <a:pt x="60784" y="509588"/>
                </a:cubicBezTo>
                <a:cubicBezTo>
                  <a:pt x="63102" y="508043"/>
                  <a:pt x="66742" y="508915"/>
                  <a:pt x="68712" y="506945"/>
                </a:cubicBezTo>
                <a:cubicBezTo>
                  <a:pt x="70682" y="504975"/>
                  <a:pt x="69645" y="501215"/>
                  <a:pt x="71355" y="499016"/>
                </a:cubicBezTo>
                <a:cubicBezTo>
                  <a:pt x="75944" y="493116"/>
                  <a:pt x="81926" y="488445"/>
                  <a:pt x="87212" y="483160"/>
                </a:cubicBezTo>
                <a:lnTo>
                  <a:pt x="87212" y="483160"/>
                </a:lnTo>
                <a:lnTo>
                  <a:pt x="103068" y="472589"/>
                </a:lnTo>
                <a:cubicBezTo>
                  <a:pt x="108354" y="464660"/>
                  <a:pt x="107472" y="463780"/>
                  <a:pt x="116282" y="459375"/>
                </a:cubicBezTo>
                <a:cubicBezTo>
                  <a:pt x="118774" y="458129"/>
                  <a:pt x="121775" y="458085"/>
                  <a:pt x="124210" y="456732"/>
                </a:cubicBezTo>
                <a:cubicBezTo>
                  <a:pt x="129763" y="453647"/>
                  <a:pt x="134781" y="449685"/>
                  <a:pt x="140067" y="446161"/>
                </a:cubicBezTo>
                <a:cubicBezTo>
                  <a:pt x="142710" y="444399"/>
                  <a:pt x="144982" y="441879"/>
                  <a:pt x="147995" y="440875"/>
                </a:cubicBezTo>
                <a:lnTo>
                  <a:pt x="163852" y="435590"/>
                </a:lnTo>
                <a:cubicBezTo>
                  <a:pt x="166495" y="434709"/>
                  <a:pt x="169462" y="434492"/>
                  <a:pt x="171780" y="432947"/>
                </a:cubicBezTo>
                <a:lnTo>
                  <a:pt x="179709" y="427662"/>
                </a:lnTo>
                <a:cubicBezTo>
                  <a:pt x="181708" y="421661"/>
                  <a:pt x="181910" y="415644"/>
                  <a:pt x="190280" y="414448"/>
                </a:cubicBezTo>
                <a:cubicBezTo>
                  <a:pt x="193876" y="413934"/>
                  <a:pt x="197327" y="416209"/>
                  <a:pt x="200851" y="417090"/>
                </a:cubicBezTo>
                <a:cubicBezTo>
                  <a:pt x="203605" y="425352"/>
                  <a:pt x="206275" y="435681"/>
                  <a:pt x="214065" y="440875"/>
                </a:cubicBezTo>
                <a:cubicBezTo>
                  <a:pt x="216708" y="442637"/>
                  <a:pt x="219553" y="444128"/>
                  <a:pt x="221993" y="446161"/>
                </a:cubicBezTo>
                <a:cubicBezTo>
                  <a:pt x="224864" y="448554"/>
                  <a:pt x="227528" y="451218"/>
                  <a:pt x="229921" y="454089"/>
                </a:cubicBezTo>
                <a:cubicBezTo>
                  <a:pt x="231955" y="456529"/>
                  <a:pt x="232727" y="460034"/>
                  <a:pt x="235207" y="462018"/>
                </a:cubicBezTo>
                <a:cubicBezTo>
                  <a:pt x="237382" y="463758"/>
                  <a:pt x="240492" y="463779"/>
                  <a:pt x="243135" y="464660"/>
                </a:cubicBezTo>
                <a:lnTo>
                  <a:pt x="272206" y="462018"/>
                </a:lnTo>
                <a:cubicBezTo>
                  <a:pt x="277112" y="459377"/>
                  <a:pt x="274400" y="450797"/>
                  <a:pt x="277491" y="446161"/>
                </a:cubicBezTo>
                <a:cubicBezTo>
                  <a:pt x="279253" y="443518"/>
                  <a:pt x="280531" y="440479"/>
                  <a:pt x="282777" y="438233"/>
                </a:cubicBezTo>
                <a:cubicBezTo>
                  <a:pt x="287901" y="433109"/>
                  <a:pt x="292184" y="432454"/>
                  <a:pt x="298634" y="430304"/>
                </a:cubicBezTo>
                <a:cubicBezTo>
                  <a:pt x="302345" y="424737"/>
                  <a:pt x="305650" y="421285"/>
                  <a:pt x="306562" y="414448"/>
                </a:cubicBezTo>
                <a:cubicBezTo>
                  <a:pt x="307964" y="403933"/>
                  <a:pt x="307889" y="393260"/>
                  <a:pt x="309205" y="382734"/>
                </a:cubicBezTo>
                <a:cubicBezTo>
                  <a:pt x="309655" y="379130"/>
                  <a:pt x="310223" y="375412"/>
                  <a:pt x="311847" y="372163"/>
                </a:cubicBezTo>
                <a:cubicBezTo>
                  <a:pt x="318167" y="359524"/>
                  <a:pt x="321649" y="357077"/>
                  <a:pt x="330347" y="348378"/>
                </a:cubicBezTo>
                <a:cubicBezTo>
                  <a:pt x="339987" y="319461"/>
                  <a:pt x="323839" y="362491"/>
                  <a:pt x="340918" y="335164"/>
                </a:cubicBezTo>
                <a:cubicBezTo>
                  <a:pt x="343871" y="330440"/>
                  <a:pt x="344441" y="324593"/>
                  <a:pt x="346203" y="319308"/>
                </a:cubicBezTo>
                <a:lnTo>
                  <a:pt x="348846" y="311379"/>
                </a:lnTo>
                <a:cubicBezTo>
                  <a:pt x="349727" y="308736"/>
                  <a:pt x="350813" y="306153"/>
                  <a:pt x="351489" y="303451"/>
                </a:cubicBezTo>
                <a:cubicBezTo>
                  <a:pt x="352370" y="299927"/>
                  <a:pt x="351863" y="295716"/>
                  <a:pt x="354132" y="292880"/>
                </a:cubicBezTo>
                <a:cubicBezTo>
                  <a:pt x="355872" y="290705"/>
                  <a:pt x="359568" y="291483"/>
                  <a:pt x="362060" y="290237"/>
                </a:cubicBezTo>
                <a:cubicBezTo>
                  <a:pt x="369420" y="286557"/>
                  <a:pt x="372071" y="282869"/>
                  <a:pt x="377917" y="277023"/>
                </a:cubicBezTo>
                <a:cubicBezTo>
                  <a:pt x="378798" y="273499"/>
                  <a:pt x="379772" y="269998"/>
                  <a:pt x="380560" y="266452"/>
                </a:cubicBezTo>
                <a:cubicBezTo>
                  <a:pt x="381534" y="262067"/>
                  <a:pt x="381625" y="257444"/>
                  <a:pt x="383202" y="253238"/>
                </a:cubicBezTo>
                <a:cubicBezTo>
                  <a:pt x="384317" y="250264"/>
                  <a:pt x="387067" y="248151"/>
                  <a:pt x="388488" y="245310"/>
                </a:cubicBezTo>
                <a:cubicBezTo>
                  <a:pt x="389734" y="242819"/>
                  <a:pt x="389161" y="239352"/>
                  <a:pt x="391131" y="237382"/>
                </a:cubicBezTo>
                <a:cubicBezTo>
                  <a:pt x="393101" y="235412"/>
                  <a:pt x="396416" y="235620"/>
                  <a:pt x="399059" y="234739"/>
                </a:cubicBezTo>
                <a:cubicBezTo>
                  <a:pt x="407436" y="222174"/>
                  <a:pt x="403340" y="229826"/>
                  <a:pt x="409630" y="210954"/>
                </a:cubicBezTo>
                <a:lnTo>
                  <a:pt x="412273" y="203026"/>
                </a:lnTo>
                <a:cubicBezTo>
                  <a:pt x="417507" y="145461"/>
                  <a:pt x="410645" y="196324"/>
                  <a:pt x="420201" y="158099"/>
                </a:cubicBezTo>
                <a:cubicBezTo>
                  <a:pt x="421082" y="154575"/>
                  <a:pt x="420829" y="150549"/>
                  <a:pt x="422844" y="147527"/>
                </a:cubicBezTo>
                <a:cubicBezTo>
                  <a:pt x="424606" y="144884"/>
                  <a:pt x="428129" y="144004"/>
                  <a:pt x="430772" y="142242"/>
                </a:cubicBezTo>
                <a:cubicBezTo>
                  <a:pt x="432534" y="139599"/>
                  <a:pt x="433812" y="136560"/>
                  <a:pt x="436058" y="134314"/>
                </a:cubicBezTo>
                <a:cubicBezTo>
                  <a:pt x="438304" y="132068"/>
                  <a:pt x="442224" y="131671"/>
                  <a:pt x="443986" y="129028"/>
                </a:cubicBezTo>
                <a:cubicBezTo>
                  <a:pt x="446001" y="126006"/>
                  <a:pt x="445631" y="121949"/>
                  <a:pt x="446629" y="118457"/>
                </a:cubicBezTo>
                <a:cubicBezTo>
                  <a:pt x="447394" y="115779"/>
                  <a:pt x="447919" y="112964"/>
                  <a:pt x="449272" y="110529"/>
                </a:cubicBezTo>
                <a:cubicBezTo>
                  <a:pt x="452357" y="104976"/>
                  <a:pt x="456319" y="99958"/>
                  <a:pt x="459843" y="94672"/>
                </a:cubicBezTo>
                <a:cubicBezTo>
                  <a:pt x="461605" y="92029"/>
                  <a:pt x="462485" y="88506"/>
                  <a:pt x="465128" y="86744"/>
                </a:cubicBezTo>
                <a:lnTo>
                  <a:pt x="473057" y="81458"/>
                </a:lnTo>
                <a:cubicBezTo>
                  <a:pt x="478421" y="73411"/>
                  <a:pt x="479080" y="70518"/>
                  <a:pt x="488913" y="65601"/>
                </a:cubicBezTo>
                <a:cubicBezTo>
                  <a:pt x="493896" y="63109"/>
                  <a:pt x="500134" y="63407"/>
                  <a:pt x="504770" y="60316"/>
                </a:cubicBezTo>
                <a:cubicBezTo>
                  <a:pt x="515976" y="52845"/>
                  <a:pt x="509857" y="56450"/>
                  <a:pt x="523269" y="49745"/>
                </a:cubicBezTo>
                <a:lnTo>
                  <a:pt x="533840" y="33888"/>
                </a:lnTo>
                <a:cubicBezTo>
                  <a:pt x="535602" y="31245"/>
                  <a:pt x="536880" y="28206"/>
                  <a:pt x="539126" y="25960"/>
                </a:cubicBezTo>
                <a:lnTo>
                  <a:pt x="547054" y="18032"/>
                </a:lnTo>
                <a:cubicBezTo>
                  <a:pt x="547935" y="12746"/>
                  <a:pt x="546350" y="6359"/>
                  <a:pt x="549697" y="2175"/>
                </a:cubicBezTo>
                <a:cubicBezTo>
                  <a:pt x="551437" y="0"/>
                  <a:pt x="555133" y="3572"/>
                  <a:pt x="557625" y="4818"/>
                </a:cubicBezTo>
                <a:cubicBezTo>
                  <a:pt x="560466" y="6238"/>
                  <a:pt x="562911" y="8341"/>
                  <a:pt x="565554" y="10103"/>
                </a:cubicBezTo>
                <a:cubicBezTo>
                  <a:pt x="567316" y="12746"/>
                  <a:pt x="569549" y="15129"/>
                  <a:pt x="570839" y="18032"/>
                </a:cubicBezTo>
                <a:cubicBezTo>
                  <a:pt x="573102" y="23123"/>
                  <a:pt x="574363" y="28603"/>
                  <a:pt x="576125" y="33888"/>
                </a:cubicBezTo>
                <a:lnTo>
                  <a:pt x="578768" y="41816"/>
                </a:lnTo>
                <a:lnTo>
                  <a:pt x="581410" y="49745"/>
                </a:lnTo>
                <a:lnTo>
                  <a:pt x="584053" y="57673"/>
                </a:lnTo>
                <a:cubicBezTo>
                  <a:pt x="584934" y="65601"/>
                  <a:pt x="585131" y="73636"/>
                  <a:pt x="586696" y="81458"/>
                </a:cubicBezTo>
                <a:cubicBezTo>
                  <a:pt x="587789" y="86921"/>
                  <a:pt x="590220" y="92029"/>
                  <a:pt x="591982" y="97315"/>
                </a:cubicBezTo>
                <a:lnTo>
                  <a:pt x="594624" y="105243"/>
                </a:lnTo>
                <a:cubicBezTo>
                  <a:pt x="595505" y="107886"/>
                  <a:pt x="596591" y="110469"/>
                  <a:pt x="597267" y="113171"/>
                </a:cubicBezTo>
                <a:cubicBezTo>
                  <a:pt x="598148" y="116695"/>
                  <a:pt x="599260" y="120168"/>
                  <a:pt x="599910" y="123742"/>
                </a:cubicBezTo>
                <a:cubicBezTo>
                  <a:pt x="604770" y="150470"/>
                  <a:pt x="599768" y="133886"/>
                  <a:pt x="605195" y="150170"/>
                </a:cubicBezTo>
                <a:cubicBezTo>
                  <a:pt x="602552" y="151051"/>
                  <a:pt x="600029" y="152453"/>
                  <a:pt x="597267" y="152813"/>
                </a:cubicBezTo>
                <a:cubicBezTo>
                  <a:pt x="579710" y="155103"/>
                  <a:pt x="544412" y="158099"/>
                  <a:pt x="544412" y="158099"/>
                </a:cubicBezTo>
                <a:lnTo>
                  <a:pt x="520627" y="166027"/>
                </a:lnTo>
                <a:lnTo>
                  <a:pt x="512698" y="168670"/>
                </a:lnTo>
                <a:cubicBezTo>
                  <a:pt x="510055" y="171313"/>
                  <a:pt x="506585" y="173331"/>
                  <a:pt x="504770" y="176598"/>
                </a:cubicBezTo>
                <a:cubicBezTo>
                  <a:pt x="502064" y="181468"/>
                  <a:pt x="499484" y="192455"/>
                  <a:pt x="499484" y="192455"/>
                </a:cubicBezTo>
                <a:cubicBezTo>
                  <a:pt x="500365" y="203026"/>
                  <a:pt x="499394" y="213919"/>
                  <a:pt x="502127" y="224168"/>
                </a:cubicBezTo>
                <a:cubicBezTo>
                  <a:pt x="504575" y="233347"/>
                  <a:pt x="512064" y="231450"/>
                  <a:pt x="517984" y="234739"/>
                </a:cubicBezTo>
                <a:cubicBezTo>
                  <a:pt x="523537" y="237824"/>
                  <a:pt x="533840" y="245310"/>
                  <a:pt x="533840" y="245310"/>
                </a:cubicBezTo>
                <a:cubicBezTo>
                  <a:pt x="547936" y="266451"/>
                  <a:pt x="529435" y="240905"/>
                  <a:pt x="547054" y="258524"/>
                </a:cubicBezTo>
                <a:cubicBezTo>
                  <a:pt x="549300" y="260770"/>
                  <a:pt x="550307" y="264012"/>
                  <a:pt x="552340" y="266452"/>
                </a:cubicBezTo>
                <a:cubicBezTo>
                  <a:pt x="554733" y="269323"/>
                  <a:pt x="557625" y="271738"/>
                  <a:pt x="560268" y="274381"/>
                </a:cubicBezTo>
                <a:cubicBezTo>
                  <a:pt x="562224" y="284159"/>
                  <a:pt x="563272" y="295884"/>
                  <a:pt x="570839" y="303451"/>
                </a:cubicBezTo>
                <a:cubicBezTo>
                  <a:pt x="573085" y="305697"/>
                  <a:pt x="576125" y="306975"/>
                  <a:pt x="578768" y="308737"/>
                </a:cubicBezTo>
                <a:cubicBezTo>
                  <a:pt x="580530" y="311380"/>
                  <a:pt x="581807" y="314419"/>
                  <a:pt x="584053" y="316665"/>
                </a:cubicBezTo>
                <a:cubicBezTo>
                  <a:pt x="586299" y="318911"/>
                  <a:pt x="589890" y="319560"/>
                  <a:pt x="591982" y="321951"/>
                </a:cubicBezTo>
                <a:cubicBezTo>
                  <a:pt x="596165" y="326731"/>
                  <a:pt x="599030" y="332522"/>
                  <a:pt x="602553" y="337807"/>
                </a:cubicBezTo>
                <a:cubicBezTo>
                  <a:pt x="604315" y="340450"/>
                  <a:pt x="605592" y="343490"/>
                  <a:pt x="607838" y="345736"/>
                </a:cubicBezTo>
                <a:lnTo>
                  <a:pt x="615767" y="353664"/>
                </a:lnTo>
                <a:lnTo>
                  <a:pt x="621052" y="369521"/>
                </a:lnTo>
                <a:lnTo>
                  <a:pt x="623695" y="377449"/>
                </a:lnTo>
                <a:cubicBezTo>
                  <a:pt x="622814" y="381854"/>
                  <a:pt x="622629" y="386457"/>
                  <a:pt x="621052" y="390663"/>
                </a:cubicBezTo>
                <a:cubicBezTo>
                  <a:pt x="618367" y="397824"/>
                  <a:pt x="612514" y="400908"/>
                  <a:pt x="607838" y="406519"/>
                </a:cubicBezTo>
                <a:cubicBezTo>
                  <a:pt x="605805" y="408959"/>
                  <a:pt x="603973" y="411607"/>
                  <a:pt x="602553" y="414448"/>
                </a:cubicBezTo>
                <a:cubicBezTo>
                  <a:pt x="601307" y="416940"/>
                  <a:pt x="601263" y="419941"/>
                  <a:pt x="599910" y="422376"/>
                </a:cubicBezTo>
                <a:cubicBezTo>
                  <a:pt x="596825" y="427929"/>
                  <a:pt x="592863" y="432947"/>
                  <a:pt x="589339" y="438233"/>
                </a:cubicBezTo>
                <a:cubicBezTo>
                  <a:pt x="584055" y="446159"/>
                  <a:pt x="584932" y="447044"/>
                  <a:pt x="576125" y="451447"/>
                </a:cubicBezTo>
                <a:cubicBezTo>
                  <a:pt x="573634" y="452693"/>
                  <a:pt x="570840" y="453208"/>
                  <a:pt x="568197" y="454089"/>
                </a:cubicBezTo>
                <a:cubicBezTo>
                  <a:pt x="565554" y="455851"/>
                  <a:pt x="563109" y="457954"/>
                  <a:pt x="560268" y="459375"/>
                </a:cubicBezTo>
                <a:cubicBezTo>
                  <a:pt x="557776" y="460621"/>
                  <a:pt x="554515" y="460278"/>
                  <a:pt x="552340" y="462018"/>
                </a:cubicBezTo>
                <a:cubicBezTo>
                  <a:pt x="549860" y="464002"/>
                  <a:pt x="548816" y="467303"/>
                  <a:pt x="547054" y="469946"/>
                </a:cubicBezTo>
                <a:lnTo>
                  <a:pt x="541769" y="485803"/>
                </a:lnTo>
                <a:cubicBezTo>
                  <a:pt x="540888" y="488446"/>
                  <a:pt x="541096" y="491761"/>
                  <a:pt x="539126" y="493731"/>
                </a:cubicBezTo>
                <a:lnTo>
                  <a:pt x="531198" y="501659"/>
                </a:lnTo>
                <a:cubicBezTo>
                  <a:pt x="530317" y="504302"/>
                  <a:pt x="529801" y="507096"/>
                  <a:pt x="528555" y="509588"/>
                </a:cubicBezTo>
                <a:cubicBezTo>
                  <a:pt x="527134" y="512429"/>
                  <a:pt x="522499" y="514435"/>
                  <a:pt x="523269" y="517516"/>
                </a:cubicBezTo>
                <a:cubicBezTo>
                  <a:pt x="523945" y="520219"/>
                  <a:pt x="528555" y="519278"/>
                  <a:pt x="531198" y="520159"/>
                </a:cubicBezTo>
                <a:cubicBezTo>
                  <a:pt x="539574" y="532723"/>
                  <a:pt x="535478" y="525074"/>
                  <a:pt x="541769" y="543944"/>
                </a:cubicBezTo>
                <a:lnTo>
                  <a:pt x="544412" y="551872"/>
                </a:lnTo>
                <a:cubicBezTo>
                  <a:pt x="545293" y="566848"/>
                  <a:pt x="545561" y="581872"/>
                  <a:pt x="547054" y="596799"/>
                </a:cubicBezTo>
                <a:cubicBezTo>
                  <a:pt x="547331" y="599571"/>
                  <a:pt x="548932" y="602049"/>
                  <a:pt x="549697" y="604727"/>
                </a:cubicBezTo>
                <a:cubicBezTo>
                  <a:pt x="550695" y="608220"/>
                  <a:pt x="551191" y="611853"/>
                  <a:pt x="552340" y="615299"/>
                </a:cubicBezTo>
                <a:cubicBezTo>
                  <a:pt x="553840" y="619799"/>
                  <a:pt x="556125" y="624012"/>
                  <a:pt x="557625" y="628512"/>
                </a:cubicBezTo>
                <a:cubicBezTo>
                  <a:pt x="558774" y="631958"/>
                  <a:pt x="559224" y="635605"/>
                  <a:pt x="560268" y="639084"/>
                </a:cubicBezTo>
                <a:cubicBezTo>
                  <a:pt x="561869" y="644420"/>
                  <a:pt x="563792" y="649655"/>
                  <a:pt x="565554" y="654940"/>
                </a:cubicBezTo>
                <a:lnTo>
                  <a:pt x="570839" y="670797"/>
                </a:lnTo>
                <a:cubicBezTo>
                  <a:pt x="574161" y="680764"/>
                  <a:pt x="574969" y="685500"/>
                  <a:pt x="584053" y="694582"/>
                </a:cubicBezTo>
                <a:cubicBezTo>
                  <a:pt x="586696" y="697225"/>
                  <a:pt x="589687" y="699560"/>
                  <a:pt x="591982" y="702510"/>
                </a:cubicBezTo>
                <a:cubicBezTo>
                  <a:pt x="595882" y="707524"/>
                  <a:pt x="602553" y="718367"/>
                  <a:pt x="602553" y="718367"/>
                </a:cubicBezTo>
                <a:cubicBezTo>
                  <a:pt x="604703" y="724817"/>
                  <a:pt x="605356" y="729098"/>
                  <a:pt x="610481" y="734223"/>
                </a:cubicBezTo>
                <a:cubicBezTo>
                  <a:pt x="612727" y="736469"/>
                  <a:pt x="615766" y="737747"/>
                  <a:pt x="618409" y="739509"/>
                </a:cubicBezTo>
                <a:cubicBezTo>
                  <a:pt x="629300" y="755844"/>
                  <a:pt x="617209" y="739911"/>
                  <a:pt x="631623" y="752723"/>
                </a:cubicBezTo>
                <a:cubicBezTo>
                  <a:pt x="637210" y="757689"/>
                  <a:pt x="642194" y="763293"/>
                  <a:pt x="647480" y="768579"/>
                </a:cubicBezTo>
                <a:cubicBezTo>
                  <a:pt x="650123" y="771222"/>
                  <a:pt x="652298" y="774435"/>
                  <a:pt x="655408" y="776508"/>
                </a:cubicBezTo>
                <a:cubicBezTo>
                  <a:pt x="674930" y="789522"/>
                  <a:pt x="666183" y="783268"/>
                  <a:pt x="681836" y="795007"/>
                </a:cubicBezTo>
                <a:cubicBezTo>
                  <a:pt x="682717" y="797650"/>
                  <a:pt x="683233" y="800444"/>
                  <a:pt x="684479" y="802936"/>
                </a:cubicBezTo>
                <a:cubicBezTo>
                  <a:pt x="685899" y="805777"/>
                  <a:pt x="689764" y="807688"/>
                  <a:pt x="689764" y="810864"/>
                </a:cubicBezTo>
                <a:cubicBezTo>
                  <a:pt x="689764" y="816436"/>
                  <a:pt x="685572" y="821258"/>
                  <a:pt x="684479" y="826721"/>
                </a:cubicBezTo>
                <a:cubicBezTo>
                  <a:pt x="681290" y="842666"/>
                  <a:pt x="683256" y="835673"/>
                  <a:pt x="679193" y="847863"/>
                </a:cubicBezTo>
                <a:cubicBezTo>
                  <a:pt x="678312" y="857553"/>
                  <a:pt x="679627" y="867702"/>
                  <a:pt x="676550" y="876933"/>
                </a:cubicBezTo>
                <a:cubicBezTo>
                  <a:pt x="675669" y="879576"/>
                  <a:pt x="671408" y="879576"/>
                  <a:pt x="668622" y="879576"/>
                </a:cubicBezTo>
                <a:cubicBezTo>
                  <a:pt x="658014" y="879576"/>
                  <a:pt x="647480" y="877814"/>
                  <a:pt x="636909" y="876933"/>
                </a:cubicBezTo>
                <a:cubicBezTo>
                  <a:pt x="633385" y="876052"/>
                  <a:pt x="629817" y="875334"/>
                  <a:pt x="626338" y="874290"/>
                </a:cubicBezTo>
                <a:cubicBezTo>
                  <a:pt x="626286" y="874275"/>
                  <a:pt x="606543" y="867692"/>
                  <a:pt x="602553" y="866362"/>
                </a:cubicBezTo>
                <a:cubicBezTo>
                  <a:pt x="602549" y="866361"/>
                  <a:pt x="586701" y="861078"/>
                  <a:pt x="586696" y="861077"/>
                </a:cubicBezTo>
                <a:lnTo>
                  <a:pt x="570839" y="858434"/>
                </a:lnTo>
                <a:lnTo>
                  <a:pt x="554983" y="853148"/>
                </a:lnTo>
                <a:cubicBezTo>
                  <a:pt x="552340" y="852267"/>
                  <a:pt x="549802" y="850963"/>
                  <a:pt x="547054" y="850505"/>
                </a:cubicBezTo>
                <a:lnTo>
                  <a:pt x="531198" y="847863"/>
                </a:lnTo>
                <a:cubicBezTo>
                  <a:pt x="499168" y="837186"/>
                  <a:pt x="531502" y="847048"/>
                  <a:pt x="499484" y="839934"/>
                </a:cubicBezTo>
                <a:cubicBezTo>
                  <a:pt x="496765" y="839330"/>
                  <a:pt x="494337" y="837446"/>
                  <a:pt x="491556" y="837292"/>
                </a:cubicBezTo>
                <a:cubicBezTo>
                  <a:pt x="462517" y="835679"/>
                  <a:pt x="433415" y="835530"/>
                  <a:pt x="404345" y="834649"/>
                </a:cubicBezTo>
                <a:cubicBezTo>
                  <a:pt x="399059" y="832887"/>
                  <a:pt x="394017" y="828672"/>
                  <a:pt x="388488" y="829363"/>
                </a:cubicBezTo>
                <a:cubicBezTo>
                  <a:pt x="381441" y="830244"/>
                  <a:pt x="374327" y="830697"/>
                  <a:pt x="367346" y="832006"/>
                </a:cubicBezTo>
                <a:cubicBezTo>
                  <a:pt x="352181" y="834850"/>
                  <a:pt x="344365" y="837904"/>
                  <a:pt x="330347" y="842577"/>
                </a:cubicBezTo>
                <a:lnTo>
                  <a:pt x="306562" y="850505"/>
                </a:lnTo>
                <a:lnTo>
                  <a:pt x="298634" y="853148"/>
                </a:lnTo>
                <a:cubicBezTo>
                  <a:pt x="241374" y="852267"/>
                  <a:pt x="184064" y="853029"/>
                  <a:pt x="126853" y="850505"/>
                </a:cubicBezTo>
                <a:cubicBezTo>
                  <a:pt x="123680" y="850365"/>
                  <a:pt x="119374" y="848364"/>
                  <a:pt x="118925" y="845220"/>
                </a:cubicBezTo>
                <a:cubicBezTo>
                  <a:pt x="116131" y="825659"/>
                  <a:pt x="121313" y="814271"/>
                  <a:pt x="126853" y="797650"/>
                </a:cubicBezTo>
                <a:lnTo>
                  <a:pt x="129496" y="789722"/>
                </a:lnTo>
                <a:cubicBezTo>
                  <a:pt x="128615" y="776508"/>
                  <a:pt x="128316" y="763242"/>
                  <a:pt x="126853" y="750080"/>
                </a:cubicBezTo>
                <a:cubicBezTo>
                  <a:pt x="126545" y="747311"/>
                  <a:pt x="125950" y="744327"/>
                  <a:pt x="124210" y="742152"/>
                </a:cubicBezTo>
                <a:cubicBezTo>
                  <a:pt x="122226" y="739672"/>
                  <a:pt x="118925" y="738628"/>
                  <a:pt x="116282" y="736866"/>
                </a:cubicBezTo>
                <a:cubicBezTo>
                  <a:pt x="111943" y="723852"/>
                  <a:pt x="116745" y="732847"/>
                  <a:pt x="105711" y="723652"/>
                </a:cubicBezTo>
                <a:cubicBezTo>
                  <a:pt x="102840" y="721259"/>
                  <a:pt x="100654" y="718117"/>
                  <a:pt x="97783" y="715724"/>
                </a:cubicBezTo>
                <a:cubicBezTo>
                  <a:pt x="90951" y="710031"/>
                  <a:pt x="89873" y="710444"/>
                  <a:pt x="81926" y="707796"/>
                </a:cubicBezTo>
                <a:cubicBezTo>
                  <a:pt x="66774" y="685068"/>
                  <a:pt x="86950" y="711817"/>
                  <a:pt x="68712" y="697225"/>
                </a:cubicBezTo>
                <a:cubicBezTo>
                  <a:pt x="51634" y="683562"/>
                  <a:pt x="75429" y="693297"/>
                  <a:pt x="55498" y="686653"/>
                </a:cubicBezTo>
                <a:cubicBezTo>
                  <a:pt x="49655" y="680810"/>
                  <a:pt x="45962" y="678153"/>
                  <a:pt x="42284" y="670797"/>
                </a:cubicBezTo>
                <a:cubicBezTo>
                  <a:pt x="38560" y="663350"/>
                  <a:pt x="39074" y="650346"/>
                  <a:pt x="29071" y="647012"/>
                </a:cubicBezTo>
                <a:lnTo>
                  <a:pt x="21142" y="644369"/>
                </a:lnTo>
                <a:cubicBezTo>
                  <a:pt x="18499" y="641726"/>
                  <a:pt x="15607" y="639312"/>
                  <a:pt x="13214" y="636441"/>
                </a:cubicBezTo>
                <a:cubicBezTo>
                  <a:pt x="8599" y="630903"/>
                  <a:pt x="6989" y="627396"/>
                  <a:pt x="5286" y="620584"/>
                </a:cubicBezTo>
                <a:cubicBezTo>
                  <a:pt x="5072" y="619729"/>
                  <a:pt x="5286" y="618822"/>
                  <a:pt x="5286" y="617941"/>
                </a:cubicBezTo>
              </a:path>
            </a:pathLst>
          </a:custGeom>
          <a:solidFill>
            <a:srgbClr val="66FFFF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48" name="Freeform 47"/>
          <p:cNvSpPr/>
          <p:nvPr/>
        </p:nvSpPr>
        <p:spPr>
          <a:xfrm>
            <a:off x="4165605" y="2758019"/>
            <a:ext cx="1133475" cy="713316"/>
          </a:xfrm>
          <a:custGeom>
            <a:avLst/>
            <a:gdLst>
              <a:gd name="connsiteX0" fmla="*/ 372631 w 1133750"/>
              <a:gd name="connsiteY0" fmla="*/ 634266 h 713549"/>
              <a:gd name="connsiteX1" fmla="*/ 380559 w 1133750"/>
              <a:gd name="connsiteY1" fmla="*/ 613123 h 713549"/>
              <a:gd name="connsiteX2" fmla="*/ 383202 w 1133750"/>
              <a:gd name="connsiteY2" fmla="*/ 584053 h 713549"/>
              <a:gd name="connsiteX3" fmla="*/ 391130 w 1133750"/>
              <a:gd name="connsiteY3" fmla="*/ 557625 h 713549"/>
              <a:gd name="connsiteX4" fmla="*/ 399059 w 1133750"/>
              <a:gd name="connsiteY4" fmla="*/ 533840 h 713549"/>
              <a:gd name="connsiteX5" fmla="*/ 406987 w 1133750"/>
              <a:gd name="connsiteY5" fmla="*/ 517983 h 713549"/>
              <a:gd name="connsiteX6" fmla="*/ 414915 w 1133750"/>
              <a:gd name="connsiteY6" fmla="*/ 512698 h 713549"/>
              <a:gd name="connsiteX7" fmla="*/ 430772 w 1133750"/>
              <a:gd name="connsiteY7" fmla="*/ 507412 h 713549"/>
              <a:gd name="connsiteX8" fmla="*/ 473056 w 1133750"/>
              <a:gd name="connsiteY8" fmla="*/ 512698 h 713549"/>
              <a:gd name="connsiteX9" fmla="*/ 488913 w 1133750"/>
              <a:gd name="connsiteY9" fmla="*/ 523269 h 713549"/>
              <a:gd name="connsiteX10" fmla="*/ 499484 w 1133750"/>
              <a:gd name="connsiteY10" fmla="*/ 539126 h 713549"/>
              <a:gd name="connsiteX11" fmla="*/ 512698 w 1133750"/>
              <a:gd name="connsiteY11" fmla="*/ 554982 h 713549"/>
              <a:gd name="connsiteX12" fmla="*/ 528555 w 1133750"/>
              <a:gd name="connsiteY12" fmla="*/ 565553 h 713549"/>
              <a:gd name="connsiteX13" fmla="*/ 544411 w 1133750"/>
              <a:gd name="connsiteY13" fmla="*/ 570839 h 713549"/>
              <a:gd name="connsiteX14" fmla="*/ 554982 w 1133750"/>
              <a:gd name="connsiteY14" fmla="*/ 576125 h 713549"/>
              <a:gd name="connsiteX15" fmla="*/ 570839 w 1133750"/>
              <a:gd name="connsiteY15" fmla="*/ 584053 h 713549"/>
              <a:gd name="connsiteX16" fmla="*/ 599910 w 1133750"/>
              <a:gd name="connsiteY16" fmla="*/ 589338 h 713549"/>
              <a:gd name="connsiteX17" fmla="*/ 607838 w 1133750"/>
              <a:gd name="connsiteY17" fmla="*/ 591981 h 713549"/>
              <a:gd name="connsiteX18" fmla="*/ 628980 w 1133750"/>
              <a:gd name="connsiteY18" fmla="*/ 597267 h 713549"/>
              <a:gd name="connsiteX19" fmla="*/ 689764 w 1133750"/>
              <a:gd name="connsiteY19" fmla="*/ 594624 h 713549"/>
              <a:gd name="connsiteX20" fmla="*/ 708263 w 1133750"/>
              <a:gd name="connsiteY20" fmla="*/ 589338 h 713549"/>
              <a:gd name="connsiteX21" fmla="*/ 713549 w 1133750"/>
              <a:gd name="connsiteY21" fmla="*/ 581410 h 713549"/>
              <a:gd name="connsiteX22" fmla="*/ 718834 w 1133750"/>
              <a:gd name="connsiteY22" fmla="*/ 565553 h 713549"/>
              <a:gd name="connsiteX23" fmla="*/ 726763 w 1133750"/>
              <a:gd name="connsiteY23" fmla="*/ 549697 h 713549"/>
              <a:gd name="connsiteX24" fmla="*/ 734691 w 1133750"/>
              <a:gd name="connsiteY24" fmla="*/ 547054 h 713549"/>
              <a:gd name="connsiteX25" fmla="*/ 813974 w 1133750"/>
              <a:gd name="connsiteY25" fmla="*/ 544411 h 713549"/>
              <a:gd name="connsiteX26" fmla="*/ 837759 w 1133750"/>
              <a:gd name="connsiteY26" fmla="*/ 536483 h 713549"/>
              <a:gd name="connsiteX27" fmla="*/ 845688 w 1133750"/>
              <a:gd name="connsiteY27" fmla="*/ 533840 h 713549"/>
              <a:gd name="connsiteX28" fmla="*/ 853616 w 1133750"/>
              <a:gd name="connsiteY28" fmla="*/ 531197 h 713549"/>
              <a:gd name="connsiteX29" fmla="*/ 864187 w 1133750"/>
              <a:gd name="connsiteY29" fmla="*/ 528555 h 713549"/>
              <a:gd name="connsiteX30" fmla="*/ 872115 w 1133750"/>
              <a:gd name="connsiteY30" fmla="*/ 523269 h 713549"/>
              <a:gd name="connsiteX31" fmla="*/ 906471 w 1133750"/>
              <a:gd name="connsiteY31" fmla="*/ 523269 h 713549"/>
              <a:gd name="connsiteX32" fmla="*/ 914400 w 1133750"/>
              <a:gd name="connsiteY32" fmla="*/ 528555 h 713549"/>
              <a:gd name="connsiteX33" fmla="*/ 951399 w 1133750"/>
              <a:gd name="connsiteY33" fmla="*/ 528555 h 713549"/>
              <a:gd name="connsiteX34" fmla="*/ 954041 w 1133750"/>
              <a:gd name="connsiteY34" fmla="*/ 520626 h 713549"/>
              <a:gd name="connsiteX35" fmla="*/ 959327 w 1133750"/>
              <a:gd name="connsiteY35" fmla="*/ 512698 h 713549"/>
              <a:gd name="connsiteX36" fmla="*/ 961970 w 1133750"/>
              <a:gd name="connsiteY36" fmla="*/ 502127 h 713549"/>
              <a:gd name="connsiteX37" fmla="*/ 967255 w 1133750"/>
              <a:gd name="connsiteY37" fmla="*/ 486270 h 713549"/>
              <a:gd name="connsiteX38" fmla="*/ 993683 w 1133750"/>
              <a:gd name="connsiteY38" fmla="*/ 488913 h 713549"/>
              <a:gd name="connsiteX39" fmla="*/ 1006897 w 1133750"/>
              <a:gd name="connsiteY39" fmla="*/ 504770 h 713549"/>
              <a:gd name="connsiteX40" fmla="*/ 1017468 w 1133750"/>
              <a:gd name="connsiteY40" fmla="*/ 507412 h 713549"/>
              <a:gd name="connsiteX41" fmla="*/ 1025396 w 1133750"/>
              <a:gd name="connsiteY41" fmla="*/ 510055 h 713549"/>
              <a:gd name="connsiteX42" fmla="*/ 1117893 w 1133750"/>
              <a:gd name="connsiteY42" fmla="*/ 507412 h 713549"/>
              <a:gd name="connsiteX43" fmla="*/ 1133750 w 1133750"/>
              <a:gd name="connsiteY43" fmla="*/ 502127 h 713549"/>
              <a:gd name="connsiteX44" fmla="*/ 1131107 w 1133750"/>
              <a:gd name="connsiteY44" fmla="*/ 483627 h 713549"/>
              <a:gd name="connsiteX45" fmla="*/ 1128464 w 1133750"/>
              <a:gd name="connsiteY45" fmla="*/ 462485 h 713549"/>
              <a:gd name="connsiteX46" fmla="*/ 1112608 w 1133750"/>
              <a:gd name="connsiteY46" fmla="*/ 454557 h 713549"/>
              <a:gd name="connsiteX47" fmla="*/ 1096751 w 1133750"/>
              <a:gd name="connsiteY47" fmla="*/ 443986 h 713549"/>
              <a:gd name="connsiteX48" fmla="*/ 1088823 w 1133750"/>
              <a:gd name="connsiteY48" fmla="*/ 438700 h 713549"/>
              <a:gd name="connsiteX49" fmla="*/ 1080895 w 1133750"/>
              <a:gd name="connsiteY49" fmla="*/ 433415 h 713549"/>
              <a:gd name="connsiteX50" fmla="*/ 1075609 w 1133750"/>
              <a:gd name="connsiteY50" fmla="*/ 417558 h 713549"/>
              <a:gd name="connsiteX51" fmla="*/ 1065038 w 1133750"/>
              <a:gd name="connsiteY51" fmla="*/ 401701 h 713549"/>
              <a:gd name="connsiteX52" fmla="*/ 1062395 w 1133750"/>
              <a:gd name="connsiteY52" fmla="*/ 393773 h 713549"/>
              <a:gd name="connsiteX53" fmla="*/ 1051824 w 1133750"/>
              <a:gd name="connsiteY53" fmla="*/ 377916 h 713549"/>
              <a:gd name="connsiteX54" fmla="*/ 1046538 w 1133750"/>
              <a:gd name="connsiteY54" fmla="*/ 369988 h 713549"/>
              <a:gd name="connsiteX55" fmla="*/ 1043896 w 1133750"/>
              <a:gd name="connsiteY55" fmla="*/ 359417 h 713549"/>
              <a:gd name="connsiteX56" fmla="*/ 1020111 w 1133750"/>
              <a:gd name="connsiteY56" fmla="*/ 346203 h 713549"/>
              <a:gd name="connsiteX57" fmla="*/ 1012182 w 1133750"/>
              <a:gd name="connsiteY57" fmla="*/ 343560 h 713549"/>
              <a:gd name="connsiteX58" fmla="*/ 1004254 w 1133750"/>
              <a:gd name="connsiteY58" fmla="*/ 340918 h 713549"/>
              <a:gd name="connsiteX59" fmla="*/ 996326 w 1133750"/>
              <a:gd name="connsiteY59" fmla="*/ 332989 h 713549"/>
              <a:gd name="connsiteX60" fmla="*/ 985755 w 1133750"/>
              <a:gd name="connsiteY60" fmla="*/ 317133 h 713549"/>
              <a:gd name="connsiteX61" fmla="*/ 977826 w 1133750"/>
              <a:gd name="connsiteY61" fmla="*/ 314490 h 713549"/>
              <a:gd name="connsiteX62" fmla="*/ 972541 w 1133750"/>
              <a:gd name="connsiteY62" fmla="*/ 306561 h 713549"/>
              <a:gd name="connsiteX63" fmla="*/ 956684 w 1133750"/>
              <a:gd name="connsiteY63" fmla="*/ 298633 h 713549"/>
              <a:gd name="connsiteX64" fmla="*/ 943470 w 1133750"/>
              <a:gd name="connsiteY64" fmla="*/ 282777 h 713549"/>
              <a:gd name="connsiteX65" fmla="*/ 940827 w 1133750"/>
              <a:gd name="connsiteY65" fmla="*/ 274848 h 713549"/>
              <a:gd name="connsiteX66" fmla="*/ 932899 w 1133750"/>
              <a:gd name="connsiteY66" fmla="*/ 256349 h 713549"/>
              <a:gd name="connsiteX67" fmla="*/ 919685 w 1133750"/>
              <a:gd name="connsiteY67" fmla="*/ 253706 h 713549"/>
              <a:gd name="connsiteX68" fmla="*/ 903829 w 1133750"/>
              <a:gd name="connsiteY68" fmla="*/ 248420 h 713549"/>
              <a:gd name="connsiteX69" fmla="*/ 895900 w 1133750"/>
              <a:gd name="connsiteY69" fmla="*/ 245778 h 713549"/>
              <a:gd name="connsiteX70" fmla="*/ 887972 w 1133750"/>
              <a:gd name="connsiteY70" fmla="*/ 240492 h 713549"/>
              <a:gd name="connsiteX71" fmla="*/ 869473 w 1133750"/>
              <a:gd name="connsiteY71" fmla="*/ 235207 h 713549"/>
              <a:gd name="connsiteX72" fmla="*/ 858901 w 1133750"/>
              <a:gd name="connsiteY72" fmla="*/ 211422 h 713549"/>
              <a:gd name="connsiteX73" fmla="*/ 856259 w 1133750"/>
              <a:gd name="connsiteY73" fmla="*/ 200851 h 713549"/>
              <a:gd name="connsiteX74" fmla="*/ 853616 w 1133750"/>
              <a:gd name="connsiteY74" fmla="*/ 192922 h 713549"/>
              <a:gd name="connsiteX75" fmla="*/ 843045 w 1133750"/>
              <a:gd name="connsiteY75" fmla="*/ 190279 h 713549"/>
              <a:gd name="connsiteX76" fmla="*/ 821903 w 1133750"/>
              <a:gd name="connsiteY76" fmla="*/ 187637 h 713549"/>
              <a:gd name="connsiteX77" fmla="*/ 813974 w 1133750"/>
              <a:gd name="connsiteY77" fmla="*/ 182351 h 713549"/>
              <a:gd name="connsiteX78" fmla="*/ 808689 w 1133750"/>
              <a:gd name="connsiteY78" fmla="*/ 174423 h 713549"/>
              <a:gd name="connsiteX79" fmla="*/ 800760 w 1133750"/>
              <a:gd name="connsiteY79" fmla="*/ 171780 h 713549"/>
              <a:gd name="connsiteX80" fmla="*/ 798118 w 1133750"/>
              <a:gd name="connsiteY80" fmla="*/ 163852 h 713549"/>
              <a:gd name="connsiteX81" fmla="*/ 803403 w 1133750"/>
              <a:gd name="connsiteY81" fmla="*/ 126853 h 713549"/>
              <a:gd name="connsiteX82" fmla="*/ 808689 w 1133750"/>
              <a:gd name="connsiteY82" fmla="*/ 110996 h 713549"/>
              <a:gd name="connsiteX83" fmla="*/ 813974 w 1133750"/>
              <a:gd name="connsiteY83" fmla="*/ 92497 h 713549"/>
              <a:gd name="connsiteX84" fmla="*/ 808689 w 1133750"/>
              <a:gd name="connsiteY84" fmla="*/ 84568 h 713549"/>
              <a:gd name="connsiteX85" fmla="*/ 803403 w 1133750"/>
              <a:gd name="connsiteY85" fmla="*/ 68712 h 713549"/>
              <a:gd name="connsiteX86" fmla="*/ 779618 w 1133750"/>
              <a:gd name="connsiteY86" fmla="*/ 52855 h 713549"/>
              <a:gd name="connsiteX87" fmla="*/ 763762 w 1133750"/>
              <a:gd name="connsiteY87" fmla="*/ 42284 h 713549"/>
              <a:gd name="connsiteX88" fmla="*/ 755833 w 1133750"/>
              <a:gd name="connsiteY88" fmla="*/ 36998 h 713549"/>
              <a:gd name="connsiteX89" fmla="*/ 745262 w 1133750"/>
              <a:gd name="connsiteY89" fmla="*/ 26427 h 713549"/>
              <a:gd name="connsiteX90" fmla="*/ 734691 w 1133750"/>
              <a:gd name="connsiteY90" fmla="*/ 10571 h 713549"/>
              <a:gd name="connsiteX91" fmla="*/ 705621 w 1133750"/>
              <a:gd name="connsiteY91" fmla="*/ 2642 h 713549"/>
              <a:gd name="connsiteX92" fmla="*/ 697692 w 1133750"/>
              <a:gd name="connsiteY92" fmla="*/ 0 h 713549"/>
              <a:gd name="connsiteX93" fmla="*/ 655408 w 1133750"/>
              <a:gd name="connsiteY93" fmla="*/ 7928 h 713549"/>
              <a:gd name="connsiteX94" fmla="*/ 647479 w 1133750"/>
              <a:gd name="connsiteY94" fmla="*/ 13214 h 713549"/>
              <a:gd name="connsiteX95" fmla="*/ 636908 w 1133750"/>
              <a:gd name="connsiteY95" fmla="*/ 44927 h 713549"/>
              <a:gd name="connsiteX96" fmla="*/ 631623 w 1133750"/>
              <a:gd name="connsiteY96" fmla="*/ 60783 h 713549"/>
              <a:gd name="connsiteX97" fmla="*/ 623695 w 1133750"/>
              <a:gd name="connsiteY97" fmla="*/ 68712 h 713549"/>
              <a:gd name="connsiteX98" fmla="*/ 613123 w 1133750"/>
              <a:gd name="connsiteY98" fmla="*/ 81926 h 713549"/>
              <a:gd name="connsiteX99" fmla="*/ 610481 w 1133750"/>
              <a:gd name="connsiteY99" fmla="*/ 89854 h 713549"/>
              <a:gd name="connsiteX100" fmla="*/ 599910 w 1133750"/>
              <a:gd name="connsiteY100" fmla="*/ 95140 h 713549"/>
              <a:gd name="connsiteX101" fmla="*/ 573482 w 1133750"/>
              <a:gd name="connsiteY101" fmla="*/ 108353 h 713549"/>
              <a:gd name="connsiteX102" fmla="*/ 549697 w 1133750"/>
              <a:gd name="connsiteY102" fmla="*/ 124210 h 713549"/>
              <a:gd name="connsiteX103" fmla="*/ 541769 w 1133750"/>
              <a:gd name="connsiteY103" fmla="*/ 129496 h 713549"/>
              <a:gd name="connsiteX104" fmla="*/ 510055 w 1133750"/>
              <a:gd name="connsiteY104" fmla="*/ 140067 h 713549"/>
              <a:gd name="connsiteX105" fmla="*/ 494199 w 1133750"/>
              <a:gd name="connsiteY105" fmla="*/ 145352 h 713549"/>
              <a:gd name="connsiteX106" fmla="*/ 486270 w 1133750"/>
              <a:gd name="connsiteY106" fmla="*/ 150638 h 713549"/>
              <a:gd name="connsiteX107" fmla="*/ 478342 w 1133750"/>
              <a:gd name="connsiteY107" fmla="*/ 153281 h 713549"/>
              <a:gd name="connsiteX108" fmla="*/ 457200 w 1133750"/>
              <a:gd name="connsiteY108" fmla="*/ 158566 h 713549"/>
              <a:gd name="connsiteX109" fmla="*/ 441343 w 1133750"/>
              <a:gd name="connsiteY109" fmla="*/ 163852 h 713549"/>
              <a:gd name="connsiteX110" fmla="*/ 433415 w 1133750"/>
              <a:gd name="connsiteY110" fmla="*/ 166494 h 713549"/>
              <a:gd name="connsiteX111" fmla="*/ 401701 w 1133750"/>
              <a:gd name="connsiteY111" fmla="*/ 169137 h 713549"/>
              <a:gd name="connsiteX112" fmla="*/ 406987 w 1133750"/>
              <a:gd name="connsiteY112" fmla="*/ 187637 h 713549"/>
              <a:gd name="connsiteX113" fmla="*/ 404344 w 1133750"/>
              <a:gd name="connsiteY113" fmla="*/ 211422 h 713549"/>
              <a:gd name="connsiteX114" fmla="*/ 399059 w 1133750"/>
              <a:gd name="connsiteY114" fmla="*/ 219350 h 713549"/>
              <a:gd name="connsiteX115" fmla="*/ 375274 w 1133750"/>
              <a:gd name="connsiteY115" fmla="*/ 232564 h 713549"/>
              <a:gd name="connsiteX116" fmla="*/ 369988 w 1133750"/>
              <a:gd name="connsiteY116" fmla="*/ 240492 h 713549"/>
              <a:gd name="connsiteX117" fmla="*/ 362060 w 1133750"/>
              <a:gd name="connsiteY117" fmla="*/ 243135 h 713549"/>
              <a:gd name="connsiteX118" fmla="*/ 354132 w 1133750"/>
              <a:gd name="connsiteY118" fmla="*/ 248420 h 713549"/>
              <a:gd name="connsiteX119" fmla="*/ 348846 w 1133750"/>
              <a:gd name="connsiteY119" fmla="*/ 256349 h 713549"/>
              <a:gd name="connsiteX120" fmla="*/ 340918 w 1133750"/>
              <a:gd name="connsiteY120" fmla="*/ 258992 h 713549"/>
              <a:gd name="connsiteX121" fmla="*/ 301276 w 1133750"/>
              <a:gd name="connsiteY121" fmla="*/ 261634 h 713549"/>
              <a:gd name="connsiteX122" fmla="*/ 277491 w 1133750"/>
              <a:gd name="connsiteY122" fmla="*/ 269563 h 713549"/>
              <a:gd name="connsiteX123" fmla="*/ 269563 w 1133750"/>
              <a:gd name="connsiteY123" fmla="*/ 272205 h 713549"/>
              <a:gd name="connsiteX124" fmla="*/ 261634 w 1133750"/>
              <a:gd name="connsiteY124" fmla="*/ 274848 h 713549"/>
              <a:gd name="connsiteX125" fmla="*/ 251063 w 1133750"/>
              <a:gd name="connsiteY125" fmla="*/ 277491 h 713549"/>
              <a:gd name="connsiteX126" fmla="*/ 235207 w 1133750"/>
              <a:gd name="connsiteY126" fmla="*/ 280134 h 713549"/>
              <a:gd name="connsiteX127" fmla="*/ 211422 w 1133750"/>
              <a:gd name="connsiteY127" fmla="*/ 293348 h 713549"/>
              <a:gd name="connsiteX128" fmla="*/ 203493 w 1133750"/>
              <a:gd name="connsiteY128" fmla="*/ 298633 h 713549"/>
              <a:gd name="connsiteX129" fmla="*/ 184994 w 1133750"/>
              <a:gd name="connsiteY129" fmla="*/ 293348 h 713549"/>
              <a:gd name="connsiteX130" fmla="*/ 177066 w 1133750"/>
              <a:gd name="connsiteY130" fmla="*/ 285419 h 713549"/>
              <a:gd name="connsiteX131" fmla="*/ 150638 w 1133750"/>
              <a:gd name="connsiteY131" fmla="*/ 288062 h 713549"/>
              <a:gd name="connsiteX132" fmla="*/ 140067 w 1133750"/>
              <a:gd name="connsiteY132" fmla="*/ 290705 h 713549"/>
              <a:gd name="connsiteX133" fmla="*/ 132138 w 1133750"/>
              <a:gd name="connsiteY133" fmla="*/ 293348 h 713549"/>
              <a:gd name="connsiteX134" fmla="*/ 92497 w 1133750"/>
              <a:gd name="connsiteY134" fmla="*/ 295990 h 713549"/>
              <a:gd name="connsiteX135" fmla="*/ 87211 w 1133750"/>
              <a:gd name="connsiteY135" fmla="*/ 303919 h 713549"/>
              <a:gd name="connsiteX136" fmla="*/ 84569 w 1133750"/>
              <a:gd name="connsiteY136" fmla="*/ 322418 h 713549"/>
              <a:gd name="connsiteX137" fmla="*/ 81926 w 1133750"/>
              <a:gd name="connsiteY137" fmla="*/ 330346 h 713549"/>
              <a:gd name="connsiteX138" fmla="*/ 58141 w 1133750"/>
              <a:gd name="connsiteY138" fmla="*/ 348846 h 713549"/>
              <a:gd name="connsiteX139" fmla="*/ 50212 w 1133750"/>
              <a:gd name="connsiteY139" fmla="*/ 356774 h 713549"/>
              <a:gd name="connsiteX140" fmla="*/ 36999 w 1133750"/>
              <a:gd name="connsiteY140" fmla="*/ 372631 h 713549"/>
              <a:gd name="connsiteX141" fmla="*/ 26427 w 1133750"/>
              <a:gd name="connsiteY141" fmla="*/ 375274 h 713549"/>
              <a:gd name="connsiteX142" fmla="*/ 2642 w 1133750"/>
              <a:gd name="connsiteY142" fmla="*/ 385845 h 713549"/>
              <a:gd name="connsiteX143" fmla="*/ 0 w 1133750"/>
              <a:gd name="connsiteY143" fmla="*/ 393773 h 713549"/>
              <a:gd name="connsiteX144" fmla="*/ 7928 w 1133750"/>
              <a:gd name="connsiteY144" fmla="*/ 428129 h 713549"/>
              <a:gd name="connsiteX145" fmla="*/ 13214 w 1133750"/>
              <a:gd name="connsiteY145" fmla="*/ 443986 h 713549"/>
              <a:gd name="connsiteX146" fmla="*/ 15856 w 1133750"/>
              <a:gd name="connsiteY146" fmla="*/ 451914 h 713549"/>
              <a:gd name="connsiteX147" fmla="*/ 18499 w 1133750"/>
              <a:gd name="connsiteY147" fmla="*/ 491556 h 713549"/>
              <a:gd name="connsiteX148" fmla="*/ 21142 w 1133750"/>
              <a:gd name="connsiteY148" fmla="*/ 499484 h 713549"/>
              <a:gd name="connsiteX149" fmla="*/ 23785 w 1133750"/>
              <a:gd name="connsiteY149" fmla="*/ 510055 h 713549"/>
              <a:gd name="connsiteX150" fmla="*/ 26427 w 1133750"/>
              <a:gd name="connsiteY150" fmla="*/ 523269 h 713549"/>
              <a:gd name="connsiteX151" fmla="*/ 31713 w 1133750"/>
              <a:gd name="connsiteY151" fmla="*/ 539126 h 713549"/>
              <a:gd name="connsiteX152" fmla="*/ 34356 w 1133750"/>
              <a:gd name="connsiteY152" fmla="*/ 547054 h 713549"/>
              <a:gd name="connsiteX153" fmla="*/ 36999 w 1133750"/>
              <a:gd name="connsiteY153" fmla="*/ 557625 h 713549"/>
              <a:gd name="connsiteX154" fmla="*/ 42284 w 1133750"/>
              <a:gd name="connsiteY154" fmla="*/ 573482 h 713549"/>
              <a:gd name="connsiteX155" fmla="*/ 50212 w 1133750"/>
              <a:gd name="connsiteY155" fmla="*/ 599909 h 713549"/>
              <a:gd name="connsiteX156" fmla="*/ 52855 w 1133750"/>
              <a:gd name="connsiteY156" fmla="*/ 607838 h 713549"/>
              <a:gd name="connsiteX157" fmla="*/ 60784 w 1133750"/>
              <a:gd name="connsiteY157" fmla="*/ 613123 h 713549"/>
              <a:gd name="connsiteX158" fmla="*/ 68712 w 1133750"/>
              <a:gd name="connsiteY158" fmla="*/ 636908 h 713549"/>
              <a:gd name="connsiteX159" fmla="*/ 76640 w 1133750"/>
              <a:gd name="connsiteY159" fmla="*/ 652765 h 713549"/>
              <a:gd name="connsiteX160" fmla="*/ 100425 w 1133750"/>
              <a:gd name="connsiteY160" fmla="*/ 671264 h 713549"/>
              <a:gd name="connsiteX161" fmla="*/ 118925 w 1133750"/>
              <a:gd name="connsiteY161" fmla="*/ 684478 h 713549"/>
              <a:gd name="connsiteX162" fmla="*/ 142710 w 1133750"/>
              <a:gd name="connsiteY162" fmla="*/ 702978 h 713549"/>
              <a:gd name="connsiteX163" fmla="*/ 150638 w 1133750"/>
              <a:gd name="connsiteY163" fmla="*/ 708263 h 713549"/>
              <a:gd name="connsiteX164" fmla="*/ 158566 w 1133750"/>
              <a:gd name="connsiteY164" fmla="*/ 713549 h 713549"/>
              <a:gd name="connsiteX165" fmla="*/ 166495 w 1133750"/>
              <a:gd name="connsiteY165" fmla="*/ 710906 h 713549"/>
              <a:gd name="connsiteX166" fmla="*/ 171780 w 1133750"/>
              <a:gd name="connsiteY166" fmla="*/ 695049 h 713549"/>
              <a:gd name="connsiteX167" fmla="*/ 179708 w 1133750"/>
              <a:gd name="connsiteY167" fmla="*/ 671264 h 713549"/>
              <a:gd name="connsiteX168" fmla="*/ 182351 w 1133750"/>
              <a:gd name="connsiteY168" fmla="*/ 663336 h 713549"/>
              <a:gd name="connsiteX169" fmla="*/ 187637 w 1133750"/>
              <a:gd name="connsiteY169" fmla="*/ 644837 h 713549"/>
              <a:gd name="connsiteX170" fmla="*/ 195565 w 1133750"/>
              <a:gd name="connsiteY170" fmla="*/ 642194 h 713549"/>
              <a:gd name="connsiteX171" fmla="*/ 221993 w 1133750"/>
              <a:gd name="connsiteY171" fmla="*/ 634266 h 713549"/>
              <a:gd name="connsiteX172" fmla="*/ 229921 w 1133750"/>
              <a:gd name="connsiteY172" fmla="*/ 631623 h 713549"/>
              <a:gd name="connsiteX173" fmla="*/ 346203 w 1133750"/>
              <a:gd name="connsiteY173" fmla="*/ 634266 h 713549"/>
              <a:gd name="connsiteX174" fmla="*/ 362060 w 1133750"/>
              <a:gd name="connsiteY174" fmla="*/ 639551 h 713549"/>
              <a:gd name="connsiteX175" fmla="*/ 372631 w 1133750"/>
              <a:gd name="connsiteY175" fmla="*/ 634266 h 713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1133750" h="713549">
                <a:moveTo>
                  <a:pt x="372631" y="634266"/>
                </a:moveTo>
                <a:cubicBezTo>
                  <a:pt x="375714" y="629861"/>
                  <a:pt x="380099" y="616344"/>
                  <a:pt x="380559" y="613123"/>
                </a:cubicBezTo>
                <a:cubicBezTo>
                  <a:pt x="381935" y="603491"/>
                  <a:pt x="381916" y="593698"/>
                  <a:pt x="383202" y="584053"/>
                </a:cubicBezTo>
                <a:cubicBezTo>
                  <a:pt x="384089" y="577400"/>
                  <a:pt x="389463" y="562626"/>
                  <a:pt x="391130" y="557625"/>
                </a:cubicBezTo>
                <a:lnTo>
                  <a:pt x="399059" y="533840"/>
                </a:lnTo>
                <a:cubicBezTo>
                  <a:pt x="401209" y="527390"/>
                  <a:pt x="401862" y="523108"/>
                  <a:pt x="406987" y="517983"/>
                </a:cubicBezTo>
                <a:cubicBezTo>
                  <a:pt x="409233" y="515737"/>
                  <a:pt x="412013" y="513988"/>
                  <a:pt x="414915" y="512698"/>
                </a:cubicBezTo>
                <a:cubicBezTo>
                  <a:pt x="420006" y="510435"/>
                  <a:pt x="430772" y="507412"/>
                  <a:pt x="430772" y="507412"/>
                </a:cubicBezTo>
                <a:cubicBezTo>
                  <a:pt x="431875" y="507497"/>
                  <a:pt x="462970" y="507095"/>
                  <a:pt x="473056" y="512698"/>
                </a:cubicBezTo>
                <a:cubicBezTo>
                  <a:pt x="478609" y="515783"/>
                  <a:pt x="488913" y="523269"/>
                  <a:pt x="488913" y="523269"/>
                </a:cubicBezTo>
                <a:lnTo>
                  <a:pt x="499484" y="539126"/>
                </a:lnTo>
                <a:cubicBezTo>
                  <a:pt x="504181" y="546171"/>
                  <a:pt x="505657" y="549506"/>
                  <a:pt x="512698" y="554982"/>
                </a:cubicBezTo>
                <a:cubicBezTo>
                  <a:pt x="517712" y="558882"/>
                  <a:pt x="522529" y="563544"/>
                  <a:pt x="528555" y="565553"/>
                </a:cubicBezTo>
                <a:cubicBezTo>
                  <a:pt x="533840" y="567315"/>
                  <a:pt x="539428" y="568347"/>
                  <a:pt x="544411" y="570839"/>
                </a:cubicBezTo>
                <a:cubicBezTo>
                  <a:pt x="547935" y="572601"/>
                  <a:pt x="551561" y="574170"/>
                  <a:pt x="554982" y="576125"/>
                </a:cubicBezTo>
                <a:cubicBezTo>
                  <a:pt x="564050" y="581307"/>
                  <a:pt x="560932" y="581851"/>
                  <a:pt x="570839" y="584053"/>
                </a:cubicBezTo>
                <a:cubicBezTo>
                  <a:pt x="592022" y="588761"/>
                  <a:pt x="580691" y="584534"/>
                  <a:pt x="599910" y="589338"/>
                </a:cubicBezTo>
                <a:cubicBezTo>
                  <a:pt x="602612" y="590014"/>
                  <a:pt x="605151" y="591248"/>
                  <a:pt x="607838" y="591981"/>
                </a:cubicBezTo>
                <a:cubicBezTo>
                  <a:pt x="614846" y="593893"/>
                  <a:pt x="628980" y="597267"/>
                  <a:pt x="628980" y="597267"/>
                </a:cubicBezTo>
                <a:cubicBezTo>
                  <a:pt x="649241" y="596386"/>
                  <a:pt x="669539" y="596122"/>
                  <a:pt x="689764" y="594624"/>
                </a:cubicBezTo>
                <a:cubicBezTo>
                  <a:pt x="694031" y="594308"/>
                  <a:pt x="703797" y="590827"/>
                  <a:pt x="708263" y="589338"/>
                </a:cubicBezTo>
                <a:cubicBezTo>
                  <a:pt x="710025" y="586695"/>
                  <a:pt x="712259" y="584312"/>
                  <a:pt x="713549" y="581410"/>
                </a:cubicBezTo>
                <a:cubicBezTo>
                  <a:pt x="715812" y="576319"/>
                  <a:pt x="717072" y="570839"/>
                  <a:pt x="718834" y="565553"/>
                </a:cubicBezTo>
                <a:cubicBezTo>
                  <a:pt x="720575" y="560330"/>
                  <a:pt x="722106" y="553423"/>
                  <a:pt x="726763" y="549697"/>
                </a:cubicBezTo>
                <a:cubicBezTo>
                  <a:pt x="728938" y="547957"/>
                  <a:pt x="731910" y="547223"/>
                  <a:pt x="734691" y="547054"/>
                </a:cubicBezTo>
                <a:cubicBezTo>
                  <a:pt x="761085" y="545454"/>
                  <a:pt x="787546" y="545292"/>
                  <a:pt x="813974" y="544411"/>
                </a:cubicBezTo>
                <a:lnTo>
                  <a:pt x="837759" y="536483"/>
                </a:lnTo>
                <a:lnTo>
                  <a:pt x="845688" y="533840"/>
                </a:lnTo>
                <a:cubicBezTo>
                  <a:pt x="848331" y="532959"/>
                  <a:pt x="850913" y="531872"/>
                  <a:pt x="853616" y="531197"/>
                </a:cubicBezTo>
                <a:lnTo>
                  <a:pt x="864187" y="528555"/>
                </a:lnTo>
                <a:cubicBezTo>
                  <a:pt x="866830" y="526793"/>
                  <a:pt x="869274" y="524690"/>
                  <a:pt x="872115" y="523269"/>
                </a:cubicBezTo>
                <a:cubicBezTo>
                  <a:pt x="883907" y="517373"/>
                  <a:pt x="891686" y="521790"/>
                  <a:pt x="906471" y="523269"/>
                </a:cubicBezTo>
                <a:cubicBezTo>
                  <a:pt x="909114" y="525031"/>
                  <a:pt x="911559" y="527135"/>
                  <a:pt x="914400" y="528555"/>
                </a:cubicBezTo>
                <a:cubicBezTo>
                  <a:pt x="926717" y="534713"/>
                  <a:pt x="936467" y="529912"/>
                  <a:pt x="951399" y="528555"/>
                </a:cubicBezTo>
                <a:cubicBezTo>
                  <a:pt x="952280" y="525912"/>
                  <a:pt x="952795" y="523118"/>
                  <a:pt x="954041" y="520626"/>
                </a:cubicBezTo>
                <a:cubicBezTo>
                  <a:pt x="955461" y="517785"/>
                  <a:pt x="958076" y="515617"/>
                  <a:pt x="959327" y="512698"/>
                </a:cubicBezTo>
                <a:cubicBezTo>
                  <a:pt x="960758" y="509360"/>
                  <a:pt x="960926" y="505606"/>
                  <a:pt x="961970" y="502127"/>
                </a:cubicBezTo>
                <a:cubicBezTo>
                  <a:pt x="963571" y="496790"/>
                  <a:pt x="967255" y="486270"/>
                  <a:pt x="967255" y="486270"/>
                </a:cubicBezTo>
                <a:cubicBezTo>
                  <a:pt x="976064" y="487151"/>
                  <a:pt x="985221" y="486309"/>
                  <a:pt x="993683" y="488913"/>
                </a:cubicBezTo>
                <a:cubicBezTo>
                  <a:pt x="1004336" y="492191"/>
                  <a:pt x="999131" y="499593"/>
                  <a:pt x="1006897" y="504770"/>
                </a:cubicBezTo>
                <a:cubicBezTo>
                  <a:pt x="1009919" y="506785"/>
                  <a:pt x="1013976" y="506414"/>
                  <a:pt x="1017468" y="507412"/>
                </a:cubicBezTo>
                <a:cubicBezTo>
                  <a:pt x="1020146" y="508177"/>
                  <a:pt x="1022753" y="509174"/>
                  <a:pt x="1025396" y="510055"/>
                </a:cubicBezTo>
                <a:cubicBezTo>
                  <a:pt x="1056228" y="509174"/>
                  <a:pt x="1087130" y="509663"/>
                  <a:pt x="1117893" y="507412"/>
                </a:cubicBezTo>
                <a:cubicBezTo>
                  <a:pt x="1123450" y="507005"/>
                  <a:pt x="1133750" y="502127"/>
                  <a:pt x="1133750" y="502127"/>
                </a:cubicBezTo>
                <a:cubicBezTo>
                  <a:pt x="1132869" y="495960"/>
                  <a:pt x="1131930" y="489802"/>
                  <a:pt x="1131107" y="483627"/>
                </a:cubicBezTo>
                <a:cubicBezTo>
                  <a:pt x="1130168" y="476587"/>
                  <a:pt x="1131102" y="469079"/>
                  <a:pt x="1128464" y="462485"/>
                </a:cubicBezTo>
                <a:cubicBezTo>
                  <a:pt x="1126453" y="457458"/>
                  <a:pt x="1116326" y="456623"/>
                  <a:pt x="1112608" y="454557"/>
                </a:cubicBezTo>
                <a:cubicBezTo>
                  <a:pt x="1107055" y="451472"/>
                  <a:pt x="1102037" y="447510"/>
                  <a:pt x="1096751" y="443986"/>
                </a:cubicBezTo>
                <a:lnTo>
                  <a:pt x="1088823" y="438700"/>
                </a:lnTo>
                <a:lnTo>
                  <a:pt x="1080895" y="433415"/>
                </a:lnTo>
                <a:cubicBezTo>
                  <a:pt x="1079133" y="428129"/>
                  <a:pt x="1078700" y="422194"/>
                  <a:pt x="1075609" y="417558"/>
                </a:cubicBezTo>
                <a:cubicBezTo>
                  <a:pt x="1072085" y="412272"/>
                  <a:pt x="1067047" y="407727"/>
                  <a:pt x="1065038" y="401701"/>
                </a:cubicBezTo>
                <a:cubicBezTo>
                  <a:pt x="1064157" y="399058"/>
                  <a:pt x="1063748" y="396208"/>
                  <a:pt x="1062395" y="393773"/>
                </a:cubicBezTo>
                <a:cubicBezTo>
                  <a:pt x="1059310" y="388220"/>
                  <a:pt x="1055348" y="383202"/>
                  <a:pt x="1051824" y="377916"/>
                </a:cubicBezTo>
                <a:lnTo>
                  <a:pt x="1046538" y="369988"/>
                </a:lnTo>
                <a:cubicBezTo>
                  <a:pt x="1045657" y="366464"/>
                  <a:pt x="1045698" y="362570"/>
                  <a:pt x="1043896" y="359417"/>
                </a:cubicBezTo>
                <a:cubicBezTo>
                  <a:pt x="1038312" y="349645"/>
                  <a:pt x="1030145" y="349548"/>
                  <a:pt x="1020111" y="346203"/>
                </a:cubicBezTo>
                <a:lnTo>
                  <a:pt x="1012182" y="343560"/>
                </a:lnTo>
                <a:lnTo>
                  <a:pt x="1004254" y="340918"/>
                </a:lnTo>
                <a:cubicBezTo>
                  <a:pt x="1001611" y="338275"/>
                  <a:pt x="998621" y="335939"/>
                  <a:pt x="996326" y="332989"/>
                </a:cubicBezTo>
                <a:cubicBezTo>
                  <a:pt x="992426" y="327975"/>
                  <a:pt x="991781" y="319142"/>
                  <a:pt x="985755" y="317133"/>
                </a:cubicBezTo>
                <a:lnTo>
                  <a:pt x="977826" y="314490"/>
                </a:lnTo>
                <a:cubicBezTo>
                  <a:pt x="976064" y="311847"/>
                  <a:pt x="974787" y="308807"/>
                  <a:pt x="972541" y="306561"/>
                </a:cubicBezTo>
                <a:cubicBezTo>
                  <a:pt x="967420" y="301440"/>
                  <a:pt x="963130" y="300782"/>
                  <a:pt x="956684" y="298633"/>
                </a:cubicBezTo>
                <a:cubicBezTo>
                  <a:pt x="950841" y="292790"/>
                  <a:pt x="947149" y="290134"/>
                  <a:pt x="943470" y="282777"/>
                </a:cubicBezTo>
                <a:cubicBezTo>
                  <a:pt x="942224" y="280285"/>
                  <a:pt x="941592" y="277527"/>
                  <a:pt x="940827" y="274848"/>
                </a:cubicBezTo>
                <a:cubicBezTo>
                  <a:pt x="939478" y="270125"/>
                  <a:pt x="938396" y="259490"/>
                  <a:pt x="932899" y="256349"/>
                </a:cubicBezTo>
                <a:cubicBezTo>
                  <a:pt x="928999" y="254120"/>
                  <a:pt x="924019" y="254888"/>
                  <a:pt x="919685" y="253706"/>
                </a:cubicBezTo>
                <a:cubicBezTo>
                  <a:pt x="914310" y="252240"/>
                  <a:pt x="909114" y="250182"/>
                  <a:pt x="903829" y="248420"/>
                </a:cubicBezTo>
                <a:lnTo>
                  <a:pt x="895900" y="245778"/>
                </a:lnTo>
                <a:cubicBezTo>
                  <a:pt x="893257" y="244016"/>
                  <a:pt x="890813" y="241913"/>
                  <a:pt x="887972" y="240492"/>
                </a:cubicBezTo>
                <a:cubicBezTo>
                  <a:pt x="884178" y="238595"/>
                  <a:pt x="872864" y="236055"/>
                  <a:pt x="869473" y="235207"/>
                </a:cubicBezTo>
                <a:cubicBezTo>
                  <a:pt x="862533" y="224797"/>
                  <a:pt x="862673" y="226513"/>
                  <a:pt x="858901" y="211422"/>
                </a:cubicBezTo>
                <a:cubicBezTo>
                  <a:pt x="858020" y="207898"/>
                  <a:pt x="857257" y="204343"/>
                  <a:pt x="856259" y="200851"/>
                </a:cubicBezTo>
                <a:cubicBezTo>
                  <a:pt x="855494" y="198172"/>
                  <a:pt x="855791" y="194662"/>
                  <a:pt x="853616" y="192922"/>
                </a:cubicBezTo>
                <a:cubicBezTo>
                  <a:pt x="850780" y="190653"/>
                  <a:pt x="846628" y="190876"/>
                  <a:pt x="843045" y="190279"/>
                </a:cubicBezTo>
                <a:cubicBezTo>
                  <a:pt x="836039" y="189112"/>
                  <a:pt x="828950" y="188518"/>
                  <a:pt x="821903" y="187637"/>
                </a:cubicBezTo>
                <a:cubicBezTo>
                  <a:pt x="819260" y="185875"/>
                  <a:pt x="816220" y="184597"/>
                  <a:pt x="813974" y="182351"/>
                </a:cubicBezTo>
                <a:cubicBezTo>
                  <a:pt x="811728" y="180105"/>
                  <a:pt x="811169" y="176407"/>
                  <a:pt x="808689" y="174423"/>
                </a:cubicBezTo>
                <a:cubicBezTo>
                  <a:pt x="806514" y="172683"/>
                  <a:pt x="803403" y="172661"/>
                  <a:pt x="800760" y="171780"/>
                </a:cubicBezTo>
                <a:cubicBezTo>
                  <a:pt x="799879" y="169137"/>
                  <a:pt x="798118" y="166638"/>
                  <a:pt x="798118" y="163852"/>
                </a:cubicBezTo>
                <a:cubicBezTo>
                  <a:pt x="798118" y="151603"/>
                  <a:pt x="799845" y="138713"/>
                  <a:pt x="803403" y="126853"/>
                </a:cubicBezTo>
                <a:cubicBezTo>
                  <a:pt x="805004" y="121516"/>
                  <a:pt x="807338" y="116401"/>
                  <a:pt x="808689" y="110996"/>
                </a:cubicBezTo>
                <a:cubicBezTo>
                  <a:pt x="812008" y="97723"/>
                  <a:pt x="810184" y="103871"/>
                  <a:pt x="813974" y="92497"/>
                </a:cubicBezTo>
                <a:cubicBezTo>
                  <a:pt x="812212" y="89854"/>
                  <a:pt x="809979" y="87471"/>
                  <a:pt x="808689" y="84568"/>
                </a:cubicBezTo>
                <a:cubicBezTo>
                  <a:pt x="806426" y="79477"/>
                  <a:pt x="808039" y="71802"/>
                  <a:pt x="803403" y="68712"/>
                </a:cubicBezTo>
                <a:lnTo>
                  <a:pt x="779618" y="52855"/>
                </a:lnTo>
                <a:lnTo>
                  <a:pt x="763762" y="42284"/>
                </a:lnTo>
                <a:lnTo>
                  <a:pt x="755833" y="36998"/>
                </a:lnTo>
                <a:cubicBezTo>
                  <a:pt x="748785" y="15857"/>
                  <a:pt x="759357" y="40522"/>
                  <a:pt x="745262" y="26427"/>
                </a:cubicBezTo>
                <a:cubicBezTo>
                  <a:pt x="731605" y="12770"/>
                  <a:pt x="757779" y="23398"/>
                  <a:pt x="734691" y="10571"/>
                </a:cubicBezTo>
                <a:cubicBezTo>
                  <a:pt x="725415" y="5418"/>
                  <a:pt x="715557" y="5126"/>
                  <a:pt x="705621" y="2642"/>
                </a:cubicBezTo>
                <a:cubicBezTo>
                  <a:pt x="702918" y="1966"/>
                  <a:pt x="700335" y="881"/>
                  <a:pt x="697692" y="0"/>
                </a:cubicBezTo>
                <a:cubicBezTo>
                  <a:pt x="688389" y="930"/>
                  <a:pt x="665398" y="1268"/>
                  <a:pt x="655408" y="7928"/>
                </a:cubicBezTo>
                <a:lnTo>
                  <a:pt x="647479" y="13214"/>
                </a:lnTo>
                <a:lnTo>
                  <a:pt x="636908" y="44927"/>
                </a:lnTo>
                <a:lnTo>
                  <a:pt x="631623" y="60783"/>
                </a:lnTo>
                <a:lnTo>
                  <a:pt x="623695" y="68712"/>
                </a:lnTo>
                <a:cubicBezTo>
                  <a:pt x="617051" y="88641"/>
                  <a:pt x="626786" y="64847"/>
                  <a:pt x="613123" y="81926"/>
                </a:cubicBezTo>
                <a:cubicBezTo>
                  <a:pt x="611383" y="84101"/>
                  <a:pt x="612451" y="87884"/>
                  <a:pt x="610481" y="89854"/>
                </a:cubicBezTo>
                <a:cubicBezTo>
                  <a:pt x="607695" y="92640"/>
                  <a:pt x="603288" y="93113"/>
                  <a:pt x="599910" y="95140"/>
                </a:cubicBezTo>
                <a:cubicBezTo>
                  <a:pt x="577437" y="108624"/>
                  <a:pt x="592271" y="103657"/>
                  <a:pt x="573482" y="108353"/>
                </a:cubicBezTo>
                <a:lnTo>
                  <a:pt x="549697" y="124210"/>
                </a:lnTo>
                <a:cubicBezTo>
                  <a:pt x="547054" y="125972"/>
                  <a:pt x="544782" y="128492"/>
                  <a:pt x="541769" y="129496"/>
                </a:cubicBezTo>
                <a:lnTo>
                  <a:pt x="510055" y="140067"/>
                </a:lnTo>
                <a:cubicBezTo>
                  <a:pt x="510050" y="140069"/>
                  <a:pt x="494203" y="145349"/>
                  <a:pt x="494199" y="145352"/>
                </a:cubicBezTo>
                <a:cubicBezTo>
                  <a:pt x="491556" y="147114"/>
                  <a:pt x="489111" y="149217"/>
                  <a:pt x="486270" y="150638"/>
                </a:cubicBezTo>
                <a:cubicBezTo>
                  <a:pt x="483778" y="151884"/>
                  <a:pt x="481029" y="152548"/>
                  <a:pt x="478342" y="153281"/>
                </a:cubicBezTo>
                <a:cubicBezTo>
                  <a:pt x="471334" y="155192"/>
                  <a:pt x="464091" y="156269"/>
                  <a:pt x="457200" y="158566"/>
                </a:cubicBezTo>
                <a:lnTo>
                  <a:pt x="441343" y="163852"/>
                </a:lnTo>
                <a:cubicBezTo>
                  <a:pt x="438700" y="164733"/>
                  <a:pt x="436191" y="166263"/>
                  <a:pt x="433415" y="166494"/>
                </a:cubicBezTo>
                <a:lnTo>
                  <a:pt x="401701" y="169137"/>
                </a:lnTo>
                <a:cubicBezTo>
                  <a:pt x="402947" y="172875"/>
                  <a:pt x="406987" y="184319"/>
                  <a:pt x="406987" y="187637"/>
                </a:cubicBezTo>
                <a:cubicBezTo>
                  <a:pt x="406987" y="195614"/>
                  <a:pt x="406279" y="203683"/>
                  <a:pt x="404344" y="211422"/>
                </a:cubicBezTo>
                <a:cubicBezTo>
                  <a:pt x="403574" y="214503"/>
                  <a:pt x="401449" y="217259"/>
                  <a:pt x="399059" y="219350"/>
                </a:cubicBezTo>
                <a:cubicBezTo>
                  <a:pt x="387875" y="229135"/>
                  <a:pt x="386163" y="228934"/>
                  <a:pt x="375274" y="232564"/>
                </a:cubicBezTo>
                <a:cubicBezTo>
                  <a:pt x="373512" y="235207"/>
                  <a:pt x="372468" y="238508"/>
                  <a:pt x="369988" y="240492"/>
                </a:cubicBezTo>
                <a:cubicBezTo>
                  <a:pt x="367813" y="242232"/>
                  <a:pt x="364552" y="241889"/>
                  <a:pt x="362060" y="243135"/>
                </a:cubicBezTo>
                <a:cubicBezTo>
                  <a:pt x="359219" y="244555"/>
                  <a:pt x="356775" y="246658"/>
                  <a:pt x="354132" y="248420"/>
                </a:cubicBezTo>
                <a:cubicBezTo>
                  <a:pt x="352370" y="251063"/>
                  <a:pt x="351326" y="254365"/>
                  <a:pt x="348846" y="256349"/>
                </a:cubicBezTo>
                <a:cubicBezTo>
                  <a:pt x="346671" y="258089"/>
                  <a:pt x="343687" y="258684"/>
                  <a:pt x="340918" y="258992"/>
                </a:cubicBezTo>
                <a:cubicBezTo>
                  <a:pt x="327756" y="260454"/>
                  <a:pt x="314490" y="260753"/>
                  <a:pt x="301276" y="261634"/>
                </a:cubicBezTo>
                <a:lnTo>
                  <a:pt x="277491" y="269563"/>
                </a:lnTo>
                <a:lnTo>
                  <a:pt x="269563" y="272205"/>
                </a:lnTo>
                <a:cubicBezTo>
                  <a:pt x="266920" y="273086"/>
                  <a:pt x="264337" y="274172"/>
                  <a:pt x="261634" y="274848"/>
                </a:cubicBezTo>
                <a:cubicBezTo>
                  <a:pt x="258110" y="275729"/>
                  <a:pt x="254625" y="276779"/>
                  <a:pt x="251063" y="277491"/>
                </a:cubicBezTo>
                <a:cubicBezTo>
                  <a:pt x="245809" y="278542"/>
                  <a:pt x="240438" y="278972"/>
                  <a:pt x="235207" y="280134"/>
                </a:cubicBezTo>
                <a:cubicBezTo>
                  <a:pt x="224739" y="282460"/>
                  <a:pt x="221644" y="286534"/>
                  <a:pt x="211422" y="293348"/>
                </a:cubicBezTo>
                <a:lnTo>
                  <a:pt x="203493" y="298633"/>
                </a:lnTo>
                <a:cubicBezTo>
                  <a:pt x="202088" y="298282"/>
                  <a:pt x="187266" y="294863"/>
                  <a:pt x="184994" y="293348"/>
                </a:cubicBezTo>
                <a:cubicBezTo>
                  <a:pt x="181884" y="291275"/>
                  <a:pt x="179709" y="288062"/>
                  <a:pt x="177066" y="285419"/>
                </a:cubicBezTo>
                <a:cubicBezTo>
                  <a:pt x="168257" y="286300"/>
                  <a:pt x="159402" y="286810"/>
                  <a:pt x="150638" y="288062"/>
                </a:cubicBezTo>
                <a:cubicBezTo>
                  <a:pt x="147042" y="288576"/>
                  <a:pt x="143559" y="289707"/>
                  <a:pt x="140067" y="290705"/>
                </a:cubicBezTo>
                <a:cubicBezTo>
                  <a:pt x="137388" y="291470"/>
                  <a:pt x="134907" y="293040"/>
                  <a:pt x="132138" y="293348"/>
                </a:cubicBezTo>
                <a:cubicBezTo>
                  <a:pt x="118976" y="294810"/>
                  <a:pt x="105711" y="295109"/>
                  <a:pt x="92497" y="295990"/>
                </a:cubicBezTo>
                <a:cubicBezTo>
                  <a:pt x="90735" y="298633"/>
                  <a:pt x="88124" y="300876"/>
                  <a:pt x="87211" y="303919"/>
                </a:cubicBezTo>
                <a:cubicBezTo>
                  <a:pt x="85421" y="309885"/>
                  <a:pt x="85790" y="316310"/>
                  <a:pt x="84569" y="322418"/>
                </a:cubicBezTo>
                <a:cubicBezTo>
                  <a:pt x="84023" y="325150"/>
                  <a:pt x="83636" y="328147"/>
                  <a:pt x="81926" y="330346"/>
                </a:cubicBezTo>
                <a:cubicBezTo>
                  <a:pt x="69447" y="346390"/>
                  <a:pt x="71167" y="344503"/>
                  <a:pt x="58141" y="348846"/>
                </a:cubicBezTo>
                <a:cubicBezTo>
                  <a:pt x="55498" y="351489"/>
                  <a:pt x="52605" y="353903"/>
                  <a:pt x="50212" y="356774"/>
                </a:cubicBezTo>
                <a:cubicBezTo>
                  <a:pt x="45235" y="362746"/>
                  <a:pt x="44372" y="368418"/>
                  <a:pt x="36999" y="372631"/>
                </a:cubicBezTo>
                <a:cubicBezTo>
                  <a:pt x="33845" y="374433"/>
                  <a:pt x="29906" y="374230"/>
                  <a:pt x="26427" y="375274"/>
                </a:cubicBezTo>
                <a:cubicBezTo>
                  <a:pt x="9273" y="380420"/>
                  <a:pt x="14229" y="378121"/>
                  <a:pt x="2642" y="385845"/>
                </a:cubicBezTo>
                <a:cubicBezTo>
                  <a:pt x="1761" y="388488"/>
                  <a:pt x="0" y="390987"/>
                  <a:pt x="0" y="393773"/>
                </a:cubicBezTo>
                <a:cubicBezTo>
                  <a:pt x="0" y="407499"/>
                  <a:pt x="3740" y="415566"/>
                  <a:pt x="7928" y="428129"/>
                </a:cubicBezTo>
                <a:lnTo>
                  <a:pt x="13214" y="443986"/>
                </a:lnTo>
                <a:lnTo>
                  <a:pt x="15856" y="451914"/>
                </a:lnTo>
                <a:cubicBezTo>
                  <a:pt x="16737" y="465128"/>
                  <a:pt x="17036" y="478394"/>
                  <a:pt x="18499" y="491556"/>
                </a:cubicBezTo>
                <a:cubicBezTo>
                  <a:pt x="18807" y="494325"/>
                  <a:pt x="20377" y="496806"/>
                  <a:pt x="21142" y="499484"/>
                </a:cubicBezTo>
                <a:cubicBezTo>
                  <a:pt x="22140" y="502976"/>
                  <a:pt x="22997" y="506509"/>
                  <a:pt x="23785" y="510055"/>
                </a:cubicBezTo>
                <a:cubicBezTo>
                  <a:pt x="24759" y="514440"/>
                  <a:pt x="25245" y="518935"/>
                  <a:pt x="26427" y="523269"/>
                </a:cubicBezTo>
                <a:cubicBezTo>
                  <a:pt x="27893" y="528644"/>
                  <a:pt x="29951" y="533840"/>
                  <a:pt x="31713" y="539126"/>
                </a:cubicBezTo>
                <a:cubicBezTo>
                  <a:pt x="32594" y="541769"/>
                  <a:pt x="33680" y="544352"/>
                  <a:pt x="34356" y="547054"/>
                </a:cubicBezTo>
                <a:cubicBezTo>
                  <a:pt x="35237" y="550578"/>
                  <a:pt x="35955" y="554146"/>
                  <a:pt x="36999" y="557625"/>
                </a:cubicBezTo>
                <a:cubicBezTo>
                  <a:pt x="38600" y="562962"/>
                  <a:pt x="40933" y="568077"/>
                  <a:pt x="42284" y="573482"/>
                </a:cubicBezTo>
                <a:cubicBezTo>
                  <a:pt x="46278" y="589457"/>
                  <a:pt x="43779" y="580609"/>
                  <a:pt x="50212" y="599909"/>
                </a:cubicBezTo>
                <a:cubicBezTo>
                  <a:pt x="51093" y="602552"/>
                  <a:pt x="50537" y="606293"/>
                  <a:pt x="52855" y="607838"/>
                </a:cubicBezTo>
                <a:lnTo>
                  <a:pt x="60784" y="613123"/>
                </a:lnTo>
                <a:lnTo>
                  <a:pt x="68712" y="636908"/>
                </a:lnTo>
                <a:cubicBezTo>
                  <a:pt x="71361" y="644853"/>
                  <a:pt x="70948" y="645935"/>
                  <a:pt x="76640" y="652765"/>
                </a:cubicBezTo>
                <a:cubicBezTo>
                  <a:pt x="84401" y="662078"/>
                  <a:pt x="89379" y="663900"/>
                  <a:pt x="100425" y="671264"/>
                </a:cubicBezTo>
                <a:cubicBezTo>
                  <a:pt x="106691" y="675441"/>
                  <a:pt x="113199" y="679570"/>
                  <a:pt x="118925" y="684478"/>
                </a:cubicBezTo>
                <a:cubicBezTo>
                  <a:pt x="140667" y="703114"/>
                  <a:pt x="107899" y="679772"/>
                  <a:pt x="142710" y="702978"/>
                </a:cubicBezTo>
                <a:lnTo>
                  <a:pt x="150638" y="708263"/>
                </a:lnTo>
                <a:lnTo>
                  <a:pt x="158566" y="713549"/>
                </a:lnTo>
                <a:cubicBezTo>
                  <a:pt x="161209" y="712668"/>
                  <a:pt x="164876" y="713173"/>
                  <a:pt x="166495" y="710906"/>
                </a:cubicBezTo>
                <a:cubicBezTo>
                  <a:pt x="169733" y="706372"/>
                  <a:pt x="170018" y="700335"/>
                  <a:pt x="171780" y="695049"/>
                </a:cubicBezTo>
                <a:lnTo>
                  <a:pt x="179708" y="671264"/>
                </a:lnTo>
                <a:cubicBezTo>
                  <a:pt x="180589" y="668621"/>
                  <a:pt x="181675" y="666038"/>
                  <a:pt x="182351" y="663336"/>
                </a:cubicBezTo>
                <a:cubicBezTo>
                  <a:pt x="182374" y="663244"/>
                  <a:pt x="186373" y="646101"/>
                  <a:pt x="187637" y="644837"/>
                </a:cubicBezTo>
                <a:cubicBezTo>
                  <a:pt x="189607" y="642867"/>
                  <a:pt x="192887" y="642959"/>
                  <a:pt x="195565" y="642194"/>
                </a:cubicBezTo>
                <a:cubicBezTo>
                  <a:pt x="223530" y="634203"/>
                  <a:pt x="184301" y="646830"/>
                  <a:pt x="221993" y="634266"/>
                </a:cubicBezTo>
                <a:lnTo>
                  <a:pt x="229921" y="631623"/>
                </a:lnTo>
                <a:cubicBezTo>
                  <a:pt x="268682" y="632504"/>
                  <a:pt x="307502" y="631944"/>
                  <a:pt x="346203" y="634266"/>
                </a:cubicBezTo>
                <a:cubicBezTo>
                  <a:pt x="351765" y="634600"/>
                  <a:pt x="356774" y="637789"/>
                  <a:pt x="362060" y="639551"/>
                </a:cubicBezTo>
                <a:cubicBezTo>
                  <a:pt x="371169" y="642587"/>
                  <a:pt x="369548" y="638671"/>
                  <a:pt x="372631" y="634266"/>
                </a:cubicBezTo>
                <a:close/>
              </a:path>
            </a:pathLst>
          </a:cu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50" name="Freeform 49"/>
          <p:cNvSpPr/>
          <p:nvPr/>
        </p:nvSpPr>
        <p:spPr>
          <a:xfrm>
            <a:off x="4078288" y="1644651"/>
            <a:ext cx="895350" cy="1409700"/>
          </a:xfrm>
          <a:custGeom>
            <a:avLst/>
            <a:gdLst>
              <a:gd name="connsiteX0" fmla="*/ 150638 w 895901"/>
              <a:gd name="connsiteY0" fmla="*/ 51644 h 1410030"/>
              <a:gd name="connsiteX1" fmla="*/ 182352 w 895901"/>
              <a:gd name="connsiteY1" fmla="*/ 43716 h 1410030"/>
              <a:gd name="connsiteX2" fmla="*/ 190280 w 895901"/>
              <a:gd name="connsiteY2" fmla="*/ 41073 h 1410030"/>
              <a:gd name="connsiteX3" fmla="*/ 198208 w 895901"/>
              <a:gd name="connsiteY3" fmla="*/ 38430 h 1410030"/>
              <a:gd name="connsiteX4" fmla="*/ 206137 w 895901"/>
              <a:gd name="connsiteY4" fmla="*/ 33145 h 1410030"/>
              <a:gd name="connsiteX5" fmla="*/ 224636 w 895901"/>
              <a:gd name="connsiteY5" fmla="*/ 9360 h 1410030"/>
              <a:gd name="connsiteX6" fmla="*/ 227279 w 895901"/>
              <a:gd name="connsiteY6" fmla="*/ 1432 h 1410030"/>
              <a:gd name="connsiteX7" fmla="*/ 251064 w 895901"/>
              <a:gd name="connsiteY7" fmla="*/ 6717 h 1410030"/>
              <a:gd name="connsiteX8" fmla="*/ 258992 w 895901"/>
              <a:gd name="connsiteY8" fmla="*/ 12003 h 1410030"/>
              <a:gd name="connsiteX9" fmla="*/ 277491 w 895901"/>
              <a:gd name="connsiteY9" fmla="*/ 17288 h 1410030"/>
              <a:gd name="connsiteX10" fmla="*/ 317133 w 895901"/>
              <a:gd name="connsiteY10" fmla="*/ 43716 h 1410030"/>
              <a:gd name="connsiteX11" fmla="*/ 325061 w 895901"/>
              <a:gd name="connsiteY11" fmla="*/ 49001 h 1410030"/>
              <a:gd name="connsiteX12" fmla="*/ 332990 w 895901"/>
              <a:gd name="connsiteY12" fmla="*/ 54287 h 1410030"/>
              <a:gd name="connsiteX13" fmla="*/ 340918 w 895901"/>
              <a:gd name="connsiteY13" fmla="*/ 56930 h 1410030"/>
              <a:gd name="connsiteX14" fmla="*/ 346204 w 895901"/>
              <a:gd name="connsiteY14" fmla="*/ 64858 h 1410030"/>
              <a:gd name="connsiteX15" fmla="*/ 362060 w 895901"/>
              <a:gd name="connsiteY15" fmla="*/ 70144 h 1410030"/>
              <a:gd name="connsiteX16" fmla="*/ 367346 w 895901"/>
              <a:gd name="connsiteY16" fmla="*/ 78072 h 1410030"/>
              <a:gd name="connsiteX17" fmla="*/ 383202 w 895901"/>
              <a:gd name="connsiteY17" fmla="*/ 86000 h 1410030"/>
              <a:gd name="connsiteX18" fmla="*/ 391131 w 895901"/>
              <a:gd name="connsiteY18" fmla="*/ 91286 h 1410030"/>
              <a:gd name="connsiteX19" fmla="*/ 409630 w 895901"/>
              <a:gd name="connsiteY19" fmla="*/ 96571 h 1410030"/>
              <a:gd name="connsiteX20" fmla="*/ 441344 w 895901"/>
              <a:gd name="connsiteY20" fmla="*/ 112428 h 1410030"/>
              <a:gd name="connsiteX21" fmla="*/ 449272 w 895901"/>
              <a:gd name="connsiteY21" fmla="*/ 115071 h 1410030"/>
              <a:gd name="connsiteX22" fmla="*/ 465128 w 895901"/>
              <a:gd name="connsiteY22" fmla="*/ 125642 h 1410030"/>
              <a:gd name="connsiteX23" fmla="*/ 480985 w 895901"/>
              <a:gd name="connsiteY23" fmla="*/ 136213 h 1410030"/>
              <a:gd name="connsiteX24" fmla="*/ 488913 w 895901"/>
              <a:gd name="connsiteY24" fmla="*/ 141499 h 1410030"/>
              <a:gd name="connsiteX25" fmla="*/ 512698 w 895901"/>
              <a:gd name="connsiteY25" fmla="*/ 149427 h 1410030"/>
              <a:gd name="connsiteX26" fmla="*/ 520627 w 895901"/>
              <a:gd name="connsiteY26" fmla="*/ 152070 h 1410030"/>
              <a:gd name="connsiteX27" fmla="*/ 557626 w 895901"/>
              <a:gd name="connsiteY27" fmla="*/ 162641 h 1410030"/>
              <a:gd name="connsiteX28" fmla="*/ 573482 w 895901"/>
              <a:gd name="connsiteY28" fmla="*/ 173212 h 1410030"/>
              <a:gd name="connsiteX29" fmla="*/ 581411 w 895901"/>
              <a:gd name="connsiteY29" fmla="*/ 175855 h 1410030"/>
              <a:gd name="connsiteX30" fmla="*/ 589339 w 895901"/>
              <a:gd name="connsiteY30" fmla="*/ 181140 h 1410030"/>
              <a:gd name="connsiteX31" fmla="*/ 605196 w 895901"/>
              <a:gd name="connsiteY31" fmla="*/ 186426 h 1410030"/>
              <a:gd name="connsiteX32" fmla="*/ 621052 w 895901"/>
              <a:gd name="connsiteY32" fmla="*/ 191711 h 1410030"/>
              <a:gd name="connsiteX33" fmla="*/ 631623 w 895901"/>
              <a:gd name="connsiteY33" fmla="*/ 194354 h 1410030"/>
              <a:gd name="connsiteX34" fmla="*/ 655408 w 895901"/>
              <a:gd name="connsiteY34" fmla="*/ 202282 h 1410030"/>
              <a:gd name="connsiteX35" fmla="*/ 663337 w 895901"/>
              <a:gd name="connsiteY35" fmla="*/ 204925 h 1410030"/>
              <a:gd name="connsiteX36" fmla="*/ 687122 w 895901"/>
              <a:gd name="connsiteY36" fmla="*/ 220782 h 1410030"/>
              <a:gd name="connsiteX37" fmla="*/ 702978 w 895901"/>
              <a:gd name="connsiteY37" fmla="*/ 231353 h 1410030"/>
              <a:gd name="connsiteX38" fmla="*/ 710907 w 895901"/>
              <a:gd name="connsiteY38" fmla="*/ 239281 h 1410030"/>
              <a:gd name="connsiteX39" fmla="*/ 726763 w 895901"/>
              <a:gd name="connsiteY39" fmla="*/ 244567 h 1410030"/>
              <a:gd name="connsiteX40" fmla="*/ 737334 w 895901"/>
              <a:gd name="connsiteY40" fmla="*/ 249852 h 1410030"/>
              <a:gd name="connsiteX41" fmla="*/ 745263 w 895901"/>
              <a:gd name="connsiteY41" fmla="*/ 257781 h 1410030"/>
              <a:gd name="connsiteX42" fmla="*/ 753191 w 895901"/>
              <a:gd name="connsiteY42" fmla="*/ 260423 h 1410030"/>
              <a:gd name="connsiteX43" fmla="*/ 761119 w 895901"/>
              <a:gd name="connsiteY43" fmla="*/ 265709 h 1410030"/>
              <a:gd name="connsiteX44" fmla="*/ 769048 w 895901"/>
              <a:gd name="connsiteY44" fmla="*/ 268352 h 1410030"/>
              <a:gd name="connsiteX45" fmla="*/ 776976 w 895901"/>
              <a:gd name="connsiteY45" fmla="*/ 273637 h 1410030"/>
              <a:gd name="connsiteX46" fmla="*/ 792833 w 895901"/>
              <a:gd name="connsiteY46" fmla="*/ 278923 h 1410030"/>
              <a:gd name="connsiteX47" fmla="*/ 808689 w 895901"/>
              <a:gd name="connsiteY47" fmla="*/ 289494 h 1410030"/>
              <a:gd name="connsiteX48" fmla="*/ 824546 w 895901"/>
              <a:gd name="connsiteY48" fmla="*/ 297422 h 1410030"/>
              <a:gd name="connsiteX49" fmla="*/ 832474 w 895901"/>
              <a:gd name="connsiteY49" fmla="*/ 302708 h 1410030"/>
              <a:gd name="connsiteX50" fmla="*/ 850974 w 895901"/>
              <a:gd name="connsiteY50" fmla="*/ 307993 h 1410030"/>
              <a:gd name="connsiteX51" fmla="*/ 858902 w 895901"/>
              <a:gd name="connsiteY51" fmla="*/ 310636 h 1410030"/>
              <a:gd name="connsiteX52" fmla="*/ 874759 w 895901"/>
              <a:gd name="connsiteY52" fmla="*/ 318565 h 1410030"/>
              <a:gd name="connsiteX53" fmla="*/ 882687 w 895901"/>
              <a:gd name="connsiteY53" fmla="*/ 326493 h 1410030"/>
              <a:gd name="connsiteX54" fmla="*/ 890615 w 895901"/>
              <a:gd name="connsiteY54" fmla="*/ 329136 h 1410030"/>
              <a:gd name="connsiteX55" fmla="*/ 895901 w 895901"/>
              <a:gd name="connsiteY55" fmla="*/ 337064 h 1410030"/>
              <a:gd name="connsiteX56" fmla="*/ 880044 w 895901"/>
              <a:gd name="connsiteY56" fmla="*/ 347635 h 1410030"/>
              <a:gd name="connsiteX57" fmla="*/ 872116 w 895901"/>
              <a:gd name="connsiteY57" fmla="*/ 352921 h 1410030"/>
              <a:gd name="connsiteX58" fmla="*/ 869473 w 895901"/>
              <a:gd name="connsiteY58" fmla="*/ 360849 h 1410030"/>
              <a:gd name="connsiteX59" fmla="*/ 882687 w 895901"/>
              <a:gd name="connsiteY59" fmla="*/ 387277 h 1410030"/>
              <a:gd name="connsiteX60" fmla="*/ 887972 w 895901"/>
              <a:gd name="connsiteY60" fmla="*/ 403133 h 1410030"/>
              <a:gd name="connsiteX61" fmla="*/ 890615 w 895901"/>
              <a:gd name="connsiteY61" fmla="*/ 411062 h 1410030"/>
              <a:gd name="connsiteX62" fmla="*/ 895901 w 895901"/>
              <a:gd name="connsiteY62" fmla="*/ 429561 h 1410030"/>
              <a:gd name="connsiteX63" fmla="*/ 893258 w 895901"/>
              <a:gd name="connsiteY63" fmla="*/ 651554 h 1410030"/>
              <a:gd name="connsiteX64" fmla="*/ 890615 w 895901"/>
              <a:gd name="connsiteY64" fmla="*/ 662125 h 1410030"/>
              <a:gd name="connsiteX65" fmla="*/ 887972 w 895901"/>
              <a:gd name="connsiteY65" fmla="*/ 696481 h 1410030"/>
              <a:gd name="connsiteX66" fmla="*/ 880044 w 895901"/>
              <a:gd name="connsiteY66" fmla="*/ 701767 h 1410030"/>
              <a:gd name="connsiteX67" fmla="*/ 856259 w 895901"/>
              <a:gd name="connsiteY67" fmla="*/ 704410 h 1410030"/>
              <a:gd name="connsiteX68" fmla="*/ 837760 w 895901"/>
              <a:gd name="connsiteY68" fmla="*/ 709695 h 1410030"/>
              <a:gd name="connsiteX69" fmla="*/ 829831 w 895901"/>
              <a:gd name="connsiteY69" fmla="*/ 717623 h 1410030"/>
              <a:gd name="connsiteX70" fmla="*/ 816617 w 895901"/>
              <a:gd name="connsiteY70" fmla="*/ 738766 h 1410030"/>
              <a:gd name="connsiteX71" fmla="*/ 813975 w 895901"/>
              <a:gd name="connsiteY71" fmla="*/ 746694 h 1410030"/>
              <a:gd name="connsiteX72" fmla="*/ 808689 w 895901"/>
              <a:gd name="connsiteY72" fmla="*/ 754622 h 1410030"/>
              <a:gd name="connsiteX73" fmla="*/ 798118 w 895901"/>
              <a:gd name="connsiteY73" fmla="*/ 773122 h 1410030"/>
              <a:gd name="connsiteX74" fmla="*/ 790190 w 895901"/>
              <a:gd name="connsiteY74" fmla="*/ 775765 h 1410030"/>
              <a:gd name="connsiteX75" fmla="*/ 782261 w 895901"/>
              <a:gd name="connsiteY75" fmla="*/ 781050 h 1410030"/>
              <a:gd name="connsiteX76" fmla="*/ 776976 w 895901"/>
              <a:gd name="connsiteY76" fmla="*/ 796907 h 1410030"/>
              <a:gd name="connsiteX77" fmla="*/ 774333 w 895901"/>
              <a:gd name="connsiteY77" fmla="*/ 804835 h 1410030"/>
              <a:gd name="connsiteX78" fmla="*/ 776976 w 895901"/>
              <a:gd name="connsiteY78" fmla="*/ 815406 h 1410030"/>
              <a:gd name="connsiteX79" fmla="*/ 787547 w 895901"/>
              <a:gd name="connsiteY79" fmla="*/ 828620 h 1410030"/>
              <a:gd name="connsiteX80" fmla="*/ 779619 w 895901"/>
              <a:gd name="connsiteY80" fmla="*/ 847119 h 1410030"/>
              <a:gd name="connsiteX81" fmla="*/ 750548 w 895901"/>
              <a:gd name="connsiteY81" fmla="*/ 855048 h 1410030"/>
              <a:gd name="connsiteX82" fmla="*/ 742620 w 895901"/>
              <a:gd name="connsiteY82" fmla="*/ 862976 h 1410030"/>
              <a:gd name="connsiteX83" fmla="*/ 742620 w 895901"/>
              <a:gd name="connsiteY83" fmla="*/ 892047 h 1410030"/>
              <a:gd name="connsiteX84" fmla="*/ 747905 w 895901"/>
              <a:gd name="connsiteY84" fmla="*/ 907903 h 1410030"/>
              <a:gd name="connsiteX85" fmla="*/ 742620 w 895901"/>
              <a:gd name="connsiteY85" fmla="*/ 915832 h 1410030"/>
              <a:gd name="connsiteX86" fmla="*/ 737334 w 895901"/>
              <a:gd name="connsiteY86" fmla="*/ 931688 h 1410030"/>
              <a:gd name="connsiteX87" fmla="*/ 742620 w 895901"/>
              <a:gd name="connsiteY87" fmla="*/ 966044 h 1410030"/>
              <a:gd name="connsiteX88" fmla="*/ 747905 w 895901"/>
              <a:gd name="connsiteY88" fmla="*/ 973973 h 1410030"/>
              <a:gd name="connsiteX89" fmla="*/ 755834 w 895901"/>
              <a:gd name="connsiteY89" fmla="*/ 976615 h 1410030"/>
              <a:gd name="connsiteX90" fmla="*/ 761119 w 895901"/>
              <a:gd name="connsiteY90" fmla="*/ 984544 h 1410030"/>
              <a:gd name="connsiteX91" fmla="*/ 769048 w 895901"/>
              <a:gd name="connsiteY91" fmla="*/ 989829 h 1410030"/>
              <a:gd name="connsiteX92" fmla="*/ 774333 w 895901"/>
              <a:gd name="connsiteY92" fmla="*/ 1005686 h 1410030"/>
              <a:gd name="connsiteX93" fmla="*/ 779619 w 895901"/>
              <a:gd name="connsiteY93" fmla="*/ 1026828 h 1410030"/>
              <a:gd name="connsiteX94" fmla="*/ 795475 w 895901"/>
              <a:gd name="connsiteY94" fmla="*/ 1037399 h 1410030"/>
              <a:gd name="connsiteX95" fmla="*/ 803404 w 895901"/>
              <a:gd name="connsiteY95" fmla="*/ 1053256 h 1410030"/>
              <a:gd name="connsiteX96" fmla="*/ 806046 w 895901"/>
              <a:gd name="connsiteY96" fmla="*/ 1074398 h 1410030"/>
              <a:gd name="connsiteX97" fmla="*/ 813975 w 895901"/>
              <a:gd name="connsiteY97" fmla="*/ 1077041 h 1410030"/>
              <a:gd name="connsiteX98" fmla="*/ 837760 w 895901"/>
              <a:gd name="connsiteY98" fmla="*/ 1095540 h 1410030"/>
              <a:gd name="connsiteX99" fmla="*/ 843045 w 895901"/>
              <a:gd name="connsiteY99" fmla="*/ 1124611 h 1410030"/>
              <a:gd name="connsiteX100" fmla="*/ 845688 w 895901"/>
              <a:gd name="connsiteY100" fmla="*/ 1135182 h 1410030"/>
              <a:gd name="connsiteX101" fmla="*/ 843045 w 895901"/>
              <a:gd name="connsiteY101" fmla="*/ 1145753 h 1410030"/>
              <a:gd name="connsiteX102" fmla="*/ 821903 w 895901"/>
              <a:gd name="connsiteY102" fmla="*/ 1143110 h 1410030"/>
              <a:gd name="connsiteX103" fmla="*/ 795475 w 895901"/>
              <a:gd name="connsiteY103" fmla="*/ 1135182 h 1410030"/>
              <a:gd name="connsiteX104" fmla="*/ 771690 w 895901"/>
              <a:gd name="connsiteY104" fmla="*/ 1129896 h 1410030"/>
              <a:gd name="connsiteX105" fmla="*/ 747905 w 895901"/>
              <a:gd name="connsiteY105" fmla="*/ 1132539 h 1410030"/>
              <a:gd name="connsiteX106" fmla="*/ 737334 w 895901"/>
              <a:gd name="connsiteY106" fmla="*/ 1135182 h 1410030"/>
              <a:gd name="connsiteX107" fmla="*/ 726763 w 895901"/>
              <a:gd name="connsiteY107" fmla="*/ 1151038 h 1410030"/>
              <a:gd name="connsiteX108" fmla="*/ 718835 w 895901"/>
              <a:gd name="connsiteY108" fmla="*/ 1166895 h 1410030"/>
              <a:gd name="connsiteX109" fmla="*/ 713549 w 895901"/>
              <a:gd name="connsiteY109" fmla="*/ 1185395 h 1410030"/>
              <a:gd name="connsiteX110" fmla="*/ 705621 w 895901"/>
              <a:gd name="connsiteY110" fmla="*/ 1188037 h 1410030"/>
              <a:gd name="connsiteX111" fmla="*/ 697693 w 895901"/>
              <a:gd name="connsiteY111" fmla="*/ 1195966 h 1410030"/>
              <a:gd name="connsiteX112" fmla="*/ 689764 w 895901"/>
              <a:gd name="connsiteY112" fmla="*/ 1198608 h 1410030"/>
              <a:gd name="connsiteX113" fmla="*/ 684479 w 895901"/>
              <a:gd name="connsiteY113" fmla="*/ 1206537 h 1410030"/>
              <a:gd name="connsiteX114" fmla="*/ 668622 w 895901"/>
              <a:gd name="connsiteY114" fmla="*/ 1211822 h 1410030"/>
              <a:gd name="connsiteX115" fmla="*/ 652765 w 895901"/>
              <a:gd name="connsiteY115" fmla="*/ 1222393 h 1410030"/>
              <a:gd name="connsiteX116" fmla="*/ 644837 w 895901"/>
              <a:gd name="connsiteY116" fmla="*/ 1225036 h 1410030"/>
              <a:gd name="connsiteX117" fmla="*/ 636909 w 895901"/>
              <a:gd name="connsiteY117" fmla="*/ 1230322 h 1410030"/>
              <a:gd name="connsiteX118" fmla="*/ 615767 w 895901"/>
              <a:gd name="connsiteY118" fmla="*/ 1235607 h 1410030"/>
              <a:gd name="connsiteX119" fmla="*/ 591982 w 895901"/>
              <a:gd name="connsiteY119" fmla="*/ 1243536 h 1410030"/>
              <a:gd name="connsiteX120" fmla="*/ 560268 w 895901"/>
              <a:gd name="connsiteY120" fmla="*/ 1254107 h 1410030"/>
              <a:gd name="connsiteX121" fmla="*/ 544412 w 895901"/>
              <a:gd name="connsiteY121" fmla="*/ 1259392 h 1410030"/>
              <a:gd name="connsiteX122" fmla="*/ 536483 w 895901"/>
              <a:gd name="connsiteY122" fmla="*/ 1264678 h 1410030"/>
              <a:gd name="connsiteX123" fmla="*/ 525912 w 895901"/>
              <a:gd name="connsiteY123" fmla="*/ 1267321 h 1410030"/>
              <a:gd name="connsiteX124" fmla="*/ 517984 w 895901"/>
              <a:gd name="connsiteY124" fmla="*/ 1269963 h 1410030"/>
              <a:gd name="connsiteX125" fmla="*/ 494199 w 895901"/>
              <a:gd name="connsiteY125" fmla="*/ 1280534 h 1410030"/>
              <a:gd name="connsiteX126" fmla="*/ 486271 w 895901"/>
              <a:gd name="connsiteY126" fmla="*/ 1283177 h 1410030"/>
              <a:gd name="connsiteX127" fmla="*/ 473057 w 895901"/>
              <a:gd name="connsiteY127" fmla="*/ 1328104 h 1410030"/>
              <a:gd name="connsiteX128" fmla="*/ 465128 w 895901"/>
              <a:gd name="connsiteY128" fmla="*/ 1330747 h 1410030"/>
              <a:gd name="connsiteX129" fmla="*/ 451915 w 895901"/>
              <a:gd name="connsiteY129" fmla="*/ 1341318 h 1410030"/>
              <a:gd name="connsiteX130" fmla="*/ 449272 w 895901"/>
              <a:gd name="connsiteY130" fmla="*/ 1349247 h 1410030"/>
              <a:gd name="connsiteX131" fmla="*/ 436058 w 895901"/>
              <a:gd name="connsiteY131" fmla="*/ 1365103 h 1410030"/>
              <a:gd name="connsiteX132" fmla="*/ 428130 w 895901"/>
              <a:gd name="connsiteY132" fmla="*/ 1370389 h 1410030"/>
              <a:gd name="connsiteX133" fmla="*/ 383202 w 895901"/>
              <a:gd name="connsiteY133" fmla="*/ 1375674 h 1410030"/>
              <a:gd name="connsiteX134" fmla="*/ 359417 w 895901"/>
              <a:gd name="connsiteY134" fmla="*/ 1378317 h 1410030"/>
              <a:gd name="connsiteX135" fmla="*/ 343561 w 895901"/>
              <a:gd name="connsiteY135" fmla="*/ 1383603 h 1410030"/>
              <a:gd name="connsiteX136" fmla="*/ 327704 w 895901"/>
              <a:gd name="connsiteY136" fmla="*/ 1391531 h 1410030"/>
              <a:gd name="connsiteX137" fmla="*/ 319776 w 895901"/>
              <a:gd name="connsiteY137" fmla="*/ 1396817 h 1410030"/>
              <a:gd name="connsiteX138" fmla="*/ 309205 w 895901"/>
              <a:gd name="connsiteY138" fmla="*/ 1399459 h 1410030"/>
              <a:gd name="connsiteX139" fmla="*/ 293348 w 895901"/>
              <a:gd name="connsiteY139" fmla="*/ 1404745 h 1410030"/>
              <a:gd name="connsiteX140" fmla="*/ 285420 w 895901"/>
              <a:gd name="connsiteY140" fmla="*/ 1407388 h 1410030"/>
              <a:gd name="connsiteX141" fmla="*/ 277491 w 895901"/>
              <a:gd name="connsiteY141" fmla="*/ 1410030 h 1410030"/>
              <a:gd name="connsiteX142" fmla="*/ 261635 w 895901"/>
              <a:gd name="connsiteY142" fmla="*/ 1407388 h 1410030"/>
              <a:gd name="connsiteX143" fmla="*/ 253707 w 895901"/>
              <a:gd name="connsiteY143" fmla="*/ 1402102 h 1410030"/>
              <a:gd name="connsiteX144" fmla="*/ 174423 w 895901"/>
              <a:gd name="connsiteY144" fmla="*/ 1404745 h 1410030"/>
              <a:gd name="connsiteX145" fmla="*/ 171781 w 895901"/>
              <a:gd name="connsiteY145" fmla="*/ 1396817 h 1410030"/>
              <a:gd name="connsiteX146" fmla="*/ 169138 w 895901"/>
              <a:gd name="connsiteY146" fmla="*/ 1367746 h 1410030"/>
              <a:gd name="connsiteX147" fmla="*/ 161209 w 895901"/>
              <a:gd name="connsiteY147" fmla="*/ 1365103 h 1410030"/>
              <a:gd name="connsiteX148" fmla="*/ 145353 w 895901"/>
              <a:gd name="connsiteY148" fmla="*/ 1357175 h 1410030"/>
              <a:gd name="connsiteX149" fmla="*/ 137424 w 895901"/>
              <a:gd name="connsiteY149" fmla="*/ 1341318 h 1410030"/>
              <a:gd name="connsiteX150" fmla="*/ 134782 w 895901"/>
              <a:gd name="connsiteY150" fmla="*/ 1333390 h 1410030"/>
              <a:gd name="connsiteX151" fmla="*/ 124211 w 895901"/>
              <a:gd name="connsiteY151" fmla="*/ 1317533 h 1410030"/>
              <a:gd name="connsiteX152" fmla="*/ 118925 w 895901"/>
              <a:gd name="connsiteY152" fmla="*/ 1309605 h 1410030"/>
              <a:gd name="connsiteX153" fmla="*/ 103068 w 895901"/>
              <a:gd name="connsiteY153" fmla="*/ 1301677 h 1410030"/>
              <a:gd name="connsiteX154" fmla="*/ 87212 w 895901"/>
              <a:gd name="connsiteY154" fmla="*/ 1291106 h 1410030"/>
              <a:gd name="connsiteX155" fmla="*/ 79283 w 895901"/>
              <a:gd name="connsiteY155" fmla="*/ 1283177 h 1410030"/>
              <a:gd name="connsiteX156" fmla="*/ 76641 w 895901"/>
              <a:gd name="connsiteY156" fmla="*/ 1275249 h 1410030"/>
              <a:gd name="connsiteX157" fmla="*/ 68712 w 895901"/>
              <a:gd name="connsiteY157" fmla="*/ 1264678 h 1410030"/>
              <a:gd name="connsiteX158" fmla="*/ 63427 w 895901"/>
              <a:gd name="connsiteY158" fmla="*/ 1248821 h 1410030"/>
              <a:gd name="connsiteX159" fmla="*/ 60784 w 895901"/>
              <a:gd name="connsiteY159" fmla="*/ 1240893 h 1410030"/>
              <a:gd name="connsiteX160" fmla="*/ 63427 w 895901"/>
              <a:gd name="connsiteY160" fmla="*/ 1209180 h 1410030"/>
              <a:gd name="connsiteX161" fmla="*/ 79283 w 895901"/>
              <a:gd name="connsiteY161" fmla="*/ 1203894 h 1410030"/>
              <a:gd name="connsiteX162" fmla="*/ 87212 w 895901"/>
              <a:gd name="connsiteY162" fmla="*/ 1198608 h 1410030"/>
              <a:gd name="connsiteX163" fmla="*/ 105711 w 895901"/>
              <a:gd name="connsiteY163" fmla="*/ 1193323 h 1410030"/>
              <a:gd name="connsiteX164" fmla="*/ 121568 w 895901"/>
              <a:gd name="connsiteY164" fmla="*/ 1188037 h 1410030"/>
              <a:gd name="connsiteX165" fmla="*/ 129496 w 895901"/>
              <a:gd name="connsiteY165" fmla="*/ 1185395 h 1410030"/>
              <a:gd name="connsiteX166" fmla="*/ 155924 w 895901"/>
              <a:gd name="connsiteY166" fmla="*/ 1177466 h 1410030"/>
              <a:gd name="connsiteX167" fmla="*/ 163852 w 895901"/>
              <a:gd name="connsiteY167" fmla="*/ 1172181 h 1410030"/>
              <a:gd name="connsiteX168" fmla="*/ 161209 w 895901"/>
              <a:gd name="connsiteY168" fmla="*/ 1106111 h 1410030"/>
              <a:gd name="connsiteX169" fmla="*/ 158567 w 895901"/>
              <a:gd name="connsiteY169" fmla="*/ 1098183 h 1410030"/>
              <a:gd name="connsiteX170" fmla="*/ 155924 w 895901"/>
              <a:gd name="connsiteY170" fmla="*/ 1087612 h 1410030"/>
              <a:gd name="connsiteX171" fmla="*/ 150638 w 895901"/>
              <a:gd name="connsiteY171" fmla="*/ 1071755 h 1410030"/>
              <a:gd name="connsiteX172" fmla="*/ 147996 w 895901"/>
              <a:gd name="connsiteY172" fmla="*/ 1061184 h 1410030"/>
              <a:gd name="connsiteX173" fmla="*/ 145353 w 895901"/>
              <a:gd name="connsiteY173" fmla="*/ 1053256 h 1410030"/>
              <a:gd name="connsiteX174" fmla="*/ 140067 w 895901"/>
              <a:gd name="connsiteY174" fmla="*/ 1032114 h 1410030"/>
              <a:gd name="connsiteX175" fmla="*/ 124211 w 895901"/>
              <a:gd name="connsiteY175" fmla="*/ 1024185 h 1410030"/>
              <a:gd name="connsiteX176" fmla="*/ 121568 w 895901"/>
              <a:gd name="connsiteY176" fmla="*/ 1016257 h 1410030"/>
              <a:gd name="connsiteX177" fmla="*/ 116282 w 895901"/>
              <a:gd name="connsiteY177" fmla="*/ 997758 h 1410030"/>
              <a:gd name="connsiteX178" fmla="*/ 110997 w 895901"/>
              <a:gd name="connsiteY178" fmla="*/ 989829 h 1410030"/>
              <a:gd name="connsiteX179" fmla="*/ 105711 w 895901"/>
              <a:gd name="connsiteY179" fmla="*/ 973973 h 1410030"/>
              <a:gd name="connsiteX180" fmla="*/ 97783 w 895901"/>
              <a:gd name="connsiteY180" fmla="*/ 942259 h 1410030"/>
              <a:gd name="connsiteX181" fmla="*/ 81926 w 895901"/>
              <a:gd name="connsiteY181" fmla="*/ 936974 h 1410030"/>
              <a:gd name="connsiteX182" fmla="*/ 73998 w 895901"/>
              <a:gd name="connsiteY182" fmla="*/ 934331 h 1410030"/>
              <a:gd name="connsiteX183" fmla="*/ 63427 w 895901"/>
              <a:gd name="connsiteY183" fmla="*/ 931688 h 1410030"/>
              <a:gd name="connsiteX184" fmla="*/ 55498 w 895901"/>
              <a:gd name="connsiteY184" fmla="*/ 923760 h 1410030"/>
              <a:gd name="connsiteX185" fmla="*/ 47570 w 895901"/>
              <a:gd name="connsiteY185" fmla="*/ 918474 h 1410030"/>
              <a:gd name="connsiteX186" fmla="*/ 44927 w 895901"/>
              <a:gd name="connsiteY186" fmla="*/ 910546 h 1410030"/>
              <a:gd name="connsiteX187" fmla="*/ 34356 w 895901"/>
              <a:gd name="connsiteY187" fmla="*/ 894689 h 1410030"/>
              <a:gd name="connsiteX188" fmla="*/ 31713 w 895901"/>
              <a:gd name="connsiteY188" fmla="*/ 886761 h 1410030"/>
              <a:gd name="connsiteX189" fmla="*/ 21142 w 895901"/>
              <a:gd name="connsiteY189" fmla="*/ 870904 h 1410030"/>
              <a:gd name="connsiteX190" fmla="*/ 15857 w 895901"/>
              <a:gd name="connsiteY190" fmla="*/ 862976 h 1410030"/>
              <a:gd name="connsiteX191" fmla="*/ 7928 w 895901"/>
              <a:gd name="connsiteY191" fmla="*/ 847119 h 1410030"/>
              <a:gd name="connsiteX192" fmla="*/ 2643 w 895901"/>
              <a:gd name="connsiteY192" fmla="*/ 831263 h 1410030"/>
              <a:gd name="connsiteX193" fmla="*/ 0 w 895901"/>
              <a:gd name="connsiteY193" fmla="*/ 823334 h 1410030"/>
              <a:gd name="connsiteX194" fmla="*/ 2643 w 895901"/>
              <a:gd name="connsiteY194" fmla="*/ 807478 h 1410030"/>
              <a:gd name="connsiteX195" fmla="*/ 13214 w 895901"/>
              <a:gd name="connsiteY195" fmla="*/ 778407 h 1410030"/>
              <a:gd name="connsiteX196" fmla="*/ 21142 w 895901"/>
              <a:gd name="connsiteY196" fmla="*/ 773122 h 1410030"/>
              <a:gd name="connsiteX197" fmla="*/ 36999 w 895901"/>
              <a:gd name="connsiteY197" fmla="*/ 762551 h 1410030"/>
              <a:gd name="connsiteX198" fmla="*/ 52856 w 895901"/>
              <a:gd name="connsiteY198" fmla="*/ 746694 h 1410030"/>
              <a:gd name="connsiteX199" fmla="*/ 63427 w 895901"/>
              <a:gd name="connsiteY199" fmla="*/ 730837 h 1410030"/>
              <a:gd name="connsiteX200" fmla="*/ 66070 w 895901"/>
              <a:gd name="connsiteY200" fmla="*/ 722909 h 1410030"/>
              <a:gd name="connsiteX201" fmla="*/ 73998 w 895901"/>
              <a:gd name="connsiteY201" fmla="*/ 714981 h 1410030"/>
              <a:gd name="connsiteX202" fmla="*/ 81926 w 895901"/>
              <a:gd name="connsiteY202" fmla="*/ 699124 h 1410030"/>
              <a:gd name="connsiteX203" fmla="*/ 89854 w 895901"/>
              <a:gd name="connsiteY203" fmla="*/ 691196 h 1410030"/>
              <a:gd name="connsiteX204" fmla="*/ 100426 w 895901"/>
              <a:gd name="connsiteY204" fmla="*/ 675339 h 1410030"/>
              <a:gd name="connsiteX205" fmla="*/ 105711 w 895901"/>
              <a:gd name="connsiteY205" fmla="*/ 667411 h 1410030"/>
              <a:gd name="connsiteX206" fmla="*/ 108354 w 895901"/>
              <a:gd name="connsiteY206" fmla="*/ 659482 h 1410030"/>
              <a:gd name="connsiteX207" fmla="*/ 116282 w 895901"/>
              <a:gd name="connsiteY207" fmla="*/ 654197 h 1410030"/>
              <a:gd name="connsiteX208" fmla="*/ 129496 w 895901"/>
              <a:gd name="connsiteY208" fmla="*/ 630412 h 1410030"/>
              <a:gd name="connsiteX209" fmla="*/ 145353 w 895901"/>
              <a:gd name="connsiteY209" fmla="*/ 606627 h 1410030"/>
              <a:gd name="connsiteX210" fmla="*/ 150638 w 895901"/>
              <a:gd name="connsiteY210" fmla="*/ 598699 h 1410030"/>
              <a:gd name="connsiteX211" fmla="*/ 166495 w 895901"/>
              <a:gd name="connsiteY211" fmla="*/ 588128 h 1410030"/>
              <a:gd name="connsiteX212" fmla="*/ 174423 w 895901"/>
              <a:gd name="connsiteY212" fmla="*/ 500916 h 1410030"/>
              <a:gd name="connsiteX213" fmla="*/ 177066 w 895901"/>
              <a:gd name="connsiteY213" fmla="*/ 403133 h 1410030"/>
              <a:gd name="connsiteX214" fmla="*/ 179709 w 895901"/>
              <a:gd name="connsiteY214" fmla="*/ 395205 h 1410030"/>
              <a:gd name="connsiteX215" fmla="*/ 182352 w 895901"/>
              <a:gd name="connsiteY215" fmla="*/ 381991 h 1410030"/>
              <a:gd name="connsiteX216" fmla="*/ 192923 w 895901"/>
              <a:gd name="connsiteY216" fmla="*/ 292137 h 1410030"/>
              <a:gd name="connsiteX217" fmla="*/ 206137 w 895901"/>
              <a:gd name="connsiteY217" fmla="*/ 289494 h 1410030"/>
              <a:gd name="connsiteX218" fmla="*/ 214065 w 895901"/>
              <a:gd name="connsiteY218" fmla="*/ 286851 h 1410030"/>
              <a:gd name="connsiteX219" fmla="*/ 216708 w 895901"/>
              <a:gd name="connsiteY219" fmla="*/ 278923 h 1410030"/>
              <a:gd name="connsiteX220" fmla="*/ 214065 w 895901"/>
              <a:gd name="connsiteY220" fmla="*/ 265709 h 1410030"/>
              <a:gd name="connsiteX221" fmla="*/ 203494 w 895901"/>
              <a:gd name="connsiteY221" fmla="*/ 249852 h 1410030"/>
              <a:gd name="connsiteX222" fmla="*/ 195565 w 895901"/>
              <a:gd name="connsiteY222" fmla="*/ 247210 h 1410030"/>
              <a:gd name="connsiteX223" fmla="*/ 187637 w 895901"/>
              <a:gd name="connsiteY223" fmla="*/ 239281 h 1410030"/>
              <a:gd name="connsiteX224" fmla="*/ 184994 w 895901"/>
              <a:gd name="connsiteY224" fmla="*/ 231353 h 1410030"/>
              <a:gd name="connsiteX225" fmla="*/ 177066 w 895901"/>
              <a:gd name="connsiteY225" fmla="*/ 226067 h 1410030"/>
              <a:gd name="connsiteX226" fmla="*/ 166495 w 895901"/>
              <a:gd name="connsiteY226" fmla="*/ 207568 h 1410030"/>
              <a:gd name="connsiteX227" fmla="*/ 163852 w 895901"/>
              <a:gd name="connsiteY227" fmla="*/ 199640 h 1410030"/>
              <a:gd name="connsiteX228" fmla="*/ 158567 w 895901"/>
              <a:gd name="connsiteY228" fmla="*/ 191711 h 1410030"/>
              <a:gd name="connsiteX229" fmla="*/ 153281 w 895901"/>
              <a:gd name="connsiteY229" fmla="*/ 170569 h 1410030"/>
              <a:gd name="connsiteX230" fmla="*/ 150638 w 895901"/>
              <a:gd name="connsiteY230" fmla="*/ 51644 h 1410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</a:cxnLst>
            <a:rect l="l" t="t" r="r" b="b"/>
            <a:pathLst>
              <a:path w="895901" h="1410030">
                <a:moveTo>
                  <a:pt x="150638" y="51644"/>
                </a:moveTo>
                <a:cubicBezTo>
                  <a:pt x="171987" y="48086"/>
                  <a:pt x="161415" y="50695"/>
                  <a:pt x="182352" y="43716"/>
                </a:cubicBezTo>
                <a:lnTo>
                  <a:pt x="190280" y="41073"/>
                </a:lnTo>
                <a:cubicBezTo>
                  <a:pt x="192923" y="40192"/>
                  <a:pt x="195890" y="39975"/>
                  <a:pt x="198208" y="38430"/>
                </a:cubicBezTo>
                <a:lnTo>
                  <a:pt x="206137" y="33145"/>
                </a:lnTo>
                <a:cubicBezTo>
                  <a:pt x="218781" y="14178"/>
                  <a:pt x="212216" y="21780"/>
                  <a:pt x="224636" y="9360"/>
                </a:cubicBezTo>
                <a:cubicBezTo>
                  <a:pt x="225517" y="6717"/>
                  <a:pt x="224601" y="2197"/>
                  <a:pt x="227279" y="1432"/>
                </a:cubicBezTo>
                <a:cubicBezTo>
                  <a:pt x="232289" y="0"/>
                  <a:pt x="245120" y="4736"/>
                  <a:pt x="251064" y="6717"/>
                </a:cubicBezTo>
                <a:cubicBezTo>
                  <a:pt x="253707" y="8479"/>
                  <a:pt x="256151" y="10583"/>
                  <a:pt x="258992" y="12003"/>
                </a:cubicBezTo>
                <a:cubicBezTo>
                  <a:pt x="262779" y="13896"/>
                  <a:pt x="274111" y="16443"/>
                  <a:pt x="277491" y="17288"/>
                </a:cubicBezTo>
                <a:lnTo>
                  <a:pt x="317133" y="43716"/>
                </a:lnTo>
                <a:lnTo>
                  <a:pt x="325061" y="49001"/>
                </a:lnTo>
                <a:cubicBezTo>
                  <a:pt x="327704" y="50763"/>
                  <a:pt x="329977" y="53282"/>
                  <a:pt x="332990" y="54287"/>
                </a:cubicBezTo>
                <a:lnTo>
                  <a:pt x="340918" y="56930"/>
                </a:lnTo>
                <a:cubicBezTo>
                  <a:pt x="342680" y="59573"/>
                  <a:pt x="343511" y="63175"/>
                  <a:pt x="346204" y="64858"/>
                </a:cubicBezTo>
                <a:cubicBezTo>
                  <a:pt x="350928" y="67811"/>
                  <a:pt x="362060" y="70144"/>
                  <a:pt x="362060" y="70144"/>
                </a:cubicBezTo>
                <a:cubicBezTo>
                  <a:pt x="363822" y="72787"/>
                  <a:pt x="365100" y="75826"/>
                  <a:pt x="367346" y="78072"/>
                </a:cubicBezTo>
                <a:cubicBezTo>
                  <a:pt x="372471" y="83197"/>
                  <a:pt x="376752" y="83850"/>
                  <a:pt x="383202" y="86000"/>
                </a:cubicBezTo>
                <a:cubicBezTo>
                  <a:pt x="385845" y="87762"/>
                  <a:pt x="388290" y="89865"/>
                  <a:pt x="391131" y="91286"/>
                </a:cubicBezTo>
                <a:cubicBezTo>
                  <a:pt x="394926" y="93184"/>
                  <a:pt x="406238" y="95723"/>
                  <a:pt x="409630" y="96571"/>
                </a:cubicBezTo>
                <a:cubicBezTo>
                  <a:pt x="430125" y="110235"/>
                  <a:pt x="419458" y="105133"/>
                  <a:pt x="441344" y="112428"/>
                </a:cubicBezTo>
                <a:lnTo>
                  <a:pt x="449272" y="115071"/>
                </a:lnTo>
                <a:cubicBezTo>
                  <a:pt x="466865" y="132664"/>
                  <a:pt x="447919" y="116081"/>
                  <a:pt x="465128" y="125642"/>
                </a:cubicBezTo>
                <a:cubicBezTo>
                  <a:pt x="470681" y="128727"/>
                  <a:pt x="475699" y="132689"/>
                  <a:pt x="480985" y="136213"/>
                </a:cubicBezTo>
                <a:cubicBezTo>
                  <a:pt x="483628" y="137975"/>
                  <a:pt x="485900" y="140495"/>
                  <a:pt x="488913" y="141499"/>
                </a:cubicBezTo>
                <a:lnTo>
                  <a:pt x="512698" y="149427"/>
                </a:lnTo>
                <a:cubicBezTo>
                  <a:pt x="515341" y="150308"/>
                  <a:pt x="517924" y="151394"/>
                  <a:pt x="520627" y="152070"/>
                </a:cubicBezTo>
                <a:cubicBezTo>
                  <a:pt x="523450" y="152776"/>
                  <a:pt x="553074" y="159606"/>
                  <a:pt x="557626" y="162641"/>
                </a:cubicBezTo>
                <a:cubicBezTo>
                  <a:pt x="562911" y="166165"/>
                  <a:pt x="567456" y="171203"/>
                  <a:pt x="573482" y="173212"/>
                </a:cubicBezTo>
                <a:cubicBezTo>
                  <a:pt x="576125" y="174093"/>
                  <a:pt x="578919" y="174609"/>
                  <a:pt x="581411" y="175855"/>
                </a:cubicBezTo>
                <a:cubicBezTo>
                  <a:pt x="584252" y="177275"/>
                  <a:pt x="586437" y="179850"/>
                  <a:pt x="589339" y="181140"/>
                </a:cubicBezTo>
                <a:cubicBezTo>
                  <a:pt x="594430" y="183403"/>
                  <a:pt x="599910" y="184664"/>
                  <a:pt x="605196" y="186426"/>
                </a:cubicBezTo>
                <a:lnTo>
                  <a:pt x="621052" y="191711"/>
                </a:lnTo>
                <a:cubicBezTo>
                  <a:pt x="624576" y="192592"/>
                  <a:pt x="628144" y="193310"/>
                  <a:pt x="631623" y="194354"/>
                </a:cubicBezTo>
                <a:cubicBezTo>
                  <a:pt x="639628" y="196756"/>
                  <a:pt x="647480" y="199640"/>
                  <a:pt x="655408" y="202282"/>
                </a:cubicBezTo>
                <a:lnTo>
                  <a:pt x="663337" y="204925"/>
                </a:lnTo>
                <a:lnTo>
                  <a:pt x="687122" y="220782"/>
                </a:lnTo>
                <a:cubicBezTo>
                  <a:pt x="687127" y="220785"/>
                  <a:pt x="702974" y="231349"/>
                  <a:pt x="702978" y="231353"/>
                </a:cubicBezTo>
                <a:cubicBezTo>
                  <a:pt x="705621" y="233996"/>
                  <a:pt x="707640" y="237466"/>
                  <a:pt x="710907" y="239281"/>
                </a:cubicBezTo>
                <a:cubicBezTo>
                  <a:pt x="715777" y="241987"/>
                  <a:pt x="721780" y="242076"/>
                  <a:pt x="726763" y="244567"/>
                </a:cubicBezTo>
                <a:lnTo>
                  <a:pt x="737334" y="249852"/>
                </a:lnTo>
                <a:cubicBezTo>
                  <a:pt x="739977" y="252495"/>
                  <a:pt x="742153" y="255708"/>
                  <a:pt x="745263" y="257781"/>
                </a:cubicBezTo>
                <a:cubicBezTo>
                  <a:pt x="747581" y="259326"/>
                  <a:pt x="750700" y="259177"/>
                  <a:pt x="753191" y="260423"/>
                </a:cubicBezTo>
                <a:cubicBezTo>
                  <a:pt x="756032" y="261843"/>
                  <a:pt x="758278" y="264288"/>
                  <a:pt x="761119" y="265709"/>
                </a:cubicBezTo>
                <a:cubicBezTo>
                  <a:pt x="763611" y="266955"/>
                  <a:pt x="766556" y="267106"/>
                  <a:pt x="769048" y="268352"/>
                </a:cubicBezTo>
                <a:cubicBezTo>
                  <a:pt x="771889" y="269772"/>
                  <a:pt x="774074" y="272347"/>
                  <a:pt x="776976" y="273637"/>
                </a:cubicBezTo>
                <a:cubicBezTo>
                  <a:pt x="782067" y="275900"/>
                  <a:pt x="792833" y="278923"/>
                  <a:pt x="792833" y="278923"/>
                </a:cubicBezTo>
                <a:cubicBezTo>
                  <a:pt x="807863" y="293953"/>
                  <a:pt x="793390" y="281844"/>
                  <a:pt x="808689" y="289494"/>
                </a:cubicBezTo>
                <a:cubicBezTo>
                  <a:pt x="829170" y="299736"/>
                  <a:pt x="804626" y="290785"/>
                  <a:pt x="824546" y="297422"/>
                </a:cubicBezTo>
                <a:cubicBezTo>
                  <a:pt x="827189" y="299184"/>
                  <a:pt x="829633" y="301287"/>
                  <a:pt x="832474" y="302708"/>
                </a:cubicBezTo>
                <a:cubicBezTo>
                  <a:pt x="836703" y="304823"/>
                  <a:pt x="847016" y="306862"/>
                  <a:pt x="850974" y="307993"/>
                </a:cubicBezTo>
                <a:cubicBezTo>
                  <a:pt x="853652" y="308758"/>
                  <a:pt x="856411" y="309390"/>
                  <a:pt x="858902" y="310636"/>
                </a:cubicBezTo>
                <a:cubicBezTo>
                  <a:pt x="879391" y="320882"/>
                  <a:pt x="854832" y="311923"/>
                  <a:pt x="874759" y="318565"/>
                </a:cubicBezTo>
                <a:cubicBezTo>
                  <a:pt x="877402" y="321208"/>
                  <a:pt x="879577" y="324420"/>
                  <a:pt x="882687" y="326493"/>
                </a:cubicBezTo>
                <a:cubicBezTo>
                  <a:pt x="885005" y="328038"/>
                  <a:pt x="888440" y="327396"/>
                  <a:pt x="890615" y="329136"/>
                </a:cubicBezTo>
                <a:cubicBezTo>
                  <a:pt x="893095" y="331120"/>
                  <a:pt x="894139" y="334421"/>
                  <a:pt x="895901" y="337064"/>
                </a:cubicBezTo>
                <a:lnTo>
                  <a:pt x="880044" y="347635"/>
                </a:lnTo>
                <a:lnTo>
                  <a:pt x="872116" y="352921"/>
                </a:lnTo>
                <a:cubicBezTo>
                  <a:pt x="871235" y="355564"/>
                  <a:pt x="869473" y="358063"/>
                  <a:pt x="869473" y="360849"/>
                </a:cubicBezTo>
                <a:cubicBezTo>
                  <a:pt x="869473" y="375826"/>
                  <a:pt x="877419" y="371471"/>
                  <a:pt x="882687" y="387277"/>
                </a:cubicBezTo>
                <a:lnTo>
                  <a:pt x="887972" y="403133"/>
                </a:lnTo>
                <a:cubicBezTo>
                  <a:pt x="888853" y="405776"/>
                  <a:pt x="889939" y="408359"/>
                  <a:pt x="890615" y="411062"/>
                </a:cubicBezTo>
                <a:cubicBezTo>
                  <a:pt x="893934" y="424335"/>
                  <a:pt x="892109" y="418187"/>
                  <a:pt x="895901" y="429561"/>
                </a:cubicBezTo>
                <a:cubicBezTo>
                  <a:pt x="895020" y="503559"/>
                  <a:pt x="894940" y="577570"/>
                  <a:pt x="893258" y="651554"/>
                </a:cubicBezTo>
                <a:cubicBezTo>
                  <a:pt x="893175" y="655185"/>
                  <a:pt x="891039" y="658518"/>
                  <a:pt x="890615" y="662125"/>
                </a:cubicBezTo>
                <a:cubicBezTo>
                  <a:pt x="889273" y="673532"/>
                  <a:pt x="890931" y="685383"/>
                  <a:pt x="887972" y="696481"/>
                </a:cubicBezTo>
                <a:cubicBezTo>
                  <a:pt x="887154" y="699550"/>
                  <a:pt x="883125" y="700997"/>
                  <a:pt x="880044" y="701767"/>
                </a:cubicBezTo>
                <a:cubicBezTo>
                  <a:pt x="872305" y="703702"/>
                  <a:pt x="864187" y="703529"/>
                  <a:pt x="856259" y="704410"/>
                </a:cubicBezTo>
                <a:cubicBezTo>
                  <a:pt x="854845" y="704763"/>
                  <a:pt x="840038" y="708177"/>
                  <a:pt x="837760" y="709695"/>
                </a:cubicBezTo>
                <a:cubicBezTo>
                  <a:pt x="834650" y="711768"/>
                  <a:pt x="832474" y="714980"/>
                  <a:pt x="829831" y="717623"/>
                </a:cubicBezTo>
                <a:cubicBezTo>
                  <a:pt x="823542" y="736494"/>
                  <a:pt x="829182" y="730389"/>
                  <a:pt x="816617" y="738766"/>
                </a:cubicBezTo>
                <a:cubicBezTo>
                  <a:pt x="815736" y="741409"/>
                  <a:pt x="815221" y="744203"/>
                  <a:pt x="813975" y="746694"/>
                </a:cubicBezTo>
                <a:cubicBezTo>
                  <a:pt x="812555" y="749535"/>
                  <a:pt x="809940" y="751703"/>
                  <a:pt x="808689" y="754622"/>
                </a:cubicBezTo>
                <a:cubicBezTo>
                  <a:pt x="803630" y="766425"/>
                  <a:pt x="810167" y="765088"/>
                  <a:pt x="798118" y="773122"/>
                </a:cubicBezTo>
                <a:cubicBezTo>
                  <a:pt x="795800" y="774667"/>
                  <a:pt x="792682" y="774519"/>
                  <a:pt x="790190" y="775765"/>
                </a:cubicBezTo>
                <a:cubicBezTo>
                  <a:pt x="787349" y="777185"/>
                  <a:pt x="784904" y="779288"/>
                  <a:pt x="782261" y="781050"/>
                </a:cubicBezTo>
                <a:lnTo>
                  <a:pt x="776976" y="796907"/>
                </a:lnTo>
                <a:lnTo>
                  <a:pt x="774333" y="804835"/>
                </a:lnTo>
                <a:cubicBezTo>
                  <a:pt x="775214" y="808359"/>
                  <a:pt x="774961" y="812384"/>
                  <a:pt x="776976" y="815406"/>
                </a:cubicBezTo>
                <a:cubicBezTo>
                  <a:pt x="792915" y="839315"/>
                  <a:pt x="778906" y="802701"/>
                  <a:pt x="787547" y="828620"/>
                </a:cubicBezTo>
                <a:cubicBezTo>
                  <a:pt x="786298" y="833614"/>
                  <a:pt x="785026" y="843740"/>
                  <a:pt x="779619" y="847119"/>
                </a:cubicBezTo>
                <a:cubicBezTo>
                  <a:pt x="773307" y="851064"/>
                  <a:pt x="758095" y="853539"/>
                  <a:pt x="750548" y="855048"/>
                </a:cubicBezTo>
                <a:cubicBezTo>
                  <a:pt x="747905" y="857691"/>
                  <a:pt x="744693" y="859866"/>
                  <a:pt x="742620" y="862976"/>
                </a:cubicBezTo>
                <a:cubicBezTo>
                  <a:pt x="737175" y="871143"/>
                  <a:pt x="741048" y="884710"/>
                  <a:pt x="742620" y="892047"/>
                </a:cubicBezTo>
                <a:cubicBezTo>
                  <a:pt x="743787" y="897495"/>
                  <a:pt x="747905" y="907903"/>
                  <a:pt x="747905" y="907903"/>
                </a:cubicBezTo>
                <a:cubicBezTo>
                  <a:pt x="746143" y="910546"/>
                  <a:pt x="743910" y="912929"/>
                  <a:pt x="742620" y="915832"/>
                </a:cubicBezTo>
                <a:cubicBezTo>
                  <a:pt x="740357" y="920923"/>
                  <a:pt x="737334" y="931688"/>
                  <a:pt x="737334" y="931688"/>
                </a:cubicBezTo>
                <a:cubicBezTo>
                  <a:pt x="738093" y="939275"/>
                  <a:pt x="737857" y="956518"/>
                  <a:pt x="742620" y="966044"/>
                </a:cubicBezTo>
                <a:cubicBezTo>
                  <a:pt x="744040" y="968885"/>
                  <a:pt x="745425" y="971989"/>
                  <a:pt x="747905" y="973973"/>
                </a:cubicBezTo>
                <a:cubicBezTo>
                  <a:pt x="750080" y="975713"/>
                  <a:pt x="753191" y="975734"/>
                  <a:pt x="755834" y="976615"/>
                </a:cubicBezTo>
                <a:cubicBezTo>
                  <a:pt x="757596" y="979258"/>
                  <a:pt x="758873" y="982298"/>
                  <a:pt x="761119" y="984544"/>
                </a:cubicBezTo>
                <a:cubicBezTo>
                  <a:pt x="763365" y="986790"/>
                  <a:pt x="767365" y="987136"/>
                  <a:pt x="769048" y="989829"/>
                </a:cubicBezTo>
                <a:cubicBezTo>
                  <a:pt x="772001" y="994554"/>
                  <a:pt x="772982" y="1000281"/>
                  <a:pt x="774333" y="1005686"/>
                </a:cubicBezTo>
                <a:cubicBezTo>
                  <a:pt x="776095" y="1012733"/>
                  <a:pt x="773575" y="1022798"/>
                  <a:pt x="779619" y="1026828"/>
                </a:cubicBezTo>
                <a:lnTo>
                  <a:pt x="795475" y="1037399"/>
                </a:lnTo>
                <a:cubicBezTo>
                  <a:pt x="799706" y="1043746"/>
                  <a:pt x="802037" y="1045735"/>
                  <a:pt x="803404" y="1053256"/>
                </a:cubicBezTo>
                <a:cubicBezTo>
                  <a:pt x="804674" y="1060244"/>
                  <a:pt x="803162" y="1067908"/>
                  <a:pt x="806046" y="1074398"/>
                </a:cubicBezTo>
                <a:cubicBezTo>
                  <a:pt x="807177" y="1076944"/>
                  <a:pt x="811540" y="1075688"/>
                  <a:pt x="813975" y="1077041"/>
                </a:cubicBezTo>
                <a:cubicBezTo>
                  <a:pt x="828197" y="1084942"/>
                  <a:pt x="828130" y="1085911"/>
                  <a:pt x="837760" y="1095540"/>
                </a:cubicBezTo>
                <a:cubicBezTo>
                  <a:pt x="843755" y="1119526"/>
                  <a:pt x="836728" y="1089872"/>
                  <a:pt x="843045" y="1124611"/>
                </a:cubicBezTo>
                <a:cubicBezTo>
                  <a:pt x="843695" y="1128185"/>
                  <a:pt x="844807" y="1131658"/>
                  <a:pt x="845688" y="1135182"/>
                </a:cubicBezTo>
                <a:cubicBezTo>
                  <a:pt x="844807" y="1138706"/>
                  <a:pt x="846491" y="1144604"/>
                  <a:pt x="843045" y="1145753"/>
                </a:cubicBezTo>
                <a:cubicBezTo>
                  <a:pt x="836307" y="1147999"/>
                  <a:pt x="828909" y="1144278"/>
                  <a:pt x="821903" y="1143110"/>
                </a:cubicBezTo>
                <a:cubicBezTo>
                  <a:pt x="795558" y="1138719"/>
                  <a:pt x="830684" y="1142224"/>
                  <a:pt x="795475" y="1135182"/>
                </a:cubicBezTo>
                <a:cubicBezTo>
                  <a:pt x="778699" y="1131827"/>
                  <a:pt x="786619" y="1133629"/>
                  <a:pt x="771690" y="1129896"/>
                </a:cubicBezTo>
                <a:cubicBezTo>
                  <a:pt x="763762" y="1130777"/>
                  <a:pt x="755789" y="1131326"/>
                  <a:pt x="747905" y="1132539"/>
                </a:cubicBezTo>
                <a:cubicBezTo>
                  <a:pt x="744315" y="1133091"/>
                  <a:pt x="740067" y="1132790"/>
                  <a:pt x="737334" y="1135182"/>
                </a:cubicBezTo>
                <a:cubicBezTo>
                  <a:pt x="732553" y="1139365"/>
                  <a:pt x="730286" y="1145753"/>
                  <a:pt x="726763" y="1151038"/>
                </a:cubicBezTo>
                <a:cubicBezTo>
                  <a:pt x="720974" y="1159722"/>
                  <a:pt x="721570" y="1157324"/>
                  <a:pt x="718835" y="1166895"/>
                </a:cubicBezTo>
                <a:cubicBezTo>
                  <a:pt x="718808" y="1166991"/>
                  <a:pt x="714816" y="1184128"/>
                  <a:pt x="713549" y="1185395"/>
                </a:cubicBezTo>
                <a:cubicBezTo>
                  <a:pt x="711579" y="1187365"/>
                  <a:pt x="708264" y="1187156"/>
                  <a:pt x="705621" y="1188037"/>
                </a:cubicBezTo>
                <a:cubicBezTo>
                  <a:pt x="702978" y="1190680"/>
                  <a:pt x="700803" y="1193893"/>
                  <a:pt x="697693" y="1195966"/>
                </a:cubicBezTo>
                <a:cubicBezTo>
                  <a:pt x="695375" y="1197511"/>
                  <a:pt x="691939" y="1196868"/>
                  <a:pt x="689764" y="1198608"/>
                </a:cubicBezTo>
                <a:cubicBezTo>
                  <a:pt x="687284" y="1200592"/>
                  <a:pt x="687172" y="1204854"/>
                  <a:pt x="684479" y="1206537"/>
                </a:cubicBezTo>
                <a:cubicBezTo>
                  <a:pt x="679754" y="1209490"/>
                  <a:pt x="668622" y="1211822"/>
                  <a:pt x="668622" y="1211822"/>
                </a:cubicBezTo>
                <a:cubicBezTo>
                  <a:pt x="663336" y="1215346"/>
                  <a:pt x="658791" y="1220384"/>
                  <a:pt x="652765" y="1222393"/>
                </a:cubicBezTo>
                <a:cubicBezTo>
                  <a:pt x="650122" y="1223274"/>
                  <a:pt x="647328" y="1223790"/>
                  <a:pt x="644837" y="1225036"/>
                </a:cubicBezTo>
                <a:cubicBezTo>
                  <a:pt x="641996" y="1226457"/>
                  <a:pt x="639894" y="1229237"/>
                  <a:pt x="636909" y="1230322"/>
                </a:cubicBezTo>
                <a:cubicBezTo>
                  <a:pt x="630082" y="1232805"/>
                  <a:pt x="622658" y="1233310"/>
                  <a:pt x="615767" y="1235607"/>
                </a:cubicBezTo>
                <a:lnTo>
                  <a:pt x="591982" y="1243536"/>
                </a:lnTo>
                <a:lnTo>
                  <a:pt x="560268" y="1254107"/>
                </a:lnTo>
                <a:cubicBezTo>
                  <a:pt x="560263" y="1254109"/>
                  <a:pt x="544416" y="1259389"/>
                  <a:pt x="544412" y="1259392"/>
                </a:cubicBezTo>
                <a:cubicBezTo>
                  <a:pt x="541769" y="1261154"/>
                  <a:pt x="539403" y="1263427"/>
                  <a:pt x="536483" y="1264678"/>
                </a:cubicBezTo>
                <a:cubicBezTo>
                  <a:pt x="533145" y="1266109"/>
                  <a:pt x="529404" y="1266323"/>
                  <a:pt x="525912" y="1267321"/>
                </a:cubicBezTo>
                <a:cubicBezTo>
                  <a:pt x="523234" y="1268086"/>
                  <a:pt x="520627" y="1269082"/>
                  <a:pt x="517984" y="1269963"/>
                </a:cubicBezTo>
                <a:cubicBezTo>
                  <a:pt x="505419" y="1278340"/>
                  <a:pt x="513071" y="1274244"/>
                  <a:pt x="494199" y="1280534"/>
                </a:cubicBezTo>
                <a:lnTo>
                  <a:pt x="486271" y="1283177"/>
                </a:lnTo>
                <a:cubicBezTo>
                  <a:pt x="485728" y="1289146"/>
                  <a:pt x="487279" y="1323363"/>
                  <a:pt x="473057" y="1328104"/>
                </a:cubicBezTo>
                <a:lnTo>
                  <a:pt x="465128" y="1330747"/>
                </a:lnTo>
                <a:cubicBezTo>
                  <a:pt x="441664" y="1365945"/>
                  <a:pt x="477445" y="1315785"/>
                  <a:pt x="451915" y="1341318"/>
                </a:cubicBezTo>
                <a:cubicBezTo>
                  <a:pt x="449945" y="1343288"/>
                  <a:pt x="450518" y="1346755"/>
                  <a:pt x="449272" y="1349247"/>
                </a:cubicBezTo>
                <a:cubicBezTo>
                  <a:pt x="446303" y="1355185"/>
                  <a:pt x="441067" y="1360929"/>
                  <a:pt x="436058" y="1365103"/>
                </a:cubicBezTo>
                <a:cubicBezTo>
                  <a:pt x="433618" y="1367136"/>
                  <a:pt x="430971" y="1368968"/>
                  <a:pt x="428130" y="1370389"/>
                </a:cubicBezTo>
                <a:cubicBezTo>
                  <a:pt x="416067" y="1376421"/>
                  <a:pt x="389268" y="1375147"/>
                  <a:pt x="383202" y="1375674"/>
                </a:cubicBezTo>
                <a:cubicBezTo>
                  <a:pt x="375255" y="1376365"/>
                  <a:pt x="367345" y="1377436"/>
                  <a:pt x="359417" y="1378317"/>
                </a:cubicBezTo>
                <a:cubicBezTo>
                  <a:pt x="354132" y="1380079"/>
                  <a:pt x="348197" y="1380513"/>
                  <a:pt x="343561" y="1383603"/>
                </a:cubicBezTo>
                <a:cubicBezTo>
                  <a:pt x="333315" y="1390433"/>
                  <a:pt x="338646" y="1387884"/>
                  <a:pt x="327704" y="1391531"/>
                </a:cubicBezTo>
                <a:cubicBezTo>
                  <a:pt x="325061" y="1393293"/>
                  <a:pt x="322695" y="1395566"/>
                  <a:pt x="319776" y="1396817"/>
                </a:cubicBezTo>
                <a:cubicBezTo>
                  <a:pt x="316438" y="1398248"/>
                  <a:pt x="312684" y="1398415"/>
                  <a:pt x="309205" y="1399459"/>
                </a:cubicBezTo>
                <a:cubicBezTo>
                  <a:pt x="303868" y="1401060"/>
                  <a:pt x="298634" y="1402983"/>
                  <a:pt x="293348" y="1404745"/>
                </a:cubicBezTo>
                <a:lnTo>
                  <a:pt x="285420" y="1407388"/>
                </a:lnTo>
                <a:lnTo>
                  <a:pt x="277491" y="1410030"/>
                </a:lnTo>
                <a:cubicBezTo>
                  <a:pt x="272206" y="1409149"/>
                  <a:pt x="266718" y="1409082"/>
                  <a:pt x="261635" y="1407388"/>
                </a:cubicBezTo>
                <a:cubicBezTo>
                  <a:pt x="258622" y="1406384"/>
                  <a:pt x="256882" y="1402198"/>
                  <a:pt x="253707" y="1402102"/>
                </a:cubicBezTo>
                <a:lnTo>
                  <a:pt x="174423" y="1404745"/>
                </a:lnTo>
                <a:cubicBezTo>
                  <a:pt x="173542" y="1402102"/>
                  <a:pt x="172175" y="1399575"/>
                  <a:pt x="171781" y="1396817"/>
                </a:cubicBezTo>
                <a:cubicBezTo>
                  <a:pt x="170405" y="1387184"/>
                  <a:pt x="172215" y="1376977"/>
                  <a:pt x="169138" y="1367746"/>
                </a:cubicBezTo>
                <a:cubicBezTo>
                  <a:pt x="168257" y="1365103"/>
                  <a:pt x="163701" y="1366349"/>
                  <a:pt x="161209" y="1365103"/>
                </a:cubicBezTo>
                <a:cubicBezTo>
                  <a:pt x="140713" y="1354856"/>
                  <a:pt x="165284" y="1363819"/>
                  <a:pt x="145353" y="1357175"/>
                </a:cubicBezTo>
                <a:cubicBezTo>
                  <a:pt x="138708" y="1337242"/>
                  <a:pt x="147673" y="1361818"/>
                  <a:pt x="137424" y="1341318"/>
                </a:cubicBezTo>
                <a:cubicBezTo>
                  <a:pt x="136178" y="1338827"/>
                  <a:pt x="136135" y="1335825"/>
                  <a:pt x="134782" y="1333390"/>
                </a:cubicBezTo>
                <a:cubicBezTo>
                  <a:pt x="131697" y="1327837"/>
                  <a:pt x="127735" y="1322819"/>
                  <a:pt x="124211" y="1317533"/>
                </a:cubicBezTo>
                <a:cubicBezTo>
                  <a:pt x="122449" y="1314890"/>
                  <a:pt x="121938" y="1310610"/>
                  <a:pt x="118925" y="1309605"/>
                </a:cubicBezTo>
                <a:cubicBezTo>
                  <a:pt x="110982" y="1306957"/>
                  <a:pt x="109897" y="1307367"/>
                  <a:pt x="103068" y="1301677"/>
                </a:cubicBezTo>
                <a:cubicBezTo>
                  <a:pt x="89869" y="1290678"/>
                  <a:pt x="101146" y="1295750"/>
                  <a:pt x="87212" y="1291106"/>
                </a:cubicBezTo>
                <a:cubicBezTo>
                  <a:pt x="84569" y="1288463"/>
                  <a:pt x="81356" y="1286287"/>
                  <a:pt x="79283" y="1283177"/>
                </a:cubicBezTo>
                <a:cubicBezTo>
                  <a:pt x="77738" y="1280859"/>
                  <a:pt x="78023" y="1277668"/>
                  <a:pt x="76641" y="1275249"/>
                </a:cubicBezTo>
                <a:cubicBezTo>
                  <a:pt x="74456" y="1271425"/>
                  <a:pt x="71355" y="1268202"/>
                  <a:pt x="68712" y="1264678"/>
                </a:cubicBezTo>
                <a:lnTo>
                  <a:pt x="63427" y="1248821"/>
                </a:lnTo>
                <a:lnTo>
                  <a:pt x="60784" y="1240893"/>
                </a:lnTo>
                <a:cubicBezTo>
                  <a:pt x="61665" y="1230322"/>
                  <a:pt x="58683" y="1218668"/>
                  <a:pt x="63427" y="1209180"/>
                </a:cubicBezTo>
                <a:cubicBezTo>
                  <a:pt x="65919" y="1204197"/>
                  <a:pt x="74647" y="1206984"/>
                  <a:pt x="79283" y="1203894"/>
                </a:cubicBezTo>
                <a:cubicBezTo>
                  <a:pt x="81926" y="1202132"/>
                  <a:pt x="84371" y="1200028"/>
                  <a:pt x="87212" y="1198608"/>
                </a:cubicBezTo>
                <a:cubicBezTo>
                  <a:pt x="91648" y="1196390"/>
                  <a:pt x="101485" y="1194591"/>
                  <a:pt x="105711" y="1193323"/>
                </a:cubicBezTo>
                <a:cubicBezTo>
                  <a:pt x="111048" y="1191722"/>
                  <a:pt x="116282" y="1189799"/>
                  <a:pt x="121568" y="1188037"/>
                </a:cubicBezTo>
                <a:cubicBezTo>
                  <a:pt x="124211" y="1187156"/>
                  <a:pt x="126794" y="1186071"/>
                  <a:pt x="129496" y="1185395"/>
                </a:cubicBezTo>
                <a:cubicBezTo>
                  <a:pt x="135406" y="1183917"/>
                  <a:pt x="152063" y="1180040"/>
                  <a:pt x="155924" y="1177466"/>
                </a:cubicBezTo>
                <a:lnTo>
                  <a:pt x="163852" y="1172181"/>
                </a:lnTo>
                <a:cubicBezTo>
                  <a:pt x="162971" y="1150158"/>
                  <a:pt x="162779" y="1128096"/>
                  <a:pt x="161209" y="1106111"/>
                </a:cubicBezTo>
                <a:cubicBezTo>
                  <a:pt x="161011" y="1103333"/>
                  <a:pt x="159332" y="1100861"/>
                  <a:pt x="158567" y="1098183"/>
                </a:cubicBezTo>
                <a:cubicBezTo>
                  <a:pt x="157569" y="1094691"/>
                  <a:pt x="156968" y="1091091"/>
                  <a:pt x="155924" y="1087612"/>
                </a:cubicBezTo>
                <a:cubicBezTo>
                  <a:pt x="154323" y="1082275"/>
                  <a:pt x="151989" y="1077160"/>
                  <a:pt x="150638" y="1071755"/>
                </a:cubicBezTo>
                <a:cubicBezTo>
                  <a:pt x="149757" y="1068231"/>
                  <a:pt x="148994" y="1064676"/>
                  <a:pt x="147996" y="1061184"/>
                </a:cubicBezTo>
                <a:cubicBezTo>
                  <a:pt x="147231" y="1058506"/>
                  <a:pt x="146086" y="1055943"/>
                  <a:pt x="145353" y="1053256"/>
                </a:cubicBezTo>
                <a:cubicBezTo>
                  <a:pt x="143441" y="1046248"/>
                  <a:pt x="146111" y="1036144"/>
                  <a:pt x="140067" y="1032114"/>
                </a:cubicBezTo>
                <a:cubicBezTo>
                  <a:pt x="129821" y="1025283"/>
                  <a:pt x="135152" y="1027833"/>
                  <a:pt x="124211" y="1024185"/>
                </a:cubicBezTo>
                <a:cubicBezTo>
                  <a:pt x="123330" y="1021542"/>
                  <a:pt x="122333" y="1018935"/>
                  <a:pt x="121568" y="1016257"/>
                </a:cubicBezTo>
                <a:cubicBezTo>
                  <a:pt x="120438" y="1012303"/>
                  <a:pt x="118395" y="1001984"/>
                  <a:pt x="116282" y="997758"/>
                </a:cubicBezTo>
                <a:cubicBezTo>
                  <a:pt x="114862" y="994917"/>
                  <a:pt x="112287" y="992732"/>
                  <a:pt x="110997" y="989829"/>
                </a:cubicBezTo>
                <a:cubicBezTo>
                  <a:pt x="108734" y="984738"/>
                  <a:pt x="105711" y="973973"/>
                  <a:pt x="105711" y="973973"/>
                </a:cubicBezTo>
                <a:cubicBezTo>
                  <a:pt x="105312" y="971576"/>
                  <a:pt x="101477" y="943490"/>
                  <a:pt x="97783" y="942259"/>
                </a:cubicBezTo>
                <a:lnTo>
                  <a:pt x="81926" y="936974"/>
                </a:lnTo>
                <a:cubicBezTo>
                  <a:pt x="79283" y="936093"/>
                  <a:pt x="76700" y="935007"/>
                  <a:pt x="73998" y="934331"/>
                </a:cubicBezTo>
                <a:lnTo>
                  <a:pt x="63427" y="931688"/>
                </a:lnTo>
                <a:cubicBezTo>
                  <a:pt x="60784" y="929045"/>
                  <a:pt x="58369" y="926153"/>
                  <a:pt x="55498" y="923760"/>
                </a:cubicBezTo>
                <a:cubicBezTo>
                  <a:pt x="53058" y="921727"/>
                  <a:pt x="49554" y="920954"/>
                  <a:pt x="47570" y="918474"/>
                </a:cubicBezTo>
                <a:cubicBezTo>
                  <a:pt x="45830" y="916299"/>
                  <a:pt x="46280" y="912981"/>
                  <a:pt x="44927" y="910546"/>
                </a:cubicBezTo>
                <a:cubicBezTo>
                  <a:pt x="41842" y="904993"/>
                  <a:pt x="36365" y="900715"/>
                  <a:pt x="34356" y="894689"/>
                </a:cubicBezTo>
                <a:cubicBezTo>
                  <a:pt x="33475" y="892046"/>
                  <a:pt x="33066" y="889196"/>
                  <a:pt x="31713" y="886761"/>
                </a:cubicBezTo>
                <a:cubicBezTo>
                  <a:pt x="28628" y="881208"/>
                  <a:pt x="24666" y="876190"/>
                  <a:pt x="21142" y="870904"/>
                </a:cubicBezTo>
                <a:cubicBezTo>
                  <a:pt x="19380" y="868261"/>
                  <a:pt x="16861" y="865989"/>
                  <a:pt x="15857" y="862976"/>
                </a:cubicBezTo>
                <a:cubicBezTo>
                  <a:pt x="12209" y="852035"/>
                  <a:pt x="14759" y="857366"/>
                  <a:pt x="7928" y="847119"/>
                </a:cubicBezTo>
                <a:lnTo>
                  <a:pt x="2643" y="831263"/>
                </a:lnTo>
                <a:lnTo>
                  <a:pt x="0" y="823334"/>
                </a:lnTo>
                <a:cubicBezTo>
                  <a:pt x="881" y="818049"/>
                  <a:pt x="1520" y="812717"/>
                  <a:pt x="2643" y="807478"/>
                </a:cubicBezTo>
                <a:cubicBezTo>
                  <a:pt x="4693" y="797911"/>
                  <a:pt x="5650" y="785971"/>
                  <a:pt x="13214" y="778407"/>
                </a:cubicBezTo>
                <a:cubicBezTo>
                  <a:pt x="15460" y="776161"/>
                  <a:pt x="18702" y="775155"/>
                  <a:pt x="21142" y="773122"/>
                </a:cubicBezTo>
                <a:cubicBezTo>
                  <a:pt x="34340" y="762124"/>
                  <a:pt x="23066" y="767194"/>
                  <a:pt x="36999" y="762551"/>
                </a:cubicBezTo>
                <a:cubicBezTo>
                  <a:pt x="42285" y="757265"/>
                  <a:pt x="48710" y="752914"/>
                  <a:pt x="52856" y="746694"/>
                </a:cubicBezTo>
                <a:cubicBezTo>
                  <a:pt x="56380" y="741408"/>
                  <a:pt x="61418" y="736863"/>
                  <a:pt x="63427" y="730837"/>
                </a:cubicBezTo>
                <a:cubicBezTo>
                  <a:pt x="64308" y="728194"/>
                  <a:pt x="64525" y="725227"/>
                  <a:pt x="66070" y="722909"/>
                </a:cubicBezTo>
                <a:cubicBezTo>
                  <a:pt x="68143" y="719799"/>
                  <a:pt x="71606" y="717852"/>
                  <a:pt x="73998" y="714981"/>
                </a:cubicBezTo>
                <a:cubicBezTo>
                  <a:pt x="94792" y="690026"/>
                  <a:pt x="66032" y="722964"/>
                  <a:pt x="81926" y="699124"/>
                </a:cubicBezTo>
                <a:cubicBezTo>
                  <a:pt x="83999" y="696014"/>
                  <a:pt x="87211" y="693839"/>
                  <a:pt x="89854" y="691196"/>
                </a:cubicBezTo>
                <a:cubicBezTo>
                  <a:pt x="94499" y="677261"/>
                  <a:pt x="89427" y="688538"/>
                  <a:pt x="100426" y="675339"/>
                </a:cubicBezTo>
                <a:cubicBezTo>
                  <a:pt x="102459" y="672899"/>
                  <a:pt x="104291" y="670252"/>
                  <a:pt x="105711" y="667411"/>
                </a:cubicBezTo>
                <a:cubicBezTo>
                  <a:pt x="106957" y="664919"/>
                  <a:pt x="106614" y="661657"/>
                  <a:pt x="108354" y="659482"/>
                </a:cubicBezTo>
                <a:cubicBezTo>
                  <a:pt x="110338" y="657002"/>
                  <a:pt x="113639" y="655959"/>
                  <a:pt x="116282" y="654197"/>
                </a:cubicBezTo>
                <a:cubicBezTo>
                  <a:pt x="120934" y="640243"/>
                  <a:pt x="117380" y="648585"/>
                  <a:pt x="129496" y="630412"/>
                </a:cubicBezTo>
                <a:lnTo>
                  <a:pt x="145353" y="606627"/>
                </a:lnTo>
                <a:cubicBezTo>
                  <a:pt x="147115" y="603984"/>
                  <a:pt x="147995" y="600461"/>
                  <a:pt x="150638" y="598699"/>
                </a:cubicBezTo>
                <a:lnTo>
                  <a:pt x="166495" y="588128"/>
                </a:lnTo>
                <a:cubicBezTo>
                  <a:pt x="179193" y="550036"/>
                  <a:pt x="172065" y="576367"/>
                  <a:pt x="174423" y="500916"/>
                </a:cubicBezTo>
                <a:cubicBezTo>
                  <a:pt x="175441" y="468326"/>
                  <a:pt x="175438" y="435699"/>
                  <a:pt x="177066" y="403133"/>
                </a:cubicBezTo>
                <a:cubicBezTo>
                  <a:pt x="177205" y="400351"/>
                  <a:pt x="179033" y="397907"/>
                  <a:pt x="179709" y="395205"/>
                </a:cubicBezTo>
                <a:cubicBezTo>
                  <a:pt x="180799" y="390847"/>
                  <a:pt x="181471" y="386396"/>
                  <a:pt x="182352" y="381991"/>
                </a:cubicBezTo>
                <a:cubicBezTo>
                  <a:pt x="184135" y="323127"/>
                  <a:pt x="157493" y="300995"/>
                  <a:pt x="192923" y="292137"/>
                </a:cubicBezTo>
                <a:cubicBezTo>
                  <a:pt x="197281" y="291048"/>
                  <a:pt x="201779" y="290584"/>
                  <a:pt x="206137" y="289494"/>
                </a:cubicBezTo>
                <a:cubicBezTo>
                  <a:pt x="208839" y="288818"/>
                  <a:pt x="211422" y="287732"/>
                  <a:pt x="214065" y="286851"/>
                </a:cubicBezTo>
                <a:cubicBezTo>
                  <a:pt x="214946" y="284208"/>
                  <a:pt x="216708" y="281709"/>
                  <a:pt x="216708" y="278923"/>
                </a:cubicBezTo>
                <a:cubicBezTo>
                  <a:pt x="216708" y="274431"/>
                  <a:pt x="215155" y="270067"/>
                  <a:pt x="214065" y="265709"/>
                </a:cubicBezTo>
                <a:cubicBezTo>
                  <a:pt x="212126" y="257952"/>
                  <a:pt x="210862" y="254764"/>
                  <a:pt x="203494" y="249852"/>
                </a:cubicBezTo>
                <a:cubicBezTo>
                  <a:pt x="201176" y="248307"/>
                  <a:pt x="198208" y="248091"/>
                  <a:pt x="195565" y="247210"/>
                </a:cubicBezTo>
                <a:cubicBezTo>
                  <a:pt x="192922" y="244567"/>
                  <a:pt x="189710" y="242391"/>
                  <a:pt x="187637" y="239281"/>
                </a:cubicBezTo>
                <a:cubicBezTo>
                  <a:pt x="186092" y="236963"/>
                  <a:pt x="186734" y="233528"/>
                  <a:pt x="184994" y="231353"/>
                </a:cubicBezTo>
                <a:cubicBezTo>
                  <a:pt x="183010" y="228873"/>
                  <a:pt x="179709" y="227829"/>
                  <a:pt x="177066" y="226067"/>
                </a:cubicBezTo>
                <a:cubicBezTo>
                  <a:pt x="171476" y="203710"/>
                  <a:pt x="179091" y="226461"/>
                  <a:pt x="166495" y="207568"/>
                </a:cubicBezTo>
                <a:cubicBezTo>
                  <a:pt x="164950" y="205250"/>
                  <a:pt x="165098" y="202132"/>
                  <a:pt x="163852" y="199640"/>
                </a:cubicBezTo>
                <a:cubicBezTo>
                  <a:pt x="162432" y="196799"/>
                  <a:pt x="159987" y="194552"/>
                  <a:pt x="158567" y="191711"/>
                </a:cubicBezTo>
                <a:cubicBezTo>
                  <a:pt x="156444" y="187464"/>
                  <a:pt x="153341" y="173707"/>
                  <a:pt x="153281" y="170569"/>
                </a:cubicBezTo>
                <a:cubicBezTo>
                  <a:pt x="152485" y="129173"/>
                  <a:pt x="153281" y="87762"/>
                  <a:pt x="150638" y="51644"/>
                </a:cubicBezTo>
                <a:close/>
              </a:path>
            </a:pathLst>
          </a:custGeom>
          <a:solidFill>
            <a:srgbClr val="FF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52" name="Freeform 51"/>
          <p:cNvSpPr/>
          <p:nvPr/>
        </p:nvSpPr>
        <p:spPr>
          <a:xfrm>
            <a:off x="3128963" y="2487088"/>
            <a:ext cx="1052512" cy="844549"/>
          </a:xfrm>
          <a:custGeom>
            <a:avLst/>
            <a:gdLst>
              <a:gd name="connsiteX0" fmla="*/ 13654 w 1052264"/>
              <a:gd name="connsiteY0" fmla="*/ 642210 h 843061"/>
              <a:gd name="connsiteX1" fmla="*/ 16297 w 1052264"/>
              <a:gd name="connsiteY1" fmla="*/ 475715 h 843061"/>
              <a:gd name="connsiteX2" fmla="*/ 24225 w 1052264"/>
              <a:gd name="connsiteY2" fmla="*/ 467787 h 843061"/>
              <a:gd name="connsiteX3" fmla="*/ 26868 w 1052264"/>
              <a:gd name="connsiteY3" fmla="*/ 457216 h 843061"/>
              <a:gd name="connsiteX4" fmla="*/ 29511 w 1052264"/>
              <a:gd name="connsiteY4" fmla="*/ 401718 h 843061"/>
              <a:gd name="connsiteX5" fmla="*/ 34796 w 1052264"/>
              <a:gd name="connsiteY5" fmla="*/ 393789 h 843061"/>
              <a:gd name="connsiteX6" fmla="*/ 42724 w 1052264"/>
              <a:gd name="connsiteY6" fmla="*/ 367362 h 843061"/>
              <a:gd name="connsiteX7" fmla="*/ 61224 w 1052264"/>
              <a:gd name="connsiteY7" fmla="*/ 362076 h 843061"/>
              <a:gd name="connsiteX8" fmla="*/ 77081 w 1052264"/>
              <a:gd name="connsiteY8" fmla="*/ 348862 h 843061"/>
              <a:gd name="connsiteX9" fmla="*/ 82366 w 1052264"/>
              <a:gd name="connsiteY9" fmla="*/ 340934 h 843061"/>
              <a:gd name="connsiteX10" fmla="*/ 90294 w 1052264"/>
              <a:gd name="connsiteY10" fmla="*/ 317149 h 843061"/>
              <a:gd name="connsiteX11" fmla="*/ 92937 w 1052264"/>
              <a:gd name="connsiteY11" fmla="*/ 309220 h 843061"/>
              <a:gd name="connsiteX12" fmla="*/ 98223 w 1052264"/>
              <a:gd name="connsiteY12" fmla="*/ 301292 h 843061"/>
              <a:gd name="connsiteX13" fmla="*/ 100866 w 1052264"/>
              <a:gd name="connsiteY13" fmla="*/ 293364 h 843061"/>
              <a:gd name="connsiteX14" fmla="*/ 111437 w 1052264"/>
              <a:gd name="connsiteY14" fmla="*/ 277507 h 843061"/>
              <a:gd name="connsiteX15" fmla="*/ 108794 w 1052264"/>
              <a:gd name="connsiteY15" fmla="*/ 235223 h 843061"/>
              <a:gd name="connsiteX16" fmla="*/ 106151 w 1052264"/>
              <a:gd name="connsiteY16" fmla="*/ 227294 h 843061"/>
              <a:gd name="connsiteX17" fmla="*/ 103508 w 1052264"/>
              <a:gd name="connsiteY17" fmla="*/ 216723 h 843061"/>
              <a:gd name="connsiteX18" fmla="*/ 98223 w 1052264"/>
              <a:gd name="connsiteY18" fmla="*/ 200867 h 843061"/>
              <a:gd name="connsiteX19" fmla="*/ 95580 w 1052264"/>
              <a:gd name="connsiteY19" fmla="*/ 192938 h 843061"/>
              <a:gd name="connsiteX20" fmla="*/ 90294 w 1052264"/>
              <a:gd name="connsiteY20" fmla="*/ 174439 h 843061"/>
              <a:gd name="connsiteX21" fmla="*/ 98223 w 1052264"/>
              <a:gd name="connsiteY21" fmla="*/ 113655 h 843061"/>
              <a:gd name="connsiteX22" fmla="*/ 114079 w 1052264"/>
              <a:gd name="connsiteY22" fmla="*/ 105727 h 843061"/>
              <a:gd name="connsiteX23" fmla="*/ 129936 w 1052264"/>
              <a:gd name="connsiteY23" fmla="*/ 95156 h 843061"/>
              <a:gd name="connsiteX24" fmla="*/ 137864 w 1052264"/>
              <a:gd name="connsiteY24" fmla="*/ 79299 h 843061"/>
              <a:gd name="connsiteX25" fmla="*/ 143150 w 1052264"/>
              <a:gd name="connsiteY25" fmla="*/ 71371 h 843061"/>
              <a:gd name="connsiteX26" fmla="*/ 145793 w 1052264"/>
              <a:gd name="connsiteY26" fmla="*/ 63442 h 843061"/>
              <a:gd name="connsiteX27" fmla="*/ 153721 w 1052264"/>
              <a:gd name="connsiteY27" fmla="*/ 47586 h 843061"/>
              <a:gd name="connsiteX28" fmla="*/ 161649 w 1052264"/>
              <a:gd name="connsiteY28" fmla="*/ 21158 h 843061"/>
              <a:gd name="connsiteX29" fmla="*/ 166935 w 1052264"/>
              <a:gd name="connsiteY29" fmla="*/ 13230 h 843061"/>
              <a:gd name="connsiteX30" fmla="*/ 182792 w 1052264"/>
              <a:gd name="connsiteY30" fmla="*/ 7944 h 843061"/>
              <a:gd name="connsiteX31" fmla="*/ 240933 w 1052264"/>
              <a:gd name="connsiteY31" fmla="*/ 2659 h 843061"/>
              <a:gd name="connsiteX32" fmla="*/ 307002 w 1052264"/>
              <a:gd name="connsiteY32" fmla="*/ 5301 h 843061"/>
              <a:gd name="connsiteX33" fmla="*/ 330787 w 1052264"/>
              <a:gd name="connsiteY33" fmla="*/ 13230 h 843061"/>
              <a:gd name="connsiteX34" fmla="*/ 338715 w 1052264"/>
              <a:gd name="connsiteY34" fmla="*/ 15873 h 843061"/>
              <a:gd name="connsiteX35" fmla="*/ 362500 w 1052264"/>
              <a:gd name="connsiteY35" fmla="*/ 29086 h 843061"/>
              <a:gd name="connsiteX36" fmla="*/ 367786 w 1052264"/>
              <a:gd name="connsiteY36" fmla="*/ 37015 h 843061"/>
              <a:gd name="connsiteX37" fmla="*/ 375714 w 1052264"/>
              <a:gd name="connsiteY37" fmla="*/ 52871 h 843061"/>
              <a:gd name="connsiteX38" fmla="*/ 386285 w 1052264"/>
              <a:gd name="connsiteY38" fmla="*/ 55514 h 843061"/>
              <a:gd name="connsiteX39" fmla="*/ 394213 w 1052264"/>
              <a:gd name="connsiteY39" fmla="*/ 58157 h 843061"/>
              <a:gd name="connsiteX40" fmla="*/ 410070 w 1052264"/>
              <a:gd name="connsiteY40" fmla="*/ 66085 h 843061"/>
              <a:gd name="connsiteX41" fmla="*/ 439141 w 1052264"/>
              <a:gd name="connsiteY41" fmla="*/ 63442 h 843061"/>
              <a:gd name="connsiteX42" fmla="*/ 454997 w 1052264"/>
              <a:gd name="connsiteY42" fmla="*/ 58157 h 843061"/>
              <a:gd name="connsiteX43" fmla="*/ 462926 w 1052264"/>
              <a:gd name="connsiteY43" fmla="*/ 55514 h 843061"/>
              <a:gd name="connsiteX44" fmla="*/ 489353 w 1052264"/>
              <a:gd name="connsiteY44" fmla="*/ 60800 h 843061"/>
              <a:gd name="connsiteX45" fmla="*/ 497282 w 1052264"/>
              <a:gd name="connsiteY45" fmla="*/ 66085 h 843061"/>
              <a:gd name="connsiteX46" fmla="*/ 542209 w 1052264"/>
              <a:gd name="connsiteY46" fmla="*/ 71371 h 843061"/>
              <a:gd name="connsiteX47" fmla="*/ 550137 w 1052264"/>
              <a:gd name="connsiteY47" fmla="*/ 74014 h 843061"/>
              <a:gd name="connsiteX48" fmla="*/ 565994 w 1052264"/>
              <a:gd name="connsiteY48" fmla="*/ 84585 h 843061"/>
              <a:gd name="connsiteX49" fmla="*/ 587136 w 1052264"/>
              <a:gd name="connsiteY49" fmla="*/ 89870 h 843061"/>
              <a:gd name="connsiteX50" fmla="*/ 629420 w 1052264"/>
              <a:gd name="connsiteY50" fmla="*/ 87227 h 843061"/>
              <a:gd name="connsiteX51" fmla="*/ 637349 w 1052264"/>
              <a:gd name="connsiteY51" fmla="*/ 84585 h 843061"/>
              <a:gd name="connsiteX52" fmla="*/ 655848 w 1052264"/>
              <a:gd name="connsiteY52" fmla="*/ 81942 h 843061"/>
              <a:gd name="connsiteX53" fmla="*/ 679633 w 1052264"/>
              <a:gd name="connsiteY53" fmla="*/ 66085 h 843061"/>
              <a:gd name="connsiteX54" fmla="*/ 687561 w 1052264"/>
              <a:gd name="connsiteY54" fmla="*/ 60800 h 843061"/>
              <a:gd name="connsiteX55" fmla="*/ 695490 w 1052264"/>
              <a:gd name="connsiteY55" fmla="*/ 58157 h 843061"/>
              <a:gd name="connsiteX56" fmla="*/ 724560 w 1052264"/>
              <a:gd name="connsiteY56" fmla="*/ 50229 h 843061"/>
              <a:gd name="connsiteX57" fmla="*/ 780059 w 1052264"/>
              <a:gd name="connsiteY57" fmla="*/ 52871 h 843061"/>
              <a:gd name="connsiteX58" fmla="*/ 787987 w 1052264"/>
              <a:gd name="connsiteY58" fmla="*/ 55514 h 843061"/>
              <a:gd name="connsiteX59" fmla="*/ 803844 w 1052264"/>
              <a:gd name="connsiteY59" fmla="*/ 66085 h 843061"/>
              <a:gd name="connsiteX60" fmla="*/ 827629 w 1052264"/>
              <a:gd name="connsiteY60" fmla="*/ 76656 h 843061"/>
              <a:gd name="connsiteX61" fmla="*/ 835557 w 1052264"/>
              <a:gd name="connsiteY61" fmla="*/ 79299 h 843061"/>
              <a:gd name="connsiteX62" fmla="*/ 880484 w 1052264"/>
              <a:gd name="connsiteY62" fmla="*/ 76656 h 843061"/>
              <a:gd name="connsiteX63" fmla="*/ 896341 w 1052264"/>
              <a:gd name="connsiteY63" fmla="*/ 68728 h 843061"/>
              <a:gd name="connsiteX64" fmla="*/ 904269 w 1052264"/>
              <a:gd name="connsiteY64" fmla="*/ 60800 h 843061"/>
              <a:gd name="connsiteX65" fmla="*/ 912197 w 1052264"/>
              <a:gd name="connsiteY65" fmla="*/ 55514 h 843061"/>
              <a:gd name="connsiteX66" fmla="*/ 925411 w 1052264"/>
              <a:gd name="connsiteY66" fmla="*/ 39657 h 843061"/>
              <a:gd name="connsiteX67" fmla="*/ 933340 w 1052264"/>
              <a:gd name="connsiteY67" fmla="*/ 37015 h 843061"/>
              <a:gd name="connsiteX68" fmla="*/ 949196 w 1052264"/>
              <a:gd name="connsiteY68" fmla="*/ 26444 h 843061"/>
              <a:gd name="connsiteX69" fmla="*/ 957124 w 1052264"/>
              <a:gd name="connsiteY69" fmla="*/ 18515 h 843061"/>
              <a:gd name="connsiteX70" fmla="*/ 959767 w 1052264"/>
              <a:gd name="connsiteY70" fmla="*/ 26444 h 843061"/>
              <a:gd name="connsiteX71" fmla="*/ 970338 w 1052264"/>
              <a:gd name="connsiteY71" fmla="*/ 42300 h 843061"/>
              <a:gd name="connsiteX72" fmla="*/ 975624 w 1052264"/>
              <a:gd name="connsiteY72" fmla="*/ 50229 h 843061"/>
              <a:gd name="connsiteX73" fmla="*/ 980909 w 1052264"/>
              <a:gd name="connsiteY73" fmla="*/ 58157 h 843061"/>
              <a:gd name="connsiteX74" fmla="*/ 983552 w 1052264"/>
              <a:gd name="connsiteY74" fmla="*/ 66085 h 843061"/>
              <a:gd name="connsiteX75" fmla="*/ 991481 w 1052264"/>
              <a:gd name="connsiteY75" fmla="*/ 71371 h 843061"/>
              <a:gd name="connsiteX76" fmla="*/ 999409 w 1052264"/>
              <a:gd name="connsiteY76" fmla="*/ 95156 h 843061"/>
              <a:gd name="connsiteX77" fmla="*/ 1002052 w 1052264"/>
              <a:gd name="connsiteY77" fmla="*/ 103084 h 843061"/>
              <a:gd name="connsiteX78" fmla="*/ 1012623 w 1052264"/>
              <a:gd name="connsiteY78" fmla="*/ 121583 h 843061"/>
              <a:gd name="connsiteX79" fmla="*/ 1015266 w 1052264"/>
              <a:gd name="connsiteY79" fmla="*/ 129512 h 843061"/>
              <a:gd name="connsiteX80" fmla="*/ 1017908 w 1052264"/>
              <a:gd name="connsiteY80" fmla="*/ 140083 h 843061"/>
              <a:gd name="connsiteX81" fmla="*/ 1041693 w 1052264"/>
              <a:gd name="connsiteY81" fmla="*/ 153297 h 843061"/>
              <a:gd name="connsiteX82" fmla="*/ 1052264 w 1052264"/>
              <a:gd name="connsiteY82" fmla="*/ 155940 h 843061"/>
              <a:gd name="connsiteX83" fmla="*/ 1049622 w 1052264"/>
              <a:gd name="connsiteY83" fmla="*/ 211438 h 843061"/>
              <a:gd name="connsiteX84" fmla="*/ 1046979 w 1052264"/>
              <a:gd name="connsiteY84" fmla="*/ 219366 h 843061"/>
              <a:gd name="connsiteX85" fmla="*/ 1039050 w 1052264"/>
              <a:gd name="connsiteY85" fmla="*/ 227294 h 843061"/>
              <a:gd name="connsiteX86" fmla="*/ 1025837 w 1052264"/>
              <a:gd name="connsiteY86" fmla="*/ 243151 h 843061"/>
              <a:gd name="connsiteX87" fmla="*/ 1017908 w 1052264"/>
              <a:gd name="connsiteY87" fmla="*/ 245794 h 843061"/>
              <a:gd name="connsiteX88" fmla="*/ 1015266 w 1052264"/>
              <a:gd name="connsiteY88" fmla="*/ 253722 h 843061"/>
              <a:gd name="connsiteX89" fmla="*/ 1004694 w 1052264"/>
              <a:gd name="connsiteY89" fmla="*/ 256365 h 843061"/>
              <a:gd name="connsiteX90" fmla="*/ 988838 w 1052264"/>
              <a:gd name="connsiteY90" fmla="*/ 261651 h 843061"/>
              <a:gd name="connsiteX91" fmla="*/ 965053 w 1052264"/>
              <a:gd name="connsiteY91" fmla="*/ 280150 h 843061"/>
              <a:gd name="connsiteX92" fmla="*/ 957124 w 1052264"/>
              <a:gd name="connsiteY92" fmla="*/ 296007 h 843061"/>
              <a:gd name="connsiteX93" fmla="*/ 949196 w 1052264"/>
              <a:gd name="connsiteY93" fmla="*/ 301292 h 843061"/>
              <a:gd name="connsiteX94" fmla="*/ 943911 w 1052264"/>
              <a:gd name="connsiteY94" fmla="*/ 327720 h 843061"/>
              <a:gd name="connsiteX95" fmla="*/ 933340 w 1052264"/>
              <a:gd name="connsiteY95" fmla="*/ 343577 h 843061"/>
              <a:gd name="connsiteX96" fmla="*/ 922768 w 1052264"/>
              <a:gd name="connsiteY96" fmla="*/ 367362 h 843061"/>
              <a:gd name="connsiteX97" fmla="*/ 920126 w 1052264"/>
              <a:gd name="connsiteY97" fmla="*/ 377933 h 843061"/>
              <a:gd name="connsiteX98" fmla="*/ 914840 w 1052264"/>
              <a:gd name="connsiteY98" fmla="*/ 417574 h 843061"/>
              <a:gd name="connsiteX99" fmla="*/ 904269 w 1052264"/>
              <a:gd name="connsiteY99" fmla="*/ 433431 h 843061"/>
              <a:gd name="connsiteX100" fmla="*/ 898983 w 1052264"/>
              <a:gd name="connsiteY100" fmla="*/ 441359 h 843061"/>
              <a:gd name="connsiteX101" fmla="*/ 893698 w 1052264"/>
              <a:gd name="connsiteY101" fmla="*/ 457216 h 843061"/>
              <a:gd name="connsiteX102" fmla="*/ 891055 w 1052264"/>
              <a:gd name="connsiteY102" fmla="*/ 465144 h 843061"/>
              <a:gd name="connsiteX103" fmla="*/ 888412 w 1052264"/>
              <a:gd name="connsiteY103" fmla="*/ 475715 h 843061"/>
              <a:gd name="connsiteX104" fmla="*/ 880484 w 1052264"/>
              <a:gd name="connsiteY104" fmla="*/ 481001 h 843061"/>
              <a:gd name="connsiteX105" fmla="*/ 864627 w 1052264"/>
              <a:gd name="connsiteY105" fmla="*/ 486286 h 843061"/>
              <a:gd name="connsiteX106" fmla="*/ 856699 w 1052264"/>
              <a:gd name="connsiteY106" fmla="*/ 491572 h 843061"/>
              <a:gd name="connsiteX107" fmla="*/ 848771 w 1052264"/>
              <a:gd name="connsiteY107" fmla="*/ 494215 h 843061"/>
              <a:gd name="connsiteX108" fmla="*/ 846128 w 1052264"/>
              <a:gd name="connsiteY108" fmla="*/ 502143 h 843061"/>
              <a:gd name="connsiteX109" fmla="*/ 840842 w 1052264"/>
              <a:gd name="connsiteY109" fmla="*/ 523285 h 843061"/>
              <a:gd name="connsiteX110" fmla="*/ 835557 w 1052264"/>
              <a:gd name="connsiteY110" fmla="*/ 531214 h 843061"/>
              <a:gd name="connsiteX111" fmla="*/ 830271 w 1052264"/>
              <a:gd name="connsiteY111" fmla="*/ 547070 h 843061"/>
              <a:gd name="connsiteX112" fmla="*/ 827629 w 1052264"/>
              <a:gd name="connsiteY112" fmla="*/ 554999 h 843061"/>
              <a:gd name="connsiteX113" fmla="*/ 822343 w 1052264"/>
              <a:gd name="connsiteY113" fmla="*/ 562927 h 843061"/>
              <a:gd name="connsiteX114" fmla="*/ 817057 w 1052264"/>
              <a:gd name="connsiteY114" fmla="*/ 581426 h 843061"/>
              <a:gd name="connsiteX115" fmla="*/ 814415 w 1052264"/>
              <a:gd name="connsiteY115" fmla="*/ 589355 h 843061"/>
              <a:gd name="connsiteX116" fmla="*/ 809129 w 1052264"/>
              <a:gd name="connsiteY116" fmla="*/ 597283 h 843061"/>
              <a:gd name="connsiteX117" fmla="*/ 803844 w 1052264"/>
              <a:gd name="connsiteY117" fmla="*/ 613140 h 843061"/>
              <a:gd name="connsiteX118" fmla="*/ 801201 w 1052264"/>
              <a:gd name="connsiteY118" fmla="*/ 621068 h 843061"/>
              <a:gd name="connsiteX119" fmla="*/ 790630 w 1052264"/>
              <a:gd name="connsiteY119" fmla="*/ 636925 h 843061"/>
              <a:gd name="connsiteX120" fmla="*/ 785344 w 1052264"/>
              <a:gd name="connsiteY120" fmla="*/ 644853 h 843061"/>
              <a:gd name="connsiteX121" fmla="*/ 782701 w 1052264"/>
              <a:gd name="connsiteY121" fmla="*/ 652781 h 843061"/>
              <a:gd name="connsiteX122" fmla="*/ 769487 w 1052264"/>
              <a:gd name="connsiteY122" fmla="*/ 655424 h 843061"/>
              <a:gd name="connsiteX123" fmla="*/ 748345 w 1052264"/>
              <a:gd name="connsiteY123" fmla="*/ 652781 h 843061"/>
              <a:gd name="connsiteX124" fmla="*/ 740417 w 1052264"/>
              <a:gd name="connsiteY124" fmla="*/ 647496 h 843061"/>
              <a:gd name="connsiteX125" fmla="*/ 732489 w 1052264"/>
              <a:gd name="connsiteY125" fmla="*/ 644853 h 843061"/>
              <a:gd name="connsiteX126" fmla="*/ 727203 w 1052264"/>
              <a:gd name="connsiteY126" fmla="*/ 636925 h 843061"/>
              <a:gd name="connsiteX127" fmla="*/ 719275 w 1052264"/>
              <a:gd name="connsiteY127" fmla="*/ 634282 h 843061"/>
              <a:gd name="connsiteX128" fmla="*/ 711346 w 1052264"/>
              <a:gd name="connsiteY128" fmla="*/ 628996 h 843061"/>
              <a:gd name="connsiteX129" fmla="*/ 698133 w 1052264"/>
              <a:gd name="connsiteY129" fmla="*/ 613140 h 843061"/>
              <a:gd name="connsiteX130" fmla="*/ 690204 w 1052264"/>
              <a:gd name="connsiteY130" fmla="*/ 610497 h 843061"/>
              <a:gd name="connsiteX131" fmla="*/ 682276 w 1052264"/>
              <a:gd name="connsiteY131" fmla="*/ 615782 h 843061"/>
              <a:gd name="connsiteX132" fmla="*/ 674348 w 1052264"/>
              <a:gd name="connsiteY132" fmla="*/ 618425 h 843061"/>
              <a:gd name="connsiteX133" fmla="*/ 666419 w 1052264"/>
              <a:gd name="connsiteY133" fmla="*/ 626353 h 843061"/>
              <a:gd name="connsiteX134" fmla="*/ 650563 w 1052264"/>
              <a:gd name="connsiteY134" fmla="*/ 634282 h 843061"/>
              <a:gd name="connsiteX135" fmla="*/ 642634 w 1052264"/>
              <a:gd name="connsiteY135" fmla="*/ 642210 h 843061"/>
              <a:gd name="connsiteX136" fmla="*/ 624135 w 1052264"/>
              <a:gd name="connsiteY136" fmla="*/ 647496 h 843061"/>
              <a:gd name="connsiteX137" fmla="*/ 608278 w 1052264"/>
              <a:gd name="connsiteY137" fmla="*/ 652781 h 843061"/>
              <a:gd name="connsiteX138" fmla="*/ 592422 w 1052264"/>
              <a:gd name="connsiteY138" fmla="*/ 658067 h 843061"/>
              <a:gd name="connsiteX139" fmla="*/ 576565 w 1052264"/>
              <a:gd name="connsiteY139" fmla="*/ 663352 h 843061"/>
              <a:gd name="connsiteX140" fmla="*/ 568637 w 1052264"/>
              <a:gd name="connsiteY140" fmla="*/ 665995 h 843061"/>
              <a:gd name="connsiteX141" fmla="*/ 560708 w 1052264"/>
              <a:gd name="connsiteY141" fmla="*/ 671281 h 843061"/>
              <a:gd name="connsiteX142" fmla="*/ 542209 w 1052264"/>
              <a:gd name="connsiteY142" fmla="*/ 692423 h 843061"/>
              <a:gd name="connsiteX143" fmla="*/ 534281 w 1052264"/>
              <a:gd name="connsiteY143" fmla="*/ 708279 h 843061"/>
              <a:gd name="connsiteX144" fmla="*/ 526352 w 1052264"/>
              <a:gd name="connsiteY144" fmla="*/ 734707 h 843061"/>
              <a:gd name="connsiteX145" fmla="*/ 521067 w 1052264"/>
              <a:gd name="connsiteY145" fmla="*/ 750564 h 843061"/>
              <a:gd name="connsiteX146" fmla="*/ 518424 w 1052264"/>
              <a:gd name="connsiteY146" fmla="*/ 758492 h 843061"/>
              <a:gd name="connsiteX147" fmla="*/ 510496 w 1052264"/>
              <a:gd name="connsiteY147" fmla="*/ 792848 h 843061"/>
              <a:gd name="connsiteX148" fmla="*/ 486711 w 1052264"/>
              <a:gd name="connsiteY148" fmla="*/ 803419 h 843061"/>
              <a:gd name="connsiteX149" fmla="*/ 478782 w 1052264"/>
              <a:gd name="connsiteY149" fmla="*/ 806062 h 843061"/>
              <a:gd name="connsiteX150" fmla="*/ 468211 w 1052264"/>
              <a:gd name="connsiteY150" fmla="*/ 821919 h 843061"/>
              <a:gd name="connsiteX151" fmla="*/ 457640 w 1052264"/>
              <a:gd name="connsiteY151" fmla="*/ 824562 h 843061"/>
              <a:gd name="connsiteX152" fmla="*/ 402142 w 1052264"/>
              <a:gd name="connsiteY152" fmla="*/ 832490 h 843061"/>
              <a:gd name="connsiteX153" fmla="*/ 386285 w 1052264"/>
              <a:gd name="connsiteY153" fmla="*/ 835133 h 843061"/>
              <a:gd name="connsiteX154" fmla="*/ 378357 w 1052264"/>
              <a:gd name="connsiteY154" fmla="*/ 837775 h 843061"/>
              <a:gd name="connsiteX155" fmla="*/ 333430 w 1052264"/>
              <a:gd name="connsiteY155" fmla="*/ 843061 h 843061"/>
              <a:gd name="connsiteX156" fmla="*/ 277931 w 1052264"/>
              <a:gd name="connsiteY156" fmla="*/ 840418 h 843061"/>
              <a:gd name="connsiteX157" fmla="*/ 270003 w 1052264"/>
              <a:gd name="connsiteY157" fmla="*/ 837775 h 843061"/>
              <a:gd name="connsiteX158" fmla="*/ 264718 w 1052264"/>
              <a:gd name="connsiteY158" fmla="*/ 821919 h 843061"/>
              <a:gd name="connsiteX159" fmla="*/ 256789 w 1052264"/>
              <a:gd name="connsiteY159" fmla="*/ 806062 h 843061"/>
              <a:gd name="connsiteX160" fmla="*/ 251504 w 1052264"/>
              <a:gd name="connsiteY160" fmla="*/ 787563 h 843061"/>
              <a:gd name="connsiteX161" fmla="*/ 240933 w 1052264"/>
              <a:gd name="connsiteY161" fmla="*/ 771706 h 843061"/>
              <a:gd name="connsiteX162" fmla="*/ 235647 w 1052264"/>
              <a:gd name="connsiteY162" fmla="*/ 763778 h 843061"/>
              <a:gd name="connsiteX163" fmla="*/ 227719 w 1052264"/>
              <a:gd name="connsiteY163" fmla="*/ 755849 h 843061"/>
              <a:gd name="connsiteX164" fmla="*/ 214505 w 1052264"/>
              <a:gd name="connsiteY164" fmla="*/ 732064 h 843061"/>
              <a:gd name="connsiteX165" fmla="*/ 209219 w 1052264"/>
              <a:gd name="connsiteY165" fmla="*/ 721493 h 843061"/>
              <a:gd name="connsiteX166" fmla="*/ 206577 w 1052264"/>
              <a:gd name="connsiteY166" fmla="*/ 713565 h 843061"/>
              <a:gd name="connsiteX167" fmla="*/ 201291 w 1052264"/>
              <a:gd name="connsiteY167" fmla="*/ 705637 h 843061"/>
              <a:gd name="connsiteX168" fmla="*/ 188077 w 1052264"/>
              <a:gd name="connsiteY168" fmla="*/ 681852 h 843061"/>
              <a:gd name="connsiteX169" fmla="*/ 180149 w 1052264"/>
              <a:gd name="connsiteY169" fmla="*/ 676566 h 843061"/>
              <a:gd name="connsiteX170" fmla="*/ 177506 w 1052264"/>
              <a:gd name="connsiteY170" fmla="*/ 668638 h 843061"/>
              <a:gd name="connsiteX171" fmla="*/ 169578 w 1052264"/>
              <a:gd name="connsiteY171" fmla="*/ 665995 h 843061"/>
              <a:gd name="connsiteX172" fmla="*/ 156364 w 1052264"/>
              <a:gd name="connsiteY172" fmla="*/ 663352 h 843061"/>
              <a:gd name="connsiteX173" fmla="*/ 148435 w 1052264"/>
              <a:gd name="connsiteY173" fmla="*/ 660710 h 843061"/>
              <a:gd name="connsiteX174" fmla="*/ 122008 w 1052264"/>
              <a:gd name="connsiteY174" fmla="*/ 658067 h 843061"/>
              <a:gd name="connsiteX175" fmla="*/ 108794 w 1052264"/>
              <a:gd name="connsiteY175" fmla="*/ 655424 h 843061"/>
              <a:gd name="connsiteX176" fmla="*/ 98223 w 1052264"/>
              <a:gd name="connsiteY176" fmla="*/ 652781 h 843061"/>
              <a:gd name="connsiteX177" fmla="*/ 13654 w 1052264"/>
              <a:gd name="connsiteY177" fmla="*/ 642210 h 843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</a:cxnLst>
            <a:rect l="l" t="t" r="r" b="b"/>
            <a:pathLst>
              <a:path w="1052264" h="843061">
                <a:moveTo>
                  <a:pt x="13654" y="642210"/>
                </a:moveTo>
                <a:cubicBezTo>
                  <a:pt x="0" y="612699"/>
                  <a:pt x="12939" y="531119"/>
                  <a:pt x="16297" y="475715"/>
                </a:cubicBezTo>
                <a:cubicBezTo>
                  <a:pt x="16523" y="471985"/>
                  <a:pt x="22371" y="471032"/>
                  <a:pt x="24225" y="467787"/>
                </a:cubicBezTo>
                <a:cubicBezTo>
                  <a:pt x="26027" y="464633"/>
                  <a:pt x="25987" y="460740"/>
                  <a:pt x="26868" y="457216"/>
                </a:cubicBezTo>
                <a:cubicBezTo>
                  <a:pt x="27749" y="438717"/>
                  <a:pt x="27214" y="420095"/>
                  <a:pt x="29511" y="401718"/>
                </a:cubicBezTo>
                <a:cubicBezTo>
                  <a:pt x="29905" y="398566"/>
                  <a:pt x="33545" y="396709"/>
                  <a:pt x="34796" y="393789"/>
                </a:cubicBezTo>
                <a:cubicBezTo>
                  <a:pt x="36448" y="389934"/>
                  <a:pt x="39883" y="368072"/>
                  <a:pt x="42724" y="367362"/>
                </a:cubicBezTo>
                <a:cubicBezTo>
                  <a:pt x="46112" y="366515"/>
                  <a:pt x="57432" y="363972"/>
                  <a:pt x="61224" y="362076"/>
                </a:cubicBezTo>
                <a:cubicBezTo>
                  <a:pt x="67161" y="359107"/>
                  <a:pt x="72908" y="353869"/>
                  <a:pt x="77081" y="348862"/>
                </a:cubicBezTo>
                <a:cubicBezTo>
                  <a:pt x="79114" y="346422"/>
                  <a:pt x="81076" y="343836"/>
                  <a:pt x="82366" y="340934"/>
                </a:cubicBezTo>
                <a:cubicBezTo>
                  <a:pt x="82375" y="340914"/>
                  <a:pt x="88969" y="321124"/>
                  <a:pt x="90294" y="317149"/>
                </a:cubicBezTo>
                <a:cubicBezTo>
                  <a:pt x="91175" y="314506"/>
                  <a:pt x="91391" y="311538"/>
                  <a:pt x="92937" y="309220"/>
                </a:cubicBezTo>
                <a:cubicBezTo>
                  <a:pt x="94699" y="306577"/>
                  <a:pt x="96802" y="304133"/>
                  <a:pt x="98223" y="301292"/>
                </a:cubicBezTo>
                <a:cubicBezTo>
                  <a:pt x="99469" y="298801"/>
                  <a:pt x="99513" y="295799"/>
                  <a:pt x="100866" y="293364"/>
                </a:cubicBezTo>
                <a:cubicBezTo>
                  <a:pt x="103951" y="287811"/>
                  <a:pt x="111437" y="277507"/>
                  <a:pt x="111437" y="277507"/>
                </a:cubicBezTo>
                <a:cubicBezTo>
                  <a:pt x="110556" y="263412"/>
                  <a:pt x="110272" y="249268"/>
                  <a:pt x="108794" y="235223"/>
                </a:cubicBezTo>
                <a:cubicBezTo>
                  <a:pt x="108502" y="232452"/>
                  <a:pt x="106916" y="229973"/>
                  <a:pt x="106151" y="227294"/>
                </a:cubicBezTo>
                <a:cubicBezTo>
                  <a:pt x="105153" y="223802"/>
                  <a:pt x="104552" y="220202"/>
                  <a:pt x="103508" y="216723"/>
                </a:cubicBezTo>
                <a:cubicBezTo>
                  <a:pt x="101907" y="211387"/>
                  <a:pt x="99985" y="206152"/>
                  <a:pt x="98223" y="200867"/>
                </a:cubicBezTo>
                <a:cubicBezTo>
                  <a:pt x="97342" y="198224"/>
                  <a:pt x="96256" y="195641"/>
                  <a:pt x="95580" y="192938"/>
                </a:cubicBezTo>
                <a:cubicBezTo>
                  <a:pt x="92261" y="179665"/>
                  <a:pt x="94086" y="185813"/>
                  <a:pt x="90294" y="174439"/>
                </a:cubicBezTo>
                <a:cubicBezTo>
                  <a:pt x="90893" y="162459"/>
                  <a:pt x="83547" y="128329"/>
                  <a:pt x="98223" y="113655"/>
                </a:cubicBezTo>
                <a:cubicBezTo>
                  <a:pt x="107021" y="104858"/>
                  <a:pt x="104408" y="111100"/>
                  <a:pt x="114079" y="105727"/>
                </a:cubicBezTo>
                <a:cubicBezTo>
                  <a:pt x="119632" y="102642"/>
                  <a:pt x="129936" y="95156"/>
                  <a:pt x="129936" y="95156"/>
                </a:cubicBezTo>
                <a:cubicBezTo>
                  <a:pt x="145089" y="72426"/>
                  <a:pt x="126920" y="101188"/>
                  <a:pt x="137864" y="79299"/>
                </a:cubicBezTo>
                <a:cubicBezTo>
                  <a:pt x="139284" y="76458"/>
                  <a:pt x="141388" y="74014"/>
                  <a:pt x="143150" y="71371"/>
                </a:cubicBezTo>
                <a:cubicBezTo>
                  <a:pt x="144031" y="68728"/>
                  <a:pt x="144547" y="65934"/>
                  <a:pt x="145793" y="63442"/>
                </a:cubicBezTo>
                <a:cubicBezTo>
                  <a:pt x="153514" y="47999"/>
                  <a:pt x="149292" y="63085"/>
                  <a:pt x="153721" y="47586"/>
                </a:cubicBezTo>
                <a:cubicBezTo>
                  <a:pt x="155567" y="41125"/>
                  <a:pt x="158511" y="25864"/>
                  <a:pt x="161649" y="21158"/>
                </a:cubicBezTo>
                <a:cubicBezTo>
                  <a:pt x="163411" y="18515"/>
                  <a:pt x="164242" y="14913"/>
                  <a:pt x="166935" y="13230"/>
                </a:cubicBezTo>
                <a:cubicBezTo>
                  <a:pt x="171660" y="10277"/>
                  <a:pt x="177506" y="9706"/>
                  <a:pt x="182792" y="7944"/>
                </a:cubicBezTo>
                <a:cubicBezTo>
                  <a:pt x="206622" y="0"/>
                  <a:pt x="187931" y="5448"/>
                  <a:pt x="240933" y="2659"/>
                </a:cubicBezTo>
                <a:cubicBezTo>
                  <a:pt x="262956" y="3540"/>
                  <a:pt x="285064" y="3178"/>
                  <a:pt x="307002" y="5301"/>
                </a:cubicBezTo>
                <a:cubicBezTo>
                  <a:pt x="307004" y="5301"/>
                  <a:pt x="326822" y="11908"/>
                  <a:pt x="330787" y="13230"/>
                </a:cubicBezTo>
                <a:cubicBezTo>
                  <a:pt x="333430" y="14111"/>
                  <a:pt x="336397" y="14328"/>
                  <a:pt x="338715" y="15873"/>
                </a:cubicBezTo>
                <a:cubicBezTo>
                  <a:pt x="356890" y="27989"/>
                  <a:pt x="348545" y="24436"/>
                  <a:pt x="362500" y="29086"/>
                </a:cubicBezTo>
                <a:cubicBezTo>
                  <a:pt x="364262" y="31729"/>
                  <a:pt x="366365" y="34174"/>
                  <a:pt x="367786" y="37015"/>
                </a:cubicBezTo>
                <a:cubicBezTo>
                  <a:pt x="370424" y="42290"/>
                  <a:pt x="370035" y="49085"/>
                  <a:pt x="375714" y="52871"/>
                </a:cubicBezTo>
                <a:cubicBezTo>
                  <a:pt x="378736" y="54886"/>
                  <a:pt x="382793" y="54516"/>
                  <a:pt x="386285" y="55514"/>
                </a:cubicBezTo>
                <a:cubicBezTo>
                  <a:pt x="388963" y="56279"/>
                  <a:pt x="391721" y="56911"/>
                  <a:pt x="394213" y="58157"/>
                </a:cubicBezTo>
                <a:cubicBezTo>
                  <a:pt x="414706" y="68403"/>
                  <a:pt x="390143" y="59442"/>
                  <a:pt x="410070" y="66085"/>
                </a:cubicBezTo>
                <a:cubicBezTo>
                  <a:pt x="419760" y="65204"/>
                  <a:pt x="429559" y="65133"/>
                  <a:pt x="439141" y="63442"/>
                </a:cubicBezTo>
                <a:cubicBezTo>
                  <a:pt x="444627" y="62474"/>
                  <a:pt x="449712" y="59919"/>
                  <a:pt x="454997" y="58157"/>
                </a:cubicBezTo>
                <a:lnTo>
                  <a:pt x="462926" y="55514"/>
                </a:lnTo>
                <a:cubicBezTo>
                  <a:pt x="469748" y="56489"/>
                  <a:pt x="481971" y="57109"/>
                  <a:pt x="489353" y="60800"/>
                </a:cubicBezTo>
                <a:cubicBezTo>
                  <a:pt x="492194" y="62220"/>
                  <a:pt x="494269" y="65081"/>
                  <a:pt x="497282" y="66085"/>
                </a:cubicBezTo>
                <a:cubicBezTo>
                  <a:pt x="505239" y="68737"/>
                  <a:pt x="539576" y="71132"/>
                  <a:pt x="542209" y="71371"/>
                </a:cubicBezTo>
                <a:cubicBezTo>
                  <a:pt x="544852" y="72252"/>
                  <a:pt x="547819" y="72469"/>
                  <a:pt x="550137" y="74014"/>
                </a:cubicBezTo>
                <a:cubicBezTo>
                  <a:pt x="566039" y="84615"/>
                  <a:pt x="550046" y="80236"/>
                  <a:pt x="565994" y="84585"/>
                </a:cubicBezTo>
                <a:cubicBezTo>
                  <a:pt x="573002" y="86496"/>
                  <a:pt x="587136" y="89870"/>
                  <a:pt x="587136" y="89870"/>
                </a:cubicBezTo>
                <a:cubicBezTo>
                  <a:pt x="601231" y="88989"/>
                  <a:pt x="615375" y="88705"/>
                  <a:pt x="629420" y="87227"/>
                </a:cubicBezTo>
                <a:cubicBezTo>
                  <a:pt x="632191" y="86935"/>
                  <a:pt x="634617" y="85131"/>
                  <a:pt x="637349" y="84585"/>
                </a:cubicBezTo>
                <a:cubicBezTo>
                  <a:pt x="643457" y="83364"/>
                  <a:pt x="649682" y="82823"/>
                  <a:pt x="655848" y="81942"/>
                </a:cubicBezTo>
                <a:lnTo>
                  <a:pt x="679633" y="66085"/>
                </a:lnTo>
                <a:cubicBezTo>
                  <a:pt x="682276" y="64323"/>
                  <a:pt x="684548" y="61804"/>
                  <a:pt x="687561" y="60800"/>
                </a:cubicBezTo>
                <a:cubicBezTo>
                  <a:pt x="690204" y="59919"/>
                  <a:pt x="692802" y="58890"/>
                  <a:pt x="695490" y="58157"/>
                </a:cubicBezTo>
                <a:cubicBezTo>
                  <a:pt x="728289" y="49211"/>
                  <a:pt x="706307" y="56312"/>
                  <a:pt x="724560" y="50229"/>
                </a:cubicBezTo>
                <a:cubicBezTo>
                  <a:pt x="743060" y="51110"/>
                  <a:pt x="761602" y="51333"/>
                  <a:pt x="780059" y="52871"/>
                </a:cubicBezTo>
                <a:cubicBezTo>
                  <a:pt x="782835" y="53102"/>
                  <a:pt x="785552" y="54161"/>
                  <a:pt x="787987" y="55514"/>
                </a:cubicBezTo>
                <a:cubicBezTo>
                  <a:pt x="793540" y="58599"/>
                  <a:pt x="798558" y="62561"/>
                  <a:pt x="803844" y="66085"/>
                </a:cubicBezTo>
                <a:cubicBezTo>
                  <a:pt x="816411" y="74463"/>
                  <a:pt x="808753" y="70364"/>
                  <a:pt x="827629" y="76656"/>
                </a:cubicBezTo>
                <a:lnTo>
                  <a:pt x="835557" y="79299"/>
                </a:lnTo>
                <a:cubicBezTo>
                  <a:pt x="850533" y="78418"/>
                  <a:pt x="865557" y="78149"/>
                  <a:pt x="880484" y="76656"/>
                </a:cubicBezTo>
                <a:cubicBezTo>
                  <a:pt x="885903" y="76114"/>
                  <a:pt x="892392" y="72019"/>
                  <a:pt x="896341" y="68728"/>
                </a:cubicBezTo>
                <a:cubicBezTo>
                  <a:pt x="899212" y="66335"/>
                  <a:pt x="901398" y="63193"/>
                  <a:pt x="904269" y="60800"/>
                </a:cubicBezTo>
                <a:cubicBezTo>
                  <a:pt x="906709" y="58767"/>
                  <a:pt x="909554" y="57276"/>
                  <a:pt x="912197" y="55514"/>
                </a:cubicBezTo>
                <a:cubicBezTo>
                  <a:pt x="916096" y="49666"/>
                  <a:pt x="919309" y="43725"/>
                  <a:pt x="925411" y="39657"/>
                </a:cubicBezTo>
                <a:cubicBezTo>
                  <a:pt x="927729" y="38112"/>
                  <a:pt x="930697" y="37896"/>
                  <a:pt x="933340" y="37015"/>
                </a:cubicBezTo>
                <a:cubicBezTo>
                  <a:pt x="958633" y="11719"/>
                  <a:pt x="926248" y="41743"/>
                  <a:pt x="949196" y="26444"/>
                </a:cubicBezTo>
                <a:cubicBezTo>
                  <a:pt x="952306" y="24371"/>
                  <a:pt x="954481" y="21158"/>
                  <a:pt x="957124" y="18515"/>
                </a:cubicBezTo>
                <a:cubicBezTo>
                  <a:pt x="958005" y="21158"/>
                  <a:pt x="958414" y="24009"/>
                  <a:pt x="959767" y="26444"/>
                </a:cubicBezTo>
                <a:cubicBezTo>
                  <a:pt x="962852" y="31997"/>
                  <a:pt x="966814" y="37015"/>
                  <a:pt x="970338" y="42300"/>
                </a:cubicBezTo>
                <a:lnTo>
                  <a:pt x="975624" y="50229"/>
                </a:lnTo>
                <a:cubicBezTo>
                  <a:pt x="977386" y="52872"/>
                  <a:pt x="979905" y="55144"/>
                  <a:pt x="980909" y="58157"/>
                </a:cubicBezTo>
                <a:cubicBezTo>
                  <a:pt x="981790" y="60800"/>
                  <a:pt x="981812" y="63910"/>
                  <a:pt x="983552" y="66085"/>
                </a:cubicBezTo>
                <a:cubicBezTo>
                  <a:pt x="985536" y="68565"/>
                  <a:pt x="988838" y="69609"/>
                  <a:pt x="991481" y="71371"/>
                </a:cubicBezTo>
                <a:lnTo>
                  <a:pt x="999409" y="95156"/>
                </a:lnTo>
                <a:cubicBezTo>
                  <a:pt x="1000290" y="97799"/>
                  <a:pt x="1000806" y="100592"/>
                  <a:pt x="1002052" y="103084"/>
                </a:cubicBezTo>
                <a:cubicBezTo>
                  <a:pt x="1008757" y="116496"/>
                  <a:pt x="1005152" y="110377"/>
                  <a:pt x="1012623" y="121583"/>
                </a:cubicBezTo>
                <a:cubicBezTo>
                  <a:pt x="1013504" y="124226"/>
                  <a:pt x="1014501" y="126833"/>
                  <a:pt x="1015266" y="129512"/>
                </a:cubicBezTo>
                <a:cubicBezTo>
                  <a:pt x="1016264" y="133004"/>
                  <a:pt x="1016106" y="136930"/>
                  <a:pt x="1017908" y="140083"/>
                </a:cubicBezTo>
                <a:cubicBezTo>
                  <a:pt x="1023118" y="149201"/>
                  <a:pt x="1032217" y="150928"/>
                  <a:pt x="1041693" y="153297"/>
                </a:cubicBezTo>
                <a:lnTo>
                  <a:pt x="1052264" y="155940"/>
                </a:lnTo>
                <a:cubicBezTo>
                  <a:pt x="1051383" y="174439"/>
                  <a:pt x="1051160" y="192982"/>
                  <a:pt x="1049622" y="211438"/>
                </a:cubicBezTo>
                <a:cubicBezTo>
                  <a:pt x="1049391" y="214214"/>
                  <a:pt x="1048524" y="217048"/>
                  <a:pt x="1046979" y="219366"/>
                </a:cubicBezTo>
                <a:cubicBezTo>
                  <a:pt x="1044906" y="222476"/>
                  <a:pt x="1041443" y="224423"/>
                  <a:pt x="1039050" y="227294"/>
                </a:cubicBezTo>
                <a:cubicBezTo>
                  <a:pt x="1032954" y="234609"/>
                  <a:pt x="1034526" y="237358"/>
                  <a:pt x="1025837" y="243151"/>
                </a:cubicBezTo>
                <a:cubicBezTo>
                  <a:pt x="1023519" y="244696"/>
                  <a:pt x="1020551" y="244913"/>
                  <a:pt x="1017908" y="245794"/>
                </a:cubicBezTo>
                <a:cubicBezTo>
                  <a:pt x="1017027" y="248437"/>
                  <a:pt x="1017441" y="251982"/>
                  <a:pt x="1015266" y="253722"/>
                </a:cubicBezTo>
                <a:cubicBezTo>
                  <a:pt x="1012430" y="255991"/>
                  <a:pt x="1008173" y="255321"/>
                  <a:pt x="1004694" y="256365"/>
                </a:cubicBezTo>
                <a:cubicBezTo>
                  <a:pt x="999358" y="257966"/>
                  <a:pt x="993474" y="258561"/>
                  <a:pt x="988838" y="261651"/>
                </a:cubicBezTo>
                <a:cubicBezTo>
                  <a:pt x="969871" y="274295"/>
                  <a:pt x="977473" y="267730"/>
                  <a:pt x="965053" y="280150"/>
                </a:cubicBezTo>
                <a:cubicBezTo>
                  <a:pt x="962903" y="286598"/>
                  <a:pt x="962247" y="290884"/>
                  <a:pt x="957124" y="296007"/>
                </a:cubicBezTo>
                <a:cubicBezTo>
                  <a:pt x="954878" y="298253"/>
                  <a:pt x="951839" y="299530"/>
                  <a:pt x="949196" y="301292"/>
                </a:cubicBezTo>
                <a:cubicBezTo>
                  <a:pt x="948865" y="303277"/>
                  <a:pt x="945880" y="323781"/>
                  <a:pt x="943911" y="327720"/>
                </a:cubicBezTo>
                <a:cubicBezTo>
                  <a:pt x="941070" y="333402"/>
                  <a:pt x="935349" y="337551"/>
                  <a:pt x="933340" y="343577"/>
                </a:cubicBezTo>
                <a:cubicBezTo>
                  <a:pt x="927049" y="362446"/>
                  <a:pt x="931144" y="354797"/>
                  <a:pt x="922768" y="367362"/>
                </a:cubicBezTo>
                <a:cubicBezTo>
                  <a:pt x="921887" y="370886"/>
                  <a:pt x="920576" y="374329"/>
                  <a:pt x="920126" y="377933"/>
                </a:cubicBezTo>
                <a:cubicBezTo>
                  <a:pt x="919817" y="380405"/>
                  <a:pt x="920164" y="407991"/>
                  <a:pt x="914840" y="417574"/>
                </a:cubicBezTo>
                <a:cubicBezTo>
                  <a:pt x="911755" y="423127"/>
                  <a:pt x="907793" y="428145"/>
                  <a:pt x="904269" y="433431"/>
                </a:cubicBezTo>
                <a:lnTo>
                  <a:pt x="898983" y="441359"/>
                </a:lnTo>
                <a:lnTo>
                  <a:pt x="893698" y="457216"/>
                </a:lnTo>
                <a:cubicBezTo>
                  <a:pt x="892817" y="459859"/>
                  <a:pt x="891731" y="462442"/>
                  <a:pt x="891055" y="465144"/>
                </a:cubicBezTo>
                <a:cubicBezTo>
                  <a:pt x="890174" y="468668"/>
                  <a:pt x="890427" y="472693"/>
                  <a:pt x="888412" y="475715"/>
                </a:cubicBezTo>
                <a:cubicBezTo>
                  <a:pt x="886650" y="478358"/>
                  <a:pt x="883386" y="479711"/>
                  <a:pt x="880484" y="481001"/>
                </a:cubicBezTo>
                <a:cubicBezTo>
                  <a:pt x="875393" y="483264"/>
                  <a:pt x="864627" y="486286"/>
                  <a:pt x="864627" y="486286"/>
                </a:cubicBezTo>
                <a:cubicBezTo>
                  <a:pt x="861984" y="488048"/>
                  <a:pt x="859540" y="490151"/>
                  <a:pt x="856699" y="491572"/>
                </a:cubicBezTo>
                <a:cubicBezTo>
                  <a:pt x="854208" y="492818"/>
                  <a:pt x="850741" y="492245"/>
                  <a:pt x="848771" y="494215"/>
                </a:cubicBezTo>
                <a:cubicBezTo>
                  <a:pt x="846801" y="496185"/>
                  <a:pt x="846804" y="499441"/>
                  <a:pt x="846128" y="502143"/>
                </a:cubicBezTo>
                <a:cubicBezTo>
                  <a:pt x="844619" y="508178"/>
                  <a:pt x="843864" y="517242"/>
                  <a:pt x="840842" y="523285"/>
                </a:cubicBezTo>
                <a:cubicBezTo>
                  <a:pt x="839422" y="526126"/>
                  <a:pt x="836847" y="528311"/>
                  <a:pt x="835557" y="531214"/>
                </a:cubicBezTo>
                <a:cubicBezTo>
                  <a:pt x="833294" y="536305"/>
                  <a:pt x="832033" y="541785"/>
                  <a:pt x="830271" y="547070"/>
                </a:cubicBezTo>
                <a:cubicBezTo>
                  <a:pt x="829390" y="549713"/>
                  <a:pt x="829174" y="552681"/>
                  <a:pt x="827629" y="554999"/>
                </a:cubicBezTo>
                <a:cubicBezTo>
                  <a:pt x="825867" y="557642"/>
                  <a:pt x="823764" y="560086"/>
                  <a:pt x="822343" y="562927"/>
                </a:cubicBezTo>
                <a:cubicBezTo>
                  <a:pt x="820231" y="567150"/>
                  <a:pt x="818186" y="577476"/>
                  <a:pt x="817057" y="581426"/>
                </a:cubicBezTo>
                <a:cubicBezTo>
                  <a:pt x="816292" y="584105"/>
                  <a:pt x="815661" y="586863"/>
                  <a:pt x="814415" y="589355"/>
                </a:cubicBezTo>
                <a:cubicBezTo>
                  <a:pt x="812995" y="592196"/>
                  <a:pt x="810419" y="594381"/>
                  <a:pt x="809129" y="597283"/>
                </a:cubicBezTo>
                <a:cubicBezTo>
                  <a:pt x="806866" y="602374"/>
                  <a:pt x="805606" y="607854"/>
                  <a:pt x="803844" y="613140"/>
                </a:cubicBezTo>
                <a:cubicBezTo>
                  <a:pt x="802963" y="615783"/>
                  <a:pt x="802746" y="618750"/>
                  <a:pt x="801201" y="621068"/>
                </a:cubicBezTo>
                <a:lnTo>
                  <a:pt x="790630" y="636925"/>
                </a:lnTo>
                <a:cubicBezTo>
                  <a:pt x="788868" y="639568"/>
                  <a:pt x="786349" y="641840"/>
                  <a:pt x="785344" y="644853"/>
                </a:cubicBezTo>
                <a:cubicBezTo>
                  <a:pt x="784463" y="647496"/>
                  <a:pt x="785019" y="651236"/>
                  <a:pt x="782701" y="652781"/>
                </a:cubicBezTo>
                <a:cubicBezTo>
                  <a:pt x="778963" y="655273"/>
                  <a:pt x="773892" y="654543"/>
                  <a:pt x="769487" y="655424"/>
                </a:cubicBezTo>
                <a:cubicBezTo>
                  <a:pt x="762440" y="654543"/>
                  <a:pt x="755197" y="654650"/>
                  <a:pt x="748345" y="652781"/>
                </a:cubicBezTo>
                <a:cubicBezTo>
                  <a:pt x="745281" y="651945"/>
                  <a:pt x="743258" y="648916"/>
                  <a:pt x="740417" y="647496"/>
                </a:cubicBezTo>
                <a:cubicBezTo>
                  <a:pt x="737925" y="646250"/>
                  <a:pt x="735132" y="645734"/>
                  <a:pt x="732489" y="644853"/>
                </a:cubicBezTo>
                <a:cubicBezTo>
                  <a:pt x="730727" y="642210"/>
                  <a:pt x="729683" y="638909"/>
                  <a:pt x="727203" y="636925"/>
                </a:cubicBezTo>
                <a:cubicBezTo>
                  <a:pt x="725028" y="635185"/>
                  <a:pt x="721767" y="635528"/>
                  <a:pt x="719275" y="634282"/>
                </a:cubicBezTo>
                <a:cubicBezTo>
                  <a:pt x="716434" y="632861"/>
                  <a:pt x="713989" y="630758"/>
                  <a:pt x="711346" y="628996"/>
                </a:cubicBezTo>
                <a:cubicBezTo>
                  <a:pt x="707446" y="623146"/>
                  <a:pt x="704238" y="617210"/>
                  <a:pt x="698133" y="613140"/>
                </a:cubicBezTo>
                <a:cubicBezTo>
                  <a:pt x="695815" y="611595"/>
                  <a:pt x="692847" y="611378"/>
                  <a:pt x="690204" y="610497"/>
                </a:cubicBezTo>
                <a:cubicBezTo>
                  <a:pt x="687561" y="612259"/>
                  <a:pt x="685117" y="614362"/>
                  <a:pt x="682276" y="615782"/>
                </a:cubicBezTo>
                <a:cubicBezTo>
                  <a:pt x="679784" y="617028"/>
                  <a:pt x="676666" y="616880"/>
                  <a:pt x="674348" y="618425"/>
                </a:cubicBezTo>
                <a:cubicBezTo>
                  <a:pt x="671238" y="620498"/>
                  <a:pt x="669290" y="623960"/>
                  <a:pt x="666419" y="626353"/>
                </a:cubicBezTo>
                <a:cubicBezTo>
                  <a:pt x="659587" y="632046"/>
                  <a:pt x="658510" y="631633"/>
                  <a:pt x="650563" y="634282"/>
                </a:cubicBezTo>
                <a:cubicBezTo>
                  <a:pt x="647920" y="636925"/>
                  <a:pt x="645744" y="640137"/>
                  <a:pt x="642634" y="642210"/>
                </a:cubicBezTo>
                <a:cubicBezTo>
                  <a:pt x="640211" y="643825"/>
                  <a:pt x="625738" y="647015"/>
                  <a:pt x="624135" y="647496"/>
                </a:cubicBezTo>
                <a:cubicBezTo>
                  <a:pt x="618798" y="649097"/>
                  <a:pt x="613564" y="651019"/>
                  <a:pt x="608278" y="652781"/>
                </a:cubicBezTo>
                <a:lnTo>
                  <a:pt x="592422" y="658067"/>
                </a:lnTo>
                <a:lnTo>
                  <a:pt x="576565" y="663352"/>
                </a:lnTo>
                <a:cubicBezTo>
                  <a:pt x="573922" y="664233"/>
                  <a:pt x="570955" y="664450"/>
                  <a:pt x="568637" y="665995"/>
                </a:cubicBezTo>
                <a:lnTo>
                  <a:pt x="560708" y="671281"/>
                </a:lnTo>
                <a:cubicBezTo>
                  <a:pt x="548375" y="689780"/>
                  <a:pt x="555422" y="683613"/>
                  <a:pt x="542209" y="692423"/>
                </a:cubicBezTo>
                <a:cubicBezTo>
                  <a:pt x="532568" y="721342"/>
                  <a:pt x="547944" y="677536"/>
                  <a:pt x="534281" y="708279"/>
                </a:cubicBezTo>
                <a:cubicBezTo>
                  <a:pt x="528532" y="721214"/>
                  <a:pt x="529899" y="722882"/>
                  <a:pt x="526352" y="734707"/>
                </a:cubicBezTo>
                <a:cubicBezTo>
                  <a:pt x="524751" y="740044"/>
                  <a:pt x="522829" y="745278"/>
                  <a:pt x="521067" y="750564"/>
                </a:cubicBezTo>
                <a:lnTo>
                  <a:pt x="518424" y="758492"/>
                </a:lnTo>
                <a:cubicBezTo>
                  <a:pt x="517982" y="761586"/>
                  <a:pt x="515078" y="789794"/>
                  <a:pt x="510496" y="792848"/>
                </a:cubicBezTo>
                <a:cubicBezTo>
                  <a:pt x="497931" y="801224"/>
                  <a:pt x="505581" y="797129"/>
                  <a:pt x="486711" y="803419"/>
                </a:cubicBezTo>
                <a:lnTo>
                  <a:pt x="478782" y="806062"/>
                </a:lnTo>
                <a:cubicBezTo>
                  <a:pt x="475258" y="811348"/>
                  <a:pt x="474374" y="820378"/>
                  <a:pt x="468211" y="821919"/>
                </a:cubicBezTo>
                <a:cubicBezTo>
                  <a:pt x="464687" y="822800"/>
                  <a:pt x="461202" y="823850"/>
                  <a:pt x="457640" y="824562"/>
                </a:cubicBezTo>
                <a:cubicBezTo>
                  <a:pt x="439300" y="828230"/>
                  <a:pt x="420631" y="829848"/>
                  <a:pt x="402142" y="832490"/>
                </a:cubicBezTo>
                <a:cubicBezTo>
                  <a:pt x="396837" y="833248"/>
                  <a:pt x="391516" y="833971"/>
                  <a:pt x="386285" y="835133"/>
                </a:cubicBezTo>
                <a:cubicBezTo>
                  <a:pt x="383566" y="835737"/>
                  <a:pt x="381088" y="837229"/>
                  <a:pt x="378357" y="837775"/>
                </a:cubicBezTo>
                <a:cubicBezTo>
                  <a:pt x="366669" y="840112"/>
                  <a:pt x="343918" y="842012"/>
                  <a:pt x="333430" y="843061"/>
                </a:cubicBezTo>
                <a:cubicBezTo>
                  <a:pt x="314930" y="842180"/>
                  <a:pt x="296388" y="841956"/>
                  <a:pt x="277931" y="840418"/>
                </a:cubicBezTo>
                <a:cubicBezTo>
                  <a:pt x="275155" y="840187"/>
                  <a:pt x="271622" y="840042"/>
                  <a:pt x="270003" y="837775"/>
                </a:cubicBezTo>
                <a:cubicBezTo>
                  <a:pt x="266765" y="833241"/>
                  <a:pt x="267808" y="826555"/>
                  <a:pt x="264718" y="821919"/>
                </a:cubicBezTo>
                <a:cubicBezTo>
                  <a:pt x="258927" y="813232"/>
                  <a:pt x="259525" y="815635"/>
                  <a:pt x="256789" y="806062"/>
                </a:cubicBezTo>
                <a:cubicBezTo>
                  <a:pt x="255986" y="803250"/>
                  <a:pt x="253365" y="790914"/>
                  <a:pt x="251504" y="787563"/>
                </a:cubicBezTo>
                <a:cubicBezTo>
                  <a:pt x="248419" y="782010"/>
                  <a:pt x="244457" y="776992"/>
                  <a:pt x="240933" y="771706"/>
                </a:cubicBezTo>
                <a:cubicBezTo>
                  <a:pt x="239171" y="769063"/>
                  <a:pt x="237893" y="766024"/>
                  <a:pt x="235647" y="763778"/>
                </a:cubicBezTo>
                <a:lnTo>
                  <a:pt x="227719" y="755849"/>
                </a:lnTo>
                <a:cubicBezTo>
                  <a:pt x="220411" y="733928"/>
                  <a:pt x="232678" y="768406"/>
                  <a:pt x="214505" y="732064"/>
                </a:cubicBezTo>
                <a:cubicBezTo>
                  <a:pt x="212743" y="728540"/>
                  <a:pt x="210771" y="725114"/>
                  <a:pt x="209219" y="721493"/>
                </a:cubicBezTo>
                <a:cubicBezTo>
                  <a:pt x="208122" y="718933"/>
                  <a:pt x="207823" y="716056"/>
                  <a:pt x="206577" y="713565"/>
                </a:cubicBezTo>
                <a:cubicBezTo>
                  <a:pt x="205157" y="710724"/>
                  <a:pt x="203053" y="708280"/>
                  <a:pt x="201291" y="705637"/>
                </a:cubicBezTo>
                <a:cubicBezTo>
                  <a:pt x="196184" y="690317"/>
                  <a:pt x="199032" y="690982"/>
                  <a:pt x="188077" y="681852"/>
                </a:cubicBezTo>
                <a:cubicBezTo>
                  <a:pt x="185637" y="679819"/>
                  <a:pt x="182792" y="678328"/>
                  <a:pt x="180149" y="676566"/>
                </a:cubicBezTo>
                <a:cubicBezTo>
                  <a:pt x="179268" y="673923"/>
                  <a:pt x="179476" y="670608"/>
                  <a:pt x="177506" y="668638"/>
                </a:cubicBezTo>
                <a:cubicBezTo>
                  <a:pt x="175536" y="666668"/>
                  <a:pt x="172280" y="666671"/>
                  <a:pt x="169578" y="665995"/>
                </a:cubicBezTo>
                <a:cubicBezTo>
                  <a:pt x="165220" y="664905"/>
                  <a:pt x="160722" y="664441"/>
                  <a:pt x="156364" y="663352"/>
                </a:cubicBezTo>
                <a:cubicBezTo>
                  <a:pt x="153661" y="662676"/>
                  <a:pt x="151188" y="661134"/>
                  <a:pt x="148435" y="660710"/>
                </a:cubicBezTo>
                <a:cubicBezTo>
                  <a:pt x="139685" y="659364"/>
                  <a:pt x="130783" y="659237"/>
                  <a:pt x="122008" y="658067"/>
                </a:cubicBezTo>
                <a:cubicBezTo>
                  <a:pt x="117556" y="657473"/>
                  <a:pt x="113179" y="656399"/>
                  <a:pt x="108794" y="655424"/>
                </a:cubicBezTo>
                <a:cubicBezTo>
                  <a:pt x="105248" y="654636"/>
                  <a:pt x="101854" y="652872"/>
                  <a:pt x="98223" y="652781"/>
                </a:cubicBezTo>
                <a:cubicBezTo>
                  <a:pt x="66520" y="651988"/>
                  <a:pt x="27308" y="671721"/>
                  <a:pt x="13654" y="642210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57" name="Freeform 56"/>
          <p:cNvSpPr/>
          <p:nvPr/>
        </p:nvSpPr>
        <p:spPr>
          <a:xfrm>
            <a:off x="2943226" y="1653117"/>
            <a:ext cx="1341438" cy="990600"/>
          </a:xfrm>
          <a:custGeom>
            <a:avLst/>
            <a:gdLst>
              <a:gd name="connsiteX0" fmla="*/ 362217 w 1340044"/>
              <a:gd name="connsiteY0" fmla="*/ 367223 h 990917"/>
              <a:gd name="connsiteX1" fmla="*/ 452071 w 1340044"/>
              <a:gd name="connsiteY1" fmla="*/ 364580 h 990917"/>
              <a:gd name="connsiteX2" fmla="*/ 478499 w 1340044"/>
              <a:gd name="connsiteY2" fmla="*/ 356651 h 990917"/>
              <a:gd name="connsiteX3" fmla="*/ 494356 w 1340044"/>
              <a:gd name="connsiteY3" fmla="*/ 348723 h 990917"/>
              <a:gd name="connsiteX4" fmla="*/ 518141 w 1340044"/>
              <a:gd name="connsiteY4" fmla="*/ 330224 h 990917"/>
              <a:gd name="connsiteX5" fmla="*/ 533997 w 1340044"/>
              <a:gd name="connsiteY5" fmla="*/ 319653 h 990917"/>
              <a:gd name="connsiteX6" fmla="*/ 539283 w 1340044"/>
              <a:gd name="connsiteY6" fmla="*/ 311724 h 990917"/>
              <a:gd name="connsiteX7" fmla="*/ 555140 w 1340044"/>
              <a:gd name="connsiteY7" fmla="*/ 301153 h 990917"/>
              <a:gd name="connsiteX8" fmla="*/ 557782 w 1340044"/>
              <a:gd name="connsiteY8" fmla="*/ 293225 h 990917"/>
              <a:gd name="connsiteX9" fmla="*/ 573639 w 1340044"/>
              <a:gd name="connsiteY9" fmla="*/ 282654 h 990917"/>
              <a:gd name="connsiteX10" fmla="*/ 592138 w 1340044"/>
              <a:gd name="connsiteY10" fmla="*/ 264154 h 990917"/>
              <a:gd name="connsiteX11" fmla="*/ 607995 w 1340044"/>
              <a:gd name="connsiteY11" fmla="*/ 253583 h 990917"/>
              <a:gd name="connsiteX12" fmla="*/ 615923 w 1340044"/>
              <a:gd name="connsiteY12" fmla="*/ 248298 h 990917"/>
              <a:gd name="connsiteX13" fmla="*/ 623852 w 1340044"/>
              <a:gd name="connsiteY13" fmla="*/ 245655 h 990917"/>
              <a:gd name="connsiteX14" fmla="*/ 634423 w 1340044"/>
              <a:gd name="connsiteY14" fmla="*/ 229798 h 990917"/>
              <a:gd name="connsiteX15" fmla="*/ 639708 w 1340044"/>
              <a:gd name="connsiteY15" fmla="*/ 221870 h 990917"/>
              <a:gd name="connsiteX16" fmla="*/ 655565 w 1340044"/>
              <a:gd name="connsiteY16" fmla="*/ 211299 h 990917"/>
              <a:gd name="connsiteX17" fmla="*/ 663493 w 1340044"/>
              <a:gd name="connsiteY17" fmla="*/ 206013 h 990917"/>
              <a:gd name="connsiteX18" fmla="*/ 687278 w 1340044"/>
              <a:gd name="connsiteY18" fmla="*/ 198085 h 990917"/>
              <a:gd name="connsiteX19" fmla="*/ 695207 w 1340044"/>
              <a:gd name="connsiteY19" fmla="*/ 195442 h 990917"/>
              <a:gd name="connsiteX20" fmla="*/ 716349 w 1340044"/>
              <a:gd name="connsiteY20" fmla="*/ 190157 h 990917"/>
              <a:gd name="connsiteX21" fmla="*/ 732205 w 1340044"/>
              <a:gd name="connsiteY21" fmla="*/ 184871 h 990917"/>
              <a:gd name="connsiteX22" fmla="*/ 750705 w 1340044"/>
              <a:gd name="connsiteY22" fmla="*/ 176943 h 990917"/>
              <a:gd name="connsiteX23" fmla="*/ 774490 w 1340044"/>
              <a:gd name="connsiteY23" fmla="*/ 163729 h 990917"/>
              <a:gd name="connsiteX24" fmla="*/ 782418 w 1340044"/>
              <a:gd name="connsiteY24" fmla="*/ 158443 h 990917"/>
              <a:gd name="connsiteX25" fmla="*/ 798275 w 1340044"/>
              <a:gd name="connsiteY25" fmla="*/ 153158 h 990917"/>
              <a:gd name="connsiteX26" fmla="*/ 814131 w 1340044"/>
              <a:gd name="connsiteY26" fmla="*/ 139944 h 990917"/>
              <a:gd name="connsiteX27" fmla="*/ 822060 w 1340044"/>
              <a:gd name="connsiteY27" fmla="*/ 132016 h 990917"/>
              <a:gd name="connsiteX28" fmla="*/ 837916 w 1340044"/>
              <a:gd name="connsiteY28" fmla="*/ 124087 h 990917"/>
              <a:gd name="connsiteX29" fmla="*/ 843202 w 1340044"/>
              <a:gd name="connsiteY29" fmla="*/ 116159 h 990917"/>
              <a:gd name="connsiteX30" fmla="*/ 859059 w 1340044"/>
              <a:gd name="connsiteY30" fmla="*/ 105588 h 990917"/>
              <a:gd name="connsiteX31" fmla="*/ 866987 w 1340044"/>
              <a:gd name="connsiteY31" fmla="*/ 100302 h 990917"/>
              <a:gd name="connsiteX32" fmla="*/ 877558 w 1340044"/>
              <a:gd name="connsiteY32" fmla="*/ 97660 h 990917"/>
              <a:gd name="connsiteX33" fmla="*/ 906629 w 1340044"/>
              <a:gd name="connsiteY33" fmla="*/ 87088 h 990917"/>
              <a:gd name="connsiteX34" fmla="*/ 922485 w 1340044"/>
              <a:gd name="connsiteY34" fmla="*/ 81803 h 990917"/>
              <a:gd name="connsiteX35" fmla="*/ 940985 w 1340044"/>
              <a:gd name="connsiteY35" fmla="*/ 76517 h 990917"/>
              <a:gd name="connsiteX36" fmla="*/ 951556 w 1340044"/>
              <a:gd name="connsiteY36" fmla="*/ 71232 h 990917"/>
              <a:gd name="connsiteX37" fmla="*/ 956841 w 1340044"/>
              <a:gd name="connsiteY37" fmla="*/ 63303 h 990917"/>
              <a:gd name="connsiteX38" fmla="*/ 967412 w 1340044"/>
              <a:gd name="connsiteY38" fmla="*/ 44804 h 990917"/>
              <a:gd name="connsiteX39" fmla="*/ 975341 w 1340044"/>
              <a:gd name="connsiteY39" fmla="*/ 39518 h 990917"/>
              <a:gd name="connsiteX40" fmla="*/ 993840 w 1340044"/>
              <a:gd name="connsiteY40" fmla="*/ 28947 h 990917"/>
              <a:gd name="connsiteX41" fmla="*/ 1009697 w 1340044"/>
              <a:gd name="connsiteY41" fmla="*/ 15734 h 990917"/>
              <a:gd name="connsiteX42" fmla="*/ 1017625 w 1340044"/>
              <a:gd name="connsiteY42" fmla="*/ 13091 h 990917"/>
              <a:gd name="connsiteX43" fmla="*/ 1036124 w 1340044"/>
              <a:gd name="connsiteY43" fmla="*/ 5162 h 990917"/>
              <a:gd name="connsiteX44" fmla="*/ 1125979 w 1340044"/>
              <a:gd name="connsiteY44" fmla="*/ 13091 h 990917"/>
              <a:gd name="connsiteX45" fmla="*/ 1133907 w 1340044"/>
              <a:gd name="connsiteY45" fmla="*/ 15734 h 990917"/>
              <a:gd name="connsiteX46" fmla="*/ 1149764 w 1340044"/>
              <a:gd name="connsiteY46" fmla="*/ 23662 h 990917"/>
              <a:gd name="connsiteX47" fmla="*/ 1157692 w 1340044"/>
              <a:gd name="connsiteY47" fmla="*/ 28947 h 990917"/>
              <a:gd name="connsiteX48" fmla="*/ 1165620 w 1340044"/>
              <a:gd name="connsiteY48" fmla="*/ 31590 h 990917"/>
              <a:gd name="connsiteX49" fmla="*/ 1181477 w 1340044"/>
              <a:gd name="connsiteY49" fmla="*/ 42161 h 990917"/>
              <a:gd name="connsiteX50" fmla="*/ 1186763 w 1340044"/>
              <a:gd name="connsiteY50" fmla="*/ 50090 h 990917"/>
              <a:gd name="connsiteX51" fmla="*/ 1189405 w 1340044"/>
              <a:gd name="connsiteY51" fmla="*/ 58018 h 990917"/>
              <a:gd name="connsiteX52" fmla="*/ 1205262 w 1340044"/>
              <a:gd name="connsiteY52" fmla="*/ 68589 h 990917"/>
              <a:gd name="connsiteX53" fmla="*/ 1242261 w 1340044"/>
              <a:gd name="connsiteY53" fmla="*/ 65946 h 990917"/>
              <a:gd name="connsiteX54" fmla="*/ 1258118 w 1340044"/>
              <a:gd name="connsiteY54" fmla="*/ 58018 h 990917"/>
              <a:gd name="connsiteX55" fmla="*/ 1271331 w 1340044"/>
              <a:gd name="connsiteY55" fmla="*/ 55375 h 990917"/>
              <a:gd name="connsiteX56" fmla="*/ 1279260 w 1340044"/>
              <a:gd name="connsiteY56" fmla="*/ 52732 h 990917"/>
              <a:gd name="connsiteX57" fmla="*/ 1273974 w 1340044"/>
              <a:gd name="connsiteY57" fmla="*/ 52732 h 990917"/>
              <a:gd name="connsiteX58" fmla="*/ 1281903 w 1340044"/>
              <a:gd name="connsiteY58" fmla="*/ 76517 h 990917"/>
              <a:gd name="connsiteX59" fmla="*/ 1287188 w 1340044"/>
              <a:gd name="connsiteY59" fmla="*/ 142587 h 990917"/>
              <a:gd name="connsiteX60" fmla="*/ 1292474 w 1340044"/>
              <a:gd name="connsiteY60" fmla="*/ 158443 h 990917"/>
              <a:gd name="connsiteX61" fmla="*/ 1297759 w 1340044"/>
              <a:gd name="connsiteY61" fmla="*/ 184871 h 990917"/>
              <a:gd name="connsiteX62" fmla="*/ 1300402 w 1340044"/>
              <a:gd name="connsiteY62" fmla="*/ 192799 h 990917"/>
              <a:gd name="connsiteX63" fmla="*/ 1305688 w 1340044"/>
              <a:gd name="connsiteY63" fmla="*/ 200728 h 990917"/>
              <a:gd name="connsiteX64" fmla="*/ 1313616 w 1340044"/>
              <a:gd name="connsiteY64" fmla="*/ 206013 h 990917"/>
              <a:gd name="connsiteX65" fmla="*/ 1318901 w 1340044"/>
              <a:gd name="connsiteY65" fmla="*/ 224513 h 990917"/>
              <a:gd name="connsiteX66" fmla="*/ 1324187 w 1340044"/>
              <a:gd name="connsiteY66" fmla="*/ 240369 h 990917"/>
              <a:gd name="connsiteX67" fmla="*/ 1329472 w 1340044"/>
              <a:gd name="connsiteY67" fmla="*/ 248298 h 990917"/>
              <a:gd name="connsiteX68" fmla="*/ 1332115 w 1340044"/>
              <a:gd name="connsiteY68" fmla="*/ 258869 h 990917"/>
              <a:gd name="connsiteX69" fmla="*/ 1340044 w 1340044"/>
              <a:gd name="connsiteY69" fmla="*/ 266797 h 990917"/>
              <a:gd name="connsiteX70" fmla="*/ 1324187 w 1340044"/>
              <a:gd name="connsiteY70" fmla="*/ 277368 h 990917"/>
              <a:gd name="connsiteX71" fmla="*/ 1316259 w 1340044"/>
              <a:gd name="connsiteY71" fmla="*/ 303796 h 990917"/>
              <a:gd name="connsiteX72" fmla="*/ 1313616 w 1340044"/>
              <a:gd name="connsiteY72" fmla="*/ 327581 h 990917"/>
              <a:gd name="connsiteX73" fmla="*/ 1308330 w 1340044"/>
              <a:gd name="connsiteY73" fmla="*/ 348723 h 990917"/>
              <a:gd name="connsiteX74" fmla="*/ 1310973 w 1340044"/>
              <a:gd name="connsiteY74" fmla="*/ 417435 h 990917"/>
              <a:gd name="connsiteX75" fmla="*/ 1303045 w 1340044"/>
              <a:gd name="connsiteY75" fmla="*/ 565431 h 990917"/>
              <a:gd name="connsiteX76" fmla="*/ 1297759 w 1340044"/>
              <a:gd name="connsiteY76" fmla="*/ 583930 h 990917"/>
              <a:gd name="connsiteX77" fmla="*/ 1292474 w 1340044"/>
              <a:gd name="connsiteY77" fmla="*/ 599787 h 990917"/>
              <a:gd name="connsiteX78" fmla="*/ 1284545 w 1340044"/>
              <a:gd name="connsiteY78" fmla="*/ 615643 h 990917"/>
              <a:gd name="connsiteX79" fmla="*/ 1276617 w 1340044"/>
              <a:gd name="connsiteY79" fmla="*/ 618286 h 990917"/>
              <a:gd name="connsiteX80" fmla="*/ 1266046 w 1340044"/>
              <a:gd name="connsiteY80" fmla="*/ 628857 h 990917"/>
              <a:gd name="connsiteX81" fmla="*/ 1250189 w 1340044"/>
              <a:gd name="connsiteY81" fmla="*/ 644714 h 990917"/>
              <a:gd name="connsiteX82" fmla="*/ 1242261 w 1340044"/>
              <a:gd name="connsiteY82" fmla="*/ 652642 h 990917"/>
              <a:gd name="connsiteX83" fmla="*/ 1231690 w 1340044"/>
              <a:gd name="connsiteY83" fmla="*/ 668499 h 990917"/>
              <a:gd name="connsiteX84" fmla="*/ 1229047 w 1340044"/>
              <a:gd name="connsiteY84" fmla="*/ 676427 h 990917"/>
              <a:gd name="connsiteX85" fmla="*/ 1221119 w 1340044"/>
              <a:gd name="connsiteY85" fmla="*/ 681713 h 990917"/>
              <a:gd name="connsiteX86" fmla="*/ 1213190 w 1340044"/>
              <a:gd name="connsiteY86" fmla="*/ 700212 h 990917"/>
              <a:gd name="connsiteX87" fmla="*/ 1202619 w 1340044"/>
              <a:gd name="connsiteY87" fmla="*/ 716069 h 990917"/>
              <a:gd name="connsiteX88" fmla="*/ 1194691 w 1340044"/>
              <a:gd name="connsiteY88" fmla="*/ 723997 h 990917"/>
              <a:gd name="connsiteX89" fmla="*/ 1184120 w 1340044"/>
              <a:gd name="connsiteY89" fmla="*/ 737211 h 990917"/>
              <a:gd name="connsiteX90" fmla="*/ 1170906 w 1340044"/>
              <a:gd name="connsiteY90" fmla="*/ 747782 h 990917"/>
              <a:gd name="connsiteX91" fmla="*/ 1165620 w 1340044"/>
              <a:gd name="connsiteY91" fmla="*/ 755710 h 990917"/>
              <a:gd name="connsiteX92" fmla="*/ 1157692 w 1340044"/>
              <a:gd name="connsiteY92" fmla="*/ 758353 h 990917"/>
              <a:gd name="connsiteX93" fmla="*/ 1149764 w 1340044"/>
              <a:gd name="connsiteY93" fmla="*/ 763639 h 990917"/>
              <a:gd name="connsiteX94" fmla="*/ 1141835 w 1340044"/>
              <a:gd name="connsiteY94" fmla="*/ 771567 h 990917"/>
              <a:gd name="connsiteX95" fmla="*/ 1136550 w 1340044"/>
              <a:gd name="connsiteY95" fmla="*/ 779495 h 990917"/>
              <a:gd name="connsiteX96" fmla="*/ 1128622 w 1340044"/>
              <a:gd name="connsiteY96" fmla="*/ 782138 h 990917"/>
              <a:gd name="connsiteX97" fmla="*/ 1133907 w 1340044"/>
              <a:gd name="connsiteY97" fmla="*/ 811209 h 990917"/>
              <a:gd name="connsiteX98" fmla="*/ 1144478 w 1340044"/>
              <a:gd name="connsiteY98" fmla="*/ 827065 h 990917"/>
              <a:gd name="connsiteX99" fmla="*/ 1149764 w 1340044"/>
              <a:gd name="connsiteY99" fmla="*/ 845565 h 990917"/>
              <a:gd name="connsiteX100" fmla="*/ 1147121 w 1340044"/>
              <a:gd name="connsiteY100" fmla="*/ 861421 h 990917"/>
              <a:gd name="connsiteX101" fmla="*/ 1128622 w 1340044"/>
              <a:gd name="connsiteY101" fmla="*/ 864064 h 990917"/>
              <a:gd name="connsiteX102" fmla="*/ 1120693 w 1340044"/>
              <a:gd name="connsiteY102" fmla="*/ 866707 h 990917"/>
              <a:gd name="connsiteX103" fmla="*/ 1099551 w 1340044"/>
              <a:gd name="connsiteY103" fmla="*/ 871992 h 990917"/>
              <a:gd name="connsiteX104" fmla="*/ 1094266 w 1340044"/>
              <a:gd name="connsiteY104" fmla="*/ 882564 h 990917"/>
              <a:gd name="connsiteX105" fmla="*/ 1088980 w 1340044"/>
              <a:gd name="connsiteY105" fmla="*/ 890492 h 990917"/>
              <a:gd name="connsiteX106" fmla="*/ 1086337 w 1340044"/>
              <a:gd name="connsiteY106" fmla="*/ 898420 h 990917"/>
              <a:gd name="connsiteX107" fmla="*/ 1078409 w 1340044"/>
              <a:gd name="connsiteY107" fmla="*/ 901063 h 990917"/>
              <a:gd name="connsiteX108" fmla="*/ 1057267 w 1340044"/>
              <a:gd name="connsiteY108" fmla="*/ 906349 h 990917"/>
              <a:gd name="connsiteX109" fmla="*/ 1009697 w 1340044"/>
              <a:gd name="connsiteY109" fmla="*/ 903706 h 990917"/>
              <a:gd name="connsiteX110" fmla="*/ 1001768 w 1340044"/>
              <a:gd name="connsiteY110" fmla="*/ 901063 h 990917"/>
              <a:gd name="connsiteX111" fmla="*/ 991197 w 1340044"/>
              <a:gd name="connsiteY111" fmla="*/ 898420 h 990917"/>
              <a:gd name="connsiteX112" fmla="*/ 972698 w 1340044"/>
              <a:gd name="connsiteY112" fmla="*/ 890492 h 990917"/>
              <a:gd name="connsiteX113" fmla="*/ 956841 w 1340044"/>
              <a:gd name="connsiteY113" fmla="*/ 877278 h 990917"/>
              <a:gd name="connsiteX114" fmla="*/ 948913 w 1340044"/>
              <a:gd name="connsiteY114" fmla="*/ 874635 h 990917"/>
              <a:gd name="connsiteX115" fmla="*/ 940985 w 1340044"/>
              <a:gd name="connsiteY115" fmla="*/ 869350 h 990917"/>
              <a:gd name="connsiteX116" fmla="*/ 914557 w 1340044"/>
              <a:gd name="connsiteY116" fmla="*/ 877278 h 990917"/>
              <a:gd name="connsiteX117" fmla="*/ 906629 w 1340044"/>
              <a:gd name="connsiteY117" fmla="*/ 879921 h 990917"/>
              <a:gd name="connsiteX118" fmla="*/ 898700 w 1340044"/>
              <a:gd name="connsiteY118" fmla="*/ 887849 h 990917"/>
              <a:gd name="connsiteX119" fmla="*/ 890772 w 1340044"/>
              <a:gd name="connsiteY119" fmla="*/ 893135 h 990917"/>
              <a:gd name="connsiteX120" fmla="*/ 848488 w 1340044"/>
              <a:gd name="connsiteY120" fmla="*/ 898420 h 990917"/>
              <a:gd name="connsiteX121" fmla="*/ 832631 w 1340044"/>
              <a:gd name="connsiteY121" fmla="*/ 903706 h 990917"/>
              <a:gd name="connsiteX122" fmla="*/ 816774 w 1340044"/>
              <a:gd name="connsiteY122" fmla="*/ 914277 h 990917"/>
              <a:gd name="connsiteX123" fmla="*/ 795632 w 1340044"/>
              <a:gd name="connsiteY123" fmla="*/ 919562 h 990917"/>
              <a:gd name="connsiteX124" fmla="*/ 787704 w 1340044"/>
              <a:gd name="connsiteY124" fmla="*/ 922205 h 990917"/>
              <a:gd name="connsiteX125" fmla="*/ 779775 w 1340044"/>
              <a:gd name="connsiteY125" fmla="*/ 927491 h 990917"/>
              <a:gd name="connsiteX126" fmla="*/ 761276 w 1340044"/>
              <a:gd name="connsiteY126" fmla="*/ 919562 h 990917"/>
              <a:gd name="connsiteX127" fmla="*/ 753348 w 1340044"/>
              <a:gd name="connsiteY127" fmla="*/ 914277 h 990917"/>
              <a:gd name="connsiteX128" fmla="*/ 745419 w 1340044"/>
              <a:gd name="connsiteY128" fmla="*/ 911634 h 990917"/>
              <a:gd name="connsiteX129" fmla="*/ 737491 w 1340044"/>
              <a:gd name="connsiteY129" fmla="*/ 906349 h 990917"/>
              <a:gd name="connsiteX130" fmla="*/ 721634 w 1340044"/>
              <a:gd name="connsiteY130" fmla="*/ 901063 h 990917"/>
              <a:gd name="connsiteX131" fmla="*/ 713706 w 1340044"/>
              <a:gd name="connsiteY131" fmla="*/ 898420 h 990917"/>
              <a:gd name="connsiteX132" fmla="*/ 697849 w 1340044"/>
              <a:gd name="connsiteY132" fmla="*/ 893135 h 990917"/>
              <a:gd name="connsiteX133" fmla="*/ 689921 w 1340044"/>
              <a:gd name="connsiteY133" fmla="*/ 890492 h 990917"/>
              <a:gd name="connsiteX134" fmla="*/ 671422 w 1340044"/>
              <a:gd name="connsiteY134" fmla="*/ 887849 h 990917"/>
              <a:gd name="connsiteX135" fmla="*/ 639708 w 1340044"/>
              <a:gd name="connsiteY135" fmla="*/ 887849 h 990917"/>
              <a:gd name="connsiteX136" fmla="*/ 631780 w 1340044"/>
              <a:gd name="connsiteY136" fmla="*/ 890492 h 990917"/>
              <a:gd name="connsiteX137" fmla="*/ 615923 w 1340044"/>
              <a:gd name="connsiteY137" fmla="*/ 901063 h 990917"/>
              <a:gd name="connsiteX138" fmla="*/ 600067 w 1340044"/>
              <a:gd name="connsiteY138" fmla="*/ 906349 h 990917"/>
              <a:gd name="connsiteX139" fmla="*/ 589496 w 1340044"/>
              <a:gd name="connsiteY139" fmla="*/ 903706 h 990917"/>
              <a:gd name="connsiteX140" fmla="*/ 581567 w 1340044"/>
              <a:gd name="connsiteY140" fmla="*/ 898420 h 990917"/>
              <a:gd name="connsiteX141" fmla="*/ 573639 w 1340044"/>
              <a:gd name="connsiteY141" fmla="*/ 895777 h 990917"/>
              <a:gd name="connsiteX142" fmla="*/ 563068 w 1340044"/>
              <a:gd name="connsiteY142" fmla="*/ 879921 h 990917"/>
              <a:gd name="connsiteX143" fmla="*/ 547211 w 1340044"/>
              <a:gd name="connsiteY143" fmla="*/ 871992 h 990917"/>
              <a:gd name="connsiteX144" fmla="*/ 539283 w 1340044"/>
              <a:gd name="connsiteY144" fmla="*/ 866707 h 990917"/>
              <a:gd name="connsiteX145" fmla="*/ 531355 w 1340044"/>
              <a:gd name="connsiteY145" fmla="*/ 864064 h 990917"/>
              <a:gd name="connsiteX146" fmla="*/ 520783 w 1340044"/>
              <a:gd name="connsiteY146" fmla="*/ 858779 h 990917"/>
              <a:gd name="connsiteX147" fmla="*/ 504927 w 1340044"/>
              <a:gd name="connsiteY147" fmla="*/ 853493 h 990917"/>
              <a:gd name="connsiteX148" fmla="*/ 489070 w 1340044"/>
              <a:gd name="connsiteY148" fmla="*/ 848208 h 990917"/>
              <a:gd name="connsiteX149" fmla="*/ 478499 w 1340044"/>
              <a:gd name="connsiteY149" fmla="*/ 845565 h 990917"/>
              <a:gd name="connsiteX150" fmla="*/ 470571 w 1340044"/>
              <a:gd name="connsiteY150" fmla="*/ 842922 h 990917"/>
              <a:gd name="connsiteX151" fmla="*/ 460000 w 1340044"/>
              <a:gd name="connsiteY151" fmla="*/ 840279 h 990917"/>
              <a:gd name="connsiteX152" fmla="*/ 452071 w 1340044"/>
              <a:gd name="connsiteY152" fmla="*/ 837636 h 990917"/>
              <a:gd name="connsiteX153" fmla="*/ 430929 w 1340044"/>
              <a:gd name="connsiteY153" fmla="*/ 834994 h 990917"/>
              <a:gd name="connsiteX154" fmla="*/ 349003 w 1340044"/>
              <a:gd name="connsiteY154" fmla="*/ 845565 h 990917"/>
              <a:gd name="connsiteX155" fmla="*/ 341075 w 1340044"/>
              <a:gd name="connsiteY155" fmla="*/ 853493 h 990917"/>
              <a:gd name="connsiteX156" fmla="*/ 338432 w 1340044"/>
              <a:gd name="connsiteY156" fmla="*/ 864064 h 990917"/>
              <a:gd name="connsiteX157" fmla="*/ 335789 w 1340044"/>
              <a:gd name="connsiteY157" fmla="*/ 877278 h 990917"/>
              <a:gd name="connsiteX158" fmla="*/ 330504 w 1340044"/>
              <a:gd name="connsiteY158" fmla="*/ 893135 h 990917"/>
              <a:gd name="connsiteX159" fmla="*/ 322575 w 1340044"/>
              <a:gd name="connsiteY159" fmla="*/ 908991 h 990917"/>
              <a:gd name="connsiteX160" fmla="*/ 314647 w 1340044"/>
              <a:gd name="connsiteY160" fmla="*/ 914277 h 990917"/>
              <a:gd name="connsiteX161" fmla="*/ 296148 w 1340044"/>
              <a:gd name="connsiteY161" fmla="*/ 932776 h 990917"/>
              <a:gd name="connsiteX162" fmla="*/ 288219 w 1340044"/>
              <a:gd name="connsiteY162" fmla="*/ 938062 h 990917"/>
              <a:gd name="connsiteX163" fmla="*/ 277648 w 1340044"/>
              <a:gd name="connsiteY163" fmla="*/ 953918 h 990917"/>
              <a:gd name="connsiteX164" fmla="*/ 275005 w 1340044"/>
              <a:gd name="connsiteY164" fmla="*/ 961847 h 990917"/>
              <a:gd name="connsiteX165" fmla="*/ 269720 w 1340044"/>
              <a:gd name="connsiteY165" fmla="*/ 990917 h 990917"/>
              <a:gd name="connsiteX166" fmla="*/ 256506 w 1340044"/>
              <a:gd name="connsiteY166" fmla="*/ 980346 h 990917"/>
              <a:gd name="connsiteX167" fmla="*/ 251220 w 1340044"/>
              <a:gd name="connsiteY167" fmla="*/ 964490 h 990917"/>
              <a:gd name="connsiteX168" fmla="*/ 235364 w 1340044"/>
              <a:gd name="connsiteY168" fmla="*/ 959204 h 990917"/>
              <a:gd name="connsiteX169" fmla="*/ 227435 w 1340044"/>
              <a:gd name="connsiteY169" fmla="*/ 956561 h 990917"/>
              <a:gd name="connsiteX170" fmla="*/ 187794 w 1340044"/>
              <a:gd name="connsiteY170" fmla="*/ 959204 h 990917"/>
              <a:gd name="connsiteX171" fmla="*/ 171937 w 1340044"/>
              <a:gd name="connsiteY171" fmla="*/ 964490 h 990917"/>
              <a:gd name="connsiteX172" fmla="*/ 164009 w 1340044"/>
              <a:gd name="connsiteY172" fmla="*/ 967132 h 990917"/>
              <a:gd name="connsiteX173" fmla="*/ 158723 w 1340044"/>
              <a:gd name="connsiteY173" fmla="*/ 959204 h 990917"/>
              <a:gd name="connsiteX174" fmla="*/ 166652 w 1340044"/>
              <a:gd name="connsiteY174" fmla="*/ 940705 h 990917"/>
              <a:gd name="connsiteX175" fmla="*/ 164009 w 1340044"/>
              <a:gd name="connsiteY175" fmla="*/ 927491 h 990917"/>
              <a:gd name="connsiteX176" fmla="*/ 156081 w 1340044"/>
              <a:gd name="connsiteY176" fmla="*/ 924848 h 990917"/>
              <a:gd name="connsiteX177" fmla="*/ 134938 w 1340044"/>
              <a:gd name="connsiteY177" fmla="*/ 922205 h 990917"/>
              <a:gd name="connsiteX178" fmla="*/ 113796 w 1340044"/>
              <a:gd name="connsiteY178" fmla="*/ 919562 h 990917"/>
              <a:gd name="connsiteX179" fmla="*/ 92654 w 1340044"/>
              <a:gd name="connsiteY179" fmla="*/ 916920 h 990917"/>
              <a:gd name="connsiteX180" fmla="*/ 76797 w 1340044"/>
              <a:gd name="connsiteY180" fmla="*/ 906349 h 990917"/>
              <a:gd name="connsiteX181" fmla="*/ 68869 w 1340044"/>
              <a:gd name="connsiteY181" fmla="*/ 890492 h 990917"/>
              <a:gd name="connsiteX182" fmla="*/ 71512 w 1340044"/>
              <a:gd name="connsiteY182" fmla="*/ 879921 h 990917"/>
              <a:gd name="connsiteX183" fmla="*/ 87368 w 1340044"/>
              <a:gd name="connsiteY183" fmla="*/ 874635 h 990917"/>
              <a:gd name="connsiteX184" fmla="*/ 90011 w 1340044"/>
              <a:gd name="connsiteY184" fmla="*/ 866707 h 990917"/>
              <a:gd name="connsiteX185" fmla="*/ 74155 w 1340044"/>
              <a:gd name="connsiteY185" fmla="*/ 856136 h 990917"/>
              <a:gd name="connsiteX186" fmla="*/ 58298 w 1340044"/>
              <a:gd name="connsiteY186" fmla="*/ 845565 h 990917"/>
              <a:gd name="connsiteX187" fmla="*/ 42441 w 1340044"/>
              <a:gd name="connsiteY187" fmla="*/ 837636 h 990917"/>
              <a:gd name="connsiteX188" fmla="*/ 34513 w 1340044"/>
              <a:gd name="connsiteY188" fmla="*/ 821780 h 990917"/>
              <a:gd name="connsiteX189" fmla="*/ 29227 w 1340044"/>
              <a:gd name="connsiteY189" fmla="*/ 805923 h 990917"/>
              <a:gd name="connsiteX190" fmla="*/ 26585 w 1340044"/>
              <a:gd name="connsiteY190" fmla="*/ 797995 h 990917"/>
              <a:gd name="connsiteX191" fmla="*/ 16014 w 1340044"/>
              <a:gd name="connsiteY191" fmla="*/ 782138 h 990917"/>
              <a:gd name="connsiteX192" fmla="*/ 2800 w 1340044"/>
              <a:gd name="connsiteY192" fmla="*/ 766282 h 990917"/>
              <a:gd name="connsiteX193" fmla="*/ 157 w 1340044"/>
              <a:gd name="connsiteY193" fmla="*/ 758353 h 990917"/>
              <a:gd name="connsiteX194" fmla="*/ 2800 w 1340044"/>
              <a:gd name="connsiteY194" fmla="*/ 731925 h 990917"/>
              <a:gd name="connsiteX195" fmla="*/ 10728 w 1340044"/>
              <a:gd name="connsiteY195" fmla="*/ 726640 h 990917"/>
              <a:gd name="connsiteX196" fmla="*/ 82083 w 1340044"/>
              <a:gd name="connsiteY196" fmla="*/ 723997 h 990917"/>
              <a:gd name="connsiteX197" fmla="*/ 90011 w 1340044"/>
              <a:gd name="connsiteY197" fmla="*/ 716069 h 990917"/>
              <a:gd name="connsiteX198" fmla="*/ 100582 w 1340044"/>
              <a:gd name="connsiteY198" fmla="*/ 700212 h 990917"/>
              <a:gd name="connsiteX199" fmla="*/ 235364 w 1340044"/>
              <a:gd name="connsiteY199" fmla="*/ 694927 h 990917"/>
              <a:gd name="connsiteX200" fmla="*/ 251220 w 1340044"/>
              <a:gd name="connsiteY200" fmla="*/ 686998 h 990917"/>
              <a:gd name="connsiteX201" fmla="*/ 259149 w 1340044"/>
              <a:gd name="connsiteY201" fmla="*/ 684355 h 990917"/>
              <a:gd name="connsiteX202" fmla="*/ 269720 w 1340044"/>
              <a:gd name="connsiteY202" fmla="*/ 679070 h 990917"/>
              <a:gd name="connsiteX203" fmla="*/ 285577 w 1340044"/>
              <a:gd name="connsiteY203" fmla="*/ 673784 h 990917"/>
              <a:gd name="connsiteX204" fmla="*/ 293505 w 1340044"/>
              <a:gd name="connsiteY204" fmla="*/ 671142 h 990917"/>
              <a:gd name="connsiteX205" fmla="*/ 301433 w 1340044"/>
              <a:gd name="connsiteY205" fmla="*/ 665856 h 990917"/>
              <a:gd name="connsiteX206" fmla="*/ 309361 w 1340044"/>
              <a:gd name="connsiteY206" fmla="*/ 663213 h 990917"/>
              <a:gd name="connsiteX207" fmla="*/ 317290 w 1340044"/>
              <a:gd name="connsiteY207" fmla="*/ 655285 h 990917"/>
              <a:gd name="connsiteX208" fmla="*/ 333146 w 1340044"/>
              <a:gd name="connsiteY208" fmla="*/ 644714 h 990917"/>
              <a:gd name="connsiteX209" fmla="*/ 341075 w 1340044"/>
              <a:gd name="connsiteY209" fmla="*/ 639428 h 990917"/>
              <a:gd name="connsiteX210" fmla="*/ 349003 w 1340044"/>
              <a:gd name="connsiteY210" fmla="*/ 634143 h 990917"/>
              <a:gd name="connsiteX211" fmla="*/ 362217 w 1340044"/>
              <a:gd name="connsiteY211" fmla="*/ 594501 h 990917"/>
              <a:gd name="connsiteX212" fmla="*/ 367503 w 1340044"/>
              <a:gd name="connsiteY212" fmla="*/ 578645 h 990917"/>
              <a:gd name="connsiteX213" fmla="*/ 370145 w 1340044"/>
              <a:gd name="connsiteY213" fmla="*/ 570716 h 990917"/>
              <a:gd name="connsiteX214" fmla="*/ 362217 w 1340044"/>
              <a:gd name="connsiteY214" fmla="*/ 367223 h 990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</a:cxnLst>
            <a:rect l="l" t="t" r="r" b="b"/>
            <a:pathLst>
              <a:path w="1340044" h="990917">
                <a:moveTo>
                  <a:pt x="362217" y="367223"/>
                </a:moveTo>
                <a:cubicBezTo>
                  <a:pt x="375871" y="332867"/>
                  <a:pt x="422148" y="366155"/>
                  <a:pt x="452071" y="364580"/>
                </a:cubicBezTo>
                <a:cubicBezTo>
                  <a:pt x="456081" y="364369"/>
                  <a:pt x="477552" y="357282"/>
                  <a:pt x="478499" y="356651"/>
                </a:cubicBezTo>
                <a:cubicBezTo>
                  <a:pt x="513704" y="333182"/>
                  <a:pt x="461520" y="366965"/>
                  <a:pt x="494356" y="348723"/>
                </a:cubicBezTo>
                <a:cubicBezTo>
                  <a:pt x="524939" y="331732"/>
                  <a:pt x="498885" y="345201"/>
                  <a:pt x="518141" y="330224"/>
                </a:cubicBezTo>
                <a:cubicBezTo>
                  <a:pt x="523155" y="326324"/>
                  <a:pt x="533997" y="319653"/>
                  <a:pt x="533997" y="319653"/>
                </a:cubicBezTo>
                <a:cubicBezTo>
                  <a:pt x="535759" y="317010"/>
                  <a:pt x="536892" y="313816"/>
                  <a:pt x="539283" y="311724"/>
                </a:cubicBezTo>
                <a:cubicBezTo>
                  <a:pt x="544064" y="307541"/>
                  <a:pt x="555140" y="301153"/>
                  <a:pt x="555140" y="301153"/>
                </a:cubicBezTo>
                <a:cubicBezTo>
                  <a:pt x="556021" y="298510"/>
                  <a:pt x="556237" y="295543"/>
                  <a:pt x="557782" y="293225"/>
                </a:cubicBezTo>
                <a:cubicBezTo>
                  <a:pt x="563438" y="284742"/>
                  <a:pt x="565328" y="285425"/>
                  <a:pt x="573639" y="282654"/>
                </a:cubicBezTo>
                <a:cubicBezTo>
                  <a:pt x="578291" y="268699"/>
                  <a:pt x="573964" y="276269"/>
                  <a:pt x="592138" y="264154"/>
                </a:cubicBezTo>
                <a:lnTo>
                  <a:pt x="607995" y="253583"/>
                </a:lnTo>
                <a:cubicBezTo>
                  <a:pt x="610638" y="251821"/>
                  <a:pt x="612910" y="249302"/>
                  <a:pt x="615923" y="248298"/>
                </a:cubicBezTo>
                <a:lnTo>
                  <a:pt x="623852" y="245655"/>
                </a:lnTo>
                <a:lnTo>
                  <a:pt x="634423" y="229798"/>
                </a:lnTo>
                <a:cubicBezTo>
                  <a:pt x="636185" y="227155"/>
                  <a:pt x="637065" y="223632"/>
                  <a:pt x="639708" y="221870"/>
                </a:cubicBezTo>
                <a:lnTo>
                  <a:pt x="655565" y="211299"/>
                </a:lnTo>
                <a:cubicBezTo>
                  <a:pt x="658208" y="209537"/>
                  <a:pt x="660480" y="207017"/>
                  <a:pt x="663493" y="206013"/>
                </a:cubicBezTo>
                <a:lnTo>
                  <a:pt x="687278" y="198085"/>
                </a:lnTo>
                <a:cubicBezTo>
                  <a:pt x="689921" y="197204"/>
                  <a:pt x="692504" y="196118"/>
                  <a:pt x="695207" y="195442"/>
                </a:cubicBezTo>
                <a:cubicBezTo>
                  <a:pt x="702254" y="193680"/>
                  <a:pt x="709458" y="192454"/>
                  <a:pt x="716349" y="190157"/>
                </a:cubicBezTo>
                <a:cubicBezTo>
                  <a:pt x="721634" y="188395"/>
                  <a:pt x="727569" y="187961"/>
                  <a:pt x="732205" y="184871"/>
                </a:cubicBezTo>
                <a:cubicBezTo>
                  <a:pt x="743156" y="177572"/>
                  <a:pt x="737053" y="180356"/>
                  <a:pt x="750705" y="176943"/>
                </a:cubicBezTo>
                <a:cubicBezTo>
                  <a:pt x="768879" y="164827"/>
                  <a:pt x="760535" y="168381"/>
                  <a:pt x="774490" y="163729"/>
                </a:cubicBezTo>
                <a:cubicBezTo>
                  <a:pt x="777133" y="161967"/>
                  <a:pt x="779516" y="159733"/>
                  <a:pt x="782418" y="158443"/>
                </a:cubicBezTo>
                <a:cubicBezTo>
                  <a:pt x="787509" y="156180"/>
                  <a:pt x="798275" y="153158"/>
                  <a:pt x="798275" y="153158"/>
                </a:cubicBezTo>
                <a:cubicBezTo>
                  <a:pt x="821420" y="130010"/>
                  <a:pt x="792071" y="158326"/>
                  <a:pt x="814131" y="139944"/>
                </a:cubicBezTo>
                <a:cubicBezTo>
                  <a:pt x="817002" y="137551"/>
                  <a:pt x="819189" y="134409"/>
                  <a:pt x="822060" y="132016"/>
                </a:cubicBezTo>
                <a:cubicBezTo>
                  <a:pt x="828892" y="126323"/>
                  <a:pt x="829969" y="126736"/>
                  <a:pt x="837916" y="124087"/>
                </a:cubicBezTo>
                <a:cubicBezTo>
                  <a:pt x="839678" y="121444"/>
                  <a:pt x="840812" y="118250"/>
                  <a:pt x="843202" y="116159"/>
                </a:cubicBezTo>
                <a:cubicBezTo>
                  <a:pt x="847983" y="111976"/>
                  <a:pt x="853773" y="109112"/>
                  <a:pt x="859059" y="105588"/>
                </a:cubicBezTo>
                <a:cubicBezTo>
                  <a:pt x="861702" y="103826"/>
                  <a:pt x="863906" y="101072"/>
                  <a:pt x="866987" y="100302"/>
                </a:cubicBezTo>
                <a:lnTo>
                  <a:pt x="877558" y="97660"/>
                </a:lnTo>
                <a:cubicBezTo>
                  <a:pt x="894176" y="86580"/>
                  <a:pt x="876353" y="97179"/>
                  <a:pt x="906629" y="87088"/>
                </a:cubicBezTo>
                <a:cubicBezTo>
                  <a:pt x="911914" y="85326"/>
                  <a:pt x="917080" y="83154"/>
                  <a:pt x="922485" y="81803"/>
                </a:cubicBezTo>
                <a:cubicBezTo>
                  <a:pt x="927850" y="80462"/>
                  <a:pt x="935677" y="78792"/>
                  <a:pt x="940985" y="76517"/>
                </a:cubicBezTo>
                <a:cubicBezTo>
                  <a:pt x="944606" y="74965"/>
                  <a:pt x="948032" y="72994"/>
                  <a:pt x="951556" y="71232"/>
                </a:cubicBezTo>
                <a:cubicBezTo>
                  <a:pt x="953318" y="68589"/>
                  <a:pt x="955265" y="66061"/>
                  <a:pt x="956841" y="63303"/>
                </a:cubicBezTo>
                <a:cubicBezTo>
                  <a:pt x="959602" y="58471"/>
                  <a:pt x="963122" y="49094"/>
                  <a:pt x="967412" y="44804"/>
                </a:cubicBezTo>
                <a:cubicBezTo>
                  <a:pt x="969658" y="42558"/>
                  <a:pt x="972756" y="41364"/>
                  <a:pt x="975341" y="39518"/>
                </a:cubicBezTo>
                <a:cubicBezTo>
                  <a:pt x="989340" y="29519"/>
                  <a:pt x="980975" y="33236"/>
                  <a:pt x="993840" y="28947"/>
                </a:cubicBezTo>
                <a:cubicBezTo>
                  <a:pt x="999687" y="23100"/>
                  <a:pt x="1002335" y="19415"/>
                  <a:pt x="1009697" y="15734"/>
                </a:cubicBezTo>
                <a:cubicBezTo>
                  <a:pt x="1012189" y="14488"/>
                  <a:pt x="1015134" y="14337"/>
                  <a:pt x="1017625" y="13091"/>
                </a:cubicBezTo>
                <a:cubicBezTo>
                  <a:pt x="1035875" y="3965"/>
                  <a:pt x="1014124" y="10663"/>
                  <a:pt x="1036124" y="5162"/>
                </a:cubicBezTo>
                <a:cubicBezTo>
                  <a:pt x="1115686" y="8004"/>
                  <a:pt x="1086708" y="0"/>
                  <a:pt x="1125979" y="13091"/>
                </a:cubicBezTo>
                <a:cubicBezTo>
                  <a:pt x="1128622" y="13972"/>
                  <a:pt x="1131589" y="14189"/>
                  <a:pt x="1133907" y="15734"/>
                </a:cubicBezTo>
                <a:cubicBezTo>
                  <a:pt x="1156626" y="30879"/>
                  <a:pt x="1127881" y="12721"/>
                  <a:pt x="1149764" y="23662"/>
                </a:cubicBezTo>
                <a:cubicBezTo>
                  <a:pt x="1152605" y="25082"/>
                  <a:pt x="1154851" y="27527"/>
                  <a:pt x="1157692" y="28947"/>
                </a:cubicBezTo>
                <a:cubicBezTo>
                  <a:pt x="1160184" y="30193"/>
                  <a:pt x="1163185" y="30237"/>
                  <a:pt x="1165620" y="31590"/>
                </a:cubicBezTo>
                <a:cubicBezTo>
                  <a:pt x="1171173" y="34675"/>
                  <a:pt x="1181477" y="42161"/>
                  <a:pt x="1181477" y="42161"/>
                </a:cubicBezTo>
                <a:cubicBezTo>
                  <a:pt x="1183239" y="44804"/>
                  <a:pt x="1185343" y="47249"/>
                  <a:pt x="1186763" y="50090"/>
                </a:cubicBezTo>
                <a:cubicBezTo>
                  <a:pt x="1188009" y="52581"/>
                  <a:pt x="1187435" y="56048"/>
                  <a:pt x="1189405" y="58018"/>
                </a:cubicBezTo>
                <a:cubicBezTo>
                  <a:pt x="1193897" y="62510"/>
                  <a:pt x="1205262" y="68589"/>
                  <a:pt x="1205262" y="68589"/>
                </a:cubicBezTo>
                <a:cubicBezTo>
                  <a:pt x="1217595" y="67708"/>
                  <a:pt x="1229981" y="67391"/>
                  <a:pt x="1242261" y="65946"/>
                </a:cubicBezTo>
                <a:cubicBezTo>
                  <a:pt x="1254212" y="64540"/>
                  <a:pt x="1246720" y="62292"/>
                  <a:pt x="1258118" y="58018"/>
                </a:cubicBezTo>
                <a:cubicBezTo>
                  <a:pt x="1262324" y="56441"/>
                  <a:pt x="1266974" y="56464"/>
                  <a:pt x="1271331" y="55375"/>
                </a:cubicBezTo>
                <a:cubicBezTo>
                  <a:pt x="1274034" y="54699"/>
                  <a:pt x="1276617" y="53613"/>
                  <a:pt x="1279260" y="52732"/>
                </a:cubicBezTo>
                <a:cubicBezTo>
                  <a:pt x="1279260" y="52732"/>
                  <a:pt x="1273974" y="31591"/>
                  <a:pt x="1273974" y="52732"/>
                </a:cubicBezTo>
                <a:cubicBezTo>
                  <a:pt x="1273974" y="66975"/>
                  <a:pt x="1275520" y="66944"/>
                  <a:pt x="1281903" y="76517"/>
                </a:cubicBezTo>
                <a:cubicBezTo>
                  <a:pt x="1290361" y="110360"/>
                  <a:pt x="1277612" y="56412"/>
                  <a:pt x="1287188" y="142587"/>
                </a:cubicBezTo>
                <a:cubicBezTo>
                  <a:pt x="1287803" y="148124"/>
                  <a:pt x="1291381" y="152980"/>
                  <a:pt x="1292474" y="158443"/>
                </a:cubicBezTo>
                <a:cubicBezTo>
                  <a:pt x="1294236" y="167252"/>
                  <a:pt x="1294918" y="176348"/>
                  <a:pt x="1297759" y="184871"/>
                </a:cubicBezTo>
                <a:cubicBezTo>
                  <a:pt x="1298640" y="187514"/>
                  <a:pt x="1299156" y="190307"/>
                  <a:pt x="1300402" y="192799"/>
                </a:cubicBezTo>
                <a:cubicBezTo>
                  <a:pt x="1301823" y="195640"/>
                  <a:pt x="1303442" y="198482"/>
                  <a:pt x="1305688" y="200728"/>
                </a:cubicBezTo>
                <a:cubicBezTo>
                  <a:pt x="1307934" y="202974"/>
                  <a:pt x="1310973" y="204251"/>
                  <a:pt x="1313616" y="206013"/>
                </a:cubicBezTo>
                <a:cubicBezTo>
                  <a:pt x="1322505" y="232679"/>
                  <a:pt x="1308938" y="191304"/>
                  <a:pt x="1318901" y="224513"/>
                </a:cubicBezTo>
                <a:cubicBezTo>
                  <a:pt x="1320502" y="229849"/>
                  <a:pt x="1321097" y="235733"/>
                  <a:pt x="1324187" y="240369"/>
                </a:cubicBezTo>
                <a:lnTo>
                  <a:pt x="1329472" y="248298"/>
                </a:lnTo>
                <a:cubicBezTo>
                  <a:pt x="1330353" y="251822"/>
                  <a:pt x="1330313" y="255716"/>
                  <a:pt x="1332115" y="258869"/>
                </a:cubicBezTo>
                <a:cubicBezTo>
                  <a:pt x="1333969" y="262114"/>
                  <a:pt x="1340044" y="263059"/>
                  <a:pt x="1340044" y="266797"/>
                </a:cubicBezTo>
                <a:cubicBezTo>
                  <a:pt x="1340044" y="273395"/>
                  <a:pt x="1328283" y="276003"/>
                  <a:pt x="1324187" y="277368"/>
                </a:cubicBezTo>
                <a:cubicBezTo>
                  <a:pt x="1317752" y="296671"/>
                  <a:pt x="1320252" y="287820"/>
                  <a:pt x="1316259" y="303796"/>
                </a:cubicBezTo>
                <a:cubicBezTo>
                  <a:pt x="1315378" y="311724"/>
                  <a:pt x="1315002" y="319725"/>
                  <a:pt x="1313616" y="327581"/>
                </a:cubicBezTo>
                <a:cubicBezTo>
                  <a:pt x="1312353" y="334735"/>
                  <a:pt x="1308330" y="348723"/>
                  <a:pt x="1308330" y="348723"/>
                </a:cubicBezTo>
                <a:cubicBezTo>
                  <a:pt x="1309211" y="371627"/>
                  <a:pt x="1310973" y="394514"/>
                  <a:pt x="1310973" y="417435"/>
                </a:cubicBezTo>
                <a:cubicBezTo>
                  <a:pt x="1310973" y="546842"/>
                  <a:pt x="1321912" y="508829"/>
                  <a:pt x="1303045" y="565431"/>
                </a:cubicBezTo>
                <a:cubicBezTo>
                  <a:pt x="1294162" y="592082"/>
                  <a:pt x="1307716" y="550738"/>
                  <a:pt x="1297759" y="583930"/>
                </a:cubicBezTo>
                <a:cubicBezTo>
                  <a:pt x="1296158" y="589267"/>
                  <a:pt x="1294236" y="594501"/>
                  <a:pt x="1292474" y="599787"/>
                </a:cubicBezTo>
                <a:cubicBezTo>
                  <a:pt x="1290733" y="605010"/>
                  <a:pt x="1289202" y="611917"/>
                  <a:pt x="1284545" y="615643"/>
                </a:cubicBezTo>
                <a:cubicBezTo>
                  <a:pt x="1282370" y="617383"/>
                  <a:pt x="1279260" y="617405"/>
                  <a:pt x="1276617" y="618286"/>
                </a:cubicBezTo>
                <a:cubicBezTo>
                  <a:pt x="1270979" y="635199"/>
                  <a:pt x="1278731" y="618991"/>
                  <a:pt x="1266046" y="628857"/>
                </a:cubicBezTo>
                <a:cubicBezTo>
                  <a:pt x="1260146" y="633446"/>
                  <a:pt x="1255475" y="639428"/>
                  <a:pt x="1250189" y="644714"/>
                </a:cubicBezTo>
                <a:cubicBezTo>
                  <a:pt x="1247546" y="647357"/>
                  <a:pt x="1244334" y="649532"/>
                  <a:pt x="1242261" y="652642"/>
                </a:cubicBezTo>
                <a:cubicBezTo>
                  <a:pt x="1238737" y="657928"/>
                  <a:pt x="1233699" y="662473"/>
                  <a:pt x="1231690" y="668499"/>
                </a:cubicBezTo>
                <a:cubicBezTo>
                  <a:pt x="1230809" y="671142"/>
                  <a:pt x="1230787" y="674252"/>
                  <a:pt x="1229047" y="676427"/>
                </a:cubicBezTo>
                <a:cubicBezTo>
                  <a:pt x="1227063" y="678907"/>
                  <a:pt x="1223762" y="679951"/>
                  <a:pt x="1221119" y="681713"/>
                </a:cubicBezTo>
                <a:cubicBezTo>
                  <a:pt x="1218384" y="689916"/>
                  <a:pt x="1218089" y="692047"/>
                  <a:pt x="1213190" y="700212"/>
                </a:cubicBezTo>
                <a:cubicBezTo>
                  <a:pt x="1209922" y="705659"/>
                  <a:pt x="1207111" y="711577"/>
                  <a:pt x="1202619" y="716069"/>
                </a:cubicBezTo>
                <a:lnTo>
                  <a:pt x="1194691" y="723997"/>
                </a:lnTo>
                <a:cubicBezTo>
                  <a:pt x="1189546" y="739430"/>
                  <a:pt x="1196073" y="725258"/>
                  <a:pt x="1184120" y="737211"/>
                </a:cubicBezTo>
                <a:cubicBezTo>
                  <a:pt x="1172167" y="749164"/>
                  <a:pt x="1186339" y="742637"/>
                  <a:pt x="1170906" y="747782"/>
                </a:cubicBezTo>
                <a:cubicBezTo>
                  <a:pt x="1169144" y="750425"/>
                  <a:pt x="1168100" y="753726"/>
                  <a:pt x="1165620" y="755710"/>
                </a:cubicBezTo>
                <a:cubicBezTo>
                  <a:pt x="1163445" y="757450"/>
                  <a:pt x="1160183" y="757107"/>
                  <a:pt x="1157692" y="758353"/>
                </a:cubicBezTo>
                <a:cubicBezTo>
                  <a:pt x="1154851" y="759774"/>
                  <a:pt x="1152204" y="761606"/>
                  <a:pt x="1149764" y="763639"/>
                </a:cubicBezTo>
                <a:cubicBezTo>
                  <a:pt x="1146893" y="766032"/>
                  <a:pt x="1144228" y="768696"/>
                  <a:pt x="1141835" y="771567"/>
                </a:cubicBezTo>
                <a:cubicBezTo>
                  <a:pt x="1139802" y="774007"/>
                  <a:pt x="1139030" y="777511"/>
                  <a:pt x="1136550" y="779495"/>
                </a:cubicBezTo>
                <a:cubicBezTo>
                  <a:pt x="1134375" y="781235"/>
                  <a:pt x="1131265" y="781257"/>
                  <a:pt x="1128622" y="782138"/>
                </a:cubicBezTo>
                <a:cubicBezTo>
                  <a:pt x="1129198" y="786748"/>
                  <a:pt x="1129964" y="804112"/>
                  <a:pt x="1133907" y="811209"/>
                </a:cubicBezTo>
                <a:cubicBezTo>
                  <a:pt x="1136992" y="816762"/>
                  <a:pt x="1142469" y="821039"/>
                  <a:pt x="1144478" y="827065"/>
                </a:cubicBezTo>
                <a:cubicBezTo>
                  <a:pt x="1148270" y="838440"/>
                  <a:pt x="1146445" y="832291"/>
                  <a:pt x="1149764" y="845565"/>
                </a:cubicBezTo>
                <a:cubicBezTo>
                  <a:pt x="1148883" y="850850"/>
                  <a:pt x="1151154" y="857893"/>
                  <a:pt x="1147121" y="861421"/>
                </a:cubicBezTo>
                <a:cubicBezTo>
                  <a:pt x="1142433" y="865523"/>
                  <a:pt x="1134730" y="862842"/>
                  <a:pt x="1128622" y="864064"/>
                </a:cubicBezTo>
                <a:cubicBezTo>
                  <a:pt x="1125890" y="864610"/>
                  <a:pt x="1123396" y="866031"/>
                  <a:pt x="1120693" y="866707"/>
                </a:cubicBezTo>
                <a:lnTo>
                  <a:pt x="1099551" y="871992"/>
                </a:lnTo>
                <a:cubicBezTo>
                  <a:pt x="1097789" y="875516"/>
                  <a:pt x="1096221" y="879143"/>
                  <a:pt x="1094266" y="882564"/>
                </a:cubicBezTo>
                <a:cubicBezTo>
                  <a:pt x="1092690" y="885322"/>
                  <a:pt x="1090401" y="887651"/>
                  <a:pt x="1088980" y="890492"/>
                </a:cubicBezTo>
                <a:cubicBezTo>
                  <a:pt x="1087734" y="892983"/>
                  <a:pt x="1088307" y="896450"/>
                  <a:pt x="1086337" y="898420"/>
                </a:cubicBezTo>
                <a:cubicBezTo>
                  <a:pt x="1084367" y="900390"/>
                  <a:pt x="1081096" y="900330"/>
                  <a:pt x="1078409" y="901063"/>
                </a:cubicBezTo>
                <a:cubicBezTo>
                  <a:pt x="1071401" y="902975"/>
                  <a:pt x="1057267" y="906349"/>
                  <a:pt x="1057267" y="906349"/>
                </a:cubicBezTo>
                <a:cubicBezTo>
                  <a:pt x="1041410" y="905468"/>
                  <a:pt x="1025507" y="905212"/>
                  <a:pt x="1009697" y="903706"/>
                </a:cubicBezTo>
                <a:cubicBezTo>
                  <a:pt x="1006924" y="903442"/>
                  <a:pt x="1004447" y="901828"/>
                  <a:pt x="1001768" y="901063"/>
                </a:cubicBezTo>
                <a:cubicBezTo>
                  <a:pt x="998276" y="900065"/>
                  <a:pt x="994721" y="899301"/>
                  <a:pt x="991197" y="898420"/>
                </a:cubicBezTo>
                <a:cubicBezTo>
                  <a:pt x="971289" y="885149"/>
                  <a:pt x="996594" y="900734"/>
                  <a:pt x="972698" y="890492"/>
                </a:cubicBezTo>
                <a:cubicBezTo>
                  <a:pt x="960598" y="885306"/>
                  <a:pt x="968267" y="884895"/>
                  <a:pt x="956841" y="877278"/>
                </a:cubicBezTo>
                <a:cubicBezTo>
                  <a:pt x="954523" y="875733"/>
                  <a:pt x="951405" y="875881"/>
                  <a:pt x="948913" y="874635"/>
                </a:cubicBezTo>
                <a:cubicBezTo>
                  <a:pt x="946072" y="873215"/>
                  <a:pt x="943628" y="871112"/>
                  <a:pt x="940985" y="869350"/>
                </a:cubicBezTo>
                <a:cubicBezTo>
                  <a:pt x="925010" y="873343"/>
                  <a:pt x="933858" y="870844"/>
                  <a:pt x="914557" y="877278"/>
                </a:cubicBezTo>
                <a:lnTo>
                  <a:pt x="906629" y="879921"/>
                </a:lnTo>
                <a:cubicBezTo>
                  <a:pt x="903986" y="882564"/>
                  <a:pt x="901571" y="885456"/>
                  <a:pt x="898700" y="887849"/>
                </a:cubicBezTo>
                <a:cubicBezTo>
                  <a:pt x="896260" y="889882"/>
                  <a:pt x="893613" y="891715"/>
                  <a:pt x="890772" y="893135"/>
                </a:cubicBezTo>
                <a:cubicBezTo>
                  <a:pt x="879367" y="898838"/>
                  <a:pt x="855027" y="897917"/>
                  <a:pt x="848488" y="898420"/>
                </a:cubicBezTo>
                <a:cubicBezTo>
                  <a:pt x="843202" y="900182"/>
                  <a:pt x="837267" y="900615"/>
                  <a:pt x="832631" y="903706"/>
                </a:cubicBezTo>
                <a:cubicBezTo>
                  <a:pt x="827345" y="907230"/>
                  <a:pt x="822937" y="912736"/>
                  <a:pt x="816774" y="914277"/>
                </a:cubicBezTo>
                <a:cubicBezTo>
                  <a:pt x="809727" y="916039"/>
                  <a:pt x="802523" y="917265"/>
                  <a:pt x="795632" y="919562"/>
                </a:cubicBezTo>
                <a:cubicBezTo>
                  <a:pt x="792989" y="920443"/>
                  <a:pt x="790196" y="920959"/>
                  <a:pt x="787704" y="922205"/>
                </a:cubicBezTo>
                <a:cubicBezTo>
                  <a:pt x="784863" y="923626"/>
                  <a:pt x="782418" y="925729"/>
                  <a:pt x="779775" y="927491"/>
                </a:cubicBezTo>
                <a:cubicBezTo>
                  <a:pt x="770879" y="924525"/>
                  <a:pt x="770421" y="924788"/>
                  <a:pt x="761276" y="919562"/>
                </a:cubicBezTo>
                <a:cubicBezTo>
                  <a:pt x="758518" y="917986"/>
                  <a:pt x="756189" y="915697"/>
                  <a:pt x="753348" y="914277"/>
                </a:cubicBezTo>
                <a:cubicBezTo>
                  <a:pt x="750856" y="913031"/>
                  <a:pt x="747911" y="912880"/>
                  <a:pt x="745419" y="911634"/>
                </a:cubicBezTo>
                <a:cubicBezTo>
                  <a:pt x="742578" y="910214"/>
                  <a:pt x="740393" y="907639"/>
                  <a:pt x="737491" y="906349"/>
                </a:cubicBezTo>
                <a:cubicBezTo>
                  <a:pt x="732400" y="904086"/>
                  <a:pt x="726920" y="902825"/>
                  <a:pt x="721634" y="901063"/>
                </a:cubicBezTo>
                <a:lnTo>
                  <a:pt x="713706" y="898420"/>
                </a:lnTo>
                <a:lnTo>
                  <a:pt x="697849" y="893135"/>
                </a:lnTo>
                <a:cubicBezTo>
                  <a:pt x="695206" y="892254"/>
                  <a:pt x="692679" y="890886"/>
                  <a:pt x="689921" y="890492"/>
                </a:cubicBezTo>
                <a:lnTo>
                  <a:pt x="671422" y="887849"/>
                </a:lnTo>
                <a:cubicBezTo>
                  <a:pt x="656956" y="883027"/>
                  <a:pt x="663311" y="883915"/>
                  <a:pt x="639708" y="887849"/>
                </a:cubicBezTo>
                <a:cubicBezTo>
                  <a:pt x="636960" y="888307"/>
                  <a:pt x="634215" y="889139"/>
                  <a:pt x="631780" y="890492"/>
                </a:cubicBezTo>
                <a:cubicBezTo>
                  <a:pt x="626227" y="893577"/>
                  <a:pt x="621949" y="899054"/>
                  <a:pt x="615923" y="901063"/>
                </a:cubicBezTo>
                <a:lnTo>
                  <a:pt x="600067" y="906349"/>
                </a:lnTo>
                <a:cubicBezTo>
                  <a:pt x="596543" y="905468"/>
                  <a:pt x="592834" y="905137"/>
                  <a:pt x="589496" y="903706"/>
                </a:cubicBezTo>
                <a:cubicBezTo>
                  <a:pt x="586576" y="902455"/>
                  <a:pt x="584408" y="899841"/>
                  <a:pt x="581567" y="898420"/>
                </a:cubicBezTo>
                <a:cubicBezTo>
                  <a:pt x="579075" y="897174"/>
                  <a:pt x="576282" y="896658"/>
                  <a:pt x="573639" y="895777"/>
                </a:cubicBezTo>
                <a:cubicBezTo>
                  <a:pt x="570115" y="890492"/>
                  <a:pt x="568353" y="883445"/>
                  <a:pt x="563068" y="879921"/>
                </a:cubicBezTo>
                <a:cubicBezTo>
                  <a:pt x="540358" y="864779"/>
                  <a:pt x="569086" y="882929"/>
                  <a:pt x="547211" y="871992"/>
                </a:cubicBezTo>
                <a:cubicBezTo>
                  <a:pt x="544370" y="870572"/>
                  <a:pt x="542124" y="868127"/>
                  <a:pt x="539283" y="866707"/>
                </a:cubicBezTo>
                <a:cubicBezTo>
                  <a:pt x="536791" y="865461"/>
                  <a:pt x="533915" y="865161"/>
                  <a:pt x="531355" y="864064"/>
                </a:cubicBezTo>
                <a:cubicBezTo>
                  <a:pt x="527734" y="862512"/>
                  <a:pt x="524441" y="860242"/>
                  <a:pt x="520783" y="858779"/>
                </a:cubicBezTo>
                <a:cubicBezTo>
                  <a:pt x="515610" y="856710"/>
                  <a:pt x="510212" y="855255"/>
                  <a:pt x="504927" y="853493"/>
                </a:cubicBezTo>
                <a:cubicBezTo>
                  <a:pt x="504917" y="853490"/>
                  <a:pt x="489081" y="848211"/>
                  <a:pt x="489070" y="848208"/>
                </a:cubicBezTo>
                <a:cubicBezTo>
                  <a:pt x="485546" y="847327"/>
                  <a:pt x="481991" y="846563"/>
                  <a:pt x="478499" y="845565"/>
                </a:cubicBezTo>
                <a:cubicBezTo>
                  <a:pt x="475821" y="844800"/>
                  <a:pt x="473249" y="843687"/>
                  <a:pt x="470571" y="842922"/>
                </a:cubicBezTo>
                <a:cubicBezTo>
                  <a:pt x="467079" y="841924"/>
                  <a:pt x="463492" y="841277"/>
                  <a:pt x="460000" y="840279"/>
                </a:cubicBezTo>
                <a:cubicBezTo>
                  <a:pt x="457321" y="839514"/>
                  <a:pt x="454812" y="838134"/>
                  <a:pt x="452071" y="837636"/>
                </a:cubicBezTo>
                <a:cubicBezTo>
                  <a:pt x="445083" y="836366"/>
                  <a:pt x="437976" y="835875"/>
                  <a:pt x="430929" y="834994"/>
                </a:cubicBezTo>
                <a:cubicBezTo>
                  <a:pt x="310799" y="839135"/>
                  <a:pt x="373478" y="816195"/>
                  <a:pt x="349003" y="845565"/>
                </a:cubicBezTo>
                <a:cubicBezTo>
                  <a:pt x="346610" y="848436"/>
                  <a:pt x="343718" y="850850"/>
                  <a:pt x="341075" y="853493"/>
                </a:cubicBezTo>
                <a:cubicBezTo>
                  <a:pt x="340194" y="857017"/>
                  <a:pt x="339220" y="860518"/>
                  <a:pt x="338432" y="864064"/>
                </a:cubicBezTo>
                <a:cubicBezTo>
                  <a:pt x="337457" y="868449"/>
                  <a:pt x="336971" y="872944"/>
                  <a:pt x="335789" y="877278"/>
                </a:cubicBezTo>
                <a:cubicBezTo>
                  <a:pt x="334323" y="882653"/>
                  <a:pt x="332266" y="887849"/>
                  <a:pt x="330504" y="893135"/>
                </a:cubicBezTo>
                <a:cubicBezTo>
                  <a:pt x="328355" y="899584"/>
                  <a:pt x="327698" y="903868"/>
                  <a:pt x="322575" y="908991"/>
                </a:cubicBezTo>
                <a:cubicBezTo>
                  <a:pt x="320329" y="911237"/>
                  <a:pt x="317290" y="912515"/>
                  <a:pt x="314647" y="914277"/>
                </a:cubicBezTo>
                <a:cubicBezTo>
                  <a:pt x="309995" y="928231"/>
                  <a:pt x="314322" y="920660"/>
                  <a:pt x="296148" y="932776"/>
                </a:cubicBezTo>
                <a:lnTo>
                  <a:pt x="288219" y="938062"/>
                </a:lnTo>
                <a:cubicBezTo>
                  <a:pt x="284695" y="943347"/>
                  <a:pt x="279657" y="947892"/>
                  <a:pt x="277648" y="953918"/>
                </a:cubicBezTo>
                <a:cubicBezTo>
                  <a:pt x="276767" y="956561"/>
                  <a:pt x="275681" y="959144"/>
                  <a:pt x="275005" y="961847"/>
                </a:cubicBezTo>
                <a:cubicBezTo>
                  <a:pt x="273162" y="969221"/>
                  <a:pt x="270896" y="983864"/>
                  <a:pt x="269720" y="990917"/>
                </a:cubicBezTo>
                <a:cubicBezTo>
                  <a:pt x="261122" y="988052"/>
                  <a:pt x="260665" y="989702"/>
                  <a:pt x="256506" y="980346"/>
                </a:cubicBezTo>
                <a:cubicBezTo>
                  <a:pt x="254243" y="975255"/>
                  <a:pt x="256505" y="966252"/>
                  <a:pt x="251220" y="964490"/>
                </a:cubicBezTo>
                <a:lnTo>
                  <a:pt x="235364" y="959204"/>
                </a:lnTo>
                <a:lnTo>
                  <a:pt x="227435" y="956561"/>
                </a:lnTo>
                <a:cubicBezTo>
                  <a:pt x="214221" y="957442"/>
                  <a:pt x="200904" y="957331"/>
                  <a:pt x="187794" y="959204"/>
                </a:cubicBezTo>
                <a:cubicBezTo>
                  <a:pt x="182278" y="959992"/>
                  <a:pt x="177223" y="962728"/>
                  <a:pt x="171937" y="964490"/>
                </a:cubicBezTo>
                <a:lnTo>
                  <a:pt x="164009" y="967132"/>
                </a:lnTo>
                <a:cubicBezTo>
                  <a:pt x="162247" y="964489"/>
                  <a:pt x="159172" y="962348"/>
                  <a:pt x="158723" y="959204"/>
                </a:cubicBezTo>
                <a:cubicBezTo>
                  <a:pt x="157719" y="952177"/>
                  <a:pt x="163214" y="945861"/>
                  <a:pt x="166652" y="940705"/>
                </a:cubicBezTo>
                <a:cubicBezTo>
                  <a:pt x="165771" y="936300"/>
                  <a:pt x="166501" y="931229"/>
                  <a:pt x="164009" y="927491"/>
                </a:cubicBezTo>
                <a:cubicBezTo>
                  <a:pt x="162464" y="925173"/>
                  <a:pt x="158822" y="925346"/>
                  <a:pt x="156081" y="924848"/>
                </a:cubicBezTo>
                <a:cubicBezTo>
                  <a:pt x="149093" y="923577"/>
                  <a:pt x="141986" y="923086"/>
                  <a:pt x="134938" y="922205"/>
                </a:cubicBezTo>
                <a:cubicBezTo>
                  <a:pt x="119810" y="912120"/>
                  <a:pt x="135022" y="919562"/>
                  <a:pt x="113796" y="919562"/>
                </a:cubicBezTo>
                <a:cubicBezTo>
                  <a:pt x="106694" y="919562"/>
                  <a:pt x="99701" y="917801"/>
                  <a:pt x="92654" y="916920"/>
                </a:cubicBezTo>
                <a:cubicBezTo>
                  <a:pt x="87368" y="913396"/>
                  <a:pt x="78805" y="912376"/>
                  <a:pt x="76797" y="906349"/>
                </a:cubicBezTo>
                <a:cubicBezTo>
                  <a:pt x="73151" y="895407"/>
                  <a:pt x="75700" y="900738"/>
                  <a:pt x="68869" y="890492"/>
                </a:cubicBezTo>
                <a:cubicBezTo>
                  <a:pt x="69750" y="886968"/>
                  <a:pt x="68754" y="882285"/>
                  <a:pt x="71512" y="879921"/>
                </a:cubicBezTo>
                <a:cubicBezTo>
                  <a:pt x="75742" y="876295"/>
                  <a:pt x="87368" y="874635"/>
                  <a:pt x="87368" y="874635"/>
                </a:cubicBezTo>
                <a:cubicBezTo>
                  <a:pt x="88249" y="871992"/>
                  <a:pt x="91630" y="868974"/>
                  <a:pt x="90011" y="866707"/>
                </a:cubicBezTo>
                <a:cubicBezTo>
                  <a:pt x="86319" y="861538"/>
                  <a:pt x="79440" y="859660"/>
                  <a:pt x="74155" y="856136"/>
                </a:cubicBezTo>
                <a:lnTo>
                  <a:pt x="58298" y="845565"/>
                </a:lnTo>
                <a:cubicBezTo>
                  <a:pt x="47357" y="841917"/>
                  <a:pt x="52688" y="844467"/>
                  <a:pt x="42441" y="837636"/>
                </a:cubicBezTo>
                <a:cubicBezTo>
                  <a:pt x="32800" y="808717"/>
                  <a:pt x="48176" y="852523"/>
                  <a:pt x="34513" y="821780"/>
                </a:cubicBezTo>
                <a:cubicBezTo>
                  <a:pt x="32250" y="816689"/>
                  <a:pt x="30989" y="811209"/>
                  <a:pt x="29227" y="805923"/>
                </a:cubicBezTo>
                <a:cubicBezTo>
                  <a:pt x="28346" y="803280"/>
                  <a:pt x="28130" y="800313"/>
                  <a:pt x="26585" y="797995"/>
                </a:cubicBezTo>
                <a:cubicBezTo>
                  <a:pt x="23061" y="792709"/>
                  <a:pt x="20506" y="786630"/>
                  <a:pt x="16014" y="782138"/>
                </a:cubicBezTo>
                <a:cubicBezTo>
                  <a:pt x="10168" y="776292"/>
                  <a:pt x="6480" y="773642"/>
                  <a:pt x="2800" y="766282"/>
                </a:cubicBezTo>
                <a:cubicBezTo>
                  <a:pt x="1554" y="763790"/>
                  <a:pt x="1038" y="760996"/>
                  <a:pt x="157" y="758353"/>
                </a:cubicBezTo>
                <a:cubicBezTo>
                  <a:pt x="1038" y="749544"/>
                  <a:pt x="0" y="740324"/>
                  <a:pt x="2800" y="731925"/>
                </a:cubicBezTo>
                <a:cubicBezTo>
                  <a:pt x="3804" y="728912"/>
                  <a:pt x="7568" y="726956"/>
                  <a:pt x="10728" y="726640"/>
                </a:cubicBezTo>
                <a:cubicBezTo>
                  <a:pt x="34411" y="724272"/>
                  <a:pt x="58298" y="724878"/>
                  <a:pt x="82083" y="723997"/>
                </a:cubicBezTo>
                <a:cubicBezTo>
                  <a:pt x="84726" y="721354"/>
                  <a:pt x="88157" y="719314"/>
                  <a:pt x="90011" y="716069"/>
                </a:cubicBezTo>
                <a:cubicBezTo>
                  <a:pt x="93578" y="709827"/>
                  <a:pt x="89498" y="701033"/>
                  <a:pt x="100582" y="700212"/>
                </a:cubicBezTo>
                <a:cubicBezTo>
                  <a:pt x="145421" y="696891"/>
                  <a:pt x="235364" y="694927"/>
                  <a:pt x="235364" y="694927"/>
                </a:cubicBezTo>
                <a:cubicBezTo>
                  <a:pt x="255294" y="688283"/>
                  <a:pt x="230725" y="697246"/>
                  <a:pt x="251220" y="686998"/>
                </a:cubicBezTo>
                <a:cubicBezTo>
                  <a:pt x="253712" y="685752"/>
                  <a:pt x="256588" y="685452"/>
                  <a:pt x="259149" y="684355"/>
                </a:cubicBezTo>
                <a:cubicBezTo>
                  <a:pt x="262770" y="682803"/>
                  <a:pt x="266062" y="680533"/>
                  <a:pt x="269720" y="679070"/>
                </a:cubicBezTo>
                <a:cubicBezTo>
                  <a:pt x="274893" y="677001"/>
                  <a:pt x="280291" y="675546"/>
                  <a:pt x="285577" y="673784"/>
                </a:cubicBezTo>
                <a:lnTo>
                  <a:pt x="293505" y="671142"/>
                </a:lnTo>
                <a:cubicBezTo>
                  <a:pt x="296148" y="669380"/>
                  <a:pt x="298592" y="667277"/>
                  <a:pt x="301433" y="665856"/>
                </a:cubicBezTo>
                <a:cubicBezTo>
                  <a:pt x="303924" y="664610"/>
                  <a:pt x="307043" y="664758"/>
                  <a:pt x="309361" y="663213"/>
                </a:cubicBezTo>
                <a:cubicBezTo>
                  <a:pt x="312471" y="661140"/>
                  <a:pt x="314340" y="657580"/>
                  <a:pt x="317290" y="655285"/>
                </a:cubicBezTo>
                <a:cubicBezTo>
                  <a:pt x="322304" y="651385"/>
                  <a:pt x="327861" y="648238"/>
                  <a:pt x="333146" y="644714"/>
                </a:cubicBezTo>
                <a:lnTo>
                  <a:pt x="341075" y="639428"/>
                </a:lnTo>
                <a:lnTo>
                  <a:pt x="349003" y="634143"/>
                </a:lnTo>
                <a:lnTo>
                  <a:pt x="362217" y="594501"/>
                </a:lnTo>
                <a:lnTo>
                  <a:pt x="367503" y="578645"/>
                </a:lnTo>
                <a:lnTo>
                  <a:pt x="370145" y="570716"/>
                </a:lnTo>
                <a:cubicBezTo>
                  <a:pt x="367135" y="405106"/>
                  <a:pt x="348563" y="401579"/>
                  <a:pt x="362217" y="367223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6" name="Freeform 85"/>
          <p:cNvSpPr/>
          <p:nvPr/>
        </p:nvSpPr>
        <p:spPr>
          <a:xfrm>
            <a:off x="2917825" y="2719921"/>
            <a:ext cx="128588" cy="440267"/>
          </a:xfrm>
          <a:custGeom>
            <a:avLst/>
            <a:gdLst>
              <a:gd name="connsiteX0" fmla="*/ 121568 w 128238"/>
              <a:gd name="connsiteY0" fmla="*/ 422844 h 441403"/>
              <a:gd name="connsiteX1" fmla="*/ 100426 w 128238"/>
              <a:gd name="connsiteY1" fmla="*/ 428130 h 441403"/>
              <a:gd name="connsiteX2" fmla="*/ 84569 w 128238"/>
              <a:gd name="connsiteY2" fmla="*/ 438701 h 441403"/>
              <a:gd name="connsiteX3" fmla="*/ 60784 w 128238"/>
              <a:gd name="connsiteY3" fmla="*/ 428130 h 441403"/>
              <a:gd name="connsiteX4" fmla="*/ 52856 w 128238"/>
              <a:gd name="connsiteY4" fmla="*/ 425487 h 441403"/>
              <a:gd name="connsiteX5" fmla="*/ 44927 w 128238"/>
              <a:gd name="connsiteY5" fmla="*/ 422844 h 441403"/>
              <a:gd name="connsiteX6" fmla="*/ 42285 w 128238"/>
              <a:gd name="connsiteY6" fmla="*/ 414916 h 441403"/>
              <a:gd name="connsiteX7" fmla="*/ 36999 w 128238"/>
              <a:gd name="connsiteY7" fmla="*/ 406987 h 441403"/>
              <a:gd name="connsiteX8" fmla="*/ 34356 w 128238"/>
              <a:gd name="connsiteY8" fmla="*/ 385845 h 441403"/>
              <a:gd name="connsiteX9" fmla="*/ 31713 w 128238"/>
              <a:gd name="connsiteY9" fmla="*/ 372631 h 441403"/>
              <a:gd name="connsiteX10" fmla="*/ 29071 w 128238"/>
              <a:gd name="connsiteY10" fmla="*/ 364703 h 441403"/>
              <a:gd name="connsiteX11" fmla="*/ 21142 w 128238"/>
              <a:gd name="connsiteY11" fmla="*/ 359417 h 441403"/>
              <a:gd name="connsiteX12" fmla="*/ 23785 w 128238"/>
              <a:gd name="connsiteY12" fmla="*/ 346203 h 441403"/>
              <a:gd name="connsiteX13" fmla="*/ 29071 w 128238"/>
              <a:gd name="connsiteY13" fmla="*/ 338275 h 441403"/>
              <a:gd name="connsiteX14" fmla="*/ 34356 w 128238"/>
              <a:gd name="connsiteY14" fmla="*/ 322419 h 441403"/>
              <a:gd name="connsiteX15" fmla="*/ 39642 w 128238"/>
              <a:gd name="connsiteY15" fmla="*/ 306562 h 441403"/>
              <a:gd name="connsiteX16" fmla="*/ 42285 w 128238"/>
              <a:gd name="connsiteY16" fmla="*/ 298634 h 441403"/>
              <a:gd name="connsiteX17" fmla="*/ 39642 w 128238"/>
              <a:gd name="connsiteY17" fmla="*/ 261635 h 441403"/>
              <a:gd name="connsiteX18" fmla="*/ 36999 w 128238"/>
              <a:gd name="connsiteY18" fmla="*/ 253706 h 441403"/>
              <a:gd name="connsiteX19" fmla="*/ 47570 w 128238"/>
              <a:gd name="connsiteY19" fmla="*/ 237850 h 441403"/>
              <a:gd name="connsiteX20" fmla="*/ 44927 w 128238"/>
              <a:gd name="connsiteY20" fmla="*/ 229921 h 441403"/>
              <a:gd name="connsiteX21" fmla="*/ 29071 w 128238"/>
              <a:gd name="connsiteY21" fmla="*/ 224636 h 441403"/>
              <a:gd name="connsiteX22" fmla="*/ 23785 w 128238"/>
              <a:gd name="connsiteY22" fmla="*/ 216708 h 441403"/>
              <a:gd name="connsiteX23" fmla="*/ 31713 w 128238"/>
              <a:gd name="connsiteY23" fmla="*/ 179709 h 441403"/>
              <a:gd name="connsiteX24" fmla="*/ 23785 w 128238"/>
              <a:gd name="connsiteY24" fmla="*/ 150638 h 441403"/>
              <a:gd name="connsiteX25" fmla="*/ 18500 w 128238"/>
              <a:gd name="connsiteY25" fmla="*/ 134782 h 441403"/>
              <a:gd name="connsiteX26" fmla="*/ 18500 w 128238"/>
              <a:gd name="connsiteY26" fmla="*/ 89854 h 441403"/>
              <a:gd name="connsiteX27" fmla="*/ 13214 w 128238"/>
              <a:gd name="connsiteY27" fmla="*/ 68712 h 441403"/>
              <a:gd name="connsiteX28" fmla="*/ 10571 w 128238"/>
              <a:gd name="connsiteY28" fmla="*/ 58141 h 441403"/>
              <a:gd name="connsiteX29" fmla="*/ 7928 w 128238"/>
              <a:gd name="connsiteY29" fmla="*/ 39642 h 441403"/>
              <a:gd name="connsiteX30" fmla="*/ 2643 w 128238"/>
              <a:gd name="connsiteY30" fmla="*/ 23785 h 441403"/>
              <a:gd name="connsiteX31" fmla="*/ 0 w 128238"/>
              <a:gd name="connsiteY31" fmla="*/ 13214 h 441403"/>
              <a:gd name="connsiteX32" fmla="*/ 2643 w 128238"/>
              <a:gd name="connsiteY32" fmla="*/ 2643 h 441403"/>
              <a:gd name="connsiteX33" fmla="*/ 13214 w 128238"/>
              <a:gd name="connsiteY33" fmla="*/ 0 h 441403"/>
              <a:gd name="connsiteX34" fmla="*/ 50213 w 128238"/>
              <a:gd name="connsiteY34" fmla="*/ 2643 h 441403"/>
              <a:gd name="connsiteX35" fmla="*/ 58141 w 128238"/>
              <a:gd name="connsiteY35" fmla="*/ 7928 h 441403"/>
              <a:gd name="connsiteX36" fmla="*/ 66069 w 128238"/>
              <a:gd name="connsiteY36" fmla="*/ 55498 h 441403"/>
              <a:gd name="connsiteX37" fmla="*/ 71355 w 128238"/>
              <a:gd name="connsiteY37" fmla="*/ 71355 h 441403"/>
              <a:gd name="connsiteX38" fmla="*/ 81926 w 128238"/>
              <a:gd name="connsiteY38" fmla="*/ 81926 h 441403"/>
              <a:gd name="connsiteX39" fmla="*/ 84569 w 128238"/>
              <a:gd name="connsiteY39" fmla="*/ 89854 h 441403"/>
              <a:gd name="connsiteX40" fmla="*/ 92497 w 128238"/>
              <a:gd name="connsiteY40" fmla="*/ 95140 h 441403"/>
              <a:gd name="connsiteX41" fmla="*/ 97783 w 128238"/>
              <a:gd name="connsiteY41" fmla="*/ 103068 h 441403"/>
              <a:gd name="connsiteX42" fmla="*/ 108354 w 128238"/>
              <a:gd name="connsiteY42" fmla="*/ 129496 h 441403"/>
              <a:gd name="connsiteX43" fmla="*/ 116282 w 128238"/>
              <a:gd name="connsiteY43" fmla="*/ 134782 h 441403"/>
              <a:gd name="connsiteX44" fmla="*/ 124211 w 128238"/>
              <a:gd name="connsiteY44" fmla="*/ 158567 h 441403"/>
              <a:gd name="connsiteX45" fmla="*/ 126853 w 128238"/>
              <a:gd name="connsiteY45" fmla="*/ 166495 h 441403"/>
              <a:gd name="connsiteX46" fmla="*/ 121568 w 128238"/>
              <a:gd name="connsiteY46" fmla="*/ 280134 h 441403"/>
              <a:gd name="connsiteX47" fmla="*/ 118925 w 128238"/>
              <a:gd name="connsiteY47" fmla="*/ 288062 h 441403"/>
              <a:gd name="connsiteX48" fmla="*/ 110997 w 128238"/>
              <a:gd name="connsiteY48" fmla="*/ 314490 h 441403"/>
              <a:gd name="connsiteX49" fmla="*/ 108354 w 128238"/>
              <a:gd name="connsiteY49" fmla="*/ 322419 h 441403"/>
              <a:gd name="connsiteX50" fmla="*/ 121568 w 128238"/>
              <a:gd name="connsiteY50" fmla="*/ 422844 h 441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28238" h="441403">
                <a:moveTo>
                  <a:pt x="121568" y="422844"/>
                </a:moveTo>
                <a:cubicBezTo>
                  <a:pt x="120909" y="422976"/>
                  <a:pt x="103135" y="425962"/>
                  <a:pt x="100426" y="428130"/>
                </a:cubicBezTo>
                <a:cubicBezTo>
                  <a:pt x="83835" y="441403"/>
                  <a:pt x="108845" y="432631"/>
                  <a:pt x="84569" y="438701"/>
                </a:cubicBezTo>
                <a:cubicBezTo>
                  <a:pt x="72004" y="430324"/>
                  <a:pt x="79656" y="434420"/>
                  <a:pt x="60784" y="428130"/>
                </a:cubicBezTo>
                <a:lnTo>
                  <a:pt x="52856" y="425487"/>
                </a:lnTo>
                <a:lnTo>
                  <a:pt x="44927" y="422844"/>
                </a:lnTo>
                <a:cubicBezTo>
                  <a:pt x="44046" y="420201"/>
                  <a:pt x="43531" y="417407"/>
                  <a:pt x="42285" y="414916"/>
                </a:cubicBezTo>
                <a:cubicBezTo>
                  <a:pt x="40865" y="412075"/>
                  <a:pt x="37835" y="410052"/>
                  <a:pt x="36999" y="406987"/>
                </a:cubicBezTo>
                <a:cubicBezTo>
                  <a:pt x="35130" y="400135"/>
                  <a:pt x="35436" y="392865"/>
                  <a:pt x="34356" y="385845"/>
                </a:cubicBezTo>
                <a:cubicBezTo>
                  <a:pt x="33673" y="381405"/>
                  <a:pt x="32802" y="376989"/>
                  <a:pt x="31713" y="372631"/>
                </a:cubicBezTo>
                <a:cubicBezTo>
                  <a:pt x="31037" y="369929"/>
                  <a:pt x="30811" y="366878"/>
                  <a:pt x="29071" y="364703"/>
                </a:cubicBezTo>
                <a:cubicBezTo>
                  <a:pt x="27087" y="362223"/>
                  <a:pt x="23785" y="361179"/>
                  <a:pt x="21142" y="359417"/>
                </a:cubicBezTo>
                <a:cubicBezTo>
                  <a:pt x="22023" y="355012"/>
                  <a:pt x="22208" y="350409"/>
                  <a:pt x="23785" y="346203"/>
                </a:cubicBezTo>
                <a:cubicBezTo>
                  <a:pt x="24900" y="343229"/>
                  <a:pt x="27781" y="341177"/>
                  <a:pt x="29071" y="338275"/>
                </a:cubicBezTo>
                <a:cubicBezTo>
                  <a:pt x="31334" y="333184"/>
                  <a:pt x="32594" y="327704"/>
                  <a:pt x="34356" y="322419"/>
                </a:cubicBezTo>
                <a:lnTo>
                  <a:pt x="39642" y="306562"/>
                </a:lnTo>
                <a:lnTo>
                  <a:pt x="42285" y="298634"/>
                </a:lnTo>
                <a:cubicBezTo>
                  <a:pt x="41404" y="286301"/>
                  <a:pt x="41087" y="273915"/>
                  <a:pt x="39642" y="261635"/>
                </a:cubicBezTo>
                <a:cubicBezTo>
                  <a:pt x="39316" y="258868"/>
                  <a:pt x="36118" y="256349"/>
                  <a:pt x="36999" y="253706"/>
                </a:cubicBezTo>
                <a:cubicBezTo>
                  <a:pt x="39008" y="247680"/>
                  <a:pt x="47570" y="237850"/>
                  <a:pt x="47570" y="237850"/>
                </a:cubicBezTo>
                <a:cubicBezTo>
                  <a:pt x="46689" y="235207"/>
                  <a:pt x="47194" y="231540"/>
                  <a:pt x="44927" y="229921"/>
                </a:cubicBezTo>
                <a:cubicBezTo>
                  <a:pt x="40394" y="226683"/>
                  <a:pt x="29071" y="224636"/>
                  <a:pt x="29071" y="224636"/>
                </a:cubicBezTo>
                <a:cubicBezTo>
                  <a:pt x="27309" y="221993"/>
                  <a:pt x="24011" y="219876"/>
                  <a:pt x="23785" y="216708"/>
                </a:cubicBezTo>
                <a:cubicBezTo>
                  <a:pt x="21989" y="191564"/>
                  <a:pt x="22574" y="193419"/>
                  <a:pt x="31713" y="179709"/>
                </a:cubicBezTo>
                <a:cubicBezTo>
                  <a:pt x="25988" y="133893"/>
                  <a:pt x="34213" y="174102"/>
                  <a:pt x="23785" y="150638"/>
                </a:cubicBezTo>
                <a:cubicBezTo>
                  <a:pt x="21522" y="145547"/>
                  <a:pt x="18500" y="134782"/>
                  <a:pt x="18500" y="134782"/>
                </a:cubicBezTo>
                <a:cubicBezTo>
                  <a:pt x="22638" y="114086"/>
                  <a:pt x="22894" y="119148"/>
                  <a:pt x="18500" y="89854"/>
                </a:cubicBezTo>
                <a:cubicBezTo>
                  <a:pt x="17422" y="82670"/>
                  <a:pt x="14976" y="75759"/>
                  <a:pt x="13214" y="68712"/>
                </a:cubicBezTo>
                <a:cubicBezTo>
                  <a:pt x="12333" y="65188"/>
                  <a:pt x="11085" y="61737"/>
                  <a:pt x="10571" y="58141"/>
                </a:cubicBezTo>
                <a:cubicBezTo>
                  <a:pt x="9690" y="51975"/>
                  <a:pt x="9329" y="45711"/>
                  <a:pt x="7928" y="39642"/>
                </a:cubicBezTo>
                <a:cubicBezTo>
                  <a:pt x="6675" y="34213"/>
                  <a:pt x="3994" y="29190"/>
                  <a:pt x="2643" y="23785"/>
                </a:cubicBezTo>
                <a:lnTo>
                  <a:pt x="0" y="13214"/>
                </a:lnTo>
                <a:cubicBezTo>
                  <a:pt x="881" y="9690"/>
                  <a:pt x="75" y="5211"/>
                  <a:pt x="2643" y="2643"/>
                </a:cubicBezTo>
                <a:cubicBezTo>
                  <a:pt x="5211" y="75"/>
                  <a:pt x="9582" y="0"/>
                  <a:pt x="13214" y="0"/>
                </a:cubicBezTo>
                <a:cubicBezTo>
                  <a:pt x="25578" y="0"/>
                  <a:pt x="37880" y="1762"/>
                  <a:pt x="50213" y="2643"/>
                </a:cubicBezTo>
                <a:cubicBezTo>
                  <a:pt x="52856" y="4405"/>
                  <a:pt x="55895" y="5682"/>
                  <a:pt x="58141" y="7928"/>
                </a:cubicBezTo>
                <a:cubicBezTo>
                  <a:pt x="70633" y="20420"/>
                  <a:pt x="63798" y="39601"/>
                  <a:pt x="66069" y="55498"/>
                </a:cubicBezTo>
                <a:cubicBezTo>
                  <a:pt x="66857" y="61014"/>
                  <a:pt x="69593" y="66069"/>
                  <a:pt x="71355" y="71355"/>
                </a:cubicBezTo>
                <a:cubicBezTo>
                  <a:pt x="74879" y="81926"/>
                  <a:pt x="71356" y="78402"/>
                  <a:pt x="81926" y="81926"/>
                </a:cubicBezTo>
                <a:cubicBezTo>
                  <a:pt x="82807" y="84569"/>
                  <a:pt x="82829" y="87679"/>
                  <a:pt x="84569" y="89854"/>
                </a:cubicBezTo>
                <a:cubicBezTo>
                  <a:pt x="86553" y="92334"/>
                  <a:pt x="90251" y="92894"/>
                  <a:pt x="92497" y="95140"/>
                </a:cubicBezTo>
                <a:cubicBezTo>
                  <a:pt x="94743" y="97386"/>
                  <a:pt x="96021" y="100425"/>
                  <a:pt x="97783" y="103068"/>
                </a:cubicBezTo>
                <a:cubicBezTo>
                  <a:pt x="99427" y="108001"/>
                  <a:pt x="104031" y="124309"/>
                  <a:pt x="108354" y="129496"/>
                </a:cubicBezTo>
                <a:cubicBezTo>
                  <a:pt x="110387" y="131936"/>
                  <a:pt x="113639" y="133020"/>
                  <a:pt x="116282" y="134782"/>
                </a:cubicBezTo>
                <a:lnTo>
                  <a:pt x="124211" y="158567"/>
                </a:lnTo>
                <a:lnTo>
                  <a:pt x="126853" y="166495"/>
                </a:lnTo>
                <a:cubicBezTo>
                  <a:pt x="126380" y="183529"/>
                  <a:pt x="128238" y="246786"/>
                  <a:pt x="121568" y="280134"/>
                </a:cubicBezTo>
                <a:cubicBezTo>
                  <a:pt x="121022" y="282866"/>
                  <a:pt x="119690" y="285384"/>
                  <a:pt x="118925" y="288062"/>
                </a:cubicBezTo>
                <a:cubicBezTo>
                  <a:pt x="110933" y="316032"/>
                  <a:pt x="123562" y="276793"/>
                  <a:pt x="110997" y="314490"/>
                </a:cubicBezTo>
                <a:cubicBezTo>
                  <a:pt x="110116" y="317133"/>
                  <a:pt x="108354" y="319633"/>
                  <a:pt x="108354" y="322419"/>
                </a:cubicBezTo>
                <a:lnTo>
                  <a:pt x="121568" y="422844"/>
                </a:ln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7" name="Freeform 86"/>
          <p:cNvSpPr/>
          <p:nvPr/>
        </p:nvSpPr>
        <p:spPr>
          <a:xfrm>
            <a:off x="2986093" y="2624669"/>
            <a:ext cx="257175" cy="527051"/>
          </a:xfrm>
          <a:custGeom>
            <a:avLst/>
            <a:gdLst>
              <a:gd name="connsiteX0" fmla="*/ 150638 w 256349"/>
              <a:gd name="connsiteY0" fmla="*/ 504770 h 527234"/>
              <a:gd name="connsiteX1" fmla="*/ 126853 w 256349"/>
              <a:gd name="connsiteY1" fmla="*/ 510056 h 527234"/>
              <a:gd name="connsiteX2" fmla="*/ 110997 w 256349"/>
              <a:gd name="connsiteY2" fmla="*/ 515341 h 527234"/>
              <a:gd name="connsiteX3" fmla="*/ 95140 w 256349"/>
              <a:gd name="connsiteY3" fmla="*/ 520627 h 527234"/>
              <a:gd name="connsiteX4" fmla="*/ 87212 w 256349"/>
              <a:gd name="connsiteY4" fmla="*/ 523270 h 527234"/>
              <a:gd name="connsiteX5" fmla="*/ 63427 w 256349"/>
              <a:gd name="connsiteY5" fmla="*/ 520627 h 527234"/>
              <a:gd name="connsiteX6" fmla="*/ 52856 w 256349"/>
              <a:gd name="connsiteY6" fmla="*/ 504770 h 527234"/>
              <a:gd name="connsiteX7" fmla="*/ 47570 w 256349"/>
              <a:gd name="connsiteY7" fmla="*/ 488913 h 527234"/>
              <a:gd name="connsiteX8" fmla="*/ 47570 w 256349"/>
              <a:gd name="connsiteY8" fmla="*/ 385845 h 527234"/>
              <a:gd name="connsiteX9" fmla="*/ 50213 w 256349"/>
              <a:gd name="connsiteY9" fmla="*/ 377917 h 527234"/>
              <a:gd name="connsiteX10" fmla="*/ 55499 w 256349"/>
              <a:gd name="connsiteY10" fmla="*/ 359417 h 527234"/>
              <a:gd name="connsiteX11" fmla="*/ 52856 w 256349"/>
              <a:gd name="connsiteY11" fmla="*/ 245778 h 527234"/>
              <a:gd name="connsiteX12" fmla="*/ 39642 w 256349"/>
              <a:gd name="connsiteY12" fmla="*/ 219350 h 527234"/>
              <a:gd name="connsiteX13" fmla="*/ 34356 w 256349"/>
              <a:gd name="connsiteY13" fmla="*/ 200851 h 527234"/>
              <a:gd name="connsiteX14" fmla="*/ 29071 w 256349"/>
              <a:gd name="connsiteY14" fmla="*/ 184994 h 527234"/>
              <a:gd name="connsiteX15" fmla="*/ 15857 w 256349"/>
              <a:gd name="connsiteY15" fmla="*/ 169138 h 527234"/>
              <a:gd name="connsiteX16" fmla="*/ 10571 w 256349"/>
              <a:gd name="connsiteY16" fmla="*/ 153281 h 527234"/>
              <a:gd name="connsiteX17" fmla="*/ 2643 w 256349"/>
              <a:gd name="connsiteY17" fmla="*/ 129496 h 527234"/>
              <a:gd name="connsiteX18" fmla="*/ 0 w 256349"/>
              <a:gd name="connsiteY18" fmla="*/ 121568 h 527234"/>
              <a:gd name="connsiteX19" fmla="*/ 5286 w 256349"/>
              <a:gd name="connsiteY19" fmla="*/ 89854 h 527234"/>
              <a:gd name="connsiteX20" fmla="*/ 26428 w 256349"/>
              <a:gd name="connsiteY20" fmla="*/ 71355 h 527234"/>
              <a:gd name="connsiteX21" fmla="*/ 34356 w 256349"/>
              <a:gd name="connsiteY21" fmla="*/ 66070 h 527234"/>
              <a:gd name="connsiteX22" fmla="*/ 50213 w 256349"/>
              <a:gd name="connsiteY22" fmla="*/ 60784 h 527234"/>
              <a:gd name="connsiteX23" fmla="*/ 103068 w 256349"/>
              <a:gd name="connsiteY23" fmla="*/ 55498 h 527234"/>
              <a:gd name="connsiteX24" fmla="*/ 126853 w 256349"/>
              <a:gd name="connsiteY24" fmla="*/ 42285 h 527234"/>
              <a:gd name="connsiteX25" fmla="*/ 134782 w 256349"/>
              <a:gd name="connsiteY25" fmla="*/ 0 h 527234"/>
              <a:gd name="connsiteX26" fmla="*/ 211422 w 256349"/>
              <a:gd name="connsiteY26" fmla="*/ 2643 h 527234"/>
              <a:gd name="connsiteX27" fmla="*/ 219351 w 256349"/>
              <a:gd name="connsiteY27" fmla="*/ 5286 h 527234"/>
              <a:gd name="connsiteX28" fmla="*/ 221993 w 256349"/>
              <a:gd name="connsiteY28" fmla="*/ 13214 h 527234"/>
              <a:gd name="connsiteX29" fmla="*/ 229922 w 256349"/>
              <a:gd name="connsiteY29" fmla="*/ 21142 h 527234"/>
              <a:gd name="connsiteX30" fmla="*/ 237850 w 256349"/>
              <a:gd name="connsiteY30" fmla="*/ 36999 h 527234"/>
              <a:gd name="connsiteX31" fmla="*/ 243136 w 256349"/>
              <a:gd name="connsiteY31" fmla="*/ 55498 h 527234"/>
              <a:gd name="connsiteX32" fmla="*/ 248421 w 256349"/>
              <a:gd name="connsiteY32" fmla="*/ 63427 h 527234"/>
              <a:gd name="connsiteX33" fmla="*/ 253707 w 256349"/>
              <a:gd name="connsiteY33" fmla="*/ 79283 h 527234"/>
              <a:gd name="connsiteX34" fmla="*/ 256349 w 256349"/>
              <a:gd name="connsiteY34" fmla="*/ 87212 h 527234"/>
              <a:gd name="connsiteX35" fmla="*/ 251064 w 256349"/>
              <a:gd name="connsiteY35" fmla="*/ 153281 h 527234"/>
              <a:gd name="connsiteX36" fmla="*/ 245778 w 256349"/>
              <a:gd name="connsiteY36" fmla="*/ 169138 h 527234"/>
              <a:gd name="connsiteX37" fmla="*/ 240493 w 256349"/>
              <a:gd name="connsiteY37" fmla="*/ 184994 h 527234"/>
              <a:gd name="connsiteX38" fmla="*/ 237850 w 256349"/>
              <a:gd name="connsiteY38" fmla="*/ 192923 h 527234"/>
              <a:gd name="connsiteX39" fmla="*/ 221993 w 256349"/>
              <a:gd name="connsiteY39" fmla="*/ 208779 h 527234"/>
              <a:gd name="connsiteX40" fmla="*/ 214065 w 256349"/>
              <a:gd name="connsiteY40" fmla="*/ 224636 h 527234"/>
              <a:gd name="connsiteX41" fmla="*/ 208779 w 256349"/>
              <a:gd name="connsiteY41" fmla="*/ 235207 h 527234"/>
              <a:gd name="connsiteX42" fmla="*/ 200851 w 256349"/>
              <a:gd name="connsiteY42" fmla="*/ 237850 h 527234"/>
              <a:gd name="connsiteX43" fmla="*/ 184994 w 256349"/>
              <a:gd name="connsiteY43" fmla="*/ 248421 h 527234"/>
              <a:gd name="connsiteX44" fmla="*/ 177066 w 256349"/>
              <a:gd name="connsiteY44" fmla="*/ 264278 h 527234"/>
              <a:gd name="connsiteX45" fmla="*/ 171781 w 256349"/>
              <a:gd name="connsiteY45" fmla="*/ 280134 h 527234"/>
              <a:gd name="connsiteX46" fmla="*/ 163852 w 256349"/>
              <a:gd name="connsiteY46" fmla="*/ 295991 h 527234"/>
              <a:gd name="connsiteX47" fmla="*/ 161210 w 256349"/>
              <a:gd name="connsiteY47" fmla="*/ 317133 h 527234"/>
              <a:gd name="connsiteX48" fmla="*/ 155924 w 256349"/>
              <a:gd name="connsiteY48" fmla="*/ 332990 h 527234"/>
              <a:gd name="connsiteX49" fmla="*/ 150638 w 256349"/>
              <a:gd name="connsiteY49" fmla="*/ 348846 h 527234"/>
              <a:gd name="connsiteX50" fmla="*/ 147996 w 256349"/>
              <a:gd name="connsiteY50" fmla="*/ 356775 h 527234"/>
              <a:gd name="connsiteX51" fmla="*/ 145353 w 256349"/>
              <a:gd name="connsiteY51" fmla="*/ 364703 h 527234"/>
              <a:gd name="connsiteX52" fmla="*/ 142710 w 256349"/>
              <a:gd name="connsiteY52" fmla="*/ 375274 h 527234"/>
              <a:gd name="connsiteX53" fmla="*/ 150638 w 256349"/>
              <a:gd name="connsiteY53" fmla="*/ 504770 h 527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256349" h="527234">
                <a:moveTo>
                  <a:pt x="150638" y="504770"/>
                </a:moveTo>
                <a:cubicBezTo>
                  <a:pt x="147995" y="527234"/>
                  <a:pt x="134317" y="507817"/>
                  <a:pt x="126853" y="510056"/>
                </a:cubicBezTo>
                <a:cubicBezTo>
                  <a:pt x="121517" y="511657"/>
                  <a:pt x="116282" y="513579"/>
                  <a:pt x="110997" y="515341"/>
                </a:cubicBezTo>
                <a:lnTo>
                  <a:pt x="95140" y="520627"/>
                </a:lnTo>
                <a:lnTo>
                  <a:pt x="87212" y="523270"/>
                </a:lnTo>
                <a:cubicBezTo>
                  <a:pt x="79284" y="522389"/>
                  <a:pt x="70451" y="524409"/>
                  <a:pt x="63427" y="520627"/>
                </a:cubicBezTo>
                <a:cubicBezTo>
                  <a:pt x="57834" y="517615"/>
                  <a:pt x="54865" y="510796"/>
                  <a:pt x="52856" y="504770"/>
                </a:cubicBezTo>
                <a:lnTo>
                  <a:pt x="47570" y="488913"/>
                </a:lnTo>
                <a:cubicBezTo>
                  <a:pt x="45666" y="441315"/>
                  <a:pt x="42665" y="427536"/>
                  <a:pt x="47570" y="385845"/>
                </a:cubicBezTo>
                <a:cubicBezTo>
                  <a:pt x="47896" y="383078"/>
                  <a:pt x="49448" y="380595"/>
                  <a:pt x="50213" y="377917"/>
                </a:cubicBezTo>
                <a:cubicBezTo>
                  <a:pt x="56853" y="354679"/>
                  <a:pt x="49160" y="378434"/>
                  <a:pt x="55499" y="359417"/>
                </a:cubicBezTo>
                <a:cubicBezTo>
                  <a:pt x="54618" y="321537"/>
                  <a:pt x="54467" y="283634"/>
                  <a:pt x="52856" y="245778"/>
                </a:cubicBezTo>
                <a:cubicBezTo>
                  <a:pt x="52125" y="228612"/>
                  <a:pt x="46188" y="238985"/>
                  <a:pt x="39642" y="219350"/>
                </a:cubicBezTo>
                <a:cubicBezTo>
                  <a:pt x="30772" y="192744"/>
                  <a:pt x="44296" y="233985"/>
                  <a:pt x="34356" y="200851"/>
                </a:cubicBezTo>
                <a:cubicBezTo>
                  <a:pt x="32755" y="195514"/>
                  <a:pt x="33011" y="188933"/>
                  <a:pt x="29071" y="184994"/>
                </a:cubicBezTo>
                <a:cubicBezTo>
                  <a:pt x="24090" y="180014"/>
                  <a:pt x="18801" y="175763"/>
                  <a:pt x="15857" y="169138"/>
                </a:cubicBezTo>
                <a:cubicBezTo>
                  <a:pt x="13594" y="164047"/>
                  <a:pt x="12333" y="158567"/>
                  <a:pt x="10571" y="153281"/>
                </a:cubicBezTo>
                <a:lnTo>
                  <a:pt x="2643" y="129496"/>
                </a:lnTo>
                <a:lnTo>
                  <a:pt x="0" y="121568"/>
                </a:lnTo>
                <a:cubicBezTo>
                  <a:pt x="838" y="114029"/>
                  <a:pt x="858" y="98710"/>
                  <a:pt x="5286" y="89854"/>
                </a:cubicBezTo>
                <a:cubicBezTo>
                  <a:pt x="10791" y="78842"/>
                  <a:pt x="14535" y="79283"/>
                  <a:pt x="26428" y="71355"/>
                </a:cubicBezTo>
                <a:cubicBezTo>
                  <a:pt x="29071" y="69593"/>
                  <a:pt x="31343" y="67074"/>
                  <a:pt x="34356" y="66070"/>
                </a:cubicBezTo>
                <a:cubicBezTo>
                  <a:pt x="39642" y="64308"/>
                  <a:pt x="44684" y="61475"/>
                  <a:pt x="50213" y="60784"/>
                </a:cubicBezTo>
                <a:cubicBezTo>
                  <a:pt x="81881" y="56825"/>
                  <a:pt x="64277" y="58731"/>
                  <a:pt x="103068" y="55498"/>
                </a:cubicBezTo>
                <a:cubicBezTo>
                  <a:pt x="122471" y="49031"/>
                  <a:pt x="114985" y="54153"/>
                  <a:pt x="126853" y="42285"/>
                </a:cubicBezTo>
                <a:cubicBezTo>
                  <a:pt x="134939" y="18029"/>
                  <a:pt x="131585" y="31972"/>
                  <a:pt x="134782" y="0"/>
                </a:cubicBezTo>
                <a:cubicBezTo>
                  <a:pt x="160329" y="881"/>
                  <a:pt x="185910" y="1048"/>
                  <a:pt x="211422" y="2643"/>
                </a:cubicBezTo>
                <a:cubicBezTo>
                  <a:pt x="214203" y="2817"/>
                  <a:pt x="217381" y="3316"/>
                  <a:pt x="219351" y="5286"/>
                </a:cubicBezTo>
                <a:cubicBezTo>
                  <a:pt x="221321" y="7256"/>
                  <a:pt x="220448" y="10896"/>
                  <a:pt x="221993" y="13214"/>
                </a:cubicBezTo>
                <a:cubicBezTo>
                  <a:pt x="224066" y="16324"/>
                  <a:pt x="227279" y="18499"/>
                  <a:pt x="229922" y="21142"/>
                </a:cubicBezTo>
                <a:cubicBezTo>
                  <a:pt x="236559" y="41062"/>
                  <a:pt x="227608" y="16518"/>
                  <a:pt x="237850" y="36999"/>
                </a:cubicBezTo>
                <a:cubicBezTo>
                  <a:pt x="242988" y="47274"/>
                  <a:pt x="238061" y="43656"/>
                  <a:pt x="243136" y="55498"/>
                </a:cubicBezTo>
                <a:cubicBezTo>
                  <a:pt x="244387" y="58418"/>
                  <a:pt x="247131" y="60524"/>
                  <a:pt x="248421" y="63427"/>
                </a:cubicBezTo>
                <a:cubicBezTo>
                  <a:pt x="250684" y="68518"/>
                  <a:pt x="251945" y="73998"/>
                  <a:pt x="253707" y="79283"/>
                </a:cubicBezTo>
                <a:lnTo>
                  <a:pt x="256349" y="87212"/>
                </a:lnTo>
                <a:cubicBezTo>
                  <a:pt x="255914" y="94181"/>
                  <a:pt x="253739" y="139906"/>
                  <a:pt x="251064" y="153281"/>
                </a:cubicBezTo>
                <a:cubicBezTo>
                  <a:pt x="249971" y="158744"/>
                  <a:pt x="247540" y="163852"/>
                  <a:pt x="245778" y="169138"/>
                </a:cubicBezTo>
                <a:lnTo>
                  <a:pt x="240493" y="184994"/>
                </a:lnTo>
                <a:cubicBezTo>
                  <a:pt x="239612" y="187637"/>
                  <a:pt x="239820" y="190953"/>
                  <a:pt x="237850" y="192923"/>
                </a:cubicBezTo>
                <a:lnTo>
                  <a:pt x="221993" y="208779"/>
                </a:lnTo>
                <a:cubicBezTo>
                  <a:pt x="217150" y="223314"/>
                  <a:pt x="222261" y="210294"/>
                  <a:pt x="214065" y="224636"/>
                </a:cubicBezTo>
                <a:cubicBezTo>
                  <a:pt x="212110" y="228056"/>
                  <a:pt x="211565" y="232421"/>
                  <a:pt x="208779" y="235207"/>
                </a:cubicBezTo>
                <a:cubicBezTo>
                  <a:pt x="206809" y="237177"/>
                  <a:pt x="203286" y="236497"/>
                  <a:pt x="200851" y="237850"/>
                </a:cubicBezTo>
                <a:cubicBezTo>
                  <a:pt x="195298" y="240935"/>
                  <a:pt x="184994" y="248421"/>
                  <a:pt x="184994" y="248421"/>
                </a:cubicBezTo>
                <a:cubicBezTo>
                  <a:pt x="175363" y="277321"/>
                  <a:pt x="190722" y="233552"/>
                  <a:pt x="177066" y="264278"/>
                </a:cubicBezTo>
                <a:cubicBezTo>
                  <a:pt x="174803" y="269369"/>
                  <a:pt x="174871" y="275498"/>
                  <a:pt x="171781" y="280134"/>
                </a:cubicBezTo>
                <a:cubicBezTo>
                  <a:pt x="164950" y="290381"/>
                  <a:pt x="167500" y="285050"/>
                  <a:pt x="163852" y="295991"/>
                </a:cubicBezTo>
                <a:cubicBezTo>
                  <a:pt x="162971" y="303038"/>
                  <a:pt x="162698" y="310188"/>
                  <a:pt x="161210" y="317133"/>
                </a:cubicBezTo>
                <a:cubicBezTo>
                  <a:pt x="160043" y="322581"/>
                  <a:pt x="157686" y="327704"/>
                  <a:pt x="155924" y="332990"/>
                </a:cubicBezTo>
                <a:lnTo>
                  <a:pt x="150638" y="348846"/>
                </a:lnTo>
                <a:lnTo>
                  <a:pt x="147996" y="356775"/>
                </a:lnTo>
                <a:cubicBezTo>
                  <a:pt x="147115" y="359418"/>
                  <a:pt x="146029" y="362001"/>
                  <a:pt x="145353" y="364703"/>
                </a:cubicBezTo>
                <a:cubicBezTo>
                  <a:pt x="144472" y="368227"/>
                  <a:pt x="142773" y="371642"/>
                  <a:pt x="142710" y="375274"/>
                </a:cubicBezTo>
                <a:cubicBezTo>
                  <a:pt x="141890" y="422837"/>
                  <a:pt x="153281" y="482306"/>
                  <a:pt x="150638" y="504770"/>
                </a:cubicBezTo>
                <a:close/>
              </a:path>
            </a:pathLst>
          </a:custGeom>
          <a:solidFill>
            <a:srgbClr val="66FF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8" name="Freeform 87"/>
          <p:cNvSpPr/>
          <p:nvPr/>
        </p:nvSpPr>
        <p:spPr>
          <a:xfrm>
            <a:off x="2624144" y="2715688"/>
            <a:ext cx="369887" cy="556683"/>
          </a:xfrm>
          <a:custGeom>
            <a:avLst/>
            <a:gdLst>
              <a:gd name="connsiteX0" fmla="*/ 369989 w 369989"/>
              <a:gd name="connsiteY0" fmla="*/ 441344 h 554983"/>
              <a:gd name="connsiteX1" fmla="*/ 367346 w 369989"/>
              <a:gd name="connsiteY1" fmla="*/ 454557 h 554983"/>
              <a:gd name="connsiteX2" fmla="*/ 351489 w 369989"/>
              <a:gd name="connsiteY2" fmla="*/ 462486 h 554983"/>
              <a:gd name="connsiteX3" fmla="*/ 311848 w 369989"/>
              <a:gd name="connsiteY3" fmla="*/ 465129 h 554983"/>
              <a:gd name="connsiteX4" fmla="*/ 290705 w 369989"/>
              <a:gd name="connsiteY4" fmla="*/ 470414 h 554983"/>
              <a:gd name="connsiteX5" fmla="*/ 272206 w 369989"/>
              <a:gd name="connsiteY5" fmla="*/ 475700 h 554983"/>
              <a:gd name="connsiteX6" fmla="*/ 264278 w 369989"/>
              <a:gd name="connsiteY6" fmla="*/ 480985 h 554983"/>
              <a:gd name="connsiteX7" fmla="*/ 258992 w 369989"/>
              <a:gd name="connsiteY7" fmla="*/ 488914 h 554983"/>
              <a:gd name="connsiteX8" fmla="*/ 253707 w 369989"/>
              <a:gd name="connsiteY8" fmla="*/ 504770 h 554983"/>
              <a:gd name="connsiteX9" fmla="*/ 248421 w 369989"/>
              <a:gd name="connsiteY9" fmla="*/ 512699 h 554983"/>
              <a:gd name="connsiteX10" fmla="*/ 184994 w 369989"/>
              <a:gd name="connsiteY10" fmla="*/ 515341 h 554983"/>
              <a:gd name="connsiteX11" fmla="*/ 169138 w 369989"/>
              <a:gd name="connsiteY11" fmla="*/ 523270 h 554983"/>
              <a:gd name="connsiteX12" fmla="*/ 153281 w 369989"/>
              <a:gd name="connsiteY12" fmla="*/ 533841 h 554983"/>
              <a:gd name="connsiteX13" fmla="*/ 129496 w 369989"/>
              <a:gd name="connsiteY13" fmla="*/ 552340 h 554983"/>
              <a:gd name="connsiteX14" fmla="*/ 121568 w 369989"/>
              <a:gd name="connsiteY14" fmla="*/ 554983 h 554983"/>
              <a:gd name="connsiteX15" fmla="*/ 92497 w 369989"/>
              <a:gd name="connsiteY15" fmla="*/ 552340 h 554983"/>
              <a:gd name="connsiteX16" fmla="*/ 76641 w 369989"/>
              <a:gd name="connsiteY16" fmla="*/ 547055 h 554983"/>
              <a:gd name="connsiteX17" fmla="*/ 60784 w 369989"/>
              <a:gd name="connsiteY17" fmla="*/ 544412 h 554983"/>
              <a:gd name="connsiteX18" fmla="*/ 44927 w 369989"/>
              <a:gd name="connsiteY18" fmla="*/ 539126 h 554983"/>
              <a:gd name="connsiteX19" fmla="*/ 34356 w 369989"/>
              <a:gd name="connsiteY19" fmla="*/ 520627 h 554983"/>
              <a:gd name="connsiteX20" fmla="*/ 31713 w 369989"/>
              <a:gd name="connsiteY20" fmla="*/ 512699 h 554983"/>
              <a:gd name="connsiteX21" fmla="*/ 29071 w 369989"/>
              <a:gd name="connsiteY21" fmla="*/ 470414 h 554983"/>
              <a:gd name="connsiteX22" fmla="*/ 23785 w 369989"/>
              <a:gd name="connsiteY22" fmla="*/ 462486 h 554983"/>
              <a:gd name="connsiteX23" fmla="*/ 21142 w 369989"/>
              <a:gd name="connsiteY23" fmla="*/ 454557 h 554983"/>
              <a:gd name="connsiteX24" fmla="*/ 10571 w 369989"/>
              <a:gd name="connsiteY24" fmla="*/ 438701 h 554983"/>
              <a:gd name="connsiteX25" fmla="*/ 5286 w 369989"/>
              <a:gd name="connsiteY25" fmla="*/ 430773 h 554983"/>
              <a:gd name="connsiteX26" fmla="*/ 0 w 369989"/>
              <a:gd name="connsiteY26" fmla="*/ 412273 h 554983"/>
              <a:gd name="connsiteX27" fmla="*/ 2643 w 369989"/>
              <a:gd name="connsiteY27" fmla="*/ 391131 h 554983"/>
              <a:gd name="connsiteX28" fmla="*/ 10571 w 369989"/>
              <a:gd name="connsiteY28" fmla="*/ 372631 h 554983"/>
              <a:gd name="connsiteX29" fmla="*/ 18500 w 369989"/>
              <a:gd name="connsiteY29" fmla="*/ 367346 h 554983"/>
              <a:gd name="connsiteX30" fmla="*/ 23785 w 369989"/>
              <a:gd name="connsiteY30" fmla="*/ 346204 h 554983"/>
              <a:gd name="connsiteX31" fmla="*/ 26428 w 369989"/>
              <a:gd name="connsiteY31" fmla="*/ 295991 h 554983"/>
              <a:gd name="connsiteX32" fmla="*/ 42285 w 369989"/>
              <a:gd name="connsiteY32" fmla="*/ 264278 h 554983"/>
              <a:gd name="connsiteX33" fmla="*/ 47570 w 369989"/>
              <a:gd name="connsiteY33" fmla="*/ 256349 h 554983"/>
              <a:gd name="connsiteX34" fmla="*/ 52856 w 369989"/>
              <a:gd name="connsiteY34" fmla="*/ 248421 h 554983"/>
              <a:gd name="connsiteX35" fmla="*/ 55498 w 369989"/>
              <a:gd name="connsiteY35" fmla="*/ 240493 h 554983"/>
              <a:gd name="connsiteX36" fmla="*/ 63427 w 369989"/>
              <a:gd name="connsiteY36" fmla="*/ 224636 h 554983"/>
              <a:gd name="connsiteX37" fmla="*/ 60784 w 369989"/>
              <a:gd name="connsiteY37" fmla="*/ 163852 h 554983"/>
              <a:gd name="connsiteX38" fmla="*/ 55498 w 369989"/>
              <a:gd name="connsiteY38" fmla="*/ 145353 h 554983"/>
              <a:gd name="connsiteX39" fmla="*/ 50213 w 369989"/>
              <a:gd name="connsiteY39" fmla="*/ 124211 h 554983"/>
              <a:gd name="connsiteX40" fmla="*/ 44927 w 369989"/>
              <a:gd name="connsiteY40" fmla="*/ 108354 h 554983"/>
              <a:gd name="connsiteX41" fmla="*/ 47570 w 369989"/>
              <a:gd name="connsiteY41" fmla="*/ 7929 h 554983"/>
              <a:gd name="connsiteX42" fmla="*/ 76641 w 369989"/>
              <a:gd name="connsiteY42" fmla="*/ 0 h 554983"/>
              <a:gd name="connsiteX43" fmla="*/ 182352 w 369989"/>
              <a:gd name="connsiteY43" fmla="*/ 2643 h 554983"/>
              <a:gd name="connsiteX44" fmla="*/ 198208 w 369989"/>
              <a:gd name="connsiteY44" fmla="*/ 7929 h 554983"/>
              <a:gd name="connsiteX45" fmla="*/ 214065 w 369989"/>
              <a:gd name="connsiteY45" fmla="*/ 10571 h 554983"/>
              <a:gd name="connsiteX46" fmla="*/ 237850 w 369989"/>
              <a:gd name="connsiteY46" fmla="*/ 18500 h 554983"/>
              <a:gd name="connsiteX47" fmla="*/ 245778 w 369989"/>
              <a:gd name="connsiteY47" fmla="*/ 21142 h 554983"/>
              <a:gd name="connsiteX48" fmla="*/ 266920 w 369989"/>
              <a:gd name="connsiteY48" fmla="*/ 18500 h 554983"/>
              <a:gd name="connsiteX49" fmla="*/ 282777 w 369989"/>
              <a:gd name="connsiteY49" fmla="*/ 13214 h 554983"/>
              <a:gd name="connsiteX50" fmla="*/ 290705 w 369989"/>
              <a:gd name="connsiteY50" fmla="*/ 15857 h 554983"/>
              <a:gd name="connsiteX51" fmla="*/ 295991 w 369989"/>
              <a:gd name="connsiteY51" fmla="*/ 31714 h 554983"/>
              <a:gd name="connsiteX52" fmla="*/ 303919 w 369989"/>
              <a:gd name="connsiteY52" fmla="*/ 55499 h 554983"/>
              <a:gd name="connsiteX53" fmla="*/ 306562 w 369989"/>
              <a:gd name="connsiteY53" fmla="*/ 63427 h 554983"/>
              <a:gd name="connsiteX54" fmla="*/ 311848 w 369989"/>
              <a:gd name="connsiteY54" fmla="*/ 71355 h 554983"/>
              <a:gd name="connsiteX55" fmla="*/ 317133 w 369989"/>
              <a:gd name="connsiteY55" fmla="*/ 89855 h 554983"/>
              <a:gd name="connsiteX56" fmla="*/ 319776 w 369989"/>
              <a:gd name="connsiteY56" fmla="*/ 97783 h 554983"/>
              <a:gd name="connsiteX57" fmla="*/ 322419 w 369989"/>
              <a:gd name="connsiteY57" fmla="*/ 145353 h 554983"/>
              <a:gd name="connsiteX58" fmla="*/ 325061 w 369989"/>
              <a:gd name="connsiteY58" fmla="*/ 169138 h 554983"/>
              <a:gd name="connsiteX59" fmla="*/ 322419 w 369989"/>
              <a:gd name="connsiteY59" fmla="*/ 206137 h 554983"/>
              <a:gd name="connsiteX60" fmla="*/ 325061 w 369989"/>
              <a:gd name="connsiteY60" fmla="*/ 229922 h 554983"/>
              <a:gd name="connsiteX61" fmla="*/ 332990 w 369989"/>
              <a:gd name="connsiteY61" fmla="*/ 237850 h 554983"/>
              <a:gd name="connsiteX62" fmla="*/ 338275 w 369989"/>
              <a:gd name="connsiteY62" fmla="*/ 253707 h 554983"/>
              <a:gd name="connsiteX63" fmla="*/ 335633 w 369989"/>
              <a:gd name="connsiteY63" fmla="*/ 261635 h 554983"/>
              <a:gd name="connsiteX64" fmla="*/ 330347 w 369989"/>
              <a:gd name="connsiteY64" fmla="*/ 282777 h 554983"/>
              <a:gd name="connsiteX65" fmla="*/ 327704 w 369989"/>
              <a:gd name="connsiteY65" fmla="*/ 325062 h 554983"/>
              <a:gd name="connsiteX66" fmla="*/ 319776 w 369989"/>
              <a:gd name="connsiteY66" fmla="*/ 340918 h 554983"/>
              <a:gd name="connsiteX67" fmla="*/ 311848 w 369989"/>
              <a:gd name="connsiteY67" fmla="*/ 369989 h 554983"/>
              <a:gd name="connsiteX68" fmla="*/ 314490 w 369989"/>
              <a:gd name="connsiteY68" fmla="*/ 383203 h 554983"/>
              <a:gd name="connsiteX69" fmla="*/ 322419 w 369989"/>
              <a:gd name="connsiteY69" fmla="*/ 385845 h 554983"/>
              <a:gd name="connsiteX70" fmla="*/ 325061 w 369989"/>
              <a:gd name="connsiteY70" fmla="*/ 393774 h 554983"/>
              <a:gd name="connsiteX71" fmla="*/ 330347 w 369989"/>
              <a:gd name="connsiteY71" fmla="*/ 422844 h 554983"/>
              <a:gd name="connsiteX72" fmla="*/ 335633 w 369989"/>
              <a:gd name="connsiteY72" fmla="*/ 430773 h 554983"/>
              <a:gd name="connsiteX73" fmla="*/ 351489 w 369989"/>
              <a:gd name="connsiteY73" fmla="*/ 436058 h 554983"/>
              <a:gd name="connsiteX74" fmla="*/ 367346 w 369989"/>
              <a:gd name="connsiteY74" fmla="*/ 446629 h 554983"/>
              <a:gd name="connsiteX75" fmla="*/ 369989 w 369989"/>
              <a:gd name="connsiteY75" fmla="*/ 441344 h 554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369989" h="554983">
                <a:moveTo>
                  <a:pt x="369989" y="441344"/>
                </a:moveTo>
                <a:cubicBezTo>
                  <a:pt x="369108" y="445748"/>
                  <a:pt x="369575" y="450657"/>
                  <a:pt x="367346" y="454557"/>
                </a:cubicBezTo>
                <a:cubicBezTo>
                  <a:pt x="365564" y="457675"/>
                  <a:pt x="355007" y="462095"/>
                  <a:pt x="351489" y="462486"/>
                </a:cubicBezTo>
                <a:cubicBezTo>
                  <a:pt x="338327" y="463949"/>
                  <a:pt x="325062" y="464248"/>
                  <a:pt x="311848" y="465129"/>
                </a:cubicBezTo>
                <a:cubicBezTo>
                  <a:pt x="284996" y="470498"/>
                  <a:pt x="309660" y="464998"/>
                  <a:pt x="290705" y="470414"/>
                </a:cubicBezTo>
                <a:cubicBezTo>
                  <a:pt x="286752" y="471544"/>
                  <a:pt x="276431" y="473587"/>
                  <a:pt x="272206" y="475700"/>
                </a:cubicBezTo>
                <a:cubicBezTo>
                  <a:pt x="269365" y="477120"/>
                  <a:pt x="266921" y="479223"/>
                  <a:pt x="264278" y="480985"/>
                </a:cubicBezTo>
                <a:cubicBezTo>
                  <a:pt x="262516" y="483628"/>
                  <a:pt x="260282" y="486011"/>
                  <a:pt x="258992" y="488914"/>
                </a:cubicBezTo>
                <a:cubicBezTo>
                  <a:pt x="256729" y="494005"/>
                  <a:pt x="256797" y="500134"/>
                  <a:pt x="253707" y="504770"/>
                </a:cubicBezTo>
                <a:cubicBezTo>
                  <a:pt x="251945" y="507413"/>
                  <a:pt x="251561" y="512216"/>
                  <a:pt x="248421" y="512699"/>
                </a:cubicBezTo>
                <a:cubicBezTo>
                  <a:pt x="227506" y="515917"/>
                  <a:pt x="206136" y="514460"/>
                  <a:pt x="184994" y="515341"/>
                </a:cubicBezTo>
                <a:cubicBezTo>
                  <a:pt x="177047" y="517990"/>
                  <a:pt x="175970" y="517577"/>
                  <a:pt x="169138" y="523270"/>
                </a:cubicBezTo>
                <a:cubicBezTo>
                  <a:pt x="155941" y="534267"/>
                  <a:pt x="167213" y="529197"/>
                  <a:pt x="153281" y="533841"/>
                </a:cubicBezTo>
                <a:cubicBezTo>
                  <a:pt x="146440" y="540682"/>
                  <a:pt x="138981" y="549178"/>
                  <a:pt x="129496" y="552340"/>
                </a:cubicBezTo>
                <a:lnTo>
                  <a:pt x="121568" y="554983"/>
                </a:lnTo>
                <a:cubicBezTo>
                  <a:pt x="111878" y="554102"/>
                  <a:pt x="102079" y="554031"/>
                  <a:pt x="92497" y="552340"/>
                </a:cubicBezTo>
                <a:cubicBezTo>
                  <a:pt x="87011" y="551372"/>
                  <a:pt x="82136" y="547971"/>
                  <a:pt x="76641" y="547055"/>
                </a:cubicBezTo>
                <a:lnTo>
                  <a:pt x="60784" y="544412"/>
                </a:lnTo>
                <a:cubicBezTo>
                  <a:pt x="55498" y="542650"/>
                  <a:pt x="48017" y="543762"/>
                  <a:pt x="44927" y="539126"/>
                </a:cubicBezTo>
                <a:cubicBezTo>
                  <a:pt x="39620" y="531165"/>
                  <a:pt x="38379" y="530014"/>
                  <a:pt x="34356" y="520627"/>
                </a:cubicBezTo>
                <a:cubicBezTo>
                  <a:pt x="33259" y="518067"/>
                  <a:pt x="32594" y="515342"/>
                  <a:pt x="31713" y="512699"/>
                </a:cubicBezTo>
                <a:cubicBezTo>
                  <a:pt x="30832" y="498604"/>
                  <a:pt x="31273" y="484364"/>
                  <a:pt x="29071" y="470414"/>
                </a:cubicBezTo>
                <a:cubicBezTo>
                  <a:pt x="28576" y="467277"/>
                  <a:pt x="25206" y="465327"/>
                  <a:pt x="23785" y="462486"/>
                </a:cubicBezTo>
                <a:cubicBezTo>
                  <a:pt x="22539" y="459994"/>
                  <a:pt x="22495" y="456992"/>
                  <a:pt x="21142" y="454557"/>
                </a:cubicBezTo>
                <a:cubicBezTo>
                  <a:pt x="18057" y="449004"/>
                  <a:pt x="14095" y="443986"/>
                  <a:pt x="10571" y="438701"/>
                </a:cubicBezTo>
                <a:cubicBezTo>
                  <a:pt x="8809" y="436058"/>
                  <a:pt x="6290" y="433786"/>
                  <a:pt x="5286" y="430773"/>
                </a:cubicBezTo>
                <a:cubicBezTo>
                  <a:pt x="1494" y="419398"/>
                  <a:pt x="3319" y="425547"/>
                  <a:pt x="0" y="412273"/>
                </a:cubicBezTo>
                <a:cubicBezTo>
                  <a:pt x="881" y="405226"/>
                  <a:pt x="1475" y="398137"/>
                  <a:pt x="2643" y="391131"/>
                </a:cubicBezTo>
                <a:cubicBezTo>
                  <a:pt x="3856" y="383855"/>
                  <a:pt x="5196" y="378006"/>
                  <a:pt x="10571" y="372631"/>
                </a:cubicBezTo>
                <a:cubicBezTo>
                  <a:pt x="12817" y="370385"/>
                  <a:pt x="15857" y="369108"/>
                  <a:pt x="18500" y="367346"/>
                </a:cubicBezTo>
                <a:cubicBezTo>
                  <a:pt x="21024" y="359773"/>
                  <a:pt x="23077" y="354705"/>
                  <a:pt x="23785" y="346204"/>
                </a:cubicBezTo>
                <a:cubicBezTo>
                  <a:pt x="25177" y="329501"/>
                  <a:pt x="24431" y="312632"/>
                  <a:pt x="26428" y="295991"/>
                </a:cubicBezTo>
                <a:cubicBezTo>
                  <a:pt x="28030" y="282643"/>
                  <a:pt x="35112" y="275037"/>
                  <a:pt x="42285" y="264278"/>
                </a:cubicBezTo>
                <a:lnTo>
                  <a:pt x="47570" y="256349"/>
                </a:lnTo>
                <a:lnTo>
                  <a:pt x="52856" y="248421"/>
                </a:lnTo>
                <a:cubicBezTo>
                  <a:pt x="53737" y="245778"/>
                  <a:pt x="54252" y="242984"/>
                  <a:pt x="55498" y="240493"/>
                </a:cubicBezTo>
                <a:cubicBezTo>
                  <a:pt x="65747" y="219993"/>
                  <a:pt x="56782" y="244569"/>
                  <a:pt x="63427" y="224636"/>
                </a:cubicBezTo>
                <a:cubicBezTo>
                  <a:pt x="62546" y="204375"/>
                  <a:pt x="62282" y="184077"/>
                  <a:pt x="60784" y="163852"/>
                </a:cubicBezTo>
                <a:cubicBezTo>
                  <a:pt x="60336" y="157807"/>
                  <a:pt x="57088" y="151183"/>
                  <a:pt x="55498" y="145353"/>
                </a:cubicBezTo>
                <a:cubicBezTo>
                  <a:pt x="53587" y="138345"/>
                  <a:pt x="52510" y="131102"/>
                  <a:pt x="50213" y="124211"/>
                </a:cubicBezTo>
                <a:lnTo>
                  <a:pt x="44927" y="108354"/>
                </a:lnTo>
                <a:cubicBezTo>
                  <a:pt x="45808" y="74879"/>
                  <a:pt x="41797" y="40914"/>
                  <a:pt x="47570" y="7929"/>
                </a:cubicBezTo>
                <a:cubicBezTo>
                  <a:pt x="48056" y="5149"/>
                  <a:pt x="73791" y="570"/>
                  <a:pt x="76641" y="0"/>
                </a:cubicBezTo>
                <a:cubicBezTo>
                  <a:pt x="111878" y="881"/>
                  <a:pt x="147179" y="349"/>
                  <a:pt x="182352" y="2643"/>
                </a:cubicBezTo>
                <a:cubicBezTo>
                  <a:pt x="187911" y="3006"/>
                  <a:pt x="192712" y="7013"/>
                  <a:pt x="198208" y="7929"/>
                </a:cubicBezTo>
                <a:lnTo>
                  <a:pt x="214065" y="10571"/>
                </a:lnTo>
                <a:lnTo>
                  <a:pt x="237850" y="18500"/>
                </a:lnTo>
                <a:lnTo>
                  <a:pt x="245778" y="21142"/>
                </a:lnTo>
                <a:cubicBezTo>
                  <a:pt x="252825" y="20261"/>
                  <a:pt x="259975" y="19988"/>
                  <a:pt x="266920" y="18500"/>
                </a:cubicBezTo>
                <a:cubicBezTo>
                  <a:pt x="272368" y="17333"/>
                  <a:pt x="282777" y="13214"/>
                  <a:pt x="282777" y="13214"/>
                </a:cubicBezTo>
                <a:cubicBezTo>
                  <a:pt x="285420" y="14095"/>
                  <a:pt x="289086" y="13590"/>
                  <a:pt x="290705" y="15857"/>
                </a:cubicBezTo>
                <a:cubicBezTo>
                  <a:pt x="293943" y="20391"/>
                  <a:pt x="294229" y="26428"/>
                  <a:pt x="295991" y="31714"/>
                </a:cubicBezTo>
                <a:lnTo>
                  <a:pt x="303919" y="55499"/>
                </a:lnTo>
                <a:cubicBezTo>
                  <a:pt x="304800" y="58142"/>
                  <a:pt x="305017" y="61109"/>
                  <a:pt x="306562" y="63427"/>
                </a:cubicBezTo>
                <a:lnTo>
                  <a:pt x="311848" y="71355"/>
                </a:lnTo>
                <a:cubicBezTo>
                  <a:pt x="318189" y="90383"/>
                  <a:pt x="310488" y="66600"/>
                  <a:pt x="317133" y="89855"/>
                </a:cubicBezTo>
                <a:cubicBezTo>
                  <a:pt x="317898" y="92533"/>
                  <a:pt x="318895" y="95140"/>
                  <a:pt x="319776" y="97783"/>
                </a:cubicBezTo>
                <a:cubicBezTo>
                  <a:pt x="320657" y="113640"/>
                  <a:pt x="321246" y="129515"/>
                  <a:pt x="322419" y="145353"/>
                </a:cubicBezTo>
                <a:cubicBezTo>
                  <a:pt x="323008" y="153308"/>
                  <a:pt x="325061" y="161161"/>
                  <a:pt x="325061" y="169138"/>
                </a:cubicBezTo>
                <a:cubicBezTo>
                  <a:pt x="325061" y="181502"/>
                  <a:pt x="323300" y="193804"/>
                  <a:pt x="322419" y="206137"/>
                </a:cubicBezTo>
                <a:cubicBezTo>
                  <a:pt x="323300" y="214065"/>
                  <a:pt x="322538" y="222354"/>
                  <a:pt x="325061" y="229922"/>
                </a:cubicBezTo>
                <a:cubicBezTo>
                  <a:pt x="326243" y="233468"/>
                  <a:pt x="331175" y="234583"/>
                  <a:pt x="332990" y="237850"/>
                </a:cubicBezTo>
                <a:cubicBezTo>
                  <a:pt x="335696" y="242720"/>
                  <a:pt x="338275" y="253707"/>
                  <a:pt x="338275" y="253707"/>
                </a:cubicBezTo>
                <a:cubicBezTo>
                  <a:pt x="337394" y="256350"/>
                  <a:pt x="336366" y="258948"/>
                  <a:pt x="335633" y="261635"/>
                </a:cubicBezTo>
                <a:cubicBezTo>
                  <a:pt x="333722" y="268643"/>
                  <a:pt x="330347" y="282777"/>
                  <a:pt x="330347" y="282777"/>
                </a:cubicBezTo>
                <a:cubicBezTo>
                  <a:pt x="329466" y="296872"/>
                  <a:pt x="329183" y="311017"/>
                  <a:pt x="327704" y="325062"/>
                </a:cubicBezTo>
                <a:cubicBezTo>
                  <a:pt x="326707" y="334532"/>
                  <a:pt x="323584" y="332350"/>
                  <a:pt x="319776" y="340918"/>
                </a:cubicBezTo>
                <a:cubicBezTo>
                  <a:pt x="314897" y="351896"/>
                  <a:pt x="314109" y="358681"/>
                  <a:pt x="311848" y="369989"/>
                </a:cubicBezTo>
                <a:cubicBezTo>
                  <a:pt x="312729" y="374394"/>
                  <a:pt x="311998" y="379466"/>
                  <a:pt x="314490" y="383203"/>
                </a:cubicBezTo>
                <a:cubicBezTo>
                  <a:pt x="316035" y="385521"/>
                  <a:pt x="320449" y="383875"/>
                  <a:pt x="322419" y="385845"/>
                </a:cubicBezTo>
                <a:cubicBezTo>
                  <a:pt x="324389" y="387815"/>
                  <a:pt x="324180" y="391131"/>
                  <a:pt x="325061" y="393774"/>
                </a:cubicBezTo>
                <a:cubicBezTo>
                  <a:pt x="325972" y="401064"/>
                  <a:pt x="326273" y="414696"/>
                  <a:pt x="330347" y="422844"/>
                </a:cubicBezTo>
                <a:cubicBezTo>
                  <a:pt x="331768" y="425685"/>
                  <a:pt x="332939" y="429089"/>
                  <a:pt x="335633" y="430773"/>
                </a:cubicBezTo>
                <a:cubicBezTo>
                  <a:pt x="340357" y="433726"/>
                  <a:pt x="346853" y="432968"/>
                  <a:pt x="351489" y="436058"/>
                </a:cubicBezTo>
                <a:lnTo>
                  <a:pt x="367346" y="446629"/>
                </a:lnTo>
                <a:lnTo>
                  <a:pt x="369989" y="441344"/>
                </a:lnTo>
                <a:close/>
              </a:path>
            </a:pathLst>
          </a:custGeom>
          <a:solidFill>
            <a:srgbClr val="FF33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90" name="Freeform 89"/>
          <p:cNvSpPr/>
          <p:nvPr/>
        </p:nvSpPr>
        <p:spPr>
          <a:xfrm>
            <a:off x="2439994" y="2360084"/>
            <a:ext cx="676275" cy="482600"/>
          </a:xfrm>
          <a:custGeom>
            <a:avLst/>
            <a:gdLst>
              <a:gd name="connsiteX0" fmla="*/ 219350 w 676550"/>
              <a:gd name="connsiteY0" fmla="*/ 480985 h 480985"/>
              <a:gd name="connsiteX1" fmla="*/ 208779 w 676550"/>
              <a:gd name="connsiteY1" fmla="*/ 467771 h 480985"/>
              <a:gd name="connsiteX2" fmla="*/ 200851 w 676550"/>
              <a:gd name="connsiteY2" fmla="*/ 465128 h 480985"/>
              <a:gd name="connsiteX3" fmla="*/ 184994 w 676550"/>
              <a:gd name="connsiteY3" fmla="*/ 457200 h 480985"/>
              <a:gd name="connsiteX4" fmla="*/ 177066 w 676550"/>
              <a:gd name="connsiteY4" fmla="*/ 451914 h 480985"/>
              <a:gd name="connsiteX5" fmla="*/ 137424 w 676550"/>
              <a:gd name="connsiteY5" fmla="*/ 454557 h 480985"/>
              <a:gd name="connsiteX6" fmla="*/ 121568 w 676550"/>
              <a:gd name="connsiteY6" fmla="*/ 459842 h 480985"/>
              <a:gd name="connsiteX7" fmla="*/ 113639 w 676550"/>
              <a:gd name="connsiteY7" fmla="*/ 462485 h 480985"/>
              <a:gd name="connsiteX8" fmla="*/ 79283 w 676550"/>
              <a:gd name="connsiteY8" fmla="*/ 459842 h 480985"/>
              <a:gd name="connsiteX9" fmla="*/ 71355 w 676550"/>
              <a:gd name="connsiteY9" fmla="*/ 457200 h 480985"/>
              <a:gd name="connsiteX10" fmla="*/ 66069 w 676550"/>
              <a:gd name="connsiteY10" fmla="*/ 449271 h 480985"/>
              <a:gd name="connsiteX11" fmla="*/ 58141 w 676550"/>
              <a:gd name="connsiteY11" fmla="*/ 441343 h 480985"/>
              <a:gd name="connsiteX12" fmla="*/ 42284 w 676550"/>
              <a:gd name="connsiteY12" fmla="*/ 430772 h 480985"/>
              <a:gd name="connsiteX13" fmla="*/ 31713 w 676550"/>
              <a:gd name="connsiteY13" fmla="*/ 414915 h 480985"/>
              <a:gd name="connsiteX14" fmla="*/ 29070 w 676550"/>
              <a:gd name="connsiteY14" fmla="*/ 406987 h 480985"/>
              <a:gd name="connsiteX15" fmla="*/ 13214 w 676550"/>
              <a:gd name="connsiteY15" fmla="*/ 399059 h 480985"/>
              <a:gd name="connsiteX16" fmla="*/ 5285 w 676550"/>
              <a:gd name="connsiteY16" fmla="*/ 391130 h 480985"/>
              <a:gd name="connsiteX17" fmla="*/ 0 w 676550"/>
              <a:gd name="connsiteY17" fmla="*/ 375274 h 480985"/>
              <a:gd name="connsiteX18" fmla="*/ 5285 w 676550"/>
              <a:gd name="connsiteY18" fmla="*/ 359417 h 480985"/>
              <a:gd name="connsiteX19" fmla="*/ 7928 w 676550"/>
              <a:gd name="connsiteY19" fmla="*/ 335632 h 480985"/>
              <a:gd name="connsiteX20" fmla="*/ 23785 w 676550"/>
              <a:gd name="connsiteY20" fmla="*/ 325061 h 480985"/>
              <a:gd name="connsiteX21" fmla="*/ 26428 w 676550"/>
              <a:gd name="connsiteY21" fmla="*/ 317133 h 480985"/>
              <a:gd name="connsiteX22" fmla="*/ 29070 w 676550"/>
              <a:gd name="connsiteY22" fmla="*/ 280134 h 480985"/>
              <a:gd name="connsiteX23" fmla="*/ 36999 w 676550"/>
              <a:gd name="connsiteY23" fmla="*/ 274848 h 480985"/>
              <a:gd name="connsiteX24" fmla="*/ 55498 w 676550"/>
              <a:gd name="connsiteY24" fmla="*/ 269563 h 480985"/>
              <a:gd name="connsiteX25" fmla="*/ 79283 w 676550"/>
              <a:gd name="connsiteY25" fmla="*/ 258992 h 480985"/>
              <a:gd name="connsiteX26" fmla="*/ 87211 w 676550"/>
              <a:gd name="connsiteY26" fmla="*/ 256349 h 480985"/>
              <a:gd name="connsiteX27" fmla="*/ 92497 w 676550"/>
              <a:gd name="connsiteY27" fmla="*/ 240492 h 480985"/>
              <a:gd name="connsiteX28" fmla="*/ 95140 w 676550"/>
              <a:gd name="connsiteY28" fmla="*/ 229921 h 480985"/>
              <a:gd name="connsiteX29" fmla="*/ 105711 w 676550"/>
              <a:gd name="connsiteY29" fmla="*/ 214064 h 480985"/>
              <a:gd name="connsiteX30" fmla="*/ 113639 w 676550"/>
              <a:gd name="connsiteY30" fmla="*/ 208779 h 480985"/>
              <a:gd name="connsiteX31" fmla="*/ 118925 w 676550"/>
              <a:gd name="connsiteY31" fmla="*/ 200851 h 480985"/>
              <a:gd name="connsiteX32" fmla="*/ 126853 w 676550"/>
              <a:gd name="connsiteY32" fmla="*/ 192922 h 480985"/>
              <a:gd name="connsiteX33" fmla="*/ 121568 w 676550"/>
              <a:gd name="connsiteY33" fmla="*/ 161209 h 480985"/>
              <a:gd name="connsiteX34" fmla="*/ 124210 w 676550"/>
              <a:gd name="connsiteY34" fmla="*/ 153281 h 480985"/>
              <a:gd name="connsiteX35" fmla="*/ 132139 w 676550"/>
              <a:gd name="connsiteY35" fmla="*/ 150638 h 480985"/>
              <a:gd name="connsiteX36" fmla="*/ 147995 w 676550"/>
              <a:gd name="connsiteY36" fmla="*/ 147995 h 480985"/>
              <a:gd name="connsiteX37" fmla="*/ 166495 w 676550"/>
              <a:gd name="connsiteY37" fmla="*/ 150638 h 480985"/>
              <a:gd name="connsiteX38" fmla="*/ 174423 w 676550"/>
              <a:gd name="connsiteY38" fmla="*/ 155923 h 480985"/>
              <a:gd name="connsiteX39" fmla="*/ 187637 w 676550"/>
              <a:gd name="connsiteY39" fmla="*/ 158566 h 480985"/>
              <a:gd name="connsiteX40" fmla="*/ 211422 w 676550"/>
              <a:gd name="connsiteY40" fmla="*/ 147995 h 480985"/>
              <a:gd name="connsiteX41" fmla="*/ 214065 w 676550"/>
              <a:gd name="connsiteY41" fmla="*/ 124210 h 480985"/>
              <a:gd name="connsiteX42" fmla="*/ 232564 w 676550"/>
              <a:gd name="connsiteY42" fmla="*/ 121567 h 480985"/>
              <a:gd name="connsiteX43" fmla="*/ 243135 w 676550"/>
              <a:gd name="connsiteY43" fmla="*/ 105711 h 480985"/>
              <a:gd name="connsiteX44" fmla="*/ 253706 w 676550"/>
              <a:gd name="connsiteY44" fmla="*/ 89854 h 480985"/>
              <a:gd name="connsiteX45" fmla="*/ 258992 w 676550"/>
              <a:gd name="connsiteY45" fmla="*/ 81926 h 480985"/>
              <a:gd name="connsiteX46" fmla="*/ 274848 w 676550"/>
              <a:gd name="connsiteY46" fmla="*/ 76640 h 480985"/>
              <a:gd name="connsiteX47" fmla="*/ 282777 w 676550"/>
              <a:gd name="connsiteY47" fmla="*/ 73997 h 480985"/>
              <a:gd name="connsiteX48" fmla="*/ 295991 w 676550"/>
              <a:gd name="connsiteY48" fmla="*/ 76640 h 480985"/>
              <a:gd name="connsiteX49" fmla="*/ 303919 w 676550"/>
              <a:gd name="connsiteY49" fmla="*/ 79283 h 480985"/>
              <a:gd name="connsiteX50" fmla="*/ 314490 w 676550"/>
              <a:gd name="connsiteY50" fmla="*/ 81926 h 480985"/>
              <a:gd name="connsiteX51" fmla="*/ 338275 w 676550"/>
              <a:gd name="connsiteY51" fmla="*/ 68712 h 480985"/>
              <a:gd name="connsiteX52" fmla="*/ 346203 w 676550"/>
              <a:gd name="connsiteY52" fmla="*/ 60784 h 480985"/>
              <a:gd name="connsiteX53" fmla="*/ 362060 w 676550"/>
              <a:gd name="connsiteY53" fmla="*/ 50212 h 480985"/>
              <a:gd name="connsiteX54" fmla="*/ 377917 w 676550"/>
              <a:gd name="connsiteY54" fmla="*/ 39641 h 480985"/>
              <a:gd name="connsiteX55" fmla="*/ 385845 w 676550"/>
              <a:gd name="connsiteY55" fmla="*/ 34356 h 480985"/>
              <a:gd name="connsiteX56" fmla="*/ 401702 w 676550"/>
              <a:gd name="connsiteY56" fmla="*/ 23785 h 480985"/>
              <a:gd name="connsiteX57" fmla="*/ 428129 w 676550"/>
              <a:gd name="connsiteY57" fmla="*/ 10571 h 480985"/>
              <a:gd name="connsiteX58" fmla="*/ 438701 w 676550"/>
              <a:gd name="connsiteY58" fmla="*/ 5285 h 480985"/>
              <a:gd name="connsiteX59" fmla="*/ 459843 w 676550"/>
              <a:gd name="connsiteY59" fmla="*/ 2642 h 480985"/>
              <a:gd name="connsiteX60" fmla="*/ 470414 w 676550"/>
              <a:gd name="connsiteY60" fmla="*/ 0 h 480985"/>
              <a:gd name="connsiteX61" fmla="*/ 488913 w 676550"/>
              <a:gd name="connsiteY61" fmla="*/ 2642 h 480985"/>
              <a:gd name="connsiteX62" fmla="*/ 496842 w 676550"/>
              <a:gd name="connsiteY62" fmla="*/ 7928 h 480985"/>
              <a:gd name="connsiteX63" fmla="*/ 504770 w 676550"/>
              <a:gd name="connsiteY63" fmla="*/ 10571 h 480985"/>
              <a:gd name="connsiteX64" fmla="*/ 507413 w 676550"/>
              <a:gd name="connsiteY64" fmla="*/ 39641 h 480985"/>
              <a:gd name="connsiteX65" fmla="*/ 510055 w 676550"/>
              <a:gd name="connsiteY65" fmla="*/ 76640 h 480985"/>
              <a:gd name="connsiteX66" fmla="*/ 525912 w 676550"/>
              <a:gd name="connsiteY66" fmla="*/ 87211 h 480985"/>
              <a:gd name="connsiteX67" fmla="*/ 533840 w 676550"/>
              <a:gd name="connsiteY67" fmla="*/ 95140 h 480985"/>
              <a:gd name="connsiteX68" fmla="*/ 541769 w 676550"/>
              <a:gd name="connsiteY68" fmla="*/ 110996 h 480985"/>
              <a:gd name="connsiteX69" fmla="*/ 547054 w 676550"/>
              <a:gd name="connsiteY69" fmla="*/ 118925 h 480985"/>
              <a:gd name="connsiteX70" fmla="*/ 552340 w 676550"/>
              <a:gd name="connsiteY70" fmla="*/ 134781 h 480985"/>
              <a:gd name="connsiteX71" fmla="*/ 554983 w 676550"/>
              <a:gd name="connsiteY71" fmla="*/ 142710 h 480985"/>
              <a:gd name="connsiteX72" fmla="*/ 562911 w 676550"/>
              <a:gd name="connsiteY72" fmla="*/ 147995 h 480985"/>
              <a:gd name="connsiteX73" fmla="*/ 591981 w 676550"/>
              <a:gd name="connsiteY73" fmla="*/ 153281 h 480985"/>
              <a:gd name="connsiteX74" fmla="*/ 594624 w 676550"/>
              <a:gd name="connsiteY74" fmla="*/ 161209 h 480985"/>
              <a:gd name="connsiteX75" fmla="*/ 581410 w 676550"/>
              <a:gd name="connsiteY75" fmla="*/ 184994 h 480985"/>
              <a:gd name="connsiteX76" fmla="*/ 576125 w 676550"/>
              <a:gd name="connsiteY76" fmla="*/ 200851 h 480985"/>
              <a:gd name="connsiteX77" fmla="*/ 591981 w 676550"/>
              <a:gd name="connsiteY77" fmla="*/ 206136 h 480985"/>
              <a:gd name="connsiteX78" fmla="*/ 599910 w 676550"/>
              <a:gd name="connsiteY78" fmla="*/ 208779 h 480985"/>
              <a:gd name="connsiteX79" fmla="*/ 621052 w 676550"/>
              <a:gd name="connsiteY79" fmla="*/ 214064 h 480985"/>
              <a:gd name="connsiteX80" fmla="*/ 628980 w 676550"/>
              <a:gd name="connsiteY80" fmla="*/ 216707 h 480985"/>
              <a:gd name="connsiteX81" fmla="*/ 665979 w 676550"/>
              <a:gd name="connsiteY81" fmla="*/ 219350 h 480985"/>
              <a:gd name="connsiteX82" fmla="*/ 668622 w 676550"/>
              <a:gd name="connsiteY82" fmla="*/ 229921 h 480985"/>
              <a:gd name="connsiteX83" fmla="*/ 671265 w 676550"/>
              <a:gd name="connsiteY83" fmla="*/ 264277 h 480985"/>
              <a:gd name="connsiteX84" fmla="*/ 676550 w 676550"/>
              <a:gd name="connsiteY84" fmla="*/ 272205 h 480985"/>
              <a:gd name="connsiteX85" fmla="*/ 671265 w 676550"/>
              <a:gd name="connsiteY85" fmla="*/ 301276 h 480985"/>
              <a:gd name="connsiteX86" fmla="*/ 655408 w 676550"/>
              <a:gd name="connsiteY86" fmla="*/ 314490 h 480985"/>
              <a:gd name="connsiteX87" fmla="*/ 639551 w 676550"/>
              <a:gd name="connsiteY87" fmla="*/ 319775 h 480985"/>
              <a:gd name="connsiteX88" fmla="*/ 631623 w 676550"/>
              <a:gd name="connsiteY88" fmla="*/ 322418 h 480985"/>
              <a:gd name="connsiteX89" fmla="*/ 615766 w 676550"/>
              <a:gd name="connsiteY89" fmla="*/ 330347 h 480985"/>
              <a:gd name="connsiteX90" fmla="*/ 605195 w 676550"/>
              <a:gd name="connsiteY90" fmla="*/ 332989 h 480985"/>
              <a:gd name="connsiteX91" fmla="*/ 597267 w 676550"/>
              <a:gd name="connsiteY91" fmla="*/ 335632 h 480985"/>
              <a:gd name="connsiteX92" fmla="*/ 576125 w 676550"/>
              <a:gd name="connsiteY92" fmla="*/ 340918 h 480985"/>
              <a:gd name="connsiteX93" fmla="*/ 560268 w 676550"/>
              <a:gd name="connsiteY93" fmla="*/ 354131 h 480985"/>
              <a:gd name="connsiteX94" fmla="*/ 554983 w 676550"/>
              <a:gd name="connsiteY94" fmla="*/ 362060 h 480985"/>
              <a:gd name="connsiteX95" fmla="*/ 539126 w 676550"/>
              <a:gd name="connsiteY95" fmla="*/ 369988 h 480985"/>
              <a:gd name="connsiteX96" fmla="*/ 504770 w 676550"/>
              <a:gd name="connsiteY96" fmla="*/ 364703 h 480985"/>
              <a:gd name="connsiteX97" fmla="*/ 488913 w 676550"/>
              <a:gd name="connsiteY97" fmla="*/ 359417 h 480985"/>
              <a:gd name="connsiteX98" fmla="*/ 473057 w 676550"/>
              <a:gd name="connsiteY98" fmla="*/ 362060 h 480985"/>
              <a:gd name="connsiteX99" fmla="*/ 465128 w 676550"/>
              <a:gd name="connsiteY99" fmla="*/ 367345 h 480985"/>
              <a:gd name="connsiteX100" fmla="*/ 436058 w 676550"/>
              <a:gd name="connsiteY100" fmla="*/ 364703 h 480985"/>
              <a:gd name="connsiteX101" fmla="*/ 406987 w 676550"/>
              <a:gd name="connsiteY101" fmla="*/ 356774 h 480985"/>
              <a:gd name="connsiteX102" fmla="*/ 399059 w 676550"/>
              <a:gd name="connsiteY102" fmla="*/ 354131 h 480985"/>
              <a:gd name="connsiteX103" fmla="*/ 388488 w 676550"/>
              <a:gd name="connsiteY103" fmla="*/ 351489 h 480985"/>
              <a:gd name="connsiteX104" fmla="*/ 232564 w 676550"/>
              <a:gd name="connsiteY104" fmla="*/ 354131 h 480985"/>
              <a:gd name="connsiteX105" fmla="*/ 227279 w 676550"/>
              <a:gd name="connsiteY105" fmla="*/ 362060 h 480985"/>
              <a:gd name="connsiteX106" fmla="*/ 221993 w 676550"/>
              <a:gd name="connsiteY106" fmla="*/ 380559 h 480985"/>
              <a:gd name="connsiteX107" fmla="*/ 216707 w 676550"/>
              <a:gd name="connsiteY107" fmla="*/ 396416 h 480985"/>
              <a:gd name="connsiteX108" fmla="*/ 216707 w 676550"/>
              <a:gd name="connsiteY108" fmla="*/ 467771 h 480985"/>
              <a:gd name="connsiteX109" fmla="*/ 219350 w 676550"/>
              <a:gd name="connsiteY109" fmla="*/ 480985 h 4809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676550" h="480985">
                <a:moveTo>
                  <a:pt x="219350" y="480985"/>
                </a:moveTo>
                <a:cubicBezTo>
                  <a:pt x="218029" y="480985"/>
                  <a:pt x="213062" y="471442"/>
                  <a:pt x="208779" y="467771"/>
                </a:cubicBezTo>
                <a:cubicBezTo>
                  <a:pt x="206664" y="465958"/>
                  <a:pt x="203343" y="466374"/>
                  <a:pt x="200851" y="465128"/>
                </a:cubicBezTo>
                <a:cubicBezTo>
                  <a:pt x="180367" y="454885"/>
                  <a:pt x="204913" y="463838"/>
                  <a:pt x="184994" y="457200"/>
                </a:cubicBezTo>
                <a:cubicBezTo>
                  <a:pt x="182351" y="455438"/>
                  <a:pt x="179907" y="453335"/>
                  <a:pt x="177066" y="451914"/>
                </a:cubicBezTo>
                <a:cubicBezTo>
                  <a:pt x="163495" y="445128"/>
                  <a:pt x="154481" y="451714"/>
                  <a:pt x="137424" y="454557"/>
                </a:cubicBezTo>
                <a:lnTo>
                  <a:pt x="121568" y="459842"/>
                </a:lnTo>
                <a:lnTo>
                  <a:pt x="113639" y="462485"/>
                </a:lnTo>
                <a:cubicBezTo>
                  <a:pt x="102187" y="461604"/>
                  <a:pt x="90680" y="461267"/>
                  <a:pt x="79283" y="459842"/>
                </a:cubicBezTo>
                <a:cubicBezTo>
                  <a:pt x="76519" y="459497"/>
                  <a:pt x="73530" y="458940"/>
                  <a:pt x="71355" y="457200"/>
                </a:cubicBezTo>
                <a:cubicBezTo>
                  <a:pt x="68875" y="455216"/>
                  <a:pt x="68103" y="451711"/>
                  <a:pt x="66069" y="449271"/>
                </a:cubicBezTo>
                <a:cubicBezTo>
                  <a:pt x="63676" y="446400"/>
                  <a:pt x="61091" y="443637"/>
                  <a:pt x="58141" y="441343"/>
                </a:cubicBezTo>
                <a:cubicBezTo>
                  <a:pt x="53127" y="437443"/>
                  <a:pt x="42284" y="430772"/>
                  <a:pt x="42284" y="430772"/>
                </a:cubicBezTo>
                <a:cubicBezTo>
                  <a:pt x="36003" y="411925"/>
                  <a:pt x="44909" y="434707"/>
                  <a:pt x="31713" y="414915"/>
                </a:cubicBezTo>
                <a:cubicBezTo>
                  <a:pt x="30168" y="412597"/>
                  <a:pt x="30810" y="409162"/>
                  <a:pt x="29070" y="406987"/>
                </a:cubicBezTo>
                <a:cubicBezTo>
                  <a:pt x="25343" y="402328"/>
                  <a:pt x="18439" y="400800"/>
                  <a:pt x="13214" y="399059"/>
                </a:cubicBezTo>
                <a:cubicBezTo>
                  <a:pt x="10571" y="396416"/>
                  <a:pt x="7100" y="394397"/>
                  <a:pt x="5285" y="391130"/>
                </a:cubicBezTo>
                <a:cubicBezTo>
                  <a:pt x="2579" y="386260"/>
                  <a:pt x="0" y="375274"/>
                  <a:pt x="0" y="375274"/>
                </a:cubicBezTo>
                <a:cubicBezTo>
                  <a:pt x="1762" y="369988"/>
                  <a:pt x="4670" y="364954"/>
                  <a:pt x="5285" y="359417"/>
                </a:cubicBezTo>
                <a:cubicBezTo>
                  <a:pt x="6166" y="351489"/>
                  <a:pt x="4146" y="342656"/>
                  <a:pt x="7928" y="335632"/>
                </a:cubicBezTo>
                <a:cubicBezTo>
                  <a:pt x="10940" y="330039"/>
                  <a:pt x="23785" y="325061"/>
                  <a:pt x="23785" y="325061"/>
                </a:cubicBezTo>
                <a:cubicBezTo>
                  <a:pt x="24666" y="322418"/>
                  <a:pt x="26103" y="319900"/>
                  <a:pt x="26428" y="317133"/>
                </a:cubicBezTo>
                <a:cubicBezTo>
                  <a:pt x="27873" y="304853"/>
                  <a:pt x="26071" y="292129"/>
                  <a:pt x="29070" y="280134"/>
                </a:cubicBezTo>
                <a:cubicBezTo>
                  <a:pt x="29840" y="277052"/>
                  <a:pt x="34158" y="276269"/>
                  <a:pt x="36999" y="274848"/>
                </a:cubicBezTo>
                <a:cubicBezTo>
                  <a:pt x="40794" y="272950"/>
                  <a:pt x="52106" y="270411"/>
                  <a:pt x="55498" y="269563"/>
                </a:cubicBezTo>
                <a:cubicBezTo>
                  <a:pt x="68063" y="261186"/>
                  <a:pt x="60412" y="265282"/>
                  <a:pt x="79283" y="258992"/>
                </a:cubicBezTo>
                <a:lnTo>
                  <a:pt x="87211" y="256349"/>
                </a:lnTo>
                <a:cubicBezTo>
                  <a:pt x="88973" y="251063"/>
                  <a:pt x="91146" y="245897"/>
                  <a:pt x="92497" y="240492"/>
                </a:cubicBezTo>
                <a:cubicBezTo>
                  <a:pt x="93378" y="236968"/>
                  <a:pt x="93516" y="233170"/>
                  <a:pt x="95140" y="229921"/>
                </a:cubicBezTo>
                <a:cubicBezTo>
                  <a:pt x="97981" y="224239"/>
                  <a:pt x="100425" y="217588"/>
                  <a:pt x="105711" y="214064"/>
                </a:cubicBezTo>
                <a:lnTo>
                  <a:pt x="113639" y="208779"/>
                </a:lnTo>
                <a:cubicBezTo>
                  <a:pt x="115401" y="206136"/>
                  <a:pt x="116892" y="203291"/>
                  <a:pt x="118925" y="200851"/>
                </a:cubicBezTo>
                <a:cubicBezTo>
                  <a:pt x="121318" y="197980"/>
                  <a:pt x="126239" y="196609"/>
                  <a:pt x="126853" y="192922"/>
                </a:cubicBezTo>
                <a:cubicBezTo>
                  <a:pt x="128819" y="181123"/>
                  <a:pt x="125015" y="171553"/>
                  <a:pt x="121568" y="161209"/>
                </a:cubicBezTo>
                <a:cubicBezTo>
                  <a:pt x="122449" y="158566"/>
                  <a:pt x="122240" y="155251"/>
                  <a:pt x="124210" y="153281"/>
                </a:cubicBezTo>
                <a:cubicBezTo>
                  <a:pt x="126180" y="151311"/>
                  <a:pt x="129419" y="151242"/>
                  <a:pt x="132139" y="150638"/>
                </a:cubicBezTo>
                <a:cubicBezTo>
                  <a:pt x="137370" y="149476"/>
                  <a:pt x="142710" y="148876"/>
                  <a:pt x="147995" y="147995"/>
                </a:cubicBezTo>
                <a:cubicBezTo>
                  <a:pt x="154162" y="148876"/>
                  <a:pt x="160528" y="148848"/>
                  <a:pt x="166495" y="150638"/>
                </a:cubicBezTo>
                <a:cubicBezTo>
                  <a:pt x="169537" y="151551"/>
                  <a:pt x="171449" y="154808"/>
                  <a:pt x="174423" y="155923"/>
                </a:cubicBezTo>
                <a:cubicBezTo>
                  <a:pt x="178629" y="157500"/>
                  <a:pt x="183232" y="157685"/>
                  <a:pt x="187637" y="158566"/>
                </a:cubicBezTo>
                <a:cubicBezTo>
                  <a:pt x="195321" y="157285"/>
                  <a:pt x="207976" y="158334"/>
                  <a:pt x="211422" y="147995"/>
                </a:cubicBezTo>
                <a:cubicBezTo>
                  <a:pt x="213945" y="140427"/>
                  <a:pt x="209082" y="130439"/>
                  <a:pt x="214065" y="124210"/>
                </a:cubicBezTo>
                <a:cubicBezTo>
                  <a:pt x="217956" y="119346"/>
                  <a:pt x="226398" y="122448"/>
                  <a:pt x="232564" y="121567"/>
                </a:cubicBezTo>
                <a:cubicBezTo>
                  <a:pt x="247990" y="111283"/>
                  <a:pt x="234603" y="122776"/>
                  <a:pt x="243135" y="105711"/>
                </a:cubicBezTo>
                <a:cubicBezTo>
                  <a:pt x="245976" y="100029"/>
                  <a:pt x="250182" y="95140"/>
                  <a:pt x="253706" y="89854"/>
                </a:cubicBezTo>
                <a:cubicBezTo>
                  <a:pt x="255468" y="87211"/>
                  <a:pt x="255979" y="82931"/>
                  <a:pt x="258992" y="81926"/>
                </a:cubicBezTo>
                <a:lnTo>
                  <a:pt x="274848" y="76640"/>
                </a:lnTo>
                <a:lnTo>
                  <a:pt x="282777" y="73997"/>
                </a:lnTo>
                <a:cubicBezTo>
                  <a:pt x="287182" y="74878"/>
                  <a:pt x="291633" y="75550"/>
                  <a:pt x="295991" y="76640"/>
                </a:cubicBezTo>
                <a:cubicBezTo>
                  <a:pt x="298693" y="77316"/>
                  <a:pt x="301241" y="78518"/>
                  <a:pt x="303919" y="79283"/>
                </a:cubicBezTo>
                <a:cubicBezTo>
                  <a:pt x="307411" y="80281"/>
                  <a:pt x="310966" y="81045"/>
                  <a:pt x="314490" y="81926"/>
                </a:cubicBezTo>
                <a:cubicBezTo>
                  <a:pt x="324459" y="78603"/>
                  <a:pt x="329189" y="77798"/>
                  <a:pt x="338275" y="68712"/>
                </a:cubicBezTo>
                <a:cubicBezTo>
                  <a:pt x="340918" y="66069"/>
                  <a:pt x="343253" y="63079"/>
                  <a:pt x="346203" y="60784"/>
                </a:cubicBezTo>
                <a:cubicBezTo>
                  <a:pt x="351217" y="56884"/>
                  <a:pt x="356774" y="53736"/>
                  <a:pt x="362060" y="50212"/>
                </a:cubicBezTo>
                <a:lnTo>
                  <a:pt x="377917" y="39641"/>
                </a:lnTo>
                <a:cubicBezTo>
                  <a:pt x="380560" y="37879"/>
                  <a:pt x="383599" y="36602"/>
                  <a:pt x="385845" y="34356"/>
                </a:cubicBezTo>
                <a:cubicBezTo>
                  <a:pt x="395743" y="24457"/>
                  <a:pt x="390227" y="27609"/>
                  <a:pt x="401702" y="23785"/>
                </a:cubicBezTo>
                <a:cubicBezTo>
                  <a:pt x="433122" y="2838"/>
                  <a:pt x="404224" y="19536"/>
                  <a:pt x="428129" y="10571"/>
                </a:cubicBezTo>
                <a:cubicBezTo>
                  <a:pt x="431818" y="9188"/>
                  <a:pt x="434879" y="6241"/>
                  <a:pt x="438701" y="5285"/>
                </a:cubicBezTo>
                <a:cubicBezTo>
                  <a:pt x="445591" y="3562"/>
                  <a:pt x="452837" y="3809"/>
                  <a:pt x="459843" y="2642"/>
                </a:cubicBezTo>
                <a:cubicBezTo>
                  <a:pt x="463426" y="2045"/>
                  <a:pt x="466890" y="881"/>
                  <a:pt x="470414" y="0"/>
                </a:cubicBezTo>
                <a:cubicBezTo>
                  <a:pt x="476580" y="881"/>
                  <a:pt x="482947" y="852"/>
                  <a:pt x="488913" y="2642"/>
                </a:cubicBezTo>
                <a:cubicBezTo>
                  <a:pt x="491956" y="3555"/>
                  <a:pt x="494001" y="6507"/>
                  <a:pt x="496842" y="7928"/>
                </a:cubicBezTo>
                <a:cubicBezTo>
                  <a:pt x="499334" y="9174"/>
                  <a:pt x="502127" y="9690"/>
                  <a:pt x="504770" y="10571"/>
                </a:cubicBezTo>
                <a:cubicBezTo>
                  <a:pt x="515352" y="26445"/>
                  <a:pt x="507413" y="10793"/>
                  <a:pt x="507413" y="39641"/>
                </a:cubicBezTo>
                <a:cubicBezTo>
                  <a:pt x="507413" y="52005"/>
                  <a:pt x="505574" y="65116"/>
                  <a:pt x="510055" y="76640"/>
                </a:cubicBezTo>
                <a:cubicBezTo>
                  <a:pt x="512357" y="82561"/>
                  <a:pt x="521420" y="82719"/>
                  <a:pt x="525912" y="87211"/>
                </a:cubicBezTo>
                <a:cubicBezTo>
                  <a:pt x="528555" y="89854"/>
                  <a:pt x="531447" y="92269"/>
                  <a:pt x="533840" y="95140"/>
                </a:cubicBezTo>
                <a:cubicBezTo>
                  <a:pt x="543307" y="106501"/>
                  <a:pt x="535810" y="99077"/>
                  <a:pt x="541769" y="110996"/>
                </a:cubicBezTo>
                <a:cubicBezTo>
                  <a:pt x="543189" y="113837"/>
                  <a:pt x="545764" y="116022"/>
                  <a:pt x="547054" y="118925"/>
                </a:cubicBezTo>
                <a:cubicBezTo>
                  <a:pt x="549317" y="124016"/>
                  <a:pt x="550578" y="129496"/>
                  <a:pt x="552340" y="134781"/>
                </a:cubicBezTo>
                <a:cubicBezTo>
                  <a:pt x="553221" y="137424"/>
                  <a:pt x="552665" y="141165"/>
                  <a:pt x="554983" y="142710"/>
                </a:cubicBezTo>
                <a:cubicBezTo>
                  <a:pt x="557626" y="144472"/>
                  <a:pt x="559992" y="146744"/>
                  <a:pt x="562911" y="147995"/>
                </a:cubicBezTo>
                <a:cubicBezTo>
                  <a:pt x="569142" y="150665"/>
                  <a:pt x="587692" y="152668"/>
                  <a:pt x="591981" y="153281"/>
                </a:cubicBezTo>
                <a:cubicBezTo>
                  <a:pt x="592862" y="155924"/>
                  <a:pt x="594932" y="158440"/>
                  <a:pt x="594624" y="161209"/>
                </a:cubicBezTo>
                <a:cubicBezTo>
                  <a:pt x="593007" y="175762"/>
                  <a:pt x="590025" y="176380"/>
                  <a:pt x="581410" y="184994"/>
                </a:cubicBezTo>
                <a:cubicBezTo>
                  <a:pt x="579648" y="190280"/>
                  <a:pt x="570839" y="199089"/>
                  <a:pt x="576125" y="200851"/>
                </a:cubicBezTo>
                <a:lnTo>
                  <a:pt x="591981" y="206136"/>
                </a:lnTo>
                <a:cubicBezTo>
                  <a:pt x="594624" y="207017"/>
                  <a:pt x="597207" y="208103"/>
                  <a:pt x="599910" y="208779"/>
                </a:cubicBezTo>
                <a:cubicBezTo>
                  <a:pt x="606957" y="210541"/>
                  <a:pt x="614161" y="211767"/>
                  <a:pt x="621052" y="214064"/>
                </a:cubicBezTo>
                <a:cubicBezTo>
                  <a:pt x="623695" y="214945"/>
                  <a:pt x="626213" y="216381"/>
                  <a:pt x="628980" y="216707"/>
                </a:cubicBezTo>
                <a:cubicBezTo>
                  <a:pt x="641260" y="218152"/>
                  <a:pt x="653646" y="218469"/>
                  <a:pt x="665979" y="219350"/>
                </a:cubicBezTo>
                <a:cubicBezTo>
                  <a:pt x="666860" y="222874"/>
                  <a:pt x="668198" y="226314"/>
                  <a:pt x="668622" y="229921"/>
                </a:cubicBezTo>
                <a:cubicBezTo>
                  <a:pt x="669964" y="241328"/>
                  <a:pt x="669148" y="252988"/>
                  <a:pt x="671265" y="264277"/>
                </a:cubicBezTo>
                <a:cubicBezTo>
                  <a:pt x="671850" y="267399"/>
                  <a:pt x="674788" y="269562"/>
                  <a:pt x="676550" y="272205"/>
                </a:cubicBezTo>
                <a:cubicBezTo>
                  <a:pt x="676439" y="273093"/>
                  <a:pt x="675024" y="295638"/>
                  <a:pt x="671265" y="301276"/>
                </a:cubicBezTo>
                <a:cubicBezTo>
                  <a:pt x="668646" y="305204"/>
                  <a:pt x="660024" y="312438"/>
                  <a:pt x="655408" y="314490"/>
                </a:cubicBezTo>
                <a:cubicBezTo>
                  <a:pt x="650317" y="316753"/>
                  <a:pt x="644837" y="318013"/>
                  <a:pt x="639551" y="319775"/>
                </a:cubicBezTo>
                <a:cubicBezTo>
                  <a:pt x="636908" y="320656"/>
                  <a:pt x="633941" y="320873"/>
                  <a:pt x="631623" y="322418"/>
                </a:cubicBezTo>
                <a:cubicBezTo>
                  <a:pt x="622937" y="328209"/>
                  <a:pt x="625340" y="327612"/>
                  <a:pt x="615766" y="330347"/>
                </a:cubicBezTo>
                <a:cubicBezTo>
                  <a:pt x="612274" y="331345"/>
                  <a:pt x="608687" y="331991"/>
                  <a:pt x="605195" y="332989"/>
                </a:cubicBezTo>
                <a:cubicBezTo>
                  <a:pt x="602517" y="333754"/>
                  <a:pt x="599969" y="334956"/>
                  <a:pt x="597267" y="335632"/>
                </a:cubicBezTo>
                <a:cubicBezTo>
                  <a:pt x="591232" y="337141"/>
                  <a:pt x="582168" y="337896"/>
                  <a:pt x="576125" y="340918"/>
                </a:cubicBezTo>
                <a:cubicBezTo>
                  <a:pt x="570184" y="343888"/>
                  <a:pt x="564444" y="349119"/>
                  <a:pt x="560268" y="354131"/>
                </a:cubicBezTo>
                <a:cubicBezTo>
                  <a:pt x="558235" y="356571"/>
                  <a:pt x="557229" y="359814"/>
                  <a:pt x="554983" y="362060"/>
                </a:cubicBezTo>
                <a:cubicBezTo>
                  <a:pt x="549862" y="367181"/>
                  <a:pt x="545572" y="367839"/>
                  <a:pt x="539126" y="369988"/>
                </a:cubicBezTo>
                <a:cubicBezTo>
                  <a:pt x="522390" y="368128"/>
                  <a:pt x="518227" y="368740"/>
                  <a:pt x="504770" y="364703"/>
                </a:cubicBezTo>
                <a:cubicBezTo>
                  <a:pt x="499433" y="363102"/>
                  <a:pt x="488913" y="359417"/>
                  <a:pt x="488913" y="359417"/>
                </a:cubicBezTo>
                <a:cubicBezTo>
                  <a:pt x="483628" y="360298"/>
                  <a:pt x="478140" y="360366"/>
                  <a:pt x="473057" y="362060"/>
                </a:cubicBezTo>
                <a:cubicBezTo>
                  <a:pt x="470044" y="363064"/>
                  <a:pt x="468296" y="367119"/>
                  <a:pt x="465128" y="367345"/>
                </a:cubicBezTo>
                <a:cubicBezTo>
                  <a:pt x="455423" y="368038"/>
                  <a:pt x="445748" y="365584"/>
                  <a:pt x="436058" y="364703"/>
                </a:cubicBezTo>
                <a:cubicBezTo>
                  <a:pt x="402037" y="353362"/>
                  <a:pt x="436873" y="364246"/>
                  <a:pt x="406987" y="356774"/>
                </a:cubicBezTo>
                <a:cubicBezTo>
                  <a:pt x="404285" y="356098"/>
                  <a:pt x="401737" y="354896"/>
                  <a:pt x="399059" y="354131"/>
                </a:cubicBezTo>
                <a:cubicBezTo>
                  <a:pt x="395567" y="353133"/>
                  <a:pt x="392012" y="352370"/>
                  <a:pt x="388488" y="351489"/>
                </a:cubicBezTo>
                <a:lnTo>
                  <a:pt x="232564" y="354131"/>
                </a:lnTo>
                <a:cubicBezTo>
                  <a:pt x="229395" y="354339"/>
                  <a:pt x="228699" y="359219"/>
                  <a:pt x="227279" y="362060"/>
                </a:cubicBezTo>
                <a:cubicBezTo>
                  <a:pt x="225058" y="366503"/>
                  <a:pt x="223264" y="376322"/>
                  <a:pt x="221993" y="380559"/>
                </a:cubicBezTo>
                <a:cubicBezTo>
                  <a:pt x="220392" y="385896"/>
                  <a:pt x="216707" y="396416"/>
                  <a:pt x="216707" y="396416"/>
                </a:cubicBezTo>
                <a:cubicBezTo>
                  <a:pt x="212325" y="427095"/>
                  <a:pt x="211617" y="423657"/>
                  <a:pt x="216707" y="467771"/>
                </a:cubicBezTo>
                <a:cubicBezTo>
                  <a:pt x="217346" y="473306"/>
                  <a:pt x="220671" y="480985"/>
                  <a:pt x="219350" y="480985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91" name="Freeform 90"/>
          <p:cNvSpPr/>
          <p:nvPr/>
        </p:nvSpPr>
        <p:spPr>
          <a:xfrm>
            <a:off x="2152650" y="2741084"/>
            <a:ext cx="547688" cy="558800"/>
          </a:xfrm>
          <a:custGeom>
            <a:avLst/>
            <a:gdLst>
              <a:gd name="connsiteX0" fmla="*/ 498199 w 547531"/>
              <a:gd name="connsiteY0" fmla="*/ 497648 h 555789"/>
              <a:gd name="connsiteX1" fmla="*/ 202208 w 547531"/>
              <a:gd name="connsiteY1" fmla="*/ 502933 h 555789"/>
              <a:gd name="connsiteX2" fmla="*/ 186351 w 547531"/>
              <a:gd name="connsiteY2" fmla="*/ 508219 h 555789"/>
              <a:gd name="connsiteX3" fmla="*/ 178423 w 547531"/>
              <a:gd name="connsiteY3" fmla="*/ 510861 h 555789"/>
              <a:gd name="connsiteX4" fmla="*/ 170495 w 547531"/>
              <a:gd name="connsiteY4" fmla="*/ 516147 h 555789"/>
              <a:gd name="connsiteX5" fmla="*/ 162567 w 547531"/>
              <a:gd name="connsiteY5" fmla="*/ 518790 h 555789"/>
              <a:gd name="connsiteX6" fmla="*/ 138782 w 547531"/>
              <a:gd name="connsiteY6" fmla="*/ 532004 h 555789"/>
              <a:gd name="connsiteX7" fmla="*/ 136139 w 547531"/>
              <a:gd name="connsiteY7" fmla="*/ 539932 h 555789"/>
              <a:gd name="connsiteX8" fmla="*/ 120282 w 547531"/>
              <a:gd name="connsiteY8" fmla="*/ 545218 h 555789"/>
              <a:gd name="connsiteX9" fmla="*/ 112354 w 547531"/>
              <a:gd name="connsiteY9" fmla="*/ 550503 h 555789"/>
              <a:gd name="connsiteX10" fmla="*/ 96497 w 547531"/>
              <a:gd name="connsiteY10" fmla="*/ 555789 h 555789"/>
              <a:gd name="connsiteX11" fmla="*/ 88569 w 547531"/>
              <a:gd name="connsiteY11" fmla="*/ 505576 h 555789"/>
              <a:gd name="connsiteX12" fmla="*/ 93854 w 547531"/>
              <a:gd name="connsiteY12" fmla="*/ 489719 h 555789"/>
              <a:gd name="connsiteX13" fmla="*/ 96497 w 547531"/>
              <a:gd name="connsiteY13" fmla="*/ 481791 h 555789"/>
              <a:gd name="connsiteX14" fmla="*/ 93854 w 547531"/>
              <a:gd name="connsiteY14" fmla="*/ 442149 h 555789"/>
              <a:gd name="connsiteX15" fmla="*/ 91212 w 547531"/>
              <a:gd name="connsiteY15" fmla="*/ 434221 h 555789"/>
              <a:gd name="connsiteX16" fmla="*/ 64784 w 547531"/>
              <a:gd name="connsiteY16" fmla="*/ 426293 h 555789"/>
              <a:gd name="connsiteX17" fmla="*/ 59498 w 547531"/>
              <a:gd name="connsiteY17" fmla="*/ 418364 h 555789"/>
              <a:gd name="connsiteX18" fmla="*/ 56856 w 547531"/>
              <a:gd name="connsiteY18" fmla="*/ 407793 h 555789"/>
              <a:gd name="connsiteX19" fmla="*/ 38356 w 547531"/>
              <a:gd name="connsiteY19" fmla="*/ 397222 h 555789"/>
              <a:gd name="connsiteX20" fmla="*/ 22499 w 547531"/>
              <a:gd name="connsiteY20" fmla="*/ 391937 h 555789"/>
              <a:gd name="connsiteX21" fmla="*/ 14571 w 547531"/>
              <a:gd name="connsiteY21" fmla="*/ 389294 h 555789"/>
              <a:gd name="connsiteX22" fmla="*/ 6643 w 547531"/>
              <a:gd name="connsiteY22" fmla="*/ 386651 h 555789"/>
              <a:gd name="connsiteX23" fmla="*/ 1357 w 547531"/>
              <a:gd name="connsiteY23" fmla="*/ 378723 h 555789"/>
              <a:gd name="connsiteX24" fmla="*/ 9286 w 547531"/>
              <a:gd name="connsiteY24" fmla="*/ 354938 h 555789"/>
              <a:gd name="connsiteX25" fmla="*/ 11928 w 547531"/>
              <a:gd name="connsiteY25" fmla="*/ 347009 h 555789"/>
              <a:gd name="connsiteX26" fmla="*/ 19857 w 547531"/>
              <a:gd name="connsiteY26" fmla="*/ 341724 h 555789"/>
              <a:gd name="connsiteX27" fmla="*/ 25142 w 547531"/>
              <a:gd name="connsiteY27" fmla="*/ 325867 h 555789"/>
              <a:gd name="connsiteX28" fmla="*/ 27785 w 547531"/>
              <a:gd name="connsiteY28" fmla="*/ 317939 h 555789"/>
              <a:gd name="connsiteX29" fmla="*/ 22499 w 547531"/>
              <a:gd name="connsiteY29" fmla="*/ 278297 h 555789"/>
              <a:gd name="connsiteX30" fmla="*/ 11928 w 547531"/>
              <a:gd name="connsiteY30" fmla="*/ 262441 h 555789"/>
              <a:gd name="connsiteX31" fmla="*/ 40999 w 547531"/>
              <a:gd name="connsiteY31" fmla="*/ 251870 h 555789"/>
              <a:gd name="connsiteX32" fmla="*/ 46284 w 547531"/>
              <a:gd name="connsiteY32" fmla="*/ 243941 h 555789"/>
              <a:gd name="connsiteX33" fmla="*/ 51570 w 547531"/>
              <a:gd name="connsiteY33" fmla="*/ 228085 h 555789"/>
              <a:gd name="connsiteX34" fmla="*/ 48927 w 547531"/>
              <a:gd name="connsiteY34" fmla="*/ 206942 h 555789"/>
              <a:gd name="connsiteX35" fmla="*/ 43642 w 547531"/>
              <a:gd name="connsiteY35" fmla="*/ 199014 h 555789"/>
              <a:gd name="connsiteX36" fmla="*/ 40999 w 547531"/>
              <a:gd name="connsiteY36" fmla="*/ 191086 h 555789"/>
              <a:gd name="connsiteX37" fmla="*/ 83283 w 547531"/>
              <a:gd name="connsiteY37" fmla="*/ 177872 h 555789"/>
              <a:gd name="connsiteX38" fmla="*/ 80641 w 547531"/>
              <a:gd name="connsiteY38" fmla="*/ 169944 h 555789"/>
              <a:gd name="connsiteX39" fmla="*/ 75355 w 547531"/>
              <a:gd name="connsiteY39" fmla="*/ 148801 h 555789"/>
              <a:gd name="connsiteX40" fmla="*/ 72712 w 547531"/>
              <a:gd name="connsiteY40" fmla="*/ 138230 h 555789"/>
              <a:gd name="connsiteX41" fmla="*/ 70069 w 547531"/>
              <a:gd name="connsiteY41" fmla="*/ 130302 h 555789"/>
              <a:gd name="connsiteX42" fmla="*/ 62141 w 547531"/>
              <a:gd name="connsiteY42" fmla="*/ 93303 h 555789"/>
              <a:gd name="connsiteX43" fmla="*/ 59498 w 547531"/>
              <a:gd name="connsiteY43" fmla="*/ 85375 h 555789"/>
              <a:gd name="connsiteX44" fmla="*/ 56856 w 547531"/>
              <a:gd name="connsiteY44" fmla="*/ 77446 h 555789"/>
              <a:gd name="connsiteX45" fmla="*/ 62141 w 547531"/>
              <a:gd name="connsiteY45" fmla="*/ 53661 h 555789"/>
              <a:gd name="connsiteX46" fmla="*/ 64784 w 547531"/>
              <a:gd name="connsiteY46" fmla="*/ 45733 h 555789"/>
              <a:gd name="connsiteX47" fmla="*/ 70069 w 547531"/>
              <a:gd name="connsiteY47" fmla="*/ 37805 h 555789"/>
              <a:gd name="connsiteX48" fmla="*/ 77998 w 547531"/>
              <a:gd name="connsiteY48" fmla="*/ 29877 h 555789"/>
              <a:gd name="connsiteX49" fmla="*/ 85926 w 547531"/>
              <a:gd name="connsiteY49" fmla="*/ 27234 h 555789"/>
              <a:gd name="connsiteX50" fmla="*/ 154638 w 547531"/>
              <a:gd name="connsiteY50" fmla="*/ 29877 h 555789"/>
              <a:gd name="connsiteX51" fmla="*/ 162567 w 547531"/>
              <a:gd name="connsiteY51" fmla="*/ 32519 h 555789"/>
              <a:gd name="connsiteX52" fmla="*/ 183709 w 547531"/>
              <a:gd name="connsiteY52" fmla="*/ 27234 h 555789"/>
              <a:gd name="connsiteX53" fmla="*/ 188994 w 547531"/>
              <a:gd name="connsiteY53" fmla="*/ 19305 h 555789"/>
              <a:gd name="connsiteX54" fmla="*/ 194280 w 547531"/>
              <a:gd name="connsiteY54" fmla="*/ 3449 h 555789"/>
              <a:gd name="connsiteX55" fmla="*/ 202208 w 547531"/>
              <a:gd name="connsiteY55" fmla="*/ 806 h 555789"/>
              <a:gd name="connsiteX56" fmla="*/ 223350 w 547531"/>
              <a:gd name="connsiteY56" fmla="*/ 3449 h 555789"/>
              <a:gd name="connsiteX57" fmla="*/ 231279 w 547531"/>
              <a:gd name="connsiteY57" fmla="*/ 29877 h 555789"/>
              <a:gd name="connsiteX58" fmla="*/ 241850 w 547531"/>
              <a:gd name="connsiteY58" fmla="*/ 32519 h 555789"/>
              <a:gd name="connsiteX59" fmla="*/ 276206 w 547531"/>
              <a:gd name="connsiteY59" fmla="*/ 24591 h 555789"/>
              <a:gd name="connsiteX60" fmla="*/ 284134 w 547531"/>
              <a:gd name="connsiteY60" fmla="*/ 21948 h 555789"/>
              <a:gd name="connsiteX61" fmla="*/ 292062 w 547531"/>
              <a:gd name="connsiteY61" fmla="*/ 19305 h 555789"/>
              <a:gd name="connsiteX62" fmla="*/ 299991 w 547531"/>
              <a:gd name="connsiteY62" fmla="*/ 21948 h 555789"/>
              <a:gd name="connsiteX63" fmla="*/ 315847 w 547531"/>
              <a:gd name="connsiteY63" fmla="*/ 40448 h 555789"/>
              <a:gd name="connsiteX64" fmla="*/ 334347 w 547531"/>
              <a:gd name="connsiteY64" fmla="*/ 45733 h 555789"/>
              <a:gd name="connsiteX65" fmla="*/ 358132 w 547531"/>
              <a:gd name="connsiteY65" fmla="*/ 61590 h 555789"/>
              <a:gd name="connsiteX66" fmla="*/ 366060 w 547531"/>
              <a:gd name="connsiteY66" fmla="*/ 66875 h 555789"/>
              <a:gd name="connsiteX67" fmla="*/ 381917 w 547531"/>
              <a:gd name="connsiteY67" fmla="*/ 72161 h 555789"/>
              <a:gd name="connsiteX68" fmla="*/ 469128 w 547531"/>
              <a:gd name="connsiteY68" fmla="*/ 72161 h 555789"/>
              <a:gd name="connsiteX69" fmla="*/ 484985 w 547531"/>
              <a:gd name="connsiteY69" fmla="*/ 80089 h 555789"/>
              <a:gd name="connsiteX70" fmla="*/ 500842 w 547531"/>
              <a:gd name="connsiteY70" fmla="*/ 85375 h 555789"/>
              <a:gd name="connsiteX71" fmla="*/ 508770 w 547531"/>
              <a:gd name="connsiteY71" fmla="*/ 109160 h 555789"/>
              <a:gd name="connsiteX72" fmla="*/ 511413 w 547531"/>
              <a:gd name="connsiteY72" fmla="*/ 117088 h 555789"/>
              <a:gd name="connsiteX73" fmla="*/ 514056 w 547531"/>
              <a:gd name="connsiteY73" fmla="*/ 125016 h 555789"/>
              <a:gd name="connsiteX74" fmla="*/ 516698 w 547531"/>
              <a:gd name="connsiteY74" fmla="*/ 135588 h 555789"/>
              <a:gd name="connsiteX75" fmla="*/ 524627 w 547531"/>
              <a:gd name="connsiteY75" fmla="*/ 143516 h 555789"/>
              <a:gd name="connsiteX76" fmla="*/ 524627 w 547531"/>
              <a:gd name="connsiteY76" fmla="*/ 225442 h 555789"/>
              <a:gd name="connsiteX77" fmla="*/ 519341 w 547531"/>
              <a:gd name="connsiteY77" fmla="*/ 233370 h 555789"/>
              <a:gd name="connsiteX78" fmla="*/ 508770 w 547531"/>
              <a:gd name="connsiteY78" fmla="*/ 246584 h 555789"/>
              <a:gd name="connsiteX79" fmla="*/ 500842 w 547531"/>
              <a:gd name="connsiteY79" fmla="*/ 270369 h 555789"/>
              <a:gd name="connsiteX80" fmla="*/ 498199 w 547531"/>
              <a:gd name="connsiteY80" fmla="*/ 278297 h 555789"/>
              <a:gd name="connsiteX81" fmla="*/ 495556 w 547531"/>
              <a:gd name="connsiteY81" fmla="*/ 286226 h 555789"/>
              <a:gd name="connsiteX82" fmla="*/ 487628 w 547531"/>
              <a:gd name="connsiteY82" fmla="*/ 323224 h 555789"/>
              <a:gd name="connsiteX83" fmla="*/ 484985 w 547531"/>
              <a:gd name="connsiteY83" fmla="*/ 333796 h 555789"/>
              <a:gd name="connsiteX84" fmla="*/ 477057 w 547531"/>
              <a:gd name="connsiteY84" fmla="*/ 339081 h 555789"/>
              <a:gd name="connsiteX85" fmla="*/ 469128 w 547531"/>
              <a:gd name="connsiteY85" fmla="*/ 362866 h 555789"/>
              <a:gd name="connsiteX86" fmla="*/ 466486 w 547531"/>
              <a:gd name="connsiteY86" fmla="*/ 370794 h 555789"/>
              <a:gd name="connsiteX87" fmla="*/ 471771 w 547531"/>
              <a:gd name="connsiteY87" fmla="*/ 405151 h 555789"/>
              <a:gd name="connsiteX88" fmla="*/ 477057 w 547531"/>
              <a:gd name="connsiteY88" fmla="*/ 426293 h 555789"/>
              <a:gd name="connsiteX89" fmla="*/ 479699 w 547531"/>
              <a:gd name="connsiteY89" fmla="*/ 434221 h 555789"/>
              <a:gd name="connsiteX90" fmla="*/ 484985 w 547531"/>
              <a:gd name="connsiteY90" fmla="*/ 442149 h 555789"/>
              <a:gd name="connsiteX91" fmla="*/ 490271 w 547531"/>
              <a:gd name="connsiteY91" fmla="*/ 463292 h 555789"/>
              <a:gd name="connsiteX92" fmla="*/ 492913 w 547531"/>
              <a:gd name="connsiteY92" fmla="*/ 471220 h 555789"/>
              <a:gd name="connsiteX93" fmla="*/ 495556 w 547531"/>
              <a:gd name="connsiteY93" fmla="*/ 481791 h 555789"/>
              <a:gd name="connsiteX94" fmla="*/ 498199 w 547531"/>
              <a:gd name="connsiteY94" fmla="*/ 489719 h 555789"/>
              <a:gd name="connsiteX95" fmla="*/ 498199 w 547531"/>
              <a:gd name="connsiteY95" fmla="*/ 497648 h 555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547531" h="555789">
                <a:moveTo>
                  <a:pt x="498199" y="497648"/>
                </a:moveTo>
                <a:cubicBezTo>
                  <a:pt x="448867" y="499850"/>
                  <a:pt x="517981" y="494549"/>
                  <a:pt x="202208" y="502933"/>
                </a:cubicBezTo>
                <a:cubicBezTo>
                  <a:pt x="196638" y="503081"/>
                  <a:pt x="191637" y="506457"/>
                  <a:pt x="186351" y="508219"/>
                </a:cubicBezTo>
                <a:lnTo>
                  <a:pt x="178423" y="510861"/>
                </a:lnTo>
                <a:cubicBezTo>
                  <a:pt x="175780" y="512623"/>
                  <a:pt x="173336" y="514726"/>
                  <a:pt x="170495" y="516147"/>
                </a:cubicBezTo>
                <a:cubicBezTo>
                  <a:pt x="168004" y="517393"/>
                  <a:pt x="165002" y="517437"/>
                  <a:pt x="162567" y="518790"/>
                </a:cubicBezTo>
                <a:cubicBezTo>
                  <a:pt x="135305" y="533935"/>
                  <a:pt x="156721" y="526024"/>
                  <a:pt x="138782" y="532004"/>
                </a:cubicBezTo>
                <a:cubicBezTo>
                  <a:pt x="137901" y="534647"/>
                  <a:pt x="138406" y="538313"/>
                  <a:pt x="136139" y="539932"/>
                </a:cubicBezTo>
                <a:cubicBezTo>
                  <a:pt x="131605" y="543170"/>
                  <a:pt x="124918" y="542128"/>
                  <a:pt x="120282" y="545218"/>
                </a:cubicBezTo>
                <a:cubicBezTo>
                  <a:pt x="117639" y="546980"/>
                  <a:pt x="115256" y="549213"/>
                  <a:pt x="112354" y="550503"/>
                </a:cubicBezTo>
                <a:cubicBezTo>
                  <a:pt x="107263" y="552766"/>
                  <a:pt x="96497" y="555789"/>
                  <a:pt x="96497" y="555789"/>
                </a:cubicBezTo>
                <a:cubicBezTo>
                  <a:pt x="81028" y="532585"/>
                  <a:pt x="82775" y="542271"/>
                  <a:pt x="88569" y="505576"/>
                </a:cubicBezTo>
                <a:cubicBezTo>
                  <a:pt x="89438" y="500073"/>
                  <a:pt x="92092" y="495005"/>
                  <a:pt x="93854" y="489719"/>
                </a:cubicBezTo>
                <a:lnTo>
                  <a:pt x="96497" y="481791"/>
                </a:lnTo>
                <a:cubicBezTo>
                  <a:pt x="95616" y="468577"/>
                  <a:pt x="95316" y="455311"/>
                  <a:pt x="93854" y="442149"/>
                </a:cubicBezTo>
                <a:cubicBezTo>
                  <a:pt x="93546" y="439380"/>
                  <a:pt x="93479" y="435840"/>
                  <a:pt x="91212" y="434221"/>
                </a:cubicBezTo>
                <a:cubicBezTo>
                  <a:pt x="87744" y="431744"/>
                  <a:pt x="70438" y="427706"/>
                  <a:pt x="64784" y="426293"/>
                </a:cubicBezTo>
                <a:cubicBezTo>
                  <a:pt x="63022" y="423650"/>
                  <a:pt x="60749" y="421284"/>
                  <a:pt x="59498" y="418364"/>
                </a:cubicBezTo>
                <a:cubicBezTo>
                  <a:pt x="58067" y="415026"/>
                  <a:pt x="58871" y="410815"/>
                  <a:pt x="56856" y="407793"/>
                </a:cubicBezTo>
                <a:cubicBezTo>
                  <a:pt x="55124" y="405195"/>
                  <a:pt x="40016" y="397886"/>
                  <a:pt x="38356" y="397222"/>
                </a:cubicBezTo>
                <a:cubicBezTo>
                  <a:pt x="33183" y="395153"/>
                  <a:pt x="27785" y="393699"/>
                  <a:pt x="22499" y="391937"/>
                </a:cubicBezTo>
                <a:lnTo>
                  <a:pt x="14571" y="389294"/>
                </a:lnTo>
                <a:lnTo>
                  <a:pt x="6643" y="386651"/>
                </a:lnTo>
                <a:cubicBezTo>
                  <a:pt x="4881" y="384008"/>
                  <a:pt x="1708" y="381880"/>
                  <a:pt x="1357" y="378723"/>
                </a:cubicBezTo>
                <a:cubicBezTo>
                  <a:pt x="0" y="366515"/>
                  <a:pt x="3708" y="363305"/>
                  <a:pt x="9286" y="354938"/>
                </a:cubicBezTo>
                <a:cubicBezTo>
                  <a:pt x="10167" y="352295"/>
                  <a:pt x="10188" y="349184"/>
                  <a:pt x="11928" y="347009"/>
                </a:cubicBezTo>
                <a:cubicBezTo>
                  <a:pt x="13912" y="344529"/>
                  <a:pt x="18174" y="344417"/>
                  <a:pt x="19857" y="341724"/>
                </a:cubicBezTo>
                <a:cubicBezTo>
                  <a:pt x="22810" y="336999"/>
                  <a:pt x="23380" y="331153"/>
                  <a:pt x="25142" y="325867"/>
                </a:cubicBezTo>
                <a:lnTo>
                  <a:pt x="27785" y="317939"/>
                </a:lnTo>
                <a:cubicBezTo>
                  <a:pt x="27597" y="315689"/>
                  <a:pt x="27791" y="287822"/>
                  <a:pt x="22499" y="278297"/>
                </a:cubicBezTo>
                <a:cubicBezTo>
                  <a:pt x="19414" y="272744"/>
                  <a:pt x="11928" y="262441"/>
                  <a:pt x="11928" y="262441"/>
                </a:cubicBezTo>
                <a:cubicBezTo>
                  <a:pt x="24023" y="244298"/>
                  <a:pt x="8069" y="263845"/>
                  <a:pt x="40999" y="251870"/>
                </a:cubicBezTo>
                <a:cubicBezTo>
                  <a:pt x="43984" y="250785"/>
                  <a:pt x="44994" y="246844"/>
                  <a:pt x="46284" y="243941"/>
                </a:cubicBezTo>
                <a:cubicBezTo>
                  <a:pt x="48547" y="238850"/>
                  <a:pt x="51570" y="228085"/>
                  <a:pt x="51570" y="228085"/>
                </a:cubicBezTo>
                <a:cubicBezTo>
                  <a:pt x="50689" y="221037"/>
                  <a:pt x="50796" y="213794"/>
                  <a:pt x="48927" y="206942"/>
                </a:cubicBezTo>
                <a:cubicBezTo>
                  <a:pt x="48091" y="203878"/>
                  <a:pt x="45062" y="201855"/>
                  <a:pt x="43642" y="199014"/>
                </a:cubicBezTo>
                <a:cubicBezTo>
                  <a:pt x="42396" y="196522"/>
                  <a:pt x="41880" y="193729"/>
                  <a:pt x="40999" y="191086"/>
                </a:cubicBezTo>
                <a:cubicBezTo>
                  <a:pt x="48608" y="168259"/>
                  <a:pt x="37290" y="194297"/>
                  <a:pt x="83283" y="177872"/>
                </a:cubicBezTo>
                <a:cubicBezTo>
                  <a:pt x="85906" y="176935"/>
                  <a:pt x="81374" y="172631"/>
                  <a:pt x="80641" y="169944"/>
                </a:cubicBezTo>
                <a:cubicBezTo>
                  <a:pt x="78730" y="162935"/>
                  <a:pt x="77117" y="155849"/>
                  <a:pt x="75355" y="148801"/>
                </a:cubicBezTo>
                <a:cubicBezTo>
                  <a:pt x="74474" y="145277"/>
                  <a:pt x="73861" y="141676"/>
                  <a:pt x="72712" y="138230"/>
                </a:cubicBezTo>
                <a:lnTo>
                  <a:pt x="70069" y="130302"/>
                </a:lnTo>
                <a:cubicBezTo>
                  <a:pt x="66736" y="103632"/>
                  <a:pt x="69673" y="115897"/>
                  <a:pt x="62141" y="93303"/>
                </a:cubicBezTo>
                <a:lnTo>
                  <a:pt x="59498" y="85375"/>
                </a:lnTo>
                <a:lnTo>
                  <a:pt x="56856" y="77446"/>
                </a:lnTo>
                <a:cubicBezTo>
                  <a:pt x="58618" y="69518"/>
                  <a:pt x="60171" y="61540"/>
                  <a:pt x="62141" y="53661"/>
                </a:cubicBezTo>
                <a:cubicBezTo>
                  <a:pt x="62817" y="50959"/>
                  <a:pt x="63538" y="48225"/>
                  <a:pt x="64784" y="45733"/>
                </a:cubicBezTo>
                <a:cubicBezTo>
                  <a:pt x="66204" y="42892"/>
                  <a:pt x="68036" y="40245"/>
                  <a:pt x="70069" y="37805"/>
                </a:cubicBezTo>
                <a:cubicBezTo>
                  <a:pt x="72462" y="34934"/>
                  <a:pt x="74888" y="31950"/>
                  <a:pt x="77998" y="29877"/>
                </a:cubicBezTo>
                <a:cubicBezTo>
                  <a:pt x="80316" y="28332"/>
                  <a:pt x="83283" y="28115"/>
                  <a:pt x="85926" y="27234"/>
                </a:cubicBezTo>
                <a:cubicBezTo>
                  <a:pt x="108830" y="28115"/>
                  <a:pt x="131771" y="28300"/>
                  <a:pt x="154638" y="29877"/>
                </a:cubicBezTo>
                <a:cubicBezTo>
                  <a:pt x="157417" y="30069"/>
                  <a:pt x="159781" y="32519"/>
                  <a:pt x="162567" y="32519"/>
                </a:cubicBezTo>
                <a:cubicBezTo>
                  <a:pt x="168947" y="32519"/>
                  <a:pt x="177452" y="29320"/>
                  <a:pt x="183709" y="27234"/>
                </a:cubicBezTo>
                <a:cubicBezTo>
                  <a:pt x="185471" y="24591"/>
                  <a:pt x="187704" y="22208"/>
                  <a:pt x="188994" y="19305"/>
                </a:cubicBezTo>
                <a:cubicBezTo>
                  <a:pt x="191257" y="14214"/>
                  <a:pt x="188995" y="5211"/>
                  <a:pt x="194280" y="3449"/>
                </a:cubicBezTo>
                <a:lnTo>
                  <a:pt x="202208" y="806"/>
                </a:lnTo>
                <a:cubicBezTo>
                  <a:pt x="209255" y="1687"/>
                  <a:pt x="217142" y="0"/>
                  <a:pt x="223350" y="3449"/>
                </a:cubicBezTo>
                <a:cubicBezTo>
                  <a:pt x="234615" y="9707"/>
                  <a:pt x="213692" y="25481"/>
                  <a:pt x="231279" y="29877"/>
                </a:cubicBezTo>
                <a:lnTo>
                  <a:pt x="241850" y="32519"/>
                </a:lnTo>
                <a:cubicBezTo>
                  <a:pt x="265864" y="29089"/>
                  <a:pt x="254441" y="31847"/>
                  <a:pt x="276206" y="24591"/>
                </a:cubicBezTo>
                <a:lnTo>
                  <a:pt x="284134" y="21948"/>
                </a:lnTo>
                <a:lnTo>
                  <a:pt x="292062" y="19305"/>
                </a:lnTo>
                <a:cubicBezTo>
                  <a:pt x="294705" y="20186"/>
                  <a:pt x="297851" y="20164"/>
                  <a:pt x="299991" y="21948"/>
                </a:cubicBezTo>
                <a:cubicBezTo>
                  <a:pt x="314639" y="34154"/>
                  <a:pt x="301006" y="30554"/>
                  <a:pt x="315847" y="40448"/>
                </a:cubicBezTo>
                <a:cubicBezTo>
                  <a:pt x="318118" y="41962"/>
                  <a:pt x="332943" y="45382"/>
                  <a:pt x="334347" y="45733"/>
                </a:cubicBezTo>
                <a:lnTo>
                  <a:pt x="358132" y="61590"/>
                </a:lnTo>
                <a:cubicBezTo>
                  <a:pt x="360775" y="63352"/>
                  <a:pt x="363047" y="65871"/>
                  <a:pt x="366060" y="66875"/>
                </a:cubicBezTo>
                <a:lnTo>
                  <a:pt x="381917" y="72161"/>
                </a:lnTo>
                <a:cubicBezTo>
                  <a:pt x="423808" y="70166"/>
                  <a:pt x="432821" y="67320"/>
                  <a:pt x="469128" y="72161"/>
                </a:cubicBezTo>
                <a:cubicBezTo>
                  <a:pt x="479455" y="73538"/>
                  <a:pt x="475440" y="75847"/>
                  <a:pt x="484985" y="80089"/>
                </a:cubicBezTo>
                <a:cubicBezTo>
                  <a:pt x="490076" y="82352"/>
                  <a:pt x="500842" y="85375"/>
                  <a:pt x="500842" y="85375"/>
                </a:cubicBezTo>
                <a:lnTo>
                  <a:pt x="508770" y="109160"/>
                </a:lnTo>
                <a:lnTo>
                  <a:pt x="511413" y="117088"/>
                </a:lnTo>
                <a:cubicBezTo>
                  <a:pt x="512294" y="119731"/>
                  <a:pt x="513381" y="122313"/>
                  <a:pt x="514056" y="125016"/>
                </a:cubicBezTo>
                <a:cubicBezTo>
                  <a:pt x="514937" y="128540"/>
                  <a:pt x="514896" y="132434"/>
                  <a:pt x="516698" y="135588"/>
                </a:cubicBezTo>
                <a:cubicBezTo>
                  <a:pt x="518552" y="138833"/>
                  <a:pt x="521984" y="140873"/>
                  <a:pt x="524627" y="143516"/>
                </a:cubicBezTo>
                <a:cubicBezTo>
                  <a:pt x="532525" y="175119"/>
                  <a:pt x="530776" y="163951"/>
                  <a:pt x="524627" y="225442"/>
                </a:cubicBezTo>
                <a:cubicBezTo>
                  <a:pt x="524311" y="228602"/>
                  <a:pt x="520762" y="230529"/>
                  <a:pt x="519341" y="233370"/>
                </a:cubicBezTo>
                <a:cubicBezTo>
                  <a:pt x="512957" y="246135"/>
                  <a:pt x="522135" y="237673"/>
                  <a:pt x="508770" y="246584"/>
                </a:cubicBezTo>
                <a:lnTo>
                  <a:pt x="500842" y="270369"/>
                </a:lnTo>
                <a:lnTo>
                  <a:pt x="498199" y="278297"/>
                </a:lnTo>
                <a:lnTo>
                  <a:pt x="495556" y="286226"/>
                </a:lnTo>
                <a:cubicBezTo>
                  <a:pt x="489822" y="332095"/>
                  <a:pt x="497041" y="285570"/>
                  <a:pt x="487628" y="323224"/>
                </a:cubicBezTo>
                <a:cubicBezTo>
                  <a:pt x="486747" y="326748"/>
                  <a:pt x="487000" y="330774"/>
                  <a:pt x="484985" y="333796"/>
                </a:cubicBezTo>
                <a:cubicBezTo>
                  <a:pt x="483223" y="336439"/>
                  <a:pt x="479700" y="337319"/>
                  <a:pt x="477057" y="339081"/>
                </a:cubicBezTo>
                <a:lnTo>
                  <a:pt x="469128" y="362866"/>
                </a:lnTo>
                <a:lnTo>
                  <a:pt x="466486" y="370794"/>
                </a:lnTo>
                <a:cubicBezTo>
                  <a:pt x="471224" y="418189"/>
                  <a:pt x="465756" y="383097"/>
                  <a:pt x="471771" y="405151"/>
                </a:cubicBezTo>
                <a:cubicBezTo>
                  <a:pt x="473682" y="412159"/>
                  <a:pt x="474760" y="419401"/>
                  <a:pt x="477057" y="426293"/>
                </a:cubicBezTo>
                <a:cubicBezTo>
                  <a:pt x="477938" y="428936"/>
                  <a:pt x="478453" y="431730"/>
                  <a:pt x="479699" y="434221"/>
                </a:cubicBezTo>
                <a:cubicBezTo>
                  <a:pt x="481119" y="437062"/>
                  <a:pt x="483223" y="439506"/>
                  <a:pt x="484985" y="442149"/>
                </a:cubicBezTo>
                <a:cubicBezTo>
                  <a:pt x="486747" y="449197"/>
                  <a:pt x="487974" y="456400"/>
                  <a:pt x="490271" y="463292"/>
                </a:cubicBezTo>
                <a:cubicBezTo>
                  <a:pt x="491152" y="465935"/>
                  <a:pt x="492148" y="468542"/>
                  <a:pt x="492913" y="471220"/>
                </a:cubicBezTo>
                <a:cubicBezTo>
                  <a:pt x="493911" y="474712"/>
                  <a:pt x="494558" y="478299"/>
                  <a:pt x="495556" y="481791"/>
                </a:cubicBezTo>
                <a:cubicBezTo>
                  <a:pt x="496321" y="484469"/>
                  <a:pt x="497891" y="486950"/>
                  <a:pt x="498199" y="489719"/>
                </a:cubicBezTo>
                <a:cubicBezTo>
                  <a:pt x="498783" y="494972"/>
                  <a:pt x="547531" y="495446"/>
                  <a:pt x="498199" y="497648"/>
                </a:cubicBezTo>
                <a:close/>
              </a:path>
            </a:pathLst>
          </a:custGeom>
          <a:solidFill>
            <a:srgbClr val="9966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92" name="Freeform 91"/>
          <p:cNvSpPr/>
          <p:nvPr/>
        </p:nvSpPr>
        <p:spPr>
          <a:xfrm>
            <a:off x="1905006" y="2914651"/>
            <a:ext cx="339725" cy="383116"/>
          </a:xfrm>
          <a:custGeom>
            <a:avLst/>
            <a:gdLst>
              <a:gd name="connsiteX0" fmla="*/ 332990 w 339591"/>
              <a:gd name="connsiteY0" fmla="*/ 375274 h 382249"/>
              <a:gd name="connsiteX1" fmla="*/ 301277 w 339591"/>
              <a:gd name="connsiteY1" fmla="*/ 372632 h 382249"/>
              <a:gd name="connsiteX2" fmla="*/ 274849 w 339591"/>
              <a:gd name="connsiteY2" fmla="*/ 364703 h 382249"/>
              <a:gd name="connsiteX3" fmla="*/ 235207 w 339591"/>
              <a:gd name="connsiteY3" fmla="*/ 351489 h 382249"/>
              <a:gd name="connsiteX4" fmla="*/ 221994 w 339591"/>
              <a:gd name="connsiteY4" fmla="*/ 335633 h 382249"/>
              <a:gd name="connsiteX5" fmla="*/ 211422 w 339591"/>
              <a:gd name="connsiteY5" fmla="*/ 311848 h 382249"/>
              <a:gd name="connsiteX6" fmla="*/ 203494 w 339591"/>
              <a:gd name="connsiteY6" fmla="*/ 309205 h 382249"/>
              <a:gd name="connsiteX7" fmla="*/ 187637 w 339591"/>
              <a:gd name="connsiteY7" fmla="*/ 295991 h 382249"/>
              <a:gd name="connsiteX8" fmla="*/ 177066 w 339591"/>
              <a:gd name="connsiteY8" fmla="*/ 272206 h 382249"/>
              <a:gd name="connsiteX9" fmla="*/ 169138 w 339591"/>
              <a:gd name="connsiteY9" fmla="*/ 264278 h 382249"/>
              <a:gd name="connsiteX10" fmla="*/ 161210 w 339591"/>
              <a:gd name="connsiteY10" fmla="*/ 258992 h 382249"/>
              <a:gd name="connsiteX11" fmla="*/ 142710 w 339591"/>
              <a:gd name="connsiteY11" fmla="*/ 235207 h 382249"/>
              <a:gd name="connsiteX12" fmla="*/ 134782 w 339591"/>
              <a:gd name="connsiteY12" fmla="*/ 229922 h 382249"/>
              <a:gd name="connsiteX13" fmla="*/ 126854 w 339591"/>
              <a:gd name="connsiteY13" fmla="*/ 227279 h 382249"/>
              <a:gd name="connsiteX14" fmla="*/ 110997 w 339591"/>
              <a:gd name="connsiteY14" fmla="*/ 216708 h 382249"/>
              <a:gd name="connsiteX15" fmla="*/ 95140 w 339591"/>
              <a:gd name="connsiteY15" fmla="*/ 206137 h 382249"/>
              <a:gd name="connsiteX16" fmla="*/ 87212 w 339591"/>
              <a:gd name="connsiteY16" fmla="*/ 200851 h 382249"/>
              <a:gd name="connsiteX17" fmla="*/ 79284 w 339591"/>
              <a:gd name="connsiteY17" fmla="*/ 198208 h 382249"/>
              <a:gd name="connsiteX18" fmla="*/ 63427 w 339591"/>
              <a:gd name="connsiteY18" fmla="*/ 184995 h 382249"/>
              <a:gd name="connsiteX19" fmla="*/ 55499 w 339591"/>
              <a:gd name="connsiteY19" fmla="*/ 182352 h 382249"/>
              <a:gd name="connsiteX20" fmla="*/ 44928 w 339591"/>
              <a:gd name="connsiteY20" fmla="*/ 177066 h 382249"/>
              <a:gd name="connsiteX21" fmla="*/ 36999 w 339591"/>
              <a:gd name="connsiteY21" fmla="*/ 169138 h 382249"/>
              <a:gd name="connsiteX22" fmla="*/ 21143 w 339591"/>
              <a:gd name="connsiteY22" fmla="*/ 161210 h 382249"/>
              <a:gd name="connsiteX23" fmla="*/ 5286 w 339591"/>
              <a:gd name="connsiteY23" fmla="*/ 150638 h 382249"/>
              <a:gd name="connsiteX24" fmla="*/ 21143 w 339591"/>
              <a:gd name="connsiteY24" fmla="*/ 140067 h 382249"/>
              <a:gd name="connsiteX25" fmla="*/ 31714 w 339591"/>
              <a:gd name="connsiteY25" fmla="*/ 124211 h 382249"/>
              <a:gd name="connsiteX26" fmla="*/ 36999 w 339591"/>
              <a:gd name="connsiteY26" fmla="*/ 116282 h 382249"/>
              <a:gd name="connsiteX27" fmla="*/ 44928 w 339591"/>
              <a:gd name="connsiteY27" fmla="*/ 100426 h 382249"/>
              <a:gd name="connsiteX28" fmla="*/ 60784 w 339591"/>
              <a:gd name="connsiteY28" fmla="*/ 84569 h 382249"/>
              <a:gd name="connsiteX29" fmla="*/ 76641 w 339591"/>
              <a:gd name="connsiteY29" fmla="*/ 76641 h 382249"/>
              <a:gd name="connsiteX30" fmla="*/ 87212 w 339591"/>
              <a:gd name="connsiteY30" fmla="*/ 52856 h 382249"/>
              <a:gd name="connsiteX31" fmla="*/ 89855 w 339591"/>
              <a:gd name="connsiteY31" fmla="*/ 44928 h 382249"/>
              <a:gd name="connsiteX32" fmla="*/ 92498 w 339591"/>
              <a:gd name="connsiteY32" fmla="*/ 36999 h 382249"/>
              <a:gd name="connsiteX33" fmla="*/ 95140 w 339591"/>
              <a:gd name="connsiteY33" fmla="*/ 5286 h 382249"/>
              <a:gd name="connsiteX34" fmla="*/ 110997 w 339591"/>
              <a:gd name="connsiteY34" fmla="*/ 0 h 382249"/>
              <a:gd name="connsiteX35" fmla="*/ 169138 w 339591"/>
              <a:gd name="connsiteY35" fmla="*/ 2643 h 382249"/>
              <a:gd name="connsiteX36" fmla="*/ 177066 w 339591"/>
              <a:gd name="connsiteY36" fmla="*/ 5286 h 382249"/>
              <a:gd name="connsiteX37" fmla="*/ 182352 w 339591"/>
              <a:gd name="connsiteY37" fmla="*/ 13214 h 382249"/>
              <a:gd name="connsiteX38" fmla="*/ 192923 w 339591"/>
              <a:gd name="connsiteY38" fmla="*/ 36999 h 382249"/>
              <a:gd name="connsiteX39" fmla="*/ 190280 w 339591"/>
              <a:gd name="connsiteY39" fmla="*/ 92497 h 382249"/>
              <a:gd name="connsiteX40" fmla="*/ 190280 w 339591"/>
              <a:gd name="connsiteY40" fmla="*/ 113640 h 382249"/>
              <a:gd name="connsiteX41" fmla="*/ 198209 w 339591"/>
              <a:gd name="connsiteY41" fmla="*/ 118925 h 382249"/>
              <a:gd name="connsiteX42" fmla="*/ 229922 w 339591"/>
              <a:gd name="connsiteY42" fmla="*/ 116282 h 382249"/>
              <a:gd name="connsiteX43" fmla="*/ 237850 w 339591"/>
              <a:gd name="connsiteY43" fmla="*/ 113640 h 382249"/>
              <a:gd name="connsiteX44" fmla="*/ 245778 w 339591"/>
              <a:gd name="connsiteY44" fmla="*/ 105711 h 382249"/>
              <a:gd name="connsiteX45" fmla="*/ 261635 w 339591"/>
              <a:gd name="connsiteY45" fmla="*/ 95140 h 382249"/>
              <a:gd name="connsiteX46" fmla="*/ 264278 w 339591"/>
              <a:gd name="connsiteY46" fmla="*/ 171781 h 382249"/>
              <a:gd name="connsiteX47" fmla="*/ 261635 w 339591"/>
              <a:gd name="connsiteY47" fmla="*/ 179709 h 382249"/>
              <a:gd name="connsiteX48" fmla="*/ 245778 w 339591"/>
              <a:gd name="connsiteY48" fmla="*/ 203494 h 382249"/>
              <a:gd name="connsiteX49" fmla="*/ 240493 w 339591"/>
              <a:gd name="connsiteY49" fmla="*/ 211422 h 382249"/>
              <a:gd name="connsiteX50" fmla="*/ 243136 w 339591"/>
              <a:gd name="connsiteY50" fmla="*/ 221993 h 382249"/>
              <a:gd name="connsiteX51" fmla="*/ 253707 w 339591"/>
              <a:gd name="connsiteY51" fmla="*/ 224636 h 382249"/>
              <a:gd name="connsiteX52" fmla="*/ 269563 w 339591"/>
              <a:gd name="connsiteY52" fmla="*/ 232565 h 382249"/>
              <a:gd name="connsiteX53" fmla="*/ 285420 w 339591"/>
              <a:gd name="connsiteY53" fmla="*/ 237850 h 382249"/>
              <a:gd name="connsiteX54" fmla="*/ 293348 w 339591"/>
              <a:gd name="connsiteY54" fmla="*/ 240493 h 382249"/>
              <a:gd name="connsiteX55" fmla="*/ 301277 w 339591"/>
              <a:gd name="connsiteY55" fmla="*/ 243136 h 382249"/>
              <a:gd name="connsiteX56" fmla="*/ 306562 w 339591"/>
              <a:gd name="connsiteY56" fmla="*/ 258992 h 382249"/>
              <a:gd name="connsiteX57" fmla="*/ 317133 w 339591"/>
              <a:gd name="connsiteY57" fmla="*/ 261635 h 382249"/>
              <a:gd name="connsiteX58" fmla="*/ 332990 w 339591"/>
              <a:gd name="connsiteY58" fmla="*/ 266921 h 382249"/>
              <a:gd name="connsiteX59" fmla="*/ 338276 w 339591"/>
              <a:gd name="connsiteY59" fmla="*/ 274849 h 382249"/>
              <a:gd name="connsiteX60" fmla="*/ 332990 w 339591"/>
              <a:gd name="connsiteY60" fmla="*/ 319776 h 382249"/>
              <a:gd name="connsiteX61" fmla="*/ 327705 w 339591"/>
              <a:gd name="connsiteY61" fmla="*/ 372632 h 382249"/>
              <a:gd name="connsiteX62" fmla="*/ 322419 w 339591"/>
              <a:gd name="connsiteY62" fmla="*/ 380560 h 382249"/>
              <a:gd name="connsiteX63" fmla="*/ 332990 w 339591"/>
              <a:gd name="connsiteY63" fmla="*/ 375274 h 38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339591" h="382249">
                <a:moveTo>
                  <a:pt x="332990" y="375274"/>
                </a:moveTo>
                <a:cubicBezTo>
                  <a:pt x="329466" y="373953"/>
                  <a:pt x="311803" y="373948"/>
                  <a:pt x="301277" y="372632"/>
                </a:cubicBezTo>
                <a:cubicBezTo>
                  <a:pt x="282907" y="370336"/>
                  <a:pt x="297823" y="368532"/>
                  <a:pt x="274849" y="364703"/>
                </a:cubicBezTo>
                <a:cubicBezTo>
                  <a:pt x="260655" y="362337"/>
                  <a:pt x="246642" y="361018"/>
                  <a:pt x="235207" y="351489"/>
                </a:cubicBezTo>
                <a:cubicBezTo>
                  <a:pt x="230813" y="347828"/>
                  <a:pt x="224440" y="341136"/>
                  <a:pt x="221994" y="335633"/>
                </a:cubicBezTo>
                <a:cubicBezTo>
                  <a:pt x="219543" y="330118"/>
                  <a:pt x="217610" y="316798"/>
                  <a:pt x="211422" y="311848"/>
                </a:cubicBezTo>
                <a:cubicBezTo>
                  <a:pt x="209247" y="310108"/>
                  <a:pt x="205985" y="310451"/>
                  <a:pt x="203494" y="309205"/>
                </a:cubicBezTo>
                <a:cubicBezTo>
                  <a:pt x="196137" y="305526"/>
                  <a:pt x="193480" y="301834"/>
                  <a:pt x="187637" y="295991"/>
                </a:cubicBezTo>
                <a:cubicBezTo>
                  <a:pt x="183795" y="284464"/>
                  <a:pt x="184048" y="280583"/>
                  <a:pt x="177066" y="272206"/>
                </a:cubicBezTo>
                <a:cubicBezTo>
                  <a:pt x="174673" y="269335"/>
                  <a:pt x="172009" y="266671"/>
                  <a:pt x="169138" y="264278"/>
                </a:cubicBezTo>
                <a:cubicBezTo>
                  <a:pt x="166698" y="262245"/>
                  <a:pt x="163853" y="260754"/>
                  <a:pt x="161210" y="258992"/>
                </a:cubicBezTo>
                <a:cubicBezTo>
                  <a:pt x="153843" y="247942"/>
                  <a:pt x="152025" y="242970"/>
                  <a:pt x="142710" y="235207"/>
                </a:cubicBezTo>
                <a:cubicBezTo>
                  <a:pt x="140270" y="233174"/>
                  <a:pt x="137623" y="231342"/>
                  <a:pt x="134782" y="229922"/>
                </a:cubicBezTo>
                <a:cubicBezTo>
                  <a:pt x="132290" y="228676"/>
                  <a:pt x="129289" y="228632"/>
                  <a:pt x="126854" y="227279"/>
                </a:cubicBezTo>
                <a:cubicBezTo>
                  <a:pt x="121301" y="224194"/>
                  <a:pt x="116283" y="220232"/>
                  <a:pt x="110997" y="216708"/>
                </a:cubicBezTo>
                <a:lnTo>
                  <a:pt x="95140" y="206137"/>
                </a:lnTo>
                <a:cubicBezTo>
                  <a:pt x="92497" y="204375"/>
                  <a:pt x="90225" y="201856"/>
                  <a:pt x="87212" y="200851"/>
                </a:cubicBezTo>
                <a:cubicBezTo>
                  <a:pt x="84569" y="199970"/>
                  <a:pt x="81776" y="199454"/>
                  <a:pt x="79284" y="198208"/>
                </a:cubicBezTo>
                <a:cubicBezTo>
                  <a:pt x="61987" y="189560"/>
                  <a:pt x="80964" y="196687"/>
                  <a:pt x="63427" y="184995"/>
                </a:cubicBezTo>
                <a:cubicBezTo>
                  <a:pt x="61109" y="183450"/>
                  <a:pt x="58059" y="183449"/>
                  <a:pt x="55499" y="182352"/>
                </a:cubicBezTo>
                <a:cubicBezTo>
                  <a:pt x="51878" y="180800"/>
                  <a:pt x="48134" y="179356"/>
                  <a:pt x="44928" y="177066"/>
                </a:cubicBezTo>
                <a:cubicBezTo>
                  <a:pt x="41887" y="174894"/>
                  <a:pt x="39870" y="171531"/>
                  <a:pt x="36999" y="169138"/>
                </a:cubicBezTo>
                <a:cubicBezTo>
                  <a:pt x="30166" y="163444"/>
                  <a:pt x="29091" y="163859"/>
                  <a:pt x="21143" y="161210"/>
                </a:cubicBezTo>
                <a:cubicBezTo>
                  <a:pt x="15857" y="157686"/>
                  <a:pt x="0" y="154162"/>
                  <a:pt x="5286" y="150638"/>
                </a:cubicBezTo>
                <a:lnTo>
                  <a:pt x="21143" y="140067"/>
                </a:lnTo>
                <a:lnTo>
                  <a:pt x="31714" y="124211"/>
                </a:lnTo>
                <a:cubicBezTo>
                  <a:pt x="33476" y="121568"/>
                  <a:pt x="35994" y="119295"/>
                  <a:pt x="36999" y="116282"/>
                </a:cubicBezTo>
                <a:cubicBezTo>
                  <a:pt x="39449" y="108934"/>
                  <a:pt x="39462" y="106575"/>
                  <a:pt x="44928" y="100426"/>
                </a:cubicBezTo>
                <a:cubicBezTo>
                  <a:pt x="49894" y="94839"/>
                  <a:pt x="53693" y="86933"/>
                  <a:pt x="60784" y="84569"/>
                </a:cubicBezTo>
                <a:cubicBezTo>
                  <a:pt x="71726" y="80922"/>
                  <a:pt x="66395" y="83471"/>
                  <a:pt x="76641" y="76641"/>
                </a:cubicBezTo>
                <a:cubicBezTo>
                  <a:pt x="85016" y="64076"/>
                  <a:pt x="80921" y="71725"/>
                  <a:pt x="87212" y="52856"/>
                </a:cubicBezTo>
                <a:lnTo>
                  <a:pt x="89855" y="44928"/>
                </a:lnTo>
                <a:lnTo>
                  <a:pt x="92498" y="36999"/>
                </a:lnTo>
                <a:cubicBezTo>
                  <a:pt x="93379" y="26428"/>
                  <a:pt x="90396" y="14774"/>
                  <a:pt x="95140" y="5286"/>
                </a:cubicBezTo>
                <a:cubicBezTo>
                  <a:pt x="97632" y="303"/>
                  <a:pt x="110997" y="0"/>
                  <a:pt x="110997" y="0"/>
                </a:cubicBezTo>
                <a:cubicBezTo>
                  <a:pt x="130377" y="881"/>
                  <a:pt x="149799" y="1096"/>
                  <a:pt x="169138" y="2643"/>
                </a:cubicBezTo>
                <a:cubicBezTo>
                  <a:pt x="171915" y="2865"/>
                  <a:pt x="174891" y="3546"/>
                  <a:pt x="177066" y="5286"/>
                </a:cubicBezTo>
                <a:cubicBezTo>
                  <a:pt x="179546" y="7270"/>
                  <a:pt x="180590" y="10571"/>
                  <a:pt x="182352" y="13214"/>
                </a:cubicBezTo>
                <a:cubicBezTo>
                  <a:pt x="188641" y="32084"/>
                  <a:pt x="184546" y="24435"/>
                  <a:pt x="192923" y="36999"/>
                </a:cubicBezTo>
                <a:cubicBezTo>
                  <a:pt x="192042" y="55498"/>
                  <a:pt x="191757" y="74036"/>
                  <a:pt x="190280" y="92497"/>
                </a:cubicBezTo>
                <a:cubicBezTo>
                  <a:pt x="189525" y="101935"/>
                  <a:pt x="183987" y="104202"/>
                  <a:pt x="190280" y="113640"/>
                </a:cubicBezTo>
                <a:cubicBezTo>
                  <a:pt x="192042" y="116283"/>
                  <a:pt x="195566" y="117163"/>
                  <a:pt x="198209" y="118925"/>
                </a:cubicBezTo>
                <a:cubicBezTo>
                  <a:pt x="208780" y="118044"/>
                  <a:pt x="219407" y="117684"/>
                  <a:pt x="229922" y="116282"/>
                </a:cubicBezTo>
                <a:cubicBezTo>
                  <a:pt x="232683" y="115914"/>
                  <a:pt x="235532" y="115185"/>
                  <a:pt x="237850" y="113640"/>
                </a:cubicBezTo>
                <a:cubicBezTo>
                  <a:pt x="240960" y="111567"/>
                  <a:pt x="242828" y="108006"/>
                  <a:pt x="245778" y="105711"/>
                </a:cubicBezTo>
                <a:cubicBezTo>
                  <a:pt x="250792" y="101811"/>
                  <a:pt x="261635" y="95140"/>
                  <a:pt x="261635" y="95140"/>
                </a:cubicBezTo>
                <a:cubicBezTo>
                  <a:pt x="279360" y="121727"/>
                  <a:pt x="269031" y="102876"/>
                  <a:pt x="264278" y="171781"/>
                </a:cubicBezTo>
                <a:cubicBezTo>
                  <a:pt x="264086" y="174560"/>
                  <a:pt x="262988" y="177274"/>
                  <a:pt x="261635" y="179709"/>
                </a:cubicBezTo>
                <a:cubicBezTo>
                  <a:pt x="261623" y="179731"/>
                  <a:pt x="248428" y="199519"/>
                  <a:pt x="245778" y="203494"/>
                </a:cubicBezTo>
                <a:lnTo>
                  <a:pt x="240493" y="211422"/>
                </a:lnTo>
                <a:cubicBezTo>
                  <a:pt x="241374" y="214946"/>
                  <a:pt x="240568" y="219425"/>
                  <a:pt x="243136" y="221993"/>
                </a:cubicBezTo>
                <a:cubicBezTo>
                  <a:pt x="245704" y="224561"/>
                  <a:pt x="250215" y="223638"/>
                  <a:pt x="253707" y="224636"/>
                </a:cubicBezTo>
                <a:cubicBezTo>
                  <a:pt x="273952" y="230421"/>
                  <a:pt x="248709" y="223296"/>
                  <a:pt x="269563" y="232565"/>
                </a:cubicBezTo>
                <a:cubicBezTo>
                  <a:pt x="274654" y="234828"/>
                  <a:pt x="280134" y="236088"/>
                  <a:pt x="285420" y="237850"/>
                </a:cubicBezTo>
                <a:lnTo>
                  <a:pt x="293348" y="240493"/>
                </a:lnTo>
                <a:lnTo>
                  <a:pt x="301277" y="243136"/>
                </a:lnTo>
                <a:cubicBezTo>
                  <a:pt x="303039" y="248421"/>
                  <a:pt x="301157" y="257641"/>
                  <a:pt x="306562" y="258992"/>
                </a:cubicBezTo>
                <a:cubicBezTo>
                  <a:pt x="310086" y="259873"/>
                  <a:pt x="313654" y="260591"/>
                  <a:pt x="317133" y="261635"/>
                </a:cubicBezTo>
                <a:cubicBezTo>
                  <a:pt x="322470" y="263236"/>
                  <a:pt x="332990" y="266921"/>
                  <a:pt x="332990" y="266921"/>
                </a:cubicBezTo>
                <a:cubicBezTo>
                  <a:pt x="334752" y="269564"/>
                  <a:pt x="338078" y="271679"/>
                  <a:pt x="338276" y="274849"/>
                </a:cubicBezTo>
                <a:cubicBezTo>
                  <a:pt x="339591" y="295883"/>
                  <a:pt x="337079" y="303420"/>
                  <a:pt x="332990" y="319776"/>
                </a:cubicBezTo>
                <a:cubicBezTo>
                  <a:pt x="332837" y="322372"/>
                  <a:pt x="334596" y="358848"/>
                  <a:pt x="327705" y="372632"/>
                </a:cubicBezTo>
                <a:cubicBezTo>
                  <a:pt x="326285" y="375473"/>
                  <a:pt x="324053" y="377837"/>
                  <a:pt x="322419" y="380560"/>
                </a:cubicBezTo>
                <a:cubicBezTo>
                  <a:pt x="321405" y="382249"/>
                  <a:pt x="336514" y="376595"/>
                  <a:pt x="332990" y="375274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cxnSp>
        <p:nvCxnSpPr>
          <p:cNvPr id="94" name="Straight Arrow Connector 93"/>
          <p:cNvCxnSpPr/>
          <p:nvPr/>
        </p:nvCxnSpPr>
        <p:spPr>
          <a:xfrm flipH="1">
            <a:off x="2411413" y="3001439"/>
            <a:ext cx="17462" cy="42756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reeform 96"/>
          <p:cNvSpPr/>
          <p:nvPr/>
        </p:nvSpPr>
        <p:spPr>
          <a:xfrm>
            <a:off x="1781175" y="2772833"/>
            <a:ext cx="230188" cy="289984"/>
          </a:xfrm>
          <a:custGeom>
            <a:avLst/>
            <a:gdLst>
              <a:gd name="connsiteX0" fmla="*/ 137700 w 230229"/>
              <a:gd name="connsiteY0" fmla="*/ 285750 h 289112"/>
              <a:gd name="connsiteX1" fmla="*/ 115929 w 230229"/>
              <a:gd name="connsiteY1" fmla="*/ 269421 h 289112"/>
              <a:gd name="connsiteX2" fmla="*/ 96879 w 230229"/>
              <a:gd name="connsiteY2" fmla="*/ 263978 h 289112"/>
              <a:gd name="connsiteX3" fmla="*/ 80550 w 230229"/>
              <a:gd name="connsiteY3" fmla="*/ 258535 h 289112"/>
              <a:gd name="connsiteX4" fmla="*/ 72386 w 230229"/>
              <a:gd name="connsiteY4" fmla="*/ 255814 h 289112"/>
              <a:gd name="connsiteX5" fmla="*/ 64222 w 230229"/>
              <a:gd name="connsiteY5" fmla="*/ 250371 h 289112"/>
              <a:gd name="connsiteX6" fmla="*/ 42450 w 230229"/>
              <a:gd name="connsiteY6" fmla="*/ 231321 h 289112"/>
              <a:gd name="connsiteX7" fmla="*/ 26122 w 230229"/>
              <a:gd name="connsiteY7" fmla="*/ 225878 h 289112"/>
              <a:gd name="connsiteX8" fmla="*/ 23400 w 230229"/>
              <a:gd name="connsiteY8" fmla="*/ 176893 h 289112"/>
              <a:gd name="connsiteX9" fmla="*/ 12514 w 230229"/>
              <a:gd name="connsiteY9" fmla="*/ 160564 h 289112"/>
              <a:gd name="connsiteX10" fmla="*/ 4350 w 230229"/>
              <a:gd name="connsiteY10" fmla="*/ 157843 h 289112"/>
              <a:gd name="connsiteX11" fmla="*/ 1629 w 230229"/>
              <a:gd name="connsiteY11" fmla="*/ 149678 h 289112"/>
              <a:gd name="connsiteX12" fmla="*/ 7072 w 230229"/>
              <a:gd name="connsiteY12" fmla="*/ 95250 h 289112"/>
              <a:gd name="connsiteX13" fmla="*/ 9793 w 230229"/>
              <a:gd name="connsiteY13" fmla="*/ 65314 h 289112"/>
              <a:gd name="connsiteX14" fmla="*/ 12514 w 230229"/>
              <a:gd name="connsiteY14" fmla="*/ 57150 h 289112"/>
              <a:gd name="connsiteX15" fmla="*/ 31564 w 230229"/>
              <a:gd name="connsiteY15" fmla="*/ 32657 h 289112"/>
              <a:gd name="connsiteX16" fmla="*/ 39729 w 230229"/>
              <a:gd name="connsiteY16" fmla="*/ 27214 h 289112"/>
              <a:gd name="connsiteX17" fmla="*/ 56057 w 230229"/>
              <a:gd name="connsiteY17" fmla="*/ 21771 h 289112"/>
              <a:gd name="connsiteX18" fmla="*/ 66943 w 230229"/>
              <a:gd name="connsiteY18" fmla="*/ 16328 h 289112"/>
              <a:gd name="connsiteX19" fmla="*/ 83272 w 230229"/>
              <a:gd name="connsiteY19" fmla="*/ 10885 h 289112"/>
              <a:gd name="connsiteX20" fmla="*/ 99600 w 230229"/>
              <a:gd name="connsiteY20" fmla="*/ 5443 h 289112"/>
              <a:gd name="connsiteX21" fmla="*/ 107764 w 230229"/>
              <a:gd name="connsiteY21" fmla="*/ 2721 h 289112"/>
              <a:gd name="connsiteX22" fmla="*/ 115929 w 230229"/>
              <a:gd name="connsiteY22" fmla="*/ 0 h 289112"/>
              <a:gd name="connsiteX23" fmla="*/ 162193 w 230229"/>
              <a:gd name="connsiteY23" fmla="*/ 2721 h 289112"/>
              <a:gd name="connsiteX24" fmla="*/ 183964 w 230229"/>
              <a:gd name="connsiteY24" fmla="*/ 8164 h 289112"/>
              <a:gd name="connsiteX25" fmla="*/ 192129 w 230229"/>
              <a:gd name="connsiteY25" fmla="*/ 13607 h 289112"/>
              <a:gd name="connsiteX26" fmla="*/ 197572 w 230229"/>
              <a:gd name="connsiteY26" fmla="*/ 29935 h 289112"/>
              <a:gd name="connsiteX27" fmla="*/ 208457 w 230229"/>
              <a:gd name="connsiteY27" fmla="*/ 62593 h 289112"/>
              <a:gd name="connsiteX28" fmla="*/ 211179 w 230229"/>
              <a:gd name="connsiteY28" fmla="*/ 70757 h 289112"/>
              <a:gd name="connsiteX29" fmla="*/ 222064 w 230229"/>
              <a:gd name="connsiteY29" fmla="*/ 87085 h 289112"/>
              <a:gd name="connsiteX30" fmla="*/ 224786 w 230229"/>
              <a:gd name="connsiteY30" fmla="*/ 100693 h 289112"/>
              <a:gd name="connsiteX31" fmla="*/ 230229 w 230229"/>
              <a:gd name="connsiteY31" fmla="*/ 117021 h 289112"/>
              <a:gd name="connsiteX32" fmla="*/ 224786 w 230229"/>
              <a:gd name="connsiteY32" fmla="*/ 149678 h 289112"/>
              <a:gd name="connsiteX33" fmla="*/ 219343 w 230229"/>
              <a:gd name="connsiteY33" fmla="*/ 160564 h 289112"/>
              <a:gd name="connsiteX34" fmla="*/ 216622 w 230229"/>
              <a:gd name="connsiteY34" fmla="*/ 168728 h 289112"/>
              <a:gd name="connsiteX35" fmla="*/ 208457 w 230229"/>
              <a:gd name="connsiteY35" fmla="*/ 201385 h 289112"/>
              <a:gd name="connsiteX36" fmla="*/ 192129 w 230229"/>
              <a:gd name="connsiteY36" fmla="*/ 212271 h 289112"/>
              <a:gd name="connsiteX37" fmla="*/ 173079 w 230229"/>
              <a:gd name="connsiteY37" fmla="*/ 234043 h 289112"/>
              <a:gd name="connsiteX38" fmla="*/ 162193 w 230229"/>
              <a:gd name="connsiteY38" fmla="*/ 258535 h 289112"/>
              <a:gd name="connsiteX39" fmla="*/ 154029 w 230229"/>
              <a:gd name="connsiteY39" fmla="*/ 274864 h 289112"/>
              <a:gd name="connsiteX40" fmla="*/ 145864 w 230229"/>
              <a:gd name="connsiteY40" fmla="*/ 280307 h 289112"/>
              <a:gd name="connsiteX41" fmla="*/ 137700 w 230229"/>
              <a:gd name="connsiteY41" fmla="*/ 285750 h 2891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230229" h="289112">
                <a:moveTo>
                  <a:pt x="137700" y="285750"/>
                </a:moveTo>
                <a:cubicBezTo>
                  <a:pt x="132711" y="283936"/>
                  <a:pt x="121704" y="272308"/>
                  <a:pt x="115929" y="269421"/>
                </a:cubicBezTo>
                <a:cubicBezTo>
                  <a:pt x="111363" y="267138"/>
                  <a:pt x="101229" y="265283"/>
                  <a:pt x="96879" y="263978"/>
                </a:cubicBezTo>
                <a:cubicBezTo>
                  <a:pt x="91384" y="262329"/>
                  <a:pt x="85993" y="260349"/>
                  <a:pt x="80550" y="258535"/>
                </a:cubicBezTo>
                <a:lnTo>
                  <a:pt x="72386" y="255814"/>
                </a:lnTo>
                <a:cubicBezTo>
                  <a:pt x="69665" y="254000"/>
                  <a:pt x="66535" y="252684"/>
                  <a:pt x="64222" y="250371"/>
                </a:cubicBezTo>
                <a:cubicBezTo>
                  <a:pt x="53110" y="239259"/>
                  <a:pt x="65582" y="239032"/>
                  <a:pt x="42450" y="231321"/>
                </a:cubicBezTo>
                <a:lnTo>
                  <a:pt x="26122" y="225878"/>
                </a:lnTo>
                <a:cubicBezTo>
                  <a:pt x="25215" y="209550"/>
                  <a:pt x="26736" y="192903"/>
                  <a:pt x="23400" y="176893"/>
                </a:cubicBezTo>
                <a:cubicBezTo>
                  <a:pt x="22066" y="170489"/>
                  <a:pt x="18720" y="162632"/>
                  <a:pt x="12514" y="160564"/>
                </a:cubicBezTo>
                <a:lnTo>
                  <a:pt x="4350" y="157843"/>
                </a:lnTo>
                <a:cubicBezTo>
                  <a:pt x="3443" y="155121"/>
                  <a:pt x="1629" y="152547"/>
                  <a:pt x="1629" y="149678"/>
                </a:cubicBezTo>
                <a:cubicBezTo>
                  <a:pt x="1629" y="109216"/>
                  <a:pt x="0" y="116460"/>
                  <a:pt x="7072" y="95250"/>
                </a:cubicBezTo>
                <a:cubicBezTo>
                  <a:pt x="7979" y="85271"/>
                  <a:pt x="8376" y="75233"/>
                  <a:pt x="9793" y="65314"/>
                </a:cubicBezTo>
                <a:cubicBezTo>
                  <a:pt x="10199" y="62474"/>
                  <a:pt x="11121" y="59658"/>
                  <a:pt x="12514" y="57150"/>
                </a:cubicBezTo>
                <a:cubicBezTo>
                  <a:pt x="17745" y="47734"/>
                  <a:pt x="23357" y="39496"/>
                  <a:pt x="31564" y="32657"/>
                </a:cubicBezTo>
                <a:cubicBezTo>
                  <a:pt x="34077" y="30563"/>
                  <a:pt x="36740" y="28542"/>
                  <a:pt x="39729" y="27214"/>
                </a:cubicBezTo>
                <a:cubicBezTo>
                  <a:pt x="44972" y="24884"/>
                  <a:pt x="50926" y="24337"/>
                  <a:pt x="56057" y="21771"/>
                </a:cubicBezTo>
                <a:cubicBezTo>
                  <a:pt x="59686" y="19957"/>
                  <a:pt x="63176" y="17835"/>
                  <a:pt x="66943" y="16328"/>
                </a:cubicBezTo>
                <a:cubicBezTo>
                  <a:pt x="72270" y="14197"/>
                  <a:pt x="77829" y="12699"/>
                  <a:pt x="83272" y="10885"/>
                </a:cubicBezTo>
                <a:lnTo>
                  <a:pt x="99600" y="5443"/>
                </a:lnTo>
                <a:lnTo>
                  <a:pt x="107764" y="2721"/>
                </a:lnTo>
                <a:lnTo>
                  <a:pt x="115929" y="0"/>
                </a:lnTo>
                <a:cubicBezTo>
                  <a:pt x="131350" y="907"/>
                  <a:pt x="146855" y="880"/>
                  <a:pt x="162193" y="2721"/>
                </a:cubicBezTo>
                <a:cubicBezTo>
                  <a:pt x="169620" y="3612"/>
                  <a:pt x="183964" y="8164"/>
                  <a:pt x="183964" y="8164"/>
                </a:cubicBezTo>
                <a:cubicBezTo>
                  <a:pt x="186686" y="9978"/>
                  <a:pt x="190395" y="10833"/>
                  <a:pt x="192129" y="13607"/>
                </a:cubicBezTo>
                <a:cubicBezTo>
                  <a:pt x="195170" y="18472"/>
                  <a:pt x="195758" y="24492"/>
                  <a:pt x="197572" y="29935"/>
                </a:cubicBezTo>
                <a:lnTo>
                  <a:pt x="208457" y="62593"/>
                </a:lnTo>
                <a:cubicBezTo>
                  <a:pt x="209364" y="65314"/>
                  <a:pt x="209588" y="68370"/>
                  <a:pt x="211179" y="70757"/>
                </a:cubicBezTo>
                <a:lnTo>
                  <a:pt x="222064" y="87085"/>
                </a:lnTo>
                <a:cubicBezTo>
                  <a:pt x="222971" y="91621"/>
                  <a:pt x="223569" y="96230"/>
                  <a:pt x="224786" y="100693"/>
                </a:cubicBezTo>
                <a:cubicBezTo>
                  <a:pt x="226296" y="106228"/>
                  <a:pt x="230229" y="117021"/>
                  <a:pt x="230229" y="117021"/>
                </a:cubicBezTo>
                <a:cubicBezTo>
                  <a:pt x="229242" y="124918"/>
                  <a:pt x="228156" y="140690"/>
                  <a:pt x="224786" y="149678"/>
                </a:cubicBezTo>
                <a:cubicBezTo>
                  <a:pt x="223362" y="153477"/>
                  <a:pt x="220941" y="156835"/>
                  <a:pt x="219343" y="160564"/>
                </a:cubicBezTo>
                <a:cubicBezTo>
                  <a:pt x="218213" y="163201"/>
                  <a:pt x="217529" y="166007"/>
                  <a:pt x="216622" y="168728"/>
                </a:cubicBezTo>
                <a:cubicBezTo>
                  <a:pt x="215471" y="179087"/>
                  <a:pt x="217688" y="193308"/>
                  <a:pt x="208457" y="201385"/>
                </a:cubicBezTo>
                <a:cubicBezTo>
                  <a:pt x="203534" y="205693"/>
                  <a:pt x="192129" y="212271"/>
                  <a:pt x="192129" y="212271"/>
                </a:cubicBezTo>
                <a:cubicBezTo>
                  <a:pt x="179429" y="231321"/>
                  <a:pt x="186686" y="224971"/>
                  <a:pt x="173079" y="234043"/>
                </a:cubicBezTo>
                <a:cubicBezTo>
                  <a:pt x="166602" y="253474"/>
                  <a:pt x="170819" y="245598"/>
                  <a:pt x="162193" y="258535"/>
                </a:cubicBezTo>
                <a:cubicBezTo>
                  <a:pt x="159980" y="265176"/>
                  <a:pt x="159306" y="269588"/>
                  <a:pt x="154029" y="274864"/>
                </a:cubicBezTo>
                <a:cubicBezTo>
                  <a:pt x="151716" y="277177"/>
                  <a:pt x="148377" y="278213"/>
                  <a:pt x="145864" y="280307"/>
                </a:cubicBezTo>
                <a:cubicBezTo>
                  <a:pt x="135297" y="289112"/>
                  <a:pt x="142689" y="287564"/>
                  <a:pt x="137700" y="285750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98" name="Freeform 97"/>
          <p:cNvSpPr/>
          <p:nvPr/>
        </p:nvSpPr>
        <p:spPr>
          <a:xfrm>
            <a:off x="1646243" y="2529421"/>
            <a:ext cx="593725" cy="505883"/>
          </a:xfrm>
          <a:custGeom>
            <a:avLst/>
            <a:gdLst>
              <a:gd name="connsiteX0" fmla="*/ 133667 w 593799"/>
              <a:gd name="connsiteY0" fmla="*/ 304800 h 506700"/>
              <a:gd name="connsiteX1" fmla="*/ 155439 w 593799"/>
              <a:gd name="connsiteY1" fmla="*/ 277586 h 506700"/>
              <a:gd name="connsiteX2" fmla="*/ 163603 w 593799"/>
              <a:gd name="connsiteY2" fmla="*/ 274864 h 506700"/>
              <a:gd name="connsiteX3" fmla="*/ 169046 w 593799"/>
              <a:gd name="connsiteY3" fmla="*/ 266700 h 506700"/>
              <a:gd name="connsiteX4" fmla="*/ 193539 w 593799"/>
              <a:gd name="connsiteY4" fmla="*/ 258536 h 506700"/>
              <a:gd name="connsiteX5" fmla="*/ 209867 w 593799"/>
              <a:gd name="connsiteY5" fmla="*/ 250372 h 506700"/>
              <a:gd name="connsiteX6" fmla="*/ 218032 w 593799"/>
              <a:gd name="connsiteY6" fmla="*/ 247650 h 506700"/>
              <a:gd name="connsiteX7" fmla="*/ 242524 w 593799"/>
              <a:gd name="connsiteY7" fmla="*/ 242207 h 506700"/>
              <a:gd name="connsiteX8" fmla="*/ 250689 w 593799"/>
              <a:gd name="connsiteY8" fmla="*/ 239486 h 506700"/>
              <a:gd name="connsiteX9" fmla="*/ 288789 w 593799"/>
              <a:gd name="connsiteY9" fmla="*/ 242207 h 506700"/>
              <a:gd name="connsiteX10" fmla="*/ 305117 w 593799"/>
              <a:gd name="connsiteY10" fmla="*/ 247650 h 506700"/>
              <a:gd name="connsiteX11" fmla="*/ 313282 w 593799"/>
              <a:gd name="connsiteY11" fmla="*/ 250372 h 506700"/>
              <a:gd name="connsiteX12" fmla="*/ 318724 w 593799"/>
              <a:gd name="connsiteY12" fmla="*/ 258536 h 506700"/>
              <a:gd name="connsiteX13" fmla="*/ 326889 w 593799"/>
              <a:gd name="connsiteY13" fmla="*/ 263979 h 506700"/>
              <a:gd name="connsiteX14" fmla="*/ 329610 w 593799"/>
              <a:gd name="connsiteY14" fmla="*/ 280307 h 506700"/>
              <a:gd name="connsiteX15" fmla="*/ 335053 w 593799"/>
              <a:gd name="connsiteY15" fmla="*/ 296636 h 506700"/>
              <a:gd name="connsiteX16" fmla="*/ 337774 w 593799"/>
              <a:gd name="connsiteY16" fmla="*/ 304800 h 506700"/>
              <a:gd name="connsiteX17" fmla="*/ 343217 w 593799"/>
              <a:gd name="connsiteY17" fmla="*/ 312964 h 506700"/>
              <a:gd name="connsiteX18" fmla="*/ 351382 w 593799"/>
              <a:gd name="connsiteY18" fmla="*/ 332014 h 506700"/>
              <a:gd name="connsiteX19" fmla="*/ 356824 w 593799"/>
              <a:gd name="connsiteY19" fmla="*/ 348343 h 506700"/>
              <a:gd name="connsiteX20" fmla="*/ 359546 w 593799"/>
              <a:gd name="connsiteY20" fmla="*/ 356507 h 506700"/>
              <a:gd name="connsiteX21" fmla="*/ 362267 w 593799"/>
              <a:gd name="connsiteY21" fmla="*/ 364672 h 506700"/>
              <a:gd name="connsiteX22" fmla="*/ 364989 w 593799"/>
              <a:gd name="connsiteY22" fmla="*/ 394607 h 506700"/>
              <a:gd name="connsiteX23" fmla="*/ 384039 w 593799"/>
              <a:gd name="connsiteY23" fmla="*/ 391886 h 506700"/>
              <a:gd name="connsiteX24" fmla="*/ 400367 w 593799"/>
              <a:gd name="connsiteY24" fmla="*/ 386443 h 506700"/>
              <a:gd name="connsiteX25" fmla="*/ 435746 w 593799"/>
              <a:gd name="connsiteY25" fmla="*/ 389164 h 506700"/>
              <a:gd name="connsiteX26" fmla="*/ 441189 w 593799"/>
              <a:gd name="connsiteY26" fmla="*/ 400050 h 506700"/>
              <a:gd name="connsiteX27" fmla="*/ 446632 w 593799"/>
              <a:gd name="connsiteY27" fmla="*/ 416379 h 506700"/>
              <a:gd name="connsiteX28" fmla="*/ 449353 w 593799"/>
              <a:gd name="connsiteY28" fmla="*/ 424543 h 506700"/>
              <a:gd name="connsiteX29" fmla="*/ 452074 w 593799"/>
              <a:gd name="connsiteY29" fmla="*/ 449036 h 506700"/>
              <a:gd name="connsiteX30" fmla="*/ 462960 w 593799"/>
              <a:gd name="connsiteY30" fmla="*/ 506186 h 506700"/>
              <a:gd name="connsiteX31" fmla="*/ 503782 w 593799"/>
              <a:gd name="connsiteY31" fmla="*/ 498022 h 506700"/>
              <a:gd name="connsiteX32" fmla="*/ 511946 w 593799"/>
              <a:gd name="connsiteY32" fmla="*/ 495300 h 506700"/>
              <a:gd name="connsiteX33" fmla="*/ 520110 w 593799"/>
              <a:gd name="connsiteY33" fmla="*/ 492579 h 506700"/>
              <a:gd name="connsiteX34" fmla="*/ 541882 w 593799"/>
              <a:gd name="connsiteY34" fmla="*/ 468086 h 506700"/>
              <a:gd name="connsiteX35" fmla="*/ 552767 w 593799"/>
              <a:gd name="connsiteY35" fmla="*/ 408214 h 506700"/>
              <a:gd name="connsiteX36" fmla="*/ 555489 w 593799"/>
              <a:gd name="connsiteY36" fmla="*/ 400050 h 506700"/>
              <a:gd name="connsiteX37" fmla="*/ 569096 w 593799"/>
              <a:gd name="connsiteY37" fmla="*/ 397329 h 506700"/>
              <a:gd name="connsiteX38" fmla="*/ 585424 w 593799"/>
              <a:gd name="connsiteY38" fmla="*/ 391886 h 506700"/>
              <a:gd name="connsiteX39" fmla="*/ 585424 w 593799"/>
              <a:gd name="connsiteY39" fmla="*/ 361950 h 506700"/>
              <a:gd name="connsiteX40" fmla="*/ 574539 w 593799"/>
              <a:gd name="connsiteY40" fmla="*/ 323850 h 506700"/>
              <a:gd name="connsiteX41" fmla="*/ 569096 w 593799"/>
              <a:gd name="connsiteY41" fmla="*/ 307522 h 506700"/>
              <a:gd name="connsiteX42" fmla="*/ 566374 w 593799"/>
              <a:gd name="connsiteY42" fmla="*/ 299357 h 506700"/>
              <a:gd name="connsiteX43" fmla="*/ 569096 w 593799"/>
              <a:gd name="connsiteY43" fmla="*/ 266700 h 506700"/>
              <a:gd name="connsiteX44" fmla="*/ 571817 w 593799"/>
              <a:gd name="connsiteY44" fmla="*/ 258536 h 506700"/>
              <a:gd name="connsiteX45" fmla="*/ 588146 w 593799"/>
              <a:gd name="connsiteY45" fmla="*/ 247650 h 506700"/>
              <a:gd name="connsiteX46" fmla="*/ 588146 w 593799"/>
              <a:gd name="connsiteY46" fmla="*/ 223157 h 506700"/>
              <a:gd name="connsiteX47" fmla="*/ 579982 w 593799"/>
              <a:gd name="connsiteY47" fmla="*/ 220436 h 506700"/>
              <a:gd name="connsiteX48" fmla="*/ 571817 w 593799"/>
              <a:gd name="connsiteY48" fmla="*/ 212272 h 506700"/>
              <a:gd name="connsiteX49" fmla="*/ 558210 w 593799"/>
              <a:gd name="connsiteY49" fmla="*/ 179614 h 506700"/>
              <a:gd name="connsiteX50" fmla="*/ 541882 w 593799"/>
              <a:gd name="connsiteY50" fmla="*/ 171450 h 506700"/>
              <a:gd name="connsiteX51" fmla="*/ 536439 w 593799"/>
              <a:gd name="connsiteY51" fmla="*/ 163286 h 506700"/>
              <a:gd name="connsiteX52" fmla="*/ 541882 w 593799"/>
              <a:gd name="connsiteY52" fmla="*/ 155122 h 506700"/>
              <a:gd name="connsiteX53" fmla="*/ 544603 w 593799"/>
              <a:gd name="connsiteY53" fmla="*/ 144236 h 506700"/>
              <a:gd name="connsiteX54" fmla="*/ 541882 w 593799"/>
              <a:gd name="connsiteY54" fmla="*/ 122464 h 506700"/>
              <a:gd name="connsiteX55" fmla="*/ 536439 w 593799"/>
              <a:gd name="connsiteY55" fmla="*/ 106136 h 506700"/>
              <a:gd name="connsiteX56" fmla="*/ 528274 w 593799"/>
              <a:gd name="connsiteY56" fmla="*/ 81643 h 506700"/>
              <a:gd name="connsiteX57" fmla="*/ 525553 w 593799"/>
              <a:gd name="connsiteY57" fmla="*/ 73479 h 506700"/>
              <a:gd name="connsiteX58" fmla="*/ 520110 w 593799"/>
              <a:gd name="connsiteY58" fmla="*/ 62593 h 506700"/>
              <a:gd name="connsiteX59" fmla="*/ 514667 w 593799"/>
              <a:gd name="connsiteY59" fmla="*/ 43543 h 506700"/>
              <a:gd name="connsiteX60" fmla="*/ 511946 w 593799"/>
              <a:gd name="connsiteY60" fmla="*/ 35379 h 506700"/>
              <a:gd name="connsiteX61" fmla="*/ 501060 w 593799"/>
              <a:gd name="connsiteY61" fmla="*/ 38100 h 506700"/>
              <a:gd name="connsiteX62" fmla="*/ 484732 w 593799"/>
              <a:gd name="connsiteY62" fmla="*/ 48986 h 506700"/>
              <a:gd name="connsiteX63" fmla="*/ 479289 w 593799"/>
              <a:gd name="connsiteY63" fmla="*/ 57150 h 506700"/>
              <a:gd name="connsiteX64" fmla="*/ 468403 w 593799"/>
              <a:gd name="connsiteY64" fmla="*/ 73479 h 506700"/>
              <a:gd name="connsiteX65" fmla="*/ 460239 w 593799"/>
              <a:gd name="connsiteY65" fmla="*/ 76200 h 506700"/>
              <a:gd name="connsiteX66" fmla="*/ 427582 w 593799"/>
              <a:gd name="connsiteY66" fmla="*/ 73479 h 506700"/>
              <a:gd name="connsiteX67" fmla="*/ 411253 w 593799"/>
              <a:gd name="connsiteY67" fmla="*/ 68036 h 506700"/>
              <a:gd name="connsiteX68" fmla="*/ 397646 w 593799"/>
              <a:gd name="connsiteY68" fmla="*/ 70757 h 506700"/>
              <a:gd name="connsiteX69" fmla="*/ 381317 w 593799"/>
              <a:gd name="connsiteY69" fmla="*/ 81643 h 506700"/>
              <a:gd name="connsiteX70" fmla="*/ 373153 w 593799"/>
              <a:gd name="connsiteY70" fmla="*/ 76200 h 506700"/>
              <a:gd name="connsiteX71" fmla="*/ 370432 w 593799"/>
              <a:gd name="connsiteY71" fmla="*/ 68036 h 506700"/>
              <a:gd name="connsiteX72" fmla="*/ 362267 w 593799"/>
              <a:gd name="connsiteY72" fmla="*/ 65314 h 506700"/>
              <a:gd name="connsiteX73" fmla="*/ 345939 w 593799"/>
              <a:gd name="connsiteY73" fmla="*/ 57150 h 506700"/>
              <a:gd name="connsiteX74" fmla="*/ 337774 w 593799"/>
              <a:gd name="connsiteY74" fmla="*/ 59872 h 506700"/>
              <a:gd name="connsiteX75" fmla="*/ 313282 w 593799"/>
              <a:gd name="connsiteY75" fmla="*/ 73479 h 506700"/>
              <a:gd name="connsiteX76" fmla="*/ 302396 w 593799"/>
              <a:gd name="connsiteY76" fmla="*/ 48986 h 506700"/>
              <a:gd name="connsiteX77" fmla="*/ 299674 w 593799"/>
              <a:gd name="connsiteY77" fmla="*/ 35379 h 506700"/>
              <a:gd name="connsiteX78" fmla="*/ 291510 w 593799"/>
              <a:gd name="connsiteY78" fmla="*/ 29936 h 506700"/>
              <a:gd name="connsiteX79" fmla="*/ 261574 w 593799"/>
              <a:gd name="connsiteY79" fmla="*/ 40822 h 506700"/>
              <a:gd name="connsiteX80" fmla="*/ 253410 w 593799"/>
              <a:gd name="connsiteY80" fmla="*/ 43543 h 506700"/>
              <a:gd name="connsiteX81" fmla="*/ 245246 w 593799"/>
              <a:gd name="connsiteY81" fmla="*/ 46264 h 506700"/>
              <a:gd name="connsiteX82" fmla="*/ 209867 w 593799"/>
              <a:gd name="connsiteY82" fmla="*/ 38100 h 506700"/>
              <a:gd name="connsiteX83" fmla="*/ 201703 w 593799"/>
              <a:gd name="connsiteY83" fmla="*/ 35379 h 506700"/>
              <a:gd name="connsiteX84" fmla="*/ 185374 w 593799"/>
              <a:gd name="connsiteY84" fmla="*/ 21772 h 506700"/>
              <a:gd name="connsiteX85" fmla="*/ 155439 w 593799"/>
              <a:gd name="connsiteY85" fmla="*/ 13607 h 506700"/>
              <a:gd name="connsiteX86" fmla="*/ 136389 w 593799"/>
              <a:gd name="connsiteY86" fmla="*/ 2722 h 506700"/>
              <a:gd name="connsiteX87" fmla="*/ 128224 w 593799"/>
              <a:gd name="connsiteY87" fmla="*/ 0 h 506700"/>
              <a:gd name="connsiteX88" fmla="*/ 122782 w 593799"/>
              <a:gd name="connsiteY88" fmla="*/ 16329 h 506700"/>
              <a:gd name="connsiteX89" fmla="*/ 120060 w 593799"/>
              <a:gd name="connsiteY89" fmla="*/ 27214 h 506700"/>
              <a:gd name="connsiteX90" fmla="*/ 111896 w 593799"/>
              <a:gd name="connsiteY90" fmla="*/ 29936 h 506700"/>
              <a:gd name="connsiteX91" fmla="*/ 103732 w 593799"/>
              <a:gd name="connsiteY91" fmla="*/ 35379 h 506700"/>
              <a:gd name="connsiteX92" fmla="*/ 98289 w 593799"/>
              <a:gd name="connsiteY92" fmla="*/ 43543 h 506700"/>
              <a:gd name="connsiteX93" fmla="*/ 109174 w 593799"/>
              <a:gd name="connsiteY93" fmla="*/ 59872 h 506700"/>
              <a:gd name="connsiteX94" fmla="*/ 111896 w 593799"/>
              <a:gd name="connsiteY94" fmla="*/ 68036 h 506700"/>
              <a:gd name="connsiteX95" fmla="*/ 109174 w 593799"/>
              <a:gd name="connsiteY95" fmla="*/ 84364 h 506700"/>
              <a:gd name="connsiteX96" fmla="*/ 101010 w 593799"/>
              <a:gd name="connsiteY96" fmla="*/ 87086 h 506700"/>
              <a:gd name="connsiteX97" fmla="*/ 76517 w 593799"/>
              <a:gd name="connsiteY97" fmla="*/ 89807 h 506700"/>
              <a:gd name="connsiteX98" fmla="*/ 52024 w 593799"/>
              <a:gd name="connsiteY98" fmla="*/ 97972 h 506700"/>
              <a:gd name="connsiteX99" fmla="*/ 43860 w 593799"/>
              <a:gd name="connsiteY99" fmla="*/ 100693 h 506700"/>
              <a:gd name="connsiteX100" fmla="*/ 35696 w 593799"/>
              <a:gd name="connsiteY100" fmla="*/ 103414 h 506700"/>
              <a:gd name="connsiteX101" fmla="*/ 19367 w 593799"/>
              <a:gd name="connsiteY101" fmla="*/ 114300 h 506700"/>
              <a:gd name="connsiteX102" fmla="*/ 11203 w 593799"/>
              <a:gd name="connsiteY102" fmla="*/ 119743 h 506700"/>
              <a:gd name="connsiteX103" fmla="*/ 3039 w 593799"/>
              <a:gd name="connsiteY103" fmla="*/ 122464 h 506700"/>
              <a:gd name="connsiteX104" fmla="*/ 317 w 593799"/>
              <a:gd name="connsiteY104" fmla="*/ 130629 h 506700"/>
              <a:gd name="connsiteX105" fmla="*/ 8482 w 593799"/>
              <a:gd name="connsiteY105" fmla="*/ 155122 h 506700"/>
              <a:gd name="connsiteX106" fmla="*/ 11203 w 593799"/>
              <a:gd name="connsiteY106" fmla="*/ 163286 h 506700"/>
              <a:gd name="connsiteX107" fmla="*/ 16646 w 593799"/>
              <a:gd name="connsiteY107" fmla="*/ 182336 h 506700"/>
              <a:gd name="connsiteX108" fmla="*/ 22089 w 593799"/>
              <a:gd name="connsiteY108" fmla="*/ 193222 h 506700"/>
              <a:gd name="connsiteX109" fmla="*/ 27532 w 593799"/>
              <a:gd name="connsiteY109" fmla="*/ 201386 h 506700"/>
              <a:gd name="connsiteX110" fmla="*/ 43860 w 593799"/>
              <a:gd name="connsiteY110" fmla="*/ 217714 h 506700"/>
              <a:gd name="connsiteX111" fmla="*/ 57467 w 593799"/>
              <a:gd name="connsiteY111" fmla="*/ 228600 h 506700"/>
              <a:gd name="connsiteX112" fmla="*/ 65632 w 593799"/>
              <a:gd name="connsiteY112" fmla="*/ 234043 h 506700"/>
              <a:gd name="connsiteX113" fmla="*/ 73796 w 593799"/>
              <a:gd name="connsiteY113" fmla="*/ 236764 h 506700"/>
              <a:gd name="connsiteX114" fmla="*/ 90124 w 593799"/>
              <a:gd name="connsiteY114" fmla="*/ 247650 h 506700"/>
              <a:gd name="connsiteX115" fmla="*/ 106453 w 593799"/>
              <a:gd name="connsiteY115" fmla="*/ 272143 h 506700"/>
              <a:gd name="connsiteX116" fmla="*/ 111896 w 593799"/>
              <a:gd name="connsiteY116" fmla="*/ 280307 h 506700"/>
              <a:gd name="connsiteX117" fmla="*/ 120060 w 593799"/>
              <a:gd name="connsiteY117" fmla="*/ 283029 h 506700"/>
              <a:gd name="connsiteX118" fmla="*/ 133667 w 593799"/>
              <a:gd name="connsiteY118" fmla="*/ 304800 h 50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93799" h="506700">
                <a:moveTo>
                  <a:pt x="133667" y="304800"/>
                </a:moveTo>
                <a:cubicBezTo>
                  <a:pt x="139564" y="303893"/>
                  <a:pt x="142468" y="284072"/>
                  <a:pt x="155439" y="277586"/>
                </a:cubicBezTo>
                <a:cubicBezTo>
                  <a:pt x="158005" y="276303"/>
                  <a:pt x="160882" y="275771"/>
                  <a:pt x="163603" y="274864"/>
                </a:cubicBezTo>
                <a:cubicBezTo>
                  <a:pt x="165417" y="272143"/>
                  <a:pt x="166272" y="268433"/>
                  <a:pt x="169046" y="266700"/>
                </a:cubicBezTo>
                <a:cubicBezTo>
                  <a:pt x="169055" y="266694"/>
                  <a:pt x="189452" y="259898"/>
                  <a:pt x="193539" y="258536"/>
                </a:cubicBezTo>
                <a:cubicBezTo>
                  <a:pt x="214053" y="251698"/>
                  <a:pt x="188773" y="260918"/>
                  <a:pt x="209867" y="250372"/>
                </a:cubicBezTo>
                <a:cubicBezTo>
                  <a:pt x="212433" y="249089"/>
                  <a:pt x="215273" y="248438"/>
                  <a:pt x="218032" y="247650"/>
                </a:cubicBezTo>
                <a:cubicBezTo>
                  <a:pt x="237555" y="242072"/>
                  <a:pt x="220117" y="247809"/>
                  <a:pt x="242524" y="242207"/>
                </a:cubicBezTo>
                <a:cubicBezTo>
                  <a:pt x="245307" y="241511"/>
                  <a:pt x="247967" y="240393"/>
                  <a:pt x="250689" y="239486"/>
                </a:cubicBezTo>
                <a:cubicBezTo>
                  <a:pt x="263389" y="240393"/>
                  <a:pt x="276198" y="240318"/>
                  <a:pt x="288789" y="242207"/>
                </a:cubicBezTo>
                <a:cubicBezTo>
                  <a:pt x="294463" y="243058"/>
                  <a:pt x="299674" y="245836"/>
                  <a:pt x="305117" y="247650"/>
                </a:cubicBezTo>
                <a:lnTo>
                  <a:pt x="313282" y="250372"/>
                </a:lnTo>
                <a:cubicBezTo>
                  <a:pt x="315096" y="253093"/>
                  <a:pt x="316411" y="256223"/>
                  <a:pt x="318724" y="258536"/>
                </a:cubicBezTo>
                <a:cubicBezTo>
                  <a:pt x="321037" y="260849"/>
                  <a:pt x="325426" y="261053"/>
                  <a:pt x="326889" y="263979"/>
                </a:cubicBezTo>
                <a:cubicBezTo>
                  <a:pt x="329357" y="268914"/>
                  <a:pt x="328272" y="274954"/>
                  <a:pt x="329610" y="280307"/>
                </a:cubicBezTo>
                <a:cubicBezTo>
                  <a:pt x="331001" y="285873"/>
                  <a:pt x="333239" y="291193"/>
                  <a:pt x="335053" y="296636"/>
                </a:cubicBezTo>
                <a:cubicBezTo>
                  <a:pt x="335960" y="299357"/>
                  <a:pt x="336183" y="302413"/>
                  <a:pt x="337774" y="304800"/>
                </a:cubicBezTo>
                <a:lnTo>
                  <a:pt x="343217" y="312964"/>
                </a:lnTo>
                <a:cubicBezTo>
                  <a:pt x="350420" y="341771"/>
                  <a:pt x="340639" y="307842"/>
                  <a:pt x="351382" y="332014"/>
                </a:cubicBezTo>
                <a:cubicBezTo>
                  <a:pt x="353712" y="337257"/>
                  <a:pt x="355010" y="342900"/>
                  <a:pt x="356824" y="348343"/>
                </a:cubicBezTo>
                <a:lnTo>
                  <a:pt x="359546" y="356507"/>
                </a:lnTo>
                <a:lnTo>
                  <a:pt x="362267" y="364672"/>
                </a:lnTo>
                <a:cubicBezTo>
                  <a:pt x="363174" y="374650"/>
                  <a:pt x="358730" y="386783"/>
                  <a:pt x="364989" y="394607"/>
                </a:cubicBezTo>
                <a:cubicBezTo>
                  <a:pt x="368996" y="399616"/>
                  <a:pt x="377789" y="393328"/>
                  <a:pt x="384039" y="391886"/>
                </a:cubicBezTo>
                <a:cubicBezTo>
                  <a:pt x="389629" y="390596"/>
                  <a:pt x="400367" y="386443"/>
                  <a:pt x="400367" y="386443"/>
                </a:cubicBezTo>
                <a:cubicBezTo>
                  <a:pt x="412160" y="387350"/>
                  <a:pt x="424525" y="385424"/>
                  <a:pt x="435746" y="389164"/>
                </a:cubicBezTo>
                <a:cubicBezTo>
                  <a:pt x="439595" y="390447"/>
                  <a:pt x="439682" y="396283"/>
                  <a:pt x="441189" y="400050"/>
                </a:cubicBezTo>
                <a:cubicBezTo>
                  <a:pt x="443320" y="405377"/>
                  <a:pt x="444818" y="410936"/>
                  <a:pt x="446632" y="416379"/>
                </a:cubicBezTo>
                <a:lnTo>
                  <a:pt x="449353" y="424543"/>
                </a:lnTo>
                <a:cubicBezTo>
                  <a:pt x="450260" y="432707"/>
                  <a:pt x="451509" y="440841"/>
                  <a:pt x="452074" y="449036"/>
                </a:cubicBezTo>
                <a:cubicBezTo>
                  <a:pt x="456051" y="506700"/>
                  <a:pt x="437388" y="497660"/>
                  <a:pt x="462960" y="506186"/>
                </a:cubicBezTo>
                <a:cubicBezTo>
                  <a:pt x="493148" y="502831"/>
                  <a:pt x="479665" y="506061"/>
                  <a:pt x="503782" y="498022"/>
                </a:cubicBezTo>
                <a:lnTo>
                  <a:pt x="511946" y="495300"/>
                </a:lnTo>
                <a:lnTo>
                  <a:pt x="520110" y="492579"/>
                </a:lnTo>
                <a:cubicBezTo>
                  <a:pt x="526891" y="465454"/>
                  <a:pt x="518174" y="472037"/>
                  <a:pt x="541882" y="468086"/>
                </a:cubicBezTo>
                <a:cubicBezTo>
                  <a:pt x="562772" y="447196"/>
                  <a:pt x="547504" y="466105"/>
                  <a:pt x="552767" y="408214"/>
                </a:cubicBezTo>
                <a:cubicBezTo>
                  <a:pt x="553027" y="405357"/>
                  <a:pt x="553102" y="401641"/>
                  <a:pt x="555489" y="400050"/>
                </a:cubicBezTo>
                <a:cubicBezTo>
                  <a:pt x="559338" y="397484"/>
                  <a:pt x="564634" y="398546"/>
                  <a:pt x="569096" y="397329"/>
                </a:cubicBezTo>
                <a:cubicBezTo>
                  <a:pt x="574631" y="395819"/>
                  <a:pt x="585424" y="391886"/>
                  <a:pt x="585424" y="391886"/>
                </a:cubicBezTo>
                <a:cubicBezTo>
                  <a:pt x="590073" y="377942"/>
                  <a:pt x="589486" y="383616"/>
                  <a:pt x="585424" y="361950"/>
                </a:cubicBezTo>
                <a:cubicBezTo>
                  <a:pt x="582495" y="346327"/>
                  <a:pt x="579353" y="338291"/>
                  <a:pt x="574539" y="323850"/>
                </a:cubicBezTo>
                <a:lnTo>
                  <a:pt x="569096" y="307522"/>
                </a:lnTo>
                <a:lnTo>
                  <a:pt x="566374" y="299357"/>
                </a:lnTo>
                <a:cubicBezTo>
                  <a:pt x="567281" y="288471"/>
                  <a:pt x="567652" y="277528"/>
                  <a:pt x="569096" y="266700"/>
                </a:cubicBezTo>
                <a:cubicBezTo>
                  <a:pt x="569475" y="263857"/>
                  <a:pt x="569789" y="260564"/>
                  <a:pt x="571817" y="258536"/>
                </a:cubicBezTo>
                <a:cubicBezTo>
                  <a:pt x="576443" y="253910"/>
                  <a:pt x="588146" y="247650"/>
                  <a:pt x="588146" y="247650"/>
                </a:cubicBezTo>
                <a:cubicBezTo>
                  <a:pt x="590211" y="239389"/>
                  <a:pt x="593799" y="231636"/>
                  <a:pt x="588146" y="223157"/>
                </a:cubicBezTo>
                <a:cubicBezTo>
                  <a:pt x="586555" y="220770"/>
                  <a:pt x="582703" y="221343"/>
                  <a:pt x="579982" y="220436"/>
                </a:cubicBezTo>
                <a:cubicBezTo>
                  <a:pt x="577260" y="217715"/>
                  <a:pt x="573686" y="215636"/>
                  <a:pt x="571817" y="212272"/>
                </a:cubicBezTo>
                <a:cubicBezTo>
                  <a:pt x="566021" y="201840"/>
                  <a:pt x="567092" y="188496"/>
                  <a:pt x="558210" y="179614"/>
                </a:cubicBezTo>
                <a:cubicBezTo>
                  <a:pt x="552936" y="174340"/>
                  <a:pt x="548520" y="173663"/>
                  <a:pt x="541882" y="171450"/>
                </a:cubicBezTo>
                <a:cubicBezTo>
                  <a:pt x="540068" y="168729"/>
                  <a:pt x="536439" y="166557"/>
                  <a:pt x="536439" y="163286"/>
                </a:cubicBezTo>
                <a:cubicBezTo>
                  <a:pt x="536439" y="160015"/>
                  <a:pt x="540594" y="158128"/>
                  <a:pt x="541882" y="155122"/>
                </a:cubicBezTo>
                <a:cubicBezTo>
                  <a:pt x="543355" y="151684"/>
                  <a:pt x="543696" y="147865"/>
                  <a:pt x="544603" y="144236"/>
                </a:cubicBezTo>
                <a:cubicBezTo>
                  <a:pt x="543696" y="136979"/>
                  <a:pt x="543414" y="129615"/>
                  <a:pt x="541882" y="122464"/>
                </a:cubicBezTo>
                <a:cubicBezTo>
                  <a:pt x="540680" y="116854"/>
                  <a:pt x="538253" y="111579"/>
                  <a:pt x="536439" y="106136"/>
                </a:cubicBezTo>
                <a:lnTo>
                  <a:pt x="528274" y="81643"/>
                </a:lnTo>
                <a:cubicBezTo>
                  <a:pt x="527367" y="78922"/>
                  <a:pt x="526836" y="76045"/>
                  <a:pt x="525553" y="73479"/>
                </a:cubicBezTo>
                <a:cubicBezTo>
                  <a:pt x="523739" y="69850"/>
                  <a:pt x="521708" y="66322"/>
                  <a:pt x="520110" y="62593"/>
                </a:cubicBezTo>
                <a:cubicBezTo>
                  <a:pt x="517316" y="56074"/>
                  <a:pt x="516638" y="50440"/>
                  <a:pt x="514667" y="43543"/>
                </a:cubicBezTo>
                <a:cubicBezTo>
                  <a:pt x="513879" y="40785"/>
                  <a:pt x="512853" y="38100"/>
                  <a:pt x="511946" y="35379"/>
                </a:cubicBezTo>
                <a:cubicBezTo>
                  <a:pt x="508317" y="36286"/>
                  <a:pt x="504405" y="36427"/>
                  <a:pt x="501060" y="38100"/>
                </a:cubicBezTo>
                <a:cubicBezTo>
                  <a:pt x="495209" y="41025"/>
                  <a:pt x="484732" y="48986"/>
                  <a:pt x="484732" y="48986"/>
                </a:cubicBezTo>
                <a:cubicBezTo>
                  <a:pt x="482918" y="51707"/>
                  <a:pt x="480752" y="54225"/>
                  <a:pt x="479289" y="57150"/>
                </a:cubicBezTo>
                <a:cubicBezTo>
                  <a:pt x="474296" y="67135"/>
                  <a:pt x="480009" y="65741"/>
                  <a:pt x="468403" y="73479"/>
                </a:cubicBezTo>
                <a:cubicBezTo>
                  <a:pt x="466016" y="75070"/>
                  <a:pt x="462960" y="75293"/>
                  <a:pt x="460239" y="76200"/>
                </a:cubicBezTo>
                <a:cubicBezTo>
                  <a:pt x="449353" y="75293"/>
                  <a:pt x="438357" y="75275"/>
                  <a:pt x="427582" y="73479"/>
                </a:cubicBezTo>
                <a:cubicBezTo>
                  <a:pt x="421923" y="72536"/>
                  <a:pt x="411253" y="68036"/>
                  <a:pt x="411253" y="68036"/>
                </a:cubicBezTo>
                <a:cubicBezTo>
                  <a:pt x="406717" y="68943"/>
                  <a:pt x="401857" y="68843"/>
                  <a:pt x="397646" y="70757"/>
                </a:cubicBezTo>
                <a:cubicBezTo>
                  <a:pt x="391691" y="73464"/>
                  <a:pt x="381317" y="81643"/>
                  <a:pt x="381317" y="81643"/>
                </a:cubicBezTo>
                <a:cubicBezTo>
                  <a:pt x="378596" y="79829"/>
                  <a:pt x="375196" y="78754"/>
                  <a:pt x="373153" y="76200"/>
                </a:cubicBezTo>
                <a:cubicBezTo>
                  <a:pt x="371361" y="73960"/>
                  <a:pt x="372460" y="70064"/>
                  <a:pt x="370432" y="68036"/>
                </a:cubicBezTo>
                <a:cubicBezTo>
                  <a:pt x="368403" y="66007"/>
                  <a:pt x="364833" y="66597"/>
                  <a:pt x="362267" y="65314"/>
                </a:cubicBezTo>
                <a:cubicBezTo>
                  <a:pt x="341161" y="54762"/>
                  <a:pt x="366463" y="63993"/>
                  <a:pt x="345939" y="57150"/>
                </a:cubicBezTo>
                <a:cubicBezTo>
                  <a:pt x="343217" y="58057"/>
                  <a:pt x="340282" y="58479"/>
                  <a:pt x="337774" y="59872"/>
                </a:cubicBezTo>
                <a:cubicBezTo>
                  <a:pt x="309699" y="75469"/>
                  <a:pt x="331756" y="67319"/>
                  <a:pt x="313282" y="73479"/>
                </a:cubicBezTo>
                <a:cubicBezTo>
                  <a:pt x="306767" y="63706"/>
                  <a:pt x="305172" y="62865"/>
                  <a:pt x="302396" y="48986"/>
                </a:cubicBezTo>
                <a:cubicBezTo>
                  <a:pt x="301489" y="44450"/>
                  <a:pt x="301969" y="39395"/>
                  <a:pt x="299674" y="35379"/>
                </a:cubicBezTo>
                <a:cubicBezTo>
                  <a:pt x="298051" y="32539"/>
                  <a:pt x="294231" y="31750"/>
                  <a:pt x="291510" y="29936"/>
                </a:cubicBezTo>
                <a:cubicBezTo>
                  <a:pt x="272580" y="37508"/>
                  <a:pt x="282533" y="33836"/>
                  <a:pt x="261574" y="40822"/>
                </a:cubicBezTo>
                <a:lnTo>
                  <a:pt x="253410" y="43543"/>
                </a:lnTo>
                <a:lnTo>
                  <a:pt x="245246" y="46264"/>
                </a:lnTo>
                <a:cubicBezTo>
                  <a:pt x="220514" y="42731"/>
                  <a:pt x="232283" y="45572"/>
                  <a:pt x="209867" y="38100"/>
                </a:cubicBezTo>
                <a:lnTo>
                  <a:pt x="201703" y="35379"/>
                </a:lnTo>
                <a:cubicBezTo>
                  <a:pt x="196572" y="30248"/>
                  <a:pt x="192199" y="24805"/>
                  <a:pt x="185374" y="21772"/>
                </a:cubicBezTo>
                <a:cubicBezTo>
                  <a:pt x="174073" y="16750"/>
                  <a:pt x="167081" y="15936"/>
                  <a:pt x="155439" y="13607"/>
                </a:cubicBezTo>
                <a:cubicBezTo>
                  <a:pt x="147238" y="8140"/>
                  <a:pt x="146058" y="6866"/>
                  <a:pt x="136389" y="2722"/>
                </a:cubicBezTo>
                <a:cubicBezTo>
                  <a:pt x="133752" y="1592"/>
                  <a:pt x="130946" y="907"/>
                  <a:pt x="128224" y="0"/>
                </a:cubicBezTo>
                <a:cubicBezTo>
                  <a:pt x="126410" y="5443"/>
                  <a:pt x="124174" y="10763"/>
                  <a:pt x="122782" y="16329"/>
                </a:cubicBezTo>
                <a:cubicBezTo>
                  <a:pt x="121875" y="19957"/>
                  <a:pt x="122396" y="24294"/>
                  <a:pt x="120060" y="27214"/>
                </a:cubicBezTo>
                <a:cubicBezTo>
                  <a:pt x="118268" y="29454"/>
                  <a:pt x="114462" y="28653"/>
                  <a:pt x="111896" y="29936"/>
                </a:cubicBezTo>
                <a:cubicBezTo>
                  <a:pt x="108971" y="31399"/>
                  <a:pt x="106453" y="33565"/>
                  <a:pt x="103732" y="35379"/>
                </a:cubicBezTo>
                <a:cubicBezTo>
                  <a:pt x="101918" y="38100"/>
                  <a:pt x="98752" y="40305"/>
                  <a:pt x="98289" y="43543"/>
                </a:cubicBezTo>
                <a:cubicBezTo>
                  <a:pt x="96761" y="54240"/>
                  <a:pt x="102307" y="55294"/>
                  <a:pt x="109174" y="59872"/>
                </a:cubicBezTo>
                <a:cubicBezTo>
                  <a:pt x="110081" y="62593"/>
                  <a:pt x="111896" y="65167"/>
                  <a:pt x="111896" y="68036"/>
                </a:cubicBezTo>
                <a:cubicBezTo>
                  <a:pt x="111896" y="73554"/>
                  <a:pt x="111912" y="79573"/>
                  <a:pt x="109174" y="84364"/>
                </a:cubicBezTo>
                <a:cubicBezTo>
                  <a:pt x="107751" y="86855"/>
                  <a:pt x="103840" y="86614"/>
                  <a:pt x="101010" y="87086"/>
                </a:cubicBezTo>
                <a:cubicBezTo>
                  <a:pt x="92907" y="88437"/>
                  <a:pt x="84681" y="88900"/>
                  <a:pt x="76517" y="89807"/>
                </a:cubicBezTo>
                <a:lnTo>
                  <a:pt x="52024" y="97972"/>
                </a:lnTo>
                <a:lnTo>
                  <a:pt x="43860" y="100693"/>
                </a:lnTo>
                <a:lnTo>
                  <a:pt x="35696" y="103414"/>
                </a:lnTo>
                <a:lnTo>
                  <a:pt x="19367" y="114300"/>
                </a:lnTo>
                <a:cubicBezTo>
                  <a:pt x="16646" y="116114"/>
                  <a:pt x="14306" y="118709"/>
                  <a:pt x="11203" y="119743"/>
                </a:cubicBezTo>
                <a:lnTo>
                  <a:pt x="3039" y="122464"/>
                </a:lnTo>
                <a:cubicBezTo>
                  <a:pt x="2132" y="125186"/>
                  <a:pt x="0" y="127778"/>
                  <a:pt x="317" y="130629"/>
                </a:cubicBezTo>
                <a:cubicBezTo>
                  <a:pt x="317" y="130632"/>
                  <a:pt x="7121" y="151039"/>
                  <a:pt x="8482" y="155122"/>
                </a:cubicBezTo>
                <a:cubicBezTo>
                  <a:pt x="9389" y="157843"/>
                  <a:pt x="10507" y="160503"/>
                  <a:pt x="11203" y="163286"/>
                </a:cubicBezTo>
                <a:cubicBezTo>
                  <a:pt x="12586" y="168818"/>
                  <a:pt x="14301" y="176864"/>
                  <a:pt x="16646" y="182336"/>
                </a:cubicBezTo>
                <a:cubicBezTo>
                  <a:pt x="18244" y="186065"/>
                  <a:pt x="20076" y="189700"/>
                  <a:pt x="22089" y="193222"/>
                </a:cubicBezTo>
                <a:cubicBezTo>
                  <a:pt x="23712" y="196062"/>
                  <a:pt x="25359" y="198941"/>
                  <a:pt x="27532" y="201386"/>
                </a:cubicBezTo>
                <a:cubicBezTo>
                  <a:pt x="32646" y="207139"/>
                  <a:pt x="39591" y="211310"/>
                  <a:pt x="43860" y="217714"/>
                </a:cubicBezTo>
                <a:cubicBezTo>
                  <a:pt x="50894" y="228266"/>
                  <a:pt x="46200" y="224845"/>
                  <a:pt x="57467" y="228600"/>
                </a:cubicBezTo>
                <a:cubicBezTo>
                  <a:pt x="60189" y="230414"/>
                  <a:pt x="62706" y="232580"/>
                  <a:pt x="65632" y="234043"/>
                </a:cubicBezTo>
                <a:cubicBezTo>
                  <a:pt x="68198" y="235326"/>
                  <a:pt x="71288" y="235371"/>
                  <a:pt x="73796" y="236764"/>
                </a:cubicBezTo>
                <a:cubicBezTo>
                  <a:pt x="79514" y="239941"/>
                  <a:pt x="90124" y="247650"/>
                  <a:pt x="90124" y="247650"/>
                </a:cubicBezTo>
                <a:lnTo>
                  <a:pt x="106453" y="272143"/>
                </a:lnTo>
                <a:cubicBezTo>
                  <a:pt x="108267" y="274864"/>
                  <a:pt x="108793" y="279272"/>
                  <a:pt x="111896" y="280307"/>
                </a:cubicBezTo>
                <a:cubicBezTo>
                  <a:pt x="114617" y="281214"/>
                  <a:pt x="117552" y="281636"/>
                  <a:pt x="120060" y="283029"/>
                </a:cubicBezTo>
                <a:cubicBezTo>
                  <a:pt x="133910" y="290723"/>
                  <a:pt x="127770" y="305707"/>
                  <a:pt x="133667" y="304800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99" name="Freeform 98"/>
          <p:cNvSpPr/>
          <p:nvPr/>
        </p:nvSpPr>
        <p:spPr>
          <a:xfrm>
            <a:off x="1530350" y="2512488"/>
            <a:ext cx="255588" cy="135467"/>
          </a:xfrm>
          <a:custGeom>
            <a:avLst/>
            <a:gdLst>
              <a:gd name="connsiteX0" fmla="*/ 254222 w 254676"/>
              <a:gd name="connsiteY0" fmla="*/ 1814 h 135164"/>
              <a:gd name="connsiteX1" fmla="*/ 240615 w 254676"/>
              <a:gd name="connsiteY1" fmla="*/ 4535 h 135164"/>
              <a:gd name="connsiteX2" fmla="*/ 232451 w 254676"/>
              <a:gd name="connsiteY2" fmla="*/ 7257 h 135164"/>
              <a:gd name="connsiteX3" fmla="*/ 126315 w 254676"/>
              <a:gd name="connsiteY3" fmla="*/ 4535 h 135164"/>
              <a:gd name="connsiteX4" fmla="*/ 41951 w 254676"/>
              <a:gd name="connsiteY4" fmla="*/ 7257 h 135164"/>
              <a:gd name="connsiteX5" fmla="*/ 33786 w 254676"/>
              <a:gd name="connsiteY5" fmla="*/ 9978 h 135164"/>
              <a:gd name="connsiteX6" fmla="*/ 22901 w 254676"/>
              <a:gd name="connsiteY6" fmla="*/ 12700 h 135164"/>
              <a:gd name="connsiteX7" fmla="*/ 6572 w 254676"/>
              <a:gd name="connsiteY7" fmla="*/ 18143 h 135164"/>
              <a:gd name="connsiteX8" fmla="*/ 20179 w 254676"/>
              <a:gd name="connsiteY8" fmla="*/ 31750 h 135164"/>
              <a:gd name="connsiteX9" fmla="*/ 25622 w 254676"/>
              <a:gd name="connsiteY9" fmla="*/ 48078 h 135164"/>
              <a:gd name="connsiteX10" fmla="*/ 28344 w 254676"/>
              <a:gd name="connsiteY10" fmla="*/ 67128 h 135164"/>
              <a:gd name="connsiteX11" fmla="*/ 36508 w 254676"/>
              <a:gd name="connsiteY11" fmla="*/ 69850 h 135164"/>
              <a:gd name="connsiteX12" fmla="*/ 71886 w 254676"/>
              <a:gd name="connsiteY12" fmla="*/ 72571 h 135164"/>
              <a:gd name="connsiteX13" fmla="*/ 74608 w 254676"/>
              <a:gd name="connsiteY13" fmla="*/ 80735 h 135164"/>
              <a:gd name="connsiteX14" fmla="*/ 80051 w 254676"/>
              <a:gd name="connsiteY14" fmla="*/ 102507 h 135164"/>
              <a:gd name="connsiteX15" fmla="*/ 90936 w 254676"/>
              <a:gd name="connsiteY15" fmla="*/ 118835 h 135164"/>
              <a:gd name="connsiteX16" fmla="*/ 96379 w 254676"/>
              <a:gd name="connsiteY16" fmla="*/ 135164 h 135164"/>
              <a:gd name="connsiteX17" fmla="*/ 126315 w 254676"/>
              <a:gd name="connsiteY17" fmla="*/ 132443 h 135164"/>
              <a:gd name="connsiteX18" fmla="*/ 142644 w 254676"/>
              <a:gd name="connsiteY18" fmla="*/ 124278 h 135164"/>
              <a:gd name="connsiteX19" fmla="*/ 150808 w 254676"/>
              <a:gd name="connsiteY19" fmla="*/ 121557 h 135164"/>
              <a:gd name="connsiteX20" fmla="*/ 156251 w 254676"/>
              <a:gd name="connsiteY20" fmla="*/ 113393 h 135164"/>
              <a:gd name="connsiteX21" fmla="*/ 202515 w 254676"/>
              <a:gd name="connsiteY21" fmla="*/ 105228 h 135164"/>
              <a:gd name="connsiteX22" fmla="*/ 221565 w 254676"/>
              <a:gd name="connsiteY22" fmla="*/ 99785 h 135164"/>
              <a:gd name="connsiteX23" fmla="*/ 227008 w 254676"/>
              <a:gd name="connsiteY23" fmla="*/ 91621 h 135164"/>
              <a:gd name="connsiteX24" fmla="*/ 224286 w 254676"/>
              <a:gd name="connsiteY24" fmla="*/ 78014 h 135164"/>
              <a:gd name="connsiteX25" fmla="*/ 218844 w 254676"/>
              <a:gd name="connsiteY25" fmla="*/ 61685 h 135164"/>
              <a:gd name="connsiteX26" fmla="*/ 229729 w 254676"/>
              <a:gd name="connsiteY26" fmla="*/ 39914 h 135164"/>
              <a:gd name="connsiteX27" fmla="*/ 235172 w 254676"/>
              <a:gd name="connsiteY27" fmla="*/ 23585 h 135164"/>
              <a:gd name="connsiteX28" fmla="*/ 237894 w 254676"/>
              <a:gd name="connsiteY28" fmla="*/ 15421 h 135164"/>
              <a:gd name="connsiteX29" fmla="*/ 254222 w 254676"/>
              <a:gd name="connsiteY29" fmla="*/ 1814 h 135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54676" h="135164">
                <a:moveTo>
                  <a:pt x="254222" y="1814"/>
                </a:moveTo>
                <a:cubicBezTo>
                  <a:pt x="254676" y="0"/>
                  <a:pt x="245102" y="3413"/>
                  <a:pt x="240615" y="4535"/>
                </a:cubicBezTo>
                <a:cubicBezTo>
                  <a:pt x="237832" y="5231"/>
                  <a:pt x="235320" y="7257"/>
                  <a:pt x="232451" y="7257"/>
                </a:cubicBezTo>
                <a:cubicBezTo>
                  <a:pt x="197061" y="7257"/>
                  <a:pt x="161694" y="5442"/>
                  <a:pt x="126315" y="4535"/>
                </a:cubicBezTo>
                <a:cubicBezTo>
                  <a:pt x="98194" y="5442"/>
                  <a:pt x="70038" y="5605"/>
                  <a:pt x="41951" y="7257"/>
                </a:cubicBezTo>
                <a:cubicBezTo>
                  <a:pt x="39087" y="7425"/>
                  <a:pt x="36544" y="9190"/>
                  <a:pt x="33786" y="9978"/>
                </a:cubicBezTo>
                <a:cubicBezTo>
                  <a:pt x="30190" y="11005"/>
                  <a:pt x="26483" y="11625"/>
                  <a:pt x="22901" y="12700"/>
                </a:cubicBezTo>
                <a:cubicBezTo>
                  <a:pt x="17406" y="14349"/>
                  <a:pt x="6572" y="18143"/>
                  <a:pt x="6572" y="18143"/>
                </a:cubicBezTo>
                <a:cubicBezTo>
                  <a:pt x="15335" y="44425"/>
                  <a:pt x="0" y="4844"/>
                  <a:pt x="20179" y="31750"/>
                </a:cubicBezTo>
                <a:cubicBezTo>
                  <a:pt x="23621" y="36340"/>
                  <a:pt x="25622" y="48078"/>
                  <a:pt x="25622" y="48078"/>
                </a:cubicBezTo>
                <a:cubicBezTo>
                  <a:pt x="26529" y="54428"/>
                  <a:pt x="25475" y="61391"/>
                  <a:pt x="28344" y="67128"/>
                </a:cubicBezTo>
                <a:cubicBezTo>
                  <a:pt x="29627" y="69694"/>
                  <a:pt x="33662" y="69494"/>
                  <a:pt x="36508" y="69850"/>
                </a:cubicBezTo>
                <a:cubicBezTo>
                  <a:pt x="48244" y="71317"/>
                  <a:pt x="60093" y="71664"/>
                  <a:pt x="71886" y="72571"/>
                </a:cubicBezTo>
                <a:cubicBezTo>
                  <a:pt x="72793" y="75292"/>
                  <a:pt x="73912" y="77952"/>
                  <a:pt x="74608" y="80735"/>
                </a:cubicBezTo>
                <a:cubicBezTo>
                  <a:pt x="75707" y="85129"/>
                  <a:pt x="77221" y="97413"/>
                  <a:pt x="80051" y="102507"/>
                </a:cubicBezTo>
                <a:cubicBezTo>
                  <a:pt x="83228" y="108225"/>
                  <a:pt x="88867" y="112629"/>
                  <a:pt x="90936" y="118835"/>
                </a:cubicBezTo>
                <a:lnTo>
                  <a:pt x="96379" y="135164"/>
                </a:lnTo>
                <a:cubicBezTo>
                  <a:pt x="106358" y="134257"/>
                  <a:pt x="116396" y="133860"/>
                  <a:pt x="126315" y="132443"/>
                </a:cubicBezTo>
                <a:cubicBezTo>
                  <a:pt x="135889" y="131075"/>
                  <a:pt x="134023" y="128588"/>
                  <a:pt x="142644" y="124278"/>
                </a:cubicBezTo>
                <a:cubicBezTo>
                  <a:pt x="145210" y="122995"/>
                  <a:pt x="148087" y="122464"/>
                  <a:pt x="150808" y="121557"/>
                </a:cubicBezTo>
                <a:cubicBezTo>
                  <a:pt x="152622" y="118836"/>
                  <a:pt x="153477" y="115126"/>
                  <a:pt x="156251" y="113393"/>
                </a:cubicBezTo>
                <a:cubicBezTo>
                  <a:pt x="167977" y="106064"/>
                  <a:pt x="191504" y="106229"/>
                  <a:pt x="202515" y="105228"/>
                </a:cubicBezTo>
                <a:cubicBezTo>
                  <a:pt x="203230" y="105049"/>
                  <a:pt x="219788" y="101207"/>
                  <a:pt x="221565" y="99785"/>
                </a:cubicBezTo>
                <a:cubicBezTo>
                  <a:pt x="224119" y="97742"/>
                  <a:pt x="225194" y="94342"/>
                  <a:pt x="227008" y="91621"/>
                </a:cubicBezTo>
                <a:cubicBezTo>
                  <a:pt x="226101" y="87085"/>
                  <a:pt x="225503" y="82477"/>
                  <a:pt x="224286" y="78014"/>
                </a:cubicBezTo>
                <a:cubicBezTo>
                  <a:pt x="222776" y="72479"/>
                  <a:pt x="218844" y="61685"/>
                  <a:pt x="218844" y="61685"/>
                </a:cubicBezTo>
                <a:cubicBezTo>
                  <a:pt x="225755" y="27126"/>
                  <a:pt x="215436" y="65642"/>
                  <a:pt x="229729" y="39914"/>
                </a:cubicBezTo>
                <a:cubicBezTo>
                  <a:pt x="232515" y="34899"/>
                  <a:pt x="233358" y="29028"/>
                  <a:pt x="235172" y="23585"/>
                </a:cubicBezTo>
                <a:cubicBezTo>
                  <a:pt x="236079" y="20864"/>
                  <a:pt x="235173" y="16328"/>
                  <a:pt x="237894" y="15421"/>
                </a:cubicBezTo>
                <a:cubicBezTo>
                  <a:pt x="247275" y="12294"/>
                  <a:pt x="253768" y="3628"/>
                  <a:pt x="254222" y="1814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00" name="Freeform 99"/>
          <p:cNvSpPr/>
          <p:nvPr/>
        </p:nvSpPr>
        <p:spPr>
          <a:xfrm>
            <a:off x="1492250" y="2152651"/>
            <a:ext cx="465138" cy="408516"/>
          </a:xfrm>
          <a:custGeom>
            <a:avLst/>
            <a:gdLst>
              <a:gd name="connsiteX0" fmla="*/ 50653 w 465274"/>
              <a:gd name="connsiteY0" fmla="*/ 378279 h 408214"/>
              <a:gd name="connsiteX1" fmla="*/ 39767 w 465274"/>
              <a:gd name="connsiteY1" fmla="*/ 364671 h 408214"/>
              <a:gd name="connsiteX2" fmla="*/ 31603 w 465274"/>
              <a:gd name="connsiteY2" fmla="*/ 337457 h 408214"/>
              <a:gd name="connsiteX3" fmla="*/ 39767 w 465274"/>
              <a:gd name="connsiteY3" fmla="*/ 291193 h 408214"/>
              <a:gd name="connsiteX4" fmla="*/ 45210 w 465274"/>
              <a:gd name="connsiteY4" fmla="*/ 274864 h 408214"/>
              <a:gd name="connsiteX5" fmla="*/ 47932 w 465274"/>
              <a:gd name="connsiteY5" fmla="*/ 266700 h 408214"/>
              <a:gd name="connsiteX6" fmla="*/ 45210 w 465274"/>
              <a:gd name="connsiteY6" fmla="*/ 228600 h 408214"/>
              <a:gd name="connsiteX7" fmla="*/ 42489 w 465274"/>
              <a:gd name="connsiteY7" fmla="*/ 220436 h 408214"/>
              <a:gd name="connsiteX8" fmla="*/ 31603 w 465274"/>
              <a:gd name="connsiteY8" fmla="*/ 204107 h 408214"/>
              <a:gd name="connsiteX9" fmla="*/ 28882 w 465274"/>
              <a:gd name="connsiteY9" fmla="*/ 195943 h 408214"/>
              <a:gd name="connsiteX10" fmla="*/ 17996 w 465274"/>
              <a:gd name="connsiteY10" fmla="*/ 179614 h 408214"/>
              <a:gd name="connsiteX11" fmla="*/ 4389 w 465274"/>
              <a:gd name="connsiteY11" fmla="*/ 160564 h 408214"/>
              <a:gd name="connsiteX12" fmla="*/ 1667 w 465274"/>
              <a:gd name="connsiteY12" fmla="*/ 152400 h 408214"/>
              <a:gd name="connsiteX13" fmla="*/ 26160 w 465274"/>
              <a:gd name="connsiteY13" fmla="*/ 138793 h 408214"/>
              <a:gd name="connsiteX14" fmla="*/ 34324 w 465274"/>
              <a:gd name="connsiteY14" fmla="*/ 133350 h 408214"/>
              <a:gd name="connsiteX15" fmla="*/ 45210 w 465274"/>
              <a:gd name="connsiteY15" fmla="*/ 108857 h 408214"/>
              <a:gd name="connsiteX16" fmla="*/ 47932 w 465274"/>
              <a:gd name="connsiteY16" fmla="*/ 100693 h 408214"/>
              <a:gd name="connsiteX17" fmla="*/ 56096 w 465274"/>
              <a:gd name="connsiteY17" fmla="*/ 81643 h 408214"/>
              <a:gd name="connsiteX18" fmla="*/ 72424 w 465274"/>
              <a:gd name="connsiteY18" fmla="*/ 68036 h 408214"/>
              <a:gd name="connsiteX19" fmla="*/ 83310 w 465274"/>
              <a:gd name="connsiteY19" fmla="*/ 51707 h 408214"/>
              <a:gd name="connsiteX20" fmla="*/ 88753 w 465274"/>
              <a:gd name="connsiteY20" fmla="*/ 35379 h 408214"/>
              <a:gd name="connsiteX21" fmla="*/ 91474 w 465274"/>
              <a:gd name="connsiteY21" fmla="*/ 21771 h 408214"/>
              <a:gd name="connsiteX22" fmla="*/ 96917 w 465274"/>
              <a:gd name="connsiteY22" fmla="*/ 13607 h 408214"/>
              <a:gd name="connsiteX23" fmla="*/ 113246 w 465274"/>
              <a:gd name="connsiteY23" fmla="*/ 8164 h 408214"/>
              <a:gd name="connsiteX24" fmla="*/ 178560 w 465274"/>
              <a:gd name="connsiteY24" fmla="*/ 8164 h 408214"/>
              <a:gd name="connsiteX25" fmla="*/ 189446 w 465274"/>
              <a:gd name="connsiteY25" fmla="*/ 5443 h 408214"/>
              <a:gd name="connsiteX26" fmla="*/ 205774 w 465274"/>
              <a:gd name="connsiteY26" fmla="*/ 0 h 408214"/>
              <a:gd name="connsiteX27" fmla="*/ 224824 w 465274"/>
              <a:gd name="connsiteY27" fmla="*/ 2721 h 408214"/>
              <a:gd name="connsiteX28" fmla="*/ 241153 w 465274"/>
              <a:gd name="connsiteY28" fmla="*/ 13607 h 408214"/>
              <a:gd name="connsiteX29" fmla="*/ 249317 w 465274"/>
              <a:gd name="connsiteY29" fmla="*/ 16329 h 408214"/>
              <a:gd name="connsiteX30" fmla="*/ 257482 w 465274"/>
              <a:gd name="connsiteY30" fmla="*/ 21771 h 408214"/>
              <a:gd name="connsiteX31" fmla="*/ 273810 w 465274"/>
              <a:gd name="connsiteY31" fmla="*/ 27214 h 408214"/>
              <a:gd name="connsiteX32" fmla="*/ 290139 w 465274"/>
              <a:gd name="connsiteY32" fmla="*/ 35379 h 408214"/>
              <a:gd name="connsiteX33" fmla="*/ 298303 w 465274"/>
              <a:gd name="connsiteY33" fmla="*/ 40821 h 408214"/>
              <a:gd name="connsiteX34" fmla="*/ 317353 w 465274"/>
              <a:gd name="connsiteY34" fmla="*/ 46264 h 408214"/>
              <a:gd name="connsiteX35" fmla="*/ 325517 w 465274"/>
              <a:gd name="connsiteY35" fmla="*/ 48986 h 408214"/>
              <a:gd name="connsiteX36" fmla="*/ 333682 w 465274"/>
              <a:gd name="connsiteY36" fmla="*/ 54429 h 408214"/>
              <a:gd name="connsiteX37" fmla="*/ 341846 w 465274"/>
              <a:gd name="connsiteY37" fmla="*/ 106136 h 408214"/>
              <a:gd name="connsiteX38" fmla="*/ 344567 w 465274"/>
              <a:gd name="connsiteY38" fmla="*/ 114300 h 408214"/>
              <a:gd name="connsiteX39" fmla="*/ 355453 w 465274"/>
              <a:gd name="connsiteY39" fmla="*/ 130629 h 408214"/>
              <a:gd name="connsiteX40" fmla="*/ 369060 w 465274"/>
              <a:gd name="connsiteY40" fmla="*/ 155121 h 408214"/>
              <a:gd name="connsiteX41" fmla="*/ 374503 w 465274"/>
              <a:gd name="connsiteY41" fmla="*/ 163286 h 408214"/>
              <a:gd name="connsiteX42" fmla="*/ 385389 w 465274"/>
              <a:gd name="connsiteY42" fmla="*/ 171450 h 408214"/>
              <a:gd name="connsiteX43" fmla="*/ 404439 w 465274"/>
              <a:gd name="connsiteY43" fmla="*/ 193221 h 408214"/>
              <a:gd name="connsiteX44" fmla="*/ 418046 w 465274"/>
              <a:gd name="connsiteY44" fmla="*/ 217714 h 408214"/>
              <a:gd name="connsiteX45" fmla="*/ 420767 w 465274"/>
              <a:gd name="connsiteY45" fmla="*/ 231321 h 408214"/>
              <a:gd name="connsiteX46" fmla="*/ 426210 w 465274"/>
              <a:gd name="connsiteY46" fmla="*/ 247650 h 408214"/>
              <a:gd name="connsiteX47" fmla="*/ 423489 w 465274"/>
              <a:gd name="connsiteY47" fmla="*/ 269421 h 408214"/>
              <a:gd name="connsiteX48" fmla="*/ 423489 w 465274"/>
              <a:gd name="connsiteY48" fmla="*/ 299357 h 408214"/>
              <a:gd name="connsiteX49" fmla="*/ 439817 w 465274"/>
              <a:gd name="connsiteY49" fmla="*/ 315686 h 408214"/>
              <a:gd name="connsiteX50" fmla="*/ 442539 w 465274"/>
              <a:gd name="connsiteY50" fmla="*/ 323850 h 408214"/>
              <a:gd name="connsiteX51" fmla="*/ 456146 w 465274"/>
              <a:gd name="connsiteY51" fmla="*/ 340179 h 408214"/>
              <a:gd name="connsiteX52" fmla="*/ 461589 w 465274"/>
              <a:gd name="connsiteY52" fmla="*/ 359229 h 408214"/>
              <a:gd name="connsiteX53" fmla="*/ 464310 w 465274"/>
              <a:gd name="connsiteY53" fmla="*/ 370114 h 408214"/>
              <a:gd name="connsiteX54" fmla="*/ 461589 w 465274"/>
              <a:gd name="connsiteY54" fmla="*/ 391886 h 408214"/>
              <a:gd name="connsiteX55" fmla="*/ 445260 w 465274"/>
              <a:gd name="connsiteY55" fmla="*/ 402771 h 408214"/>
              <a:gd name="connsiteX56" fmla="*/ 428932 w 465274"/>
              <a:gd name="connsiteY56" fmla="*/ 408214 h 408214"/>
              <a:gd name="connsiteX57" fmla="*/ 355453 w 465274"/>
              <a:gd name="connsiteY57" fmla="*/ 405493 h 408214"/>
              <a:gd name="connsiteX58" fmla="*/ 339124 w 465274"/>
              <a:gd name="connsiteY58" fmla="*/ 400050 h 408214"/>
              <a:gd name="connsiteX59" fmla="*/ 325517 w 465274"/>
              <a:gd name="connsiteY59" fmla="*/ 386443 h 408214"/>
              <a:gd name="connsiteX60" fmla="*/ 320074 w 465274"/>
              <a:gd name="connsiteY60" fmla="*/ 378279 h 408214"/>
              <a:gd name="connsiteX61" fmla="*/ 246596 w 465274"/>
              <a:gd name="connsiteY61" fmla="*/ 364671 h 408214"/>
              <a:gd name="connsiteX62" fmla="*/ 164953 w 465274"/>
              <a:gd name="connsiteY62" fmla="*/ 361950 h 408214"/>
              <a:gd name="connsiteX63" fmla="*/ 135017 w 465274"/>
              <a:gd name="connsiteY63" fmla="*/ 359229 h 408214"/>
              <a:gd name="connsiteX64" fmla="*/ 126853 w 465274"/>
              <a:gd name="connsiteY64" fmla="*/ 356507 h 408214"/>
              <a:gd name="connsiteX65" fmla="*/ 86032 w 465274"/>
              <a:gd name="connsiteY65" fmla="*/ 359229 h 408214"/>
              <a:gd name="connsiteX66" fmla="*/ 61539 w 465274"/>
              <a:gd name="connsiteY66" fmla="*/ 367393 h 408214"/>
              <a:gd name="connsiteX67" fmla="*/ 53374 w 465274"/>
              <a:gd name="connsiteY67" fmla="*/ 370114 h 408214"/>
              <a:gd name="connsiteX68" fmla="*/ 45210 w 465274"/>
              <a:gd name="connsiteY68" fmla="*/ 372836 h 408214"/>
              <a:gd name="connsiteX69" fmla="*/ 50653 w 465274"/>
              <a:gd name="connsiteY69" fmla="*/ 378279 h 408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465274" h="408214">
                <a:moveTo>
                  <a:pt x="50653" y="378279"/>
                </a:moveTo>
                <a:cubicBezTo>
                  <a:pt x="47024" y="373743"/>
                  <a:pt x="42549" y="369771"/>
                  <a:pt x="39767" y="364671"/>
                </a:cubicBezTo>
                <a:cubicBezTo>
                  <a:pt x="36707" y="359061"/>
                  <a:pt x="33390" y="344608"/>
                  <a:pt x="31603" y="337457"/>
                </a:cubicBezTo>
                <a:cubicBezTo>
                  <a:pt x="34843" y="301811"/>
                  <a:pt x="31155" y="317024"/>
                  <a:pt x="39767" y="291193"/>
                </a:cubicBezTo>
                <a:lnTo>
                  <a:pt x="45210" y="274864"/>
                </a:lnTo>
                <a:lnTo>
                  <a:pt x="47932" y="266700"/>
                </a:lnTo>
                <a:cubicBezTo>
                  <a:pt x="47025" y="254000"/>
                  <a:pt x="46698" y="241245"/>
                  <a:pt x="45210" y="228600"/>
                </a:cubicBezTo>
                <a:cubicBezTo>
                  <a:pt x="44875" y="225751"/>
                  <a:pt x="43882" y="222944"/>
                  <a:pt x="42489" y="220436"/>
                </a:cubicBezTo>
                <a:cubicBezTo>
                  <a:pt x="39312" y="214718"/>
                  <a:pt x="31603" y="204107"/>
                  <a:pt x="31603" y="204107"/>
                </a:cubicBezTo>
                <a:cubicBezTo>
                  <a:pt x="30696" y="201386"/>
                  <a:pt x="30275" y="198451"/>
                  <a:pt x="28882" y="195943"/>
                </a:cubicBezTo>
                <a:cubicBezTo>
                  <a:pt x="25705" y="190225"/>
                  <a:pt x="21625" y="185057"/>
                  <a:pt x="17996" y="179614"/>
                </a:cubicBezTo>
                <a:cubicBezTo>
                  <a:pt x="10040" y="167680"/>
                  <a:pt x="14511" y="174061"/>
                  <a:pt x="4389" y="160564"/>
                </a:cubicBezTo>
                <a:cubicBezTo>
                  <a:pt x="3482" y="157843"/>
                  <a:pt x="0" y="154734"/>
                  <a:pt x="1667" y="152400"/>
                </a:cubicBezTo>
                <a:cubicBezTo>
                  <a:pt x="7516" y="144211"/>
                  <a:pt x="17432" y="141702"/>
                  <a:pt x="26160" y="138793"/>
                </a:cubicBezTo>
                <a:cubicBezTo>
                  <a:pt x="28881" y="136979"/>
                  <a:pt x="32011" y="135663"/>
                  <a:pt x="34324" y="133350"/>
                </a:cubicBezTo>
                <a:cubicBezTo>
                  <a:pt x="40794" y="126880"/>
                  <a:pt x="42514" y="116943"/>
                  <a:pt x="45210" y="108857"/>
                </a:cubicBezTo>
                <a:lnTo>
                  <a:pt x="47932" y="100693"/>
                </a:lnTo>
                <a:cubicBezTo>
                  <a:pt x="50154" y="94028"/>
                  <a:pt x="51891" y="87531"/>
                  <a:pt x="56096" y="81643"/>
                </a:cubicBezTo>
                <a:cubicBezTo>
                  <a:pt x="60858" y="74976"/>
                  <a:pt x="65915" y="72376"/>
                  <a:pt x="72424" y="68036"/>
                </a:cubicBezTo>
                <a:cubicBezTo>
                  <a:pt x="76053" y="62593"/>
                  <a:pt x="81241" y="57913"/>
                  <a:pt x="83310" y="51707"/>
                </a:cubicBezTo>
                <a:cubicBezTo>
                  <a:pt x="85124" y="46264"/>
                  <a:pt x="87628" y="41005"/>
                  <a:pt x="88753" y="35379"/>
                </a:cubicBezTo>
                <a:cubicBezTo>
                  <a:pt x="89660" y="30843"/>
                  <a:pt x="89850" y="26102"/>
                  <a:pt x="91474" y="21771"/>
                </a:cubicBezTo>
                <a:cubicBezTo>
                  <a:pt x="92622" y="18709"/>
                  <a:pt x="94143" y="15340"/>
                  <a:pt x="96917" y="13607"/>
                </a:cubicBezTo>
                <a:cubicBezTo>
                  <a:pt x="101782" y="10566"/>
                  <a:pt x="113246" y="8164"/>
                  <a:pt x="113246" y="8164"/>
                </a:cubicBezTo>
                <a:cubicBezTo>
                  <a:pt x="147459" y="11275"/>
                  <a:pt x="142047" y="12460"/>
                  <a:pt x="178560" y="8164"/>
                </a:cubicBezTo>
                <a:cubicBezTo>
                  <a:pt x="182275" y="7727"/>
                  <a:pt x="185863" y="6518"/>
                  <a:pt x="189446" y="5443"/>
                </a:cubicBezTo>
                <a:cubicBezTo>
                  <a:pt x="194941" y="3794"/>
                  <a:pt x="205774" y="0"/>
                  <a:pt x="205774" y="0"/>
                </a:cubicBezTo>
                <a:cubicBezTo>
                  <a:pt x="212124" y="907"/>
                  <a:pt x="218837" y="418"/>
                  <a:pt x="224824" y="2721"/>
                </a:cubicBezTo>
                <a:cubicBezTo>
                  <a:pt x="230930" y="5069"/>
                  <a:pt x="234947" y="11538"/>
                  <a:pt x="241153" y="13607"/>
                </a:cubicBezTo>
                <a:cubicBezTo>
                  <a:pt x="243874" y="14514"/>
                  <a:pt x="246751" y="15046"/>
                  <a:pt x="249317" y="16329"/>
                </a:cubicBezTo>
                <a:cubicBezTo>
                  <a:pt x="252243" y="17792"/>
                  <a:pt x="254493" y="20443"/>
                  <a:pt x="257482" y="21771"/>
                </a:cubicBezTo>
                <a:cubicBezTo>
                  <a:pt x="262725" y="24101"/>
                  <a:pt x="273810" y="27214"/>
                  <a:pt x="273810" y="27214"/>
                </a:cubicBezTo>
                <a:cubicBezTo>
                  <a:pt x="297196" y="42806"/>
                  <a:pt x="267613" y="24117"/>
                  <a:pt x="290139" y="35379"/>
                </a:cubicBezTo>
                <a:cubicBezTo>
                  <a:pt x="293064" y="36842"/>
                  <a:pt x="295378" y="39358"/>
                  <a:pt x="298303" y="40821"/>
                </a:cubicBezTo>
                <a:cubicBezTo>
                  <a:pt x="302660" y="42999"/>
                  <a:pt x="313275" y="45099"/>
                  <a:pt x="317353" y="46264"/>
                </a:cubicBezTo>
                <a:cubicBezTo>
                  <a:pt x="320111" y="47052"/>
                  <a:pt x="322951" y="47703"/>
                  <a:pt x="325517" y="48986"/>
                </a:cubicBezTo>
                <a:cubicBezTo>
                  <a:pt x="328443" y="50449"/>
                  <a:pt x="330960" y="52615"/>
                  <a:pt x="333682" y="54429"/>
                </a:cubicBezTo>
                <a:cubicBezTo>
                  <a:pt x="347725" y="75495"/>
                  <a:pt x="336544" y="55764"/>
                  <a:pt x="341846" y="106136"/>
                </a:cubicBezTo>
                <a:cubicBezTo>
                  <a:pt x="342146" y="108989"/>
                  <a:pt x="343174" y="111792"/>
                  <a:pt x="344567" y="114300"/>
                </a:cubicBezTo>
                <a:cubicBezTo>
                  <a:pt x="347744" y="120018"/>
                  <a:pt x="355453" y="130629"/>
                  <a:pt x="355453" y="130629"/>
                </a:cubicBezTo>
                <a:cubicBezTo>
                  <a:pt x="360243" y="144999"/>
                  <a:pt x="356582" y="136405"/>
                  <a:pt x="369060" y="155121"/>
                </a:cubicBezTo>
                <a:cubicBezTo>
                  <a:pt x="370874" y="157843"/>
                  <a:pt x="371886" y="161323"/>
                  <a:pt x="374503" y="163286"/>
                </a:cubicBezTo>
                <a:cubicBezTo>
                  <a:pt x="378132" y="166007"/>
                  <a:pt x="382376" y="168060"/>
                  <a:pt x="385389" y="171450"/>
                </a:cubicBezTo>
                <a:cubicBezTo>
                  <a:pt x="408477" y="197425"/>
                  <a:pt x="385636" y="180689"/>
                  <a:pt x="404439" y="193221"/>
                </a:cubicBezTo>
                <a:cubicBezTo>
                  <a:pt x="412542" y="205377"/>
                  <a:pt x="415173" y="206221"/>
                  <a:pt x="418046" y="217714"/>
                </a:cubicBezTo>
                <a:cubicBezTo>
                  <a:pt x="419168" y="222201"/>
                  <a:pt x="419550" y="226859"/>
                  <a:pt x="420767" y="231321"/>
                </a:cubicBezTo>
                <a:cubicBezTo>
                  <a:pt x="422277" y="236856"/>
                  <a:pt x="426210" y="247650"/>
                  <a:pt x="426210" y="247650"/>
                </a:cubicBezTo>
                <a:cubicBezTo>
                  <a:pt x="425303" y="254907"/>
                  <a:pt x="424797" y="262226"/>
                  <a:pt x="423489" y="269421"/>
                </a:cubicBezTo>
                <a:cubicBezTo>
                  <a:pt x="421098" y="282570"/>
                  <a:pt x="413671" y="279720"/>
                  <a:pt x="423489" y="299357"/>
                </a:cubicBezTo>
                <a:cubicBezTo>
                  <a:pt x="426931" y="306242"/>
                  <a:pt x="439817" y="315686"/>
                  <a:pt x="439817" y="315686"/>
                </a:cubicBezTo>
                <a:cubicBezTo>
                  <a:pt x="440724" y="318407"/>
                  <a:pt x="441256" y="321284"/>
                  <a:pt x="442539" y="323850"/>
                </a:cubicBezTo>
                <a:cubicBezTo>
                  <a:pt x="446328" y="331427"/>
                  <a:pt x="450128" y="334161"/>
                  <a:pt x="456146" y="340179"/>
                </a:cubicBezTo>
                <a:cubicBezTo>
                  <a:pt x="464651" y="374203"/>
                  <a:pt x="453781" y="331901"/>
                  <a:pt x="461589" y="359229"/>
                </a:cubicBezTo>
                <a:cubicBezTo>
                  <a:pt x="462616" y="362825"/>
                  <a:pt x="463403" y="366486"/>
                  <a:pt x="464310" y="370114"/>
                </a:cubicBezTo>
                <a:cubicBezTo>
                  <a:pt x="463403" y="377371"/>
                  <a:pt x="465274" y="385569"/>
                  <a:pt x="461589" y="391886"/>
                </a:cubicBezTo>
                <a:cubicBezTo>
                  <a:pt x="458293" y="397536"/>
                  <a:pt x="451466" y="400702"/>
                  <a:pt x="445260" y="402771"/>
                </a:cubicBezTo>
                <a:lnTo>
                  <a:pt x="428932" y="408214"/>
                </a:lnTo>
                <a:cubicBezTo>
                  <a:pt x="404439" y="407307"/>
                  <a:pt x="379862" y="407712"/>
                  <a:pt x="355453" y="405493"/>
                </a:cubicBezTo>
                <a:cubicBezTo>
                  <a:pt x="349739" y="404974"/>
                  <a:pt x="339124" y="400050"/>
                  <a:pt x="339124" y="400050"/>
                </a:cubicBezTo>
                <a:cubicBezTo>
                  <a:pt x="324616" y="378285"/>
                  <a:pt x="343656" y="404581"/>
                  <a:pt x="325517" y="386443"/>
                </a:cubicBezTo>
                <a:cubicBezTo>
                  <a:pt x="323204" y="384130"/>
                  <a:pt x="322535" y="380433"/>
                  <a:pt x="320074" y="378279"/>
                </a:cubicBezTo>
                <a:cubicBezTo>
                  <a:pt x="296122" y="357321"/>
                  <a:pt x="286244" y="366226"/>
                  <a:pt x="246596" y="364671"/>
                </a:cubicBezTo>
                <a:lnTo>
                  <a:pt x="164953" y="361950"/>
                </a:lnTo>
                <a:cubicBezTo>
                  <a:pt x="154974" y="361043"/>
                  <a:pt x="144936" y="360646"/>
                  <a:pt x="135017" y="359229"/>
                </a:cubicBezTo>
                <a:cubicBezTo>
                  <a:pt x="132177" y="358823"/>
                  <a:pt x="129722" y="356507"/>
                  <a:pt x="126853" y="356507"/>
                </a:cubicBezTo>
                <a:cubicBezTo>
                  <a:pt x="113216" y="356507"/>
                  <a:pt x="99639" y="358322"/>
                  <a:pt x="86032" y="359229"/>
                </a:cubicBezTo>
                <a:lnTo>
                  <a:pt x="61539" y="367393"/>
                </a:lnTo>
                <a:lnTo>
                  <a:pt x="53374" y="370114"/>
                </a:lnTo>
                <a:cubicBezTo>
                  <a:pt x="50653" y="371021"/>
                  <a:pt x="48079" y="372836"/>
                  <a:pt x="45210" y="372836"/>
                </a:cubicBezTo>
                <a:lnTo>
                  <a:pt x="50653" y="378279"/>
                </a:ln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01" name="Freeform 100"/>
          <p:cNvSpPr/>
          <p:nvPr/>
        </p:nvSpPr>
        <p:spPr>
          <a:xfrm>
            <a:off x="1906593" y="1458388"/>
            <a:ext cx="1400175" cy="1327149"/>
          </a:xfrm>
          <a:custGeom>
            <a:avLst/>
            <a:gdLst>
              <a:gd name="connsiteX0" fmla="*/ 567944 w 1400148"/>
              <a:gd name="connsiteY0" fmla="*/ 4441 h 1323996"/>
              <a:gd name="connsiteX1" fmla="*/ 717622 w 1400148"/>
              <a:gd name="connsiteY1" fmla="*/ 1719 h 1323996"/>
              <a:gd name="connsiteX2" fmla="*/ 725786 w 1400148"/>
              <a:gd name="connsiteY2" fmla="*/ 9883 h 1323996"/>
              <a:gd name="connsiteX3" fmla="*/ 736672 w 1400148"/>
              <a:gd name="connsiteY3" fmla="*/ 26212 h 1323996"/>
              <a:gd name="connsiteX4" fmla="*/ 742115 w 1400148"/>
              <a:gd name="connsiteY4" fmla="*/ 34376 h 1323996"/>
              <a:gd name="connsiteX5" fmla="*/ 753001 w 1400148"/>
              <a:gd name="connsiteY5" fmla="*/ 37098 h 1323996"/>
              <a:gd name="connsiteX6" fmla="*/ 777494 w 1400148"/>
              <a:gd name="connsiteY6" fmla="*/ 56148 h 1323996"/>
              <a:gd name="connsiteX7" fmla="*/ 785658 w 1400148"/>
              <a:gd name="connsiteY7" fmla="*/ 58869 h 1323996"/>
              <a:gd name="connsiteX8" fmla="*/ 793822 w 1400148"/>
              <a:gd name="connsiteY8" fmla="*/ 64312 h 1323996"/>
              <a:gd name="connsiteX9" fmla="*/ 807429 w 1400148"/>
              <a:gd name="connsiteY9" fmla="*/ 77919 h 1323996"/>
              <a:gd name="connsiteX10" fmla="*/ 810151 w 1400148"/>
              <a:gd name="connsiteY10" fmla="*/ 86083 h 1323996"/>
              <a:gd name="connsiteX11" fmla="*/ 826479 w 1400148"/>
              <a:gd name="connsiteY11" fmla="*/ 96969 h 1323996"/>
              <a:gd name="connsiteX12" fmla="*/ 845529 w 1400148"/>
              <a:gd name="connsiteY12" fmla="*/ 118741 h 1323996"/>
              <a:gd name="connsiteX13" fmla="*/ 859136 w 1400148"/>
              <a:gd name="connsiteY13" fmla="*/ 143233 h 1323996"/>
              <a:gd name="connsiteX14" fmla="*/ 867301 w 1400148"/>
              <a:gd name="connsiteY14" fmla="*/ 145955 h 1323996"/>
              <a:gd name="connsiteX15" fmla="*/ 883629 w 1400148"/>
              <a:gd name="connsiteY15" fmla="*/ 156841 h 1323996"/>
              <a:gd name="connsiteX16" fmla="*/ 899958 w 1400148"/>
              <a:gd name="connsiteY16" fmla="*/ 167726 h 1323996"/>
              <a:gd name="connsiteX17" fmla="*/ 908122 w 1400148"/>
              <a:gd name="connsiteY17" fmla="*/ 173169 h 1323996"/>
              <a:gd name="connsiteX18" fmla="*/ 916286 w 1400148"/>
              <a:gd name="connsiteY18" fmla="*/ 181333 h 1323996"/>
              <a:gd name="connsiteX19" fmla="*/ 924451 w 1400148"/>
              <a:gd name="connsiteY19" fmla="*/ 184055 h 1323996"/>
              <a:gd name="connsiteX20" fmla="*/ 940779 w 1400148"/>
              <a:gd name="connsiteY20" fmla="*/ 194941 h 1323996"/>
              <a:gd name="connsiteX21" fmla="*/ 948944 w 1400148"/>
              <a:gd name="connsiteY21" fmla="*/ 203105 h 1323996"/>
              <a:gd name="connsiteX22" fmla="*/ 965272 w 1400148"/>
              <a:gd name="connsiteY22" fmla="*/ 213991 h 1323996"/>
              <a:gd name="connsiteX23" fmla="*/ 973436 w 1400148"/>
              <a:gd name="connsiteY23" fmla="*/ 219433 h 1323996"/>
              <a:gd name="connsiteX24" fmla="*/ 995208 w 1400148"/>
              <a:gd name="connsiteY24" fmla="*/ 243926 h 1323996"/>
              <a:gd name="connsiteX25" fmla="*/ 997929 w 1400148"/>
              <a:gd name="connsiteY25" fmla="*/ 252091 h 1323996"/>
              <a:gd name="connsiteX26" fmla="*/ 1022422 w 1400148"/>
              <a:gd name="connsiteY26" fmla="*/ 271141 h 1323996"/>
              <a:gd name="connsiteX27" fmla="*/ 1027865 w 1400148"/>
              <a:gd name="connsiteY27" fmla="*/ 279305 h 1323996"/>
              <a:gd name="connsiteX28" fmla="*/ 1052358 w 1400148"/>
              <a:gd name="connsiteY28" fmla="*/ 295633 h 1323996"/>
              <a:gd name="connsiteX29" fmla="*/ 1085015 w 1400148"/>
              <a:gd name="connsiteY29" fmla="*/ 317405 h 1323996"/>
              <a:gd name="connsiteX30" fmla="*/ 1101344 w 1400148"/>
              <a:gd name="connsiteY30" fmla="*/ 328291 h 1323996"/>
              <a:gd name="connsiteX31" fmla="*/ 1109508 w 1400148"/>
              <a:gd name="connsiteY31" fmla="*/ 331012 h 1323996"/>
              <a:gd name="connsiteX32" fmla="*/ 1114951 w 1400148"/>
              <a:gd name="connsiteY32" fmla="*/ 339176 h 1323996"/>
              <a:gd name="connsiteX33" fmla="*/ 1134001 w 1400148"/>
              <a:gd name="connsiteY33" fmla="*/ 347341 h 1323996"/>
              <a:gd name="connsiteX34" fmla="*/ 1139444 w 1400148"/>
              <a:gd name="connsiteY34" fmla="*/ 355505 h 1323996"/>
              <a:gd name="connsiteX35" fmla="*/ 1155772 w 1400148"/>
              <a:gd name="connsiteY35" fmla="*/ 366391 h 1323996"/>
              <a:gd name="connsiteX36" fmla="*/ 1163936 w 1400148"/>
              <a:gd name="connsiteY36" fmla="*/ 374555 h 1323996"/>
              <a:gd name="connsiteX37" fmla="*/ 1166658 w 1400148"/>
              <a:gd name="connsiteY37" fmla="*/ 418098 h 1323996"/>
              <a:gd name="connsiteX38" fmla="*/ 1182986 w 1400148"/>
              <a:gd name="connsiteY38" fmla="*/ 423541 h 1323996"/>
              <a:gd name="connsiteX39" fmla="*/ 1191151 w 1400148"/>
              <a:gd name="connsiteY39" fmla="*/ 426262 h 1323996"/>
              <a:gd name="connsiteX40" fmla="*/ 1196594 w 1400148"/>
              <a:gd name="connsiteY40" fmla="*/ 448033 h 1323996"/>
              <a:gd name="connsiteX41" fmla="*/ 1204758 w 1400148"/>
              <a:gd name="connsiteY41" fmla="*/ 453476 h 1323996"/>
              <a:gd name="connsiteX42" fmla="*/ 1221086 w 1400148"/>
              <a:gd name="connsiteY42" fmla="*/ 458919 h 1323996"/>
              <a:gd name="connsiteX43" fmla="*/ 1229251 w 1400148"/>
              <a:gd name="connsiteY43" fmla="*/ 461641 h 1323996"/>
              <a:gd name="connsiteX44" fmla="*/ 1245579 w 1400148"/>
              <a:gd name="connsiteY44" fmla="*/ 464362 h 1323996"/>
              <a:gd name="connsiteX45" fmla="*/ 1253744 w 1400148"/>
              <a:gd name="connsiteY45" fmla="*/ 467083 h 1323996"/>
              <a:gd name="connsiteX46" fmla="*/ 1264629 w 1400148"/>
              <a:gd name="connsiteY46" fmla="*/ 469805 h 1323996"/>
              <a:gd name="connsiteX47" fmla="*/ 1289122 w 1400148"/>
              <a:gd name="connsiteY47" fmla="*/ 477969 h 1323996"/>
              <a:gd name="connsiteX48" fmla="*/ 1297286 w 1400148"/>
              <a:gd name="connsiteY48" fmla="*/ 480691 h 1323996"/>
              <a:gd name="connsiteX49" fmla="*/ 1305451 w 1400148"/>
              <a:gd name="connsiteY49" fmla="*/ 483412 h 1323996"/>
              <a:gd name="connsiteX50" fmla="*/ 1313615 w 1400148"/>
              <a:gd name="connsiteY50" fmla="*/ 488855 h 1323996"/>
              <a:gd name="connsiteX51" fmla="*/ 1321779 w 1400148"/>
              <a:gd name="connsiteY51" fmla="*/ 505183 h 1323996"/>
              <a:gd name="connsiteX52" fmla="*/ 1324501 w 1400148"/>
              <a:gd name="connsiteY52" fmla="*/ 578662 h 1323996"/>
              <a:gd name="connsiteX53" fmla="*/ 1332665 w 1400148"/>
              <a:gd name="connsiteY53" fmla="*/ 581383 h 1323996"/>
              <a:gd name="connsiteX54" fmla="*/ 1368044 w 1400148"/>
              <a:gd name="connsiteY54" fmla="*/ 578662 h 1323996"/>
              <a:gd name="connsiteX55" fmla="*/ 1376208 w 1400148"/>
              <a:gd name="connsiteY55" fmla="*/ 575941 h 1323996"/>
              <a:gd name="connsiteX56" fmla="*/ 1392536 w 1400148"/>
              <a:gd name="connsiteY56" fmla="*/ 565055 h 1323996"/>
              <a:gd name="connsiteX57" fmla="*/ 1395258 w 1400148"/>
              <a:gd name="connsiteY57" fmla="*/ 573219 h 1323996"/>
              <a:gd name="connsiteX58" fmla="*/ 1395258 w 1400148"/>
              <a:gd name="connsiteY58" fmla="*/ 809983 h 1323996"/>
              <a:gd name="connsiteX59" fmla="*/ 1368044 w 1400148"/>
              <a:gd name="connsiteY59" fmla="*/ 837198 h 1323996"/>
              <a:gd name="connsiteX60" fmla="*/ 1348994 w 1400148"/>
              <a:gd name="connsiteY60" fmla="*/ 850805 h 1323996"/>
              <a:gd name="connsiteX61" fmla="*/ 1332665 w 1400148"/>
              <a:gd name="connsiteY61" fmla="*/ 856248 h 1323996"/>
              <a:gd name="connsiteX62" fmla="*/ 1324501 w 1400148"/>
              <a:gd name="connsiteY62" fmla="*/ 858969 h 1323996"/>
              <a:gd name="connsiteX63" fmla="*/ 1308172 w 1400148"/>
              <a:gd name="connsiteY63" fmla="*/ 869855 h 1323996"/>
              <a:gd name="connsiteX64" fmla="*/ 1291844 w 1400148"/>
              <a:gd name="connsiteY64" fmla="*/ 875298 h 1323996"/>
              <a:gd name="connsiteX65" fmla="*/ 1283679 w 1400148"/>
              <a:gd name="connsiteY65" fmla="*/ 878019 h 1323996"/>
              <a:gd name="connsiteX66" fmla="*/ 1272794 w 1400148"/>
              <a:gd name="connsiteY66" fmla="*/ 880741 h 1323996"/>
              <a:gd name="connsiteX67" fmla="*/ 1248301 w 1400148"/>
              <a:gd name="connsiteY67" fmla="*/ 888905 h 1323996"/>
              <a:gd name="connsiteX68" fmla="*/ 1240136 w 1400148"/>
              <a:gd name="connsiteY68" fmla="*/ 891626 h 1323996"/>
              <a:gd name="connsiteX69" fmla="*/ 1136722 w 1400148"/>
              <a:gd name="connsiteY69" fmla="*/ 897069 h 1323996"/>
              <a:gd name="connsiteX70" fmla="*/ 1128558 w 1400148"/>
              <a:gd name="connsiteY70" fmla="*/ 899791 h 1323996"/>
              <a:gd name="connsiteX71" fmla="*/ 1123115 w 1400148"/>
              <a:gd name="connsiteY71" fmla="*/ 907955 h 1323996"/>
              <a:gd name="connsiteX72" fmla="*/ 1106786 w 1400148"/>
              <a:gd name="connsiteY72" fmla="*/ 913398 h 1323996"/>
              <a:gd name="connsiteX73" fmla="*/ 1087736 w 1400148"/>
              <a:gd name="connsiteY73" fmla="*/ 918841 h 1323996"/>
              <a:gd name="connsiteX74" fmla="*/ 1027865 w 1400148"/>
              <a:gd name="connsiteY74" fmla="*/ 910676 h 1323996"/>
              <a:gd name="connsiteX75" fmla="*/ 1011536 w 1400148"/>
              <a:gd name="connsiteY75" fmla="*/ 905233 h 1323996"/>
              <a:gd name="connsiteX76" fmla="*/ 1003372 w 1400148"/>
              <a:gd name="connsiteY76" fmla="*/ 902512 h 1323996"/>
              <a:gd name="connsiteX77" fmla="*/ 967994 w 1400148"/>
              <a:gd name="connsiteY77" fmla="*/ 910676 h 1323996"/>
              <a:gd name="connsiteX78" fmla="*/ 959829 w 1400148"/>
              <a:gd name="connsiteY78" fmla="*/ 913398 h 1323996"/>
              <a:gd name="connsiteX79" fmla="*/ 951665 w 1400148"/>
              <a:gd name="connsiteY79" fmla="*/ 916119 h 1323996"/>
              <a:gd name="connsiteX80" fmla="*/ 943501 w 1400148"/>
              <a:gd name="connsiteY80" fmla="*/ 921562 h 1323996"/>
              <a:gd name="connsiteX81" fmla="*/ 919008 w 1400148"/>
              <a:gd name="connsiteY81" fmla="*/ 929726 h 1323996"/>
              <a:gd name="connsiteX82" fmla="*/ 910844 w 1400148"/>
              <a:gd name="connsiteY82" fmla="*/ 932448 h 1323996"/>
              <a:gd name="connsiteX83" fmla="*/ 902679 w 1400148"/>
              <a:gd name="connsiteY83" fmla="*/ 935169 h 1323996"/>
              <a:gd name="connsiteX84" fmla="*/ 894515 w 1400148"/>
              <a:gd name="connsiteY84" fmla="*/ 943333 h 1323996"/>
              <a:gd name="connsiteX85" fmla="*/ 878186 w 1400148"/>
              <a:gd name="connsiteY85" fmla="*/ 954219 h 1323996"/>
              <a:gd name="connsiteX86" fmla="*/ 872744 w 1400148"/>
              <a:gd name="connsiteY86" fmla="*/ 962383 h 1323996"/>
              <a:gd name="connsiteX87" fmla="*/ 864579 w 1400148"/>
              <a:gd name="connsiteY87" fmla="*/ 967826 h 1323996"/>
              <a:gd name="connsiteX88" fmla="*/ 804708 w 1400148"/>
              <a:gd name="connsiteY88" fmla="*/ 975991 h 1323996"/>
              <a:gd name="connsiteX89" fmla="*/ 796544 w 1400148"/>
              <a:gd name="connsiteY89" fmla="*/ 981433 h 1323996"/>
              <a:gd name="connsiteX90" fmla="*/ 788379 w 1400148"/>
              <a:gd name="connsiteY90" fmla="*/ 984155 h 1323996"/>
              <a:gd name="connsiteX91" fmla="*/ 782936 w 1400148"/>
              <a:gd name="connsiteY91" fmla="*/ 992319 h 1323996"/>
              <a:gd name="connsiteX92" fmla="*/ 774772 w 1400148"/>
              <a:gd name="connsiteY92" fmla="*/ 1008648 h 1323996"/>
              <a:gd name="connsiteX93" fmla="*/ 763886 w 1400148"/>
              <a:gd name="connsiteY93" fmla="*/ 1024976 h 1323996"/>
              <a:gd name="connsiteX94" fmla="*/ 753001 w 1400148"/>
              <a:gd name="connsiteY94" fmla="*/ 1027698 h 1323996"/>
              <a:gd name="connsiteX95" fmla="*/ 744836 w 1400148"/>
              <a:gd name="connsiteY95" fmla="*/ 1030419 h 1323996"/>
              <a:gd name="connsiteX96" fmla="*/ 739394 w 1400148"/>
              <a:gd name="connsiteY96" fmla="*/ 1038583 h 1323996"/>
              <a:gd name="connsiteX97" fmla="*/ 736672 w 1400148"/>
              <a:gd name="connsiteY97" fmla="*/ 1057633 h 1323996"/>
              <a:gd name="connsiteX98" fmla="*/ 725786 w 1400148"/>
              <a:gd name="connsiteY98" fmla="*/ 1060355 h 1323996"/>
              <a:gd name="connsiteX99" fmla="*/ 684965 w 1400148"/>
              <a:gd name="connsiteY99" fmla="*/ 1057633 h 1323996"/>
              <a:gd name="connsiteX100" fmla="*/ 660472 w 1400148"/>
              <a:gd name="connsiteY100" fmla="*/ 1060355 h 1323996"/>
              <a:gd name="connsiteX101" fmla="*/ 663194 w 1400148"/>
              <a:gd name="connsiteY101" fmla="*/ 1082126 h 1323996"/>
              <a:gd name="connsiteX102" fmla="*/ 660472 w 1400148"/>
              <a:gd name="connsiteY102" fmla="*/ 1095733 h 1323996"/>
              <a:gd name="connsiteX103" fmla="*/ 641422 w 1400148"/>
              <a:gd name="connsiteY103" fmla="*/ 1117505 h 1323996"/>
              <a:gd name="connsiteX104" fmla="*/ 633258 w 1400148"/>
              <a:gd name="connsiteY104" fmla="*/ 1133833 h 1323996"/>
              <a:gd name="connsiteX105" fmla="*/ 630536 w 1400148"/>
              <a:gd name="connsiteY105" fmla="*/ 1141998 h 1323996"/>
              <a:gd name="connsiteX106" fmla="*/ 606044 w 1400148"/>
              <a:gd name="connsiteY106" fmla="*/ 1161048 h 1323996"/>
              <a:gd name="connsiteX107" fmla="*/ 597879 w 1400148"/>
              <a:gd name="connsiteY107" fmla="*/ 1166491 h 1323996"/>
              <a:gd name="connsiteX108" fmla="*/ 581551 w 1400148"/>
              <a:gd name="connsiteY108" fmla="*/ 1171933 h 1323996"/>
              <a:gd name="connsiteX109" fmla="*/ 573386 w 1400148"/>
              <a:gd name="connsiteY109" fmla="*/ 1174655 h 1323996"/>
              <a:gd name="connsiteX110" fmla="*/ 565222 w 1400148"/>
              <a:gd name="connsiteY110" fmla="*/ 1177376 h 1323996"/>
              <a:gd name="connsiteX111" fmla="*/ 557058 w 1400148"/>
              <a:gd name="connsiteY111" fmla="*/ 1182819 h 1323996"/>
              <a:gd name="connsiteX112" fmla="*/ 562501 w 1400148"/>
              <a:gd name="connsiteY112" fmla="*/ 1207312 h 1323996"/>
              <a:gd name="connsiteX113" fmla="*/ 548894 w 1400148"/>
              <a:gd name="connsiteY113" fmla="*/ 1229083 h 1323996"/>
              <a:gd name="connsiteX114" fmla="*/ 538008 w 1400148"/>
              <a:gd name="connsiteY114" fmla="*/ 1245412 h 1323996"/>
              <a:gd name="connsiteX115" fmla="*/ 532565 w 1400148"/>
              <a:gd name="connsiteY115" fmla="*/ 1253576 h 1323996"/>
              <a:gd name="connsiteX116" fmla="*/ 529844 w 1400148"/>
              <a:gd name="connsiteY116" fmla="*/ 1261741 h 1323996"/>
              <a:gd name="connsiteX117" fmla="*/ 535286 w 1400148"/>
              <a:gd name="connsiteY117" fmla="*/ 1288955 h 1323996"/>
              <a:gd name="connsiteX118" fmla="*/ 540729 w 1400148"/>
              <a:gd name="connsiteY118" fmla="*/ 1297119 h 1323996"/>
              <a:gd name="connsiteX119" fmla="*/ 535286 w 1400148"/>
              <a:gd name="connsiteY119" fmla="*/ 1305283 h 1323996"/>
              <a:gd name="connsiteX120" fmla="*/ 527122 w 1400148"/>
              <a:gd name="connsiteY120" fmla="*/ 1308005 h 1323996"/>
              <a:gd name="connsiteX121" fmla="*/ 508072 w 1400148"/>
              <a:gd name="connsiteY121" fmla="*/ 1313448 h 1323996"/>
              <a:gd name="connsiteX122" fmla="*/ 491744 w 1400148"/>
              <a:gd name="connsiteY122" fmla="*/ 1321612 h 1323996"/>
              <a:gd name="connsiteX123" fmla="*/ 475415 w 1400148"/>
              <a:gd name="connsiteY123" fmla="*/ 1318891 h 1323996"/>
              <a:gd name="connsiteX124" fmla="*/ 467251 w 1400148"/>
              <a:gd name="connsiteY124" fmla="*/ 1286233 h 1323996"/>
              <a:gd name="connsiteX125" fmla="*/ 459086 w 1400148"/>
              <a:gd name="connsiteY125" fmla="*/ 1283512 h 1323996"/>
              <a:gd name="connsiteX126" fmla="*/ 442758 w 1400148"/>
              <a:gd name="connsiteY126" fmla="*/ 1286233 h 1323996"/>
              <a:gd name="connsiteX127" fmla="*/ 434594 w 1400148"/>
              <a:gd name="connsiteY127" fmla="*/ 1288955 h 1323996"/>
              <a:gd name="connsiteX128" fmla="*/ 429151 w 1400148"/>
              <a:gd name="connsiteY128" fmla="*/ 1305283 h 1323996"/>
              <a:gd name="connsiteX129" fmla="*/ 404658 w 1400148"/>
              <a:gd name="connsiteY129" fmla="*/ 1313448 h 1323996"/>
              <a:gd name="connsiteX130" fmla="*/ 396494 w 1400148"/>
              <a:gd name="connsiteY130" fmla="*/ 1316169 h 1323996"/>
              <a:gd name="connsiteX131" fmla="*/ 350229 w 1400148"/>
              <a:gd name="connsiteY131" fmla="*/ 1313448 h 1323996"/>
              <a:gd name="connsiteX132" fmla="*/ 333901 w 1400148"/>
              <a:gd name="connsiteY132" fmla="*/ 1299841 h 1323996"/>
              <a:gd name="connsiteX133" fmla="*/ 325736 w 1400148"/>
              <a:gd name="connsiteY133" fmla="*/ 1297119 h 1323996"/>
              <a:gd name="connsiteX134" fmla="*/ 314851 w 1400148"/>
              <a:gd name="connsiteY134" fmla="*/ 1272626 h 1323996"/>
              <a:gd name="connsiteX135" fmla="*/ 306686 w 1400148"/>
              <a:gd name="connsiteY135" fmla="*/ 1264462 h 1323996"/>
              <a:gd name="connsiteX136" fmla="*/ 303965 w 1400148"/>
              <a:gd name="connsiteY136" fmla="*/ 1256298 h 1323996"/>
              <a:gd name="connsiteX137" fmla="*/ 295801 w 1400148"/>
              <a:gd name="connsiteY137" fmla="*/ 1253576 h 1323996"/>
              <a:gd name="connsiteX138" fmla="*/ 287636 w 1400148"/>
              <a:gd name="connsiteY138" fmla="*/ 1248133 h 1323996"/>
              <a:gd name="connsiteX139" fmla="*/ 282194 w 1400148"/>
              <a:gd name="connsiteY139" fmla="*/ 1193705 h 1323996"/>
              <a:gd name="connsiteX140" fmla="*/ 274029 w 1400148"/>
              <a:gd name="connsiteY140" fmla="*/ 1169212 h 1323996"/>
              <a:gd name="connsiteX141" fmla="*/ 265865 w 1400148"/>
              <a:gd name="connsiteY141" fmla="*/ 1144719 h 1323996"/>
              <a:gd name="connsiteX142" fmla="*/ 263144 w 1400148"/>
              <a:gd name="connsiteY142" fmla="*/ 1136555 h 1323996"/>
              <a:gd name="connsiteX143" fmla="*/ 252258 w 1400148"/>
              <a:gd name="connsiteY143" fmla="*/ 1120226 h 1323996"/>
              <a:gd name="connsiteX144" fmla="*/ 244094 w 1400148"/>
              <a:gd name="connsiteY144" fmla="*/ 1117505 h 1323996"/>
              <a:gd name="connsiteX145" fmla="*/ 235929 w 1400148"/>
              <a:gd name="connsiteY145" fmla="*/ 1120226 h 1323996"/>
              <a:gd name="connsiteX146" fmla="*/ 219601 w 1400148"/>
              <a:gd name="connsiteY146" fmla="*/ 1131112 h 1323996"/>
              <a:gd name="connsiteX147" fmla="*/ 211436 w 1400148"/>
              <a:gd name="connsiteY147" fmla="*/ 1139276 h 1323996"/>
              <a:gd name="connsiteX148" fmla="*/ 135236 w 1400148"/>
              <a:gd name="connsiteY148" fmla="*/ 1147441 h 1323996"/>
              <a:gd name="connsiteX149" fmla="*/ 121629 w 1400148"/>
              <a:gd name="connsiteY149" fmla="*/ 1158326 h 1323996"/>
              <a:gd name="connsiteX150" fmla="*/ 116186 w 1400148"/>
              <a:gd name="connsiteY150" fmla="*/ 1150162 h 1323996"/>
              <a:gd name="connsiteX151" fmla="*/ 102579 w 1400148"/>
              <a:gd name="connsiteY151" fmla="*/ 1128391 h 1323996"/>
              <a:gd name="connsiteX152" fmla="*/ 80808 w 1400148"/>
              <a:gd name="connsiteY152" fmla="*/ 1131112 h 1323996"/>
              <a:gd name="connsiteX153" fmla="*/ 72644 w 1400148"/>
              <a:gd name="connsiteY153" fmla="*/ 1136555 h 1323996"/>
              <a:gd name="connsiteX154" fmla="*/ 64479 w 1400148"/>
              <a:gd name="connsiteY154" fmla="*/ 1139276 h 1323996"/>
              <a:gd name="connsiteX155" fmla="*/ 53594 w 1400148"/>
              <a:gd name="connsiteY155" fmla="*/ 1136555 h 1323996"/>
              <a:gd name="connsiteX156" fmla="*/ 39986 w 1400148"/>
              <a:gd name="connsiteY156" fmla="*/ 1117505 h 1323996"/>
              <a:gd name="connsiteX157" fmla="*/ 37265 w 1400148"/>
              <a:gd name="connsiteY157" fmla="*/ 1109341 h 1323996"/>
              <a:gd name="connsiteX158" fmla="*/ 42708 w 1400148"/>
              <a:gd name="connsiteY158" fmla="*/ 1084848 h 1323996"/>
              <a:gd name="connsiteX159" fmla="*/ 48151 w 1400148"/>
              <a:gd name="connsiteY159" fmla="*/ 1076683 h 1323996"/>
              <a:gd name="connsiteX160" fmla="*/ 50872 w 1400148"/>
              <a:gd name="connsiteY160" fmla="*/ 1068519 h 1323996"/>
              <a:gd name="connsiteX161" fmla="*/ 48151 w 1400148"/>
              <a:gd name="connsiteY161" fmla="*/ 1033141 h 1323996"/>
              <a:gd name="connsiteX162" fmla="*/ 39986 w 1400148"/>
              <a:gd name="connsiteY162" fmla="*/ 1024976 h 1323996"/>
              <a:gd name="connsiteX163" fmla="*/ 23658 w 1400148"/>
              <a:gd name="connsiteY163" fmla="*/ 1016812 h 1323996"/>
              <a:gd name="connsiteX164" fmla="*/ 10051 w 1400148"/>
              <a:gd name="connsiteY164" fmla="*/ 973269 h 1323996"/>
              <a:gd name="connsiteX165" fmla="*/ 15494 w 1400148"/>
              <a:gd name="connsiteY165" fmla="*/ 956941 h 1323996"/>
              <a:gd name="connsiteX166" fmla="*/ 7329 w 1400148"/>
              <a:gd name="connsiteY166" fmla="*/ 916119 h 1323996"/>
              <a:gd name="connsiteX167" fmla="*/ 4608 w 1400148"/>
              <a:gd name="connsiteY167" fmla="*/ 907955 h 1323996"/>
              <a:gd name="connsiteX168" fmla="*/ 1886 w 1400148"/>
              <a:gd name="connsiteY168" fmla="*/ 899791 h 1323996"/>
              <a:gd name="connsiteX169" fmla="*/ 4608 w 1400148"/>
              <a:gd name="connsiteY169" fmla="*/ 880741 h 1323996"/>
              <a:gd name="connsiteX170" fmla="*/ 31822 w 1400148"/>
              <a:gd name="connsiteY170" fmla="*/ 872576 h 1323996"/>
              <a:gd name="connsiteX171" fmla="*/ 42708 w 1400148"/>
              <a:gd name="connsiteY171" fmla="*/ 839919 h 1323996"/>
              <a:gd name="connsiteX172" fmla="*/ 50872 w 1400148"/>
              <a:gd name="connsiteY172" fmla="*/ 823591 h 1323996"/>
              <a:gd name="connsiteX173" fmla="*/ 59036 w 1400148"/>
              <a:gd name="connsiteY173" fmla="*/ 818148 h 1323996"/>
              <a:gd name="connsiteX174" fmla="*/ 75365 w 1400148"/>
              <a:gd name="connsiteY174" fmla="*/ 812705 h 1323996"/>
              <a:gd name="connsiteX175" fmla="*/ 91694 w 1400148"/>
              <a:gd name="connsiteY175" fmla="*/ 815426 h 1323996"/>
              <a:gd name="connsiteX176" fmla="*/ 99858 w 1400148"/>
              <a:gd name="connsiteY176" fmla="*/ 818148 h 1323996"/>
              <a:gd name="connsiteX177" fmla="*/ 110744 w 1400148"/>
              <a:gd name="connsiteY177" fmla="*/ 834476 h 1323996"/>
              <a:gd name="connsiteX178" fmla="*/ 121629 w 1400148"/>
              <a:gd name="connsiteY178" fmla="*/ 850805 h 1323996"/>
              <a:gd name="connsiteX179" fmla="*/ 132515 w 1400148"/>
              <a:gd name="connsiteY179" fmla="*/ 853526 h 1323996"/>
              <a:gd name="connsiteX180" fmla="*/ 151565 w 1400148"/>
              <a:gd name="connsiteY180" fmla="*/ 850805 h 1323996"/>
              <a:gd name="connsiteX181" fmla="*/ 159729 w 1400148"/>
              <a:gd name="connsiteY181" fmla="*/ 842641 h 1323996"/>
              <a:gd name="connsiteX182" fmla="*/ 167894 w 1400148"/>
              <a:gd name="connsiteY182" fmla="*/ 839919 h 1323996"/>
              <a:gd name="connsiteX183" fmla="*/ 178779 w 1400148"/>
              <a:gd name="connsiteY183" fmla="*/ 842641 h 1323996"/>
              <a:gd name="connsiteX184" fmla="*/ 186944 w 1400148"/>
              <a:gd name="connsiteY184" fmla="*/ 845362 h 1323996"/>
              <a:gd name="connsiteX185" fmla="*/ 216879 w 1400148"/>
              <a:gd name="connsiteY185" fmla="*/ 842641 h 1323996"/>
              <a:gd name="connsiteX186" fmla="*/ 235929 w 1400148"/>
              <a:gd name="connsiteY186" fmla="*/ 829033 h 1323996"/>
              <a:gd name="connsiteX187" fmla="*/ 238651 w 1400148"/>
              <a:gd name="connsiteY187" fmla="*/ 818148 h 1323996"/>
              <a:gd name="connsiteX188" fmla="*/ 252258 w 1400148"/>
              <a:gd name="connsiteY188" fmla="*/ 820869 h 1323996"/>
              <a:gd name="connsiteX189" fmla="*/ 260422 w 1400148"/>
              <a:gd name="connsiteY189" fmla="*/ 829033 h 1323996"/>
              <a:gd name="connsiteX190" fmla="*/ 282194 w 1400148"/>
              <a:gd name="connsiteY190" fmla="*/ 837198 h 1323996"/>
              <a:gd name="connsiteX191" fmla="*/ 535286 w 1400148"/>
              <a:gd name="connsiteY191" fmla="*/ 839919 h 1323996"/>
              <a:gd name="connsiteX192" fmla="*/ 581551 w 1400148"/>
              <a:gd name="connsiteY192" fmla="*/ 829033 h 1323996"/>
              <a:gd name="connsiteX193" fmla="*/ 584272 w 1400148"/>
              <a:gd name="connsiteY193" fmla="*/ 801819 h 1323996"/>
              <a:gd name="connsiteX194" fmla="*/ 586994 w 1400148"/>
              <a:gd name="connsiteY194" fmla="*/ 793655 h 1323996"/>
              <a:gd name="connsiteX195" fmla="*/ 584272 w 1400148"/>
              <a:gd name="connsiteY195" fmla="*/ 774605 h 1323996"/>
              <a:gd name="connsiteX196" fmla="*/ 581551 w 1400148"/>
              <a:gd name="connsiteY196" fmla="*/ 766441 h 1323996"/>
              <a:gd name="connsiteX197" fmla="*/ 573386 w 1400148"/>
              <a:gd name="connsiteY197" fmla="*/ 760998 h 1323996"/>
              <a:gd name="connsiteX198" fmla="*/ 567944 w 1400148"/>
              <a:gd name="connsiteY198" fmla="*/ 752833 h 1323996"/>
              <a:gd name="connsiteX199" fmla="*/ 565222 w 1400148"/>
              <a:gd name="connsiteY199" fmla="*/ 744669 h 1323996"/>
              <a:gd name="connsiteX200" fmla="*/ 567944 w 1400148"/>
              <a:gd name="connsiteY200" fmla="*/ 505183 h 1323996"/>
              <a:gd name="connsiteX201" fmla="*/ 576108 w 1400148"/>
              <a:gd name="connsiteY201" fmla="*/ 477969 h 1323996"/>
              <a:gd name="connsiteX202" fmla="*/ 567944 w 1400148"/>
              <a:gd name="connsiteY202" fmla="*/ 4441 h 1323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</a:cxnLst>
            <a:rect l="l" t="t" r="r" b="b"/>
            <a:pathLst>
              <a:path w="1400148" h="1323996">
                <a:moveTo>
                  <a:pt x="567944" y="4441"/>
                </a:moveTo>
                <a:cubicBezTo>
                  <a:pt x="617837" y="3534"/>
                  <a:pt x="667751" y="0"/>
                  <a:pt x="717622" y="1719"/>
                </a:cubicBezTo>
                <a:cubicBezTo>
                  <a:pt x="721468" y="1852"/>
                  <a:pt x="723423" y="6845"/>
                  <a:pt x="725786" y="9883"/>
                </a:cubicBezTo>
                <a:cubicBezTo>
                  <a:pt x="729802" y="15047"/>
                  <a:pt x="733043" y="20769"/>
                  <a:pt x="736672" y="26212"/>
                </a:cubicBezTo>
                <a:cubicBezTo>
                  <a:pt x="738486" y="28933"/>
                  <a:pt x="738942" y="33583"/>
                  <a:pt x="742115" y="34376"/>
                </a:cubicBezTo>
                <a:lnTo>
                  <a:pt x="753001" y="37098"/>
                </a:lnTo>
                <a:cubicBezTo>
                  <a:pt x="760045" y="44142"/>
                  <a:pt x="767729" y="52893"/>
                  <a:pt x="777494" y="56148"/>
                </a:cubicBezTo>
                <a:lnTo>
                  <a:pt x="785658" y="58869"/>
                </a:lnTo>
                <a:cubicBezTo>
                  <a:pt x="788379" y="60683"/>
                  <a:pt x="791509" y="61999"/>
                  <a:pt x="793822" y="64312"/>
                </a:cubicBezTo>
                <a:cubicBezTo>
                  <a:pt x="811965" y="82455"/>
                  <a:pt x="785658" y="63404"/>
                  <a:pt x="807429" y="77919"/>
                </a:cubicBezTo>
                <a:cubicBezTo>
                  <a:pt x="808336" y="80640"/>
                  <a:pt x="808123" y="84055"/>
                  <a:pt x="810151" y="86083"/>
                </a:cubicBezTo>
                <a:cubicBezTo>
                  <a:pt x="814776" y="90708"/>
                  <a:pt x="826479" y="96969"/>
                  <a:pt x="826479" y="96969"/>
                </a:cubicBezTo>
                <a:cubicBezTo>
                  <a:pt x="839179" y="116019"/>
                  <a:pt x="831922" y="109669"/>
                  <a:pt x="845529" y="118741"/>
                </a:cubicBezTo>
                <a:cubicBezTo>
                  <a:pt x="847926" y="125929"/>
                  <a:pt x="852120" y="140894"/>
                  <a:pt x="859136" y="143233"/>
                </a:cubicBezTo>
                <a:lnTo>
                  <a:pt x="867301" y="145955"/>
                </a:lnTo>
                <a:cubicBezTo>
                  <a:pt x="893341" y="171995"/>
                  <a:pt x="860002" y="141090"/>
                  <a:pt x="883629" y="156841"/>
                </a:cubicBezTo>
                <a:cubicBezTo>
                  <a:pt x="904011" y="170429"/>
                  <a:pt x="880549" y="161257"/>
                  <a:pt x="899958" y="167726"/>
                </a:cubicBezTo>
                <a:cubicBezTo>
                  <a:pt x="902679" y="169540"/>
                  <a:pt x="905609" y="171075"/>
                  <a:pt x="908122" y="173169"/>
                </a:cubicBezTo>
                <a:cubicBezTo>
                  <a:pt x="911079" y="175633"/>
                  <a:pt x="913084" y="179198"/>
                  <a:pt x="916286" y="181333"/>
                </a:cubicBezTo>
                <a:cubicBezTo>
                  <a:pt x="918673" y="182924"/>
                  <a:pt x="921729" y="183148"/>
                  <a:pt x="924451" y="184055"/>
                </a:cubicBezTo>
                <a:cubicBezTo>
                  <a:pt x="950491" y="210095"/>
                  <a:pt x="917152" y="179190"/>
                  <a:pt x="940779" y="194941"/>
                </a:cubicBezTo>
                <a:cubicBezTo>
                  <a:pt x="943981" y="197076"/>
                  <a:pt x="945906" y="200742"/>
                  <a:pt x="948944" y="203105"/>
                </a:cubicBezTo>
                <a:cubicBezTo>
                  <a:pt x="954107" y="207121"/>
                  <a:pt x="959829" y="210362"/>
                  <a:pt x="965272" y="213991"/>
                </a:cubicBezTo>
                <a:cubicBezTo>
                  <a:pt x="967993" y="215805"/>
                  <a:pt x="971123" y="217120"/>
                  <a:pt x="973436" y="219433"/>
                </a:cubicBezTo>
                <a:cubicBezTo>
                  <a:pt x="992078" y="238075"/>
                  <a:pt x="985495" y="229357"/>
                  <a:pt x="995208" y="243926"/>
                </a:cubicBezTo>
                <a:cubicBezTo>
                  <a:pt x="996115" y="246648"/>
                  <a:pt x="996168" y="249826"/>
                  <a:pt x="997929" y="252091"/>
                </a:cubicBezTo>
                <a:cubicBezTo>
                  <a:pt x="1010777" y="268611"/>
                  <a:pt x="1009009" y="266669"/>
                  <a:pt x="1022422" y="271141"/>
                </a:cubicBezTo>
                <a:cubicBezTo>
                  <a:pt x="1024236" y="273862"/>
                  <a:pt x="1025404" y="277151"/>
                  <a:pt x="1027865" y="279305"/>
                </a:cubicBezTo>
                <a:cubicBezTo>
                  <a:pt x="1027875" y="279314"/>
                  <a:pt x="1048270" y="292908"/>
                  <a:pt x="1052358" y="295633"/>
                </a:cubicBezTo>
                <a:lnTo>
                  <a:pt x="1085015" y="317405"/>
                </a:lnTo>
                <a:lnTo>
                  <a:pt x="1101344" y="328291"/>
                </a:lnTo>
                <a:lnTo>
                  <a:pt x="1109508" y="331012"/>
                </a:lnTo>
                <a:cubicBezTo>
                  <a:pt x="1111322" y="333733"/>
                  <a:pt x="1112438" y="337082"/>
                  <a:pt x="1114951" y="339176"/>
                </a:cubicBezTo>
                <a:cubicBezTo>
                  <a:pt x="1119435" y="342913"/>
                  <a:pt x="1128329" y="345450"/>
                  <a:pt x="1134001" y="347341"/>
                </a:cubicBezTo>
                <a:cubicBezTo>
                  <a:pt x="1135815" y="350062"/>
                  <a:pt x="1136983" y="353351"/>
                  <a:pt x="1139444" y="355505"/>
                </a:cubicBezTo>
                <a:cubicBezTo>
                  <a:pt x="1144367" y="359813"/>
                  <a:pt x="1151147" y="361766"/>
                  <a:pt x="1155772" y="366391"/>
                </a:cubicBezTo>
                <a:lnTo>
                  <a:pt x="1163936" y="374555"/>
                </a:lnTo>
                <a:cubicBezTo>
                  <a:pt x="1164843" y="389069"/>
                  <a:pt x="1161387" y="404544"/>
                  <a:pt x="1166658" y="418098"/>
                </a:cubicBezTo>
                <a:cubicBezTo>
                  <a:pt x="1168737" y="423445"/>
                  <a:pt x="1177543" y="421727"/>
                  <a:pt x="1182986" y="423541"/>
                </a:cubicBezTo>
                <a:lnTo>
                  <a:pt x="1191151" y="426262"/>
                </a:lnTo>
                <a:cubicBezTo>
                  <a:pt x="1192965" y="433519"/>
                  <a:pt x="1190370" y="443883"/>
                  <a:pt x="1196594" y="448033"/>
                </a:cubicBezTo>
                <a:cubicBezTo>
                  <a:pt x="1199315" y="449847"/>
                  <a:pt x="1201769" y="452148"/>
                  <a:pt x="1204758" y="453476"/>
                </a:cubicBezTo>
                <a:cubicBezTo>
                  <a:pt x="1210001" y="455806"/>
                  <a:pt x="1215643" y="457105"/>
                  <a:pt x="1221086" y="458919"/>
                </a:cubicBezTo>
                <a:cubicBezTo>
                  <a:pt x="1223808" y="459826"/>
                  <a:pt x="1226421" y="461169"/>
                  <a:pt x="1229251" y="461641"/>
                </a:cubicBezTo>
                <a:cubicBezTo>
                  <a:pt x="1234694" y="462548"/>
                  <a:pt x="1240193" y="463165"/>
                  <a:pt x="1245579" y="464362"/>
                </a:cubicBezTo>
                <a:cubicBezTo>
                  <a:pt x="1248380" y="464984"/>
                  <a:pt x="1250986" y="466295"/>
                  <a:pt x="1253744" y="467083"/>
                </a:cubicBezTo>
                <a:cubicBezTo>
                  <a:pt x="1257340" y="468110"/>
                  <a:pt x="1261047" y="468730"/>
                  <a:pt x="1264629" y="469805"/>
                </a:cubicBezTo>
                <a:cubicBezTo>
                  <a:pt x="1272872" y="472278"/>
                  <a:pt x="1280958" y="475247"/>
                  <a:pt x="1289122" y="477969"/>
                </a:cubicBezTo>
                <a:lnTo>
                  <a:pt x="1297286" y="480691"/>
                </a:lnTo>
                <a:lnTo>
                  <a:pt x="1305451" y="483412"/>
                </a:lnTo>
                <a:cubicBezTo>
                  <a:pt x="1308172" y="485226"/>
                  <a:pt x="1311302" y="486542"/>
                  <a:pt x="1313615" y="488855"/>
                </a:cubicBezTo>
                <a:cubicBezTo>
                  <a:pt x="1318891" y="494131"/>
                  <a:pt x="1319566" y="498542"/>
                  <a:pt x="1321779" y="505183"/>
                </a:cubicBezTo>
                <a:cubicBezTo>
                  <a:pt x="1322686" y="529676"/>
                  <a:pt x="1321035" y="554399"/>
                  <a:pt x="1324501" y="578662"/>
                </a:cubicBezTo>
                <a:cubicBezTo>
                  <a:pt x="1324907" y="581502"/>
                  <a:pt x="1329796" y="581383"/>
                  <a:pt x="1332665" y="581383"/>
                </a:cubicBezTo>
                <a:cubicBezTo>
                  <a:pt x="1344493" y="581383"/>
                  <a:pt x="1356251" y="579569"/>
                  <a:pt x="1368044" y="578662"/>
                </a:cubicBezTo>
                <a:cubicBezTo>
                  <a:pt x="1370765" y="577755"/>
                  <a:pt x="1373700" y="577334"/>
                  <a:pt x="1376208" y="575941"/>
                </a:cubicBezTo>
                <a:cubicBezTo>
                  <a:pt x="1381926" y="572764"/>
                  <a:pt x="1392536" y="565055"/>
                  <a:pt x="1392536" y="565055"/>
                </a:cubicBezTo>
                <a:cubicBezTo>
                  <a:pt x="1393443" y="567776"/>
                  <a:pt x="1395125" y="570353"/>
                  <a:pt x="1395258" y="573219"/>
                </a:cubicBezTo>
                <a:cubicBezTo>
                  <a:pt x="1397856" y="629071"/>
                  <a:pt x="1400148" y="758151"/>
                  <a:pt x="1395258" y="809983"/>
                </a:cubicBezTo>
                <a:cubicBezTo>
                  <a:pt x="1393969" y="823649"/>
                  <a:pt x="1376590" y="830789"/>
                  <a:pt x="1368044" y="837198"/>
                </a:cubicBezTo>
                <a:cubicBezTo>
                  <a:pt x="1366585" y="838292"/>
                  <a:pt x="1352247" y="849359"/>
                  <a:pt x="1348994" y="850805"/>
                </a:cubicBezTo>
                <a:cubicBezTo>
                  <a:pt x="1343751" y="853135"/>
                  <a:pt x="1338108" y="854434"/>
                  <a:pt x="1332665" y="856248"/>
                </a:cubicBezTo>
                <a:lnTo>
                  <a:pt x="1324501" y="858969"/>
                </a:lnTo>
                <a:cubicBezTo>
                  <a:pt x="1319058" y="862598"/>
                  <a:pt x="1314378" y="867786"/>
                  <a:pt x="1308172" y="869855"/>
                </a:cubicBezTo>
                <a:lnTo>
                  <a:pt x="1291844" y="875298"/>
                </a:lnTo>
                <a:cubicBezTo>
                  <a:pt x="1289122" y="876205"/>
                  <a:pt x="1286462" y="877323"/>
                  <a:pt x="1283679" y="878019"/>
                </a:cubicBezTo>
                <a:cubicBezTo>
                  <a:pt x="1280051" y="878926"/>
                  <a:pt x="1276376" y="879666"/>
                  <a:pt x="1272794" y="880741"/>
                </a:cubicBezTo>
                <a:cubicBezTo>
                  <a:pt x="1272692" y="880771"/>
                  <a:pt x="1252434" y="887527"/>
                  <a:pt x="1248301" y="888905"/>
                </a:cubicBezTo>
                <a:cubicBezTo>
                  <a:pt x="1245579" y="889812"/>
                  <a:pt x="1242983" y="891270"/>
                  <a:pt x="1240136" y="891626"/>
                </a:cubicBezTo>
                <a:cubicBezTo>
                  <a:pt x="1191346" y="897726"/>
                  <a:pt x="1225674" y="894104"/>
                  <a:pt x="1136722" y="897069"/>
                </a:cubicBezTo>
                <a:cubicBezTo>
                  <a:pt x="1134001" y="897976"/>
                  <a:pt x="1130798" y="897999"/>
                  <a:pt x="1128558" y="899791"/>
                </a:cubicBezTo>
                <a:cubicBezTo>
                  <a:pt x="1126004" y="901834"/>
                  <a:pt x="1125889" y="906222"/>
                  <a:pt x="1123115" y="907955"/>
                </a:cubicBezTo>
                <a:cubicBezTo>
                  <a:pt x="1118250" y="910996"/>
                  <a:pt x="1112352" y="912007"/>
                  <a:pt x="1106786" y="913398"/>
                </a:cubicBezTo>
                <a:cubicBezTo>
                  <a:pt x="1093118" y="916815"/>
                  <a:pt x="1099449" y="914936"/>
                  <a:pt x="1087736" y="918841"/>
                </a:cubicBezTo>
                <a:cubicBezTo>
                  <a:pt x="1038464" y="915761"/>
                  <a:pt x="1057992" y="920718"/>
                  <a:pt x="1027865" y="910676"/>
                </a:cubicBezTo>
                <a:lnTo>
                  <a:pt x="1011536" y="905233"/>
                </a:lnTo>
                <a:lnTo>
                  <a:pt x="1003372" y="902512"/>
                </a:lnTo>
                <a:cubicBezTo>
                  <a:pt x="978643" y="906044"/>
                  <a:pt x="990406" y="903205"/>
                  <a:pt x="967994" y="910676"/>
                </a:cubicBezTo>
                <a:lnTo>
                  <a:pt x="959829" y="913398"/>
                </a:lnTo>
                <a:lnTo>
                  <a:pt x="951665" y="916119"/>
                </a:lnTo>
                <a:cubicBezTo>
                  <a:pt x="948944" y="917933"/>
                  <a:pt x="946490" y="920234"/>
                  <a:pt x="943501" y="921562"/>
                </a:cubicBezTo>
                <a:cubicBezTo>
                  <a:pt x="943489" y="921567"/>
                  <a:pt x="923096" y="928363"/>
                  <a:pt x="919008" y="929726"/>
                </a:cubicBezTo>
                <a:lnTo>
                  <a:pt x="910844" y="932448"/>
                </a:lnTo>
                <a:lnTo>
                  <a:pt x="902679" y="935169"/>
                </a:lnTo>
                <a:cubicBezTo>
                  <a:pt x="899958" y="937890"/>
                  <a:pt x="897553" y="940970"/>
                  <a:pt x="894515" y="943333"/>
                </a:cubicBezTo>
                <a:cubicBezTo>
                  <a:pt x="889351" y="947349"/>
                  <a:pt x="878186" y="954219"/>
                  <a:pt x="878186" y="954219"/>
                </a:cubicBezTo>
                <a:cubicBezTo>
                  <a:pt x="876372" y="956940"/>
                  <a:pt x="875057" y="960070"/>
                  <a:pt x="872744" y="962383"/>
                </a:cubicBezTo>
                <a:cubicBezTo>
                  <a:pt x="870431" y="964696"/>
                  <a:pt x="867568" y="966498"/>
                  <a:pt x="864579" y="967826"/>
                </a:cubicBezTo>
                <a:cubicBezTo>
                  <a:pt x="843217" y="977320"/>
                  <a:pt x="831765" y="974300"/>
                  <a:pt x="804708" y="975991"/>
                </a:cubicBezTo>
                <a:cubicBezTo>
                  <a:pt x="801987" y="977805"/>
                  <a:pt x="799469" y="979970"/>
                  <a:pt x="796544" y="981433"/>
                </a:cubicBezTo>
                <a:cubicBezTo>
                  <a:pt x="793978" y="982716"/>
                  <a:pt x="790619" y="982363"/>
                  <a:pt x="788379" y="984155"/>
                </a:cubicBezTo>
                <a:cubicBezTo>
                  <a:pt x="785825" y="986198"/>
                  <a:pt x="784750" y="989598"/>
                  <a:pt x="782936" y="992319"/>
                </a:cubicBezTo>
                <a:cubicBezTo>
                  <a:pt x="776097" y="1012838"/>
                  <a:pt x="785322" y="987546"/>
                  <a:pt x="774772" y="1008648"/>
                </a:cubicBezTo>
                <a:cubicBezTo>
                  <a:pt x="770355" y="1017482"/>
                  <a:pt x="774722" y="1018784"/>
                  <a:pt x="763886" y="1024976"/>
                </a:cubicBezTo>
                <a:cubicBezTo>
                  <a:pt x="760639" y="1026832"/>
                  <a:pt x="756597" y="1026671"/>
                  <a:pt x="753001" y="1027698"/>
                </a:cubicBezTo>
                <a:cubicBezTo>
                  <a:pt x="750243" y="1028486"/>
                  <a:pt x="747558" y="1029512"/>
                  <a:pt x="744836" y="1030419"/>
                </a:cubicBezTo>
                <a:cubicBezTo>
                  <a:pt x="743022" y="1033140"/>
                  <a:pt x="740334" y="1035450"/>
                  <a:pt x="739394" y="1038583"/>
                </a:cubicBezTo>
                <a:cubicBezTo>
                  <a:pt x="737551" y="1044727"/>
                  <a:pt x="740072" y="1052194"/>
                  <a:pt x="736672" y="1057633"/>
                </a:cubicBezTo>
                <a:cubicBezTo>
                  <a:pt x="734690" y="1060805"/>
                  <a:pt x="729415" y="1059448"/>
                  <a:pt x="725786" y="1060355"/>
                </a:cubicBezTo>
                <a:cubicBezTo>
                  <a:pt x="712179" y="1059448"/>
                  <a:pt x="698602" y="1057633"/>
                  <a:pt x="684965" y="1057633"/>
                </a:cubicBezTo>
                <a:cubicBezTo>
                  <a:pt x="676750" y="1057633"/>
                  <a:pt x="665929" y="1054215"/>
                  <a:pt x="660472" y="1060355"/>
                </a:cubicBezTo>
                <a:cubicBezTo>
                  <a:pt x="655613" y="1065821"/>
                  <a:pt x="662287" y="1074869"/>
                  <a:pt x="663194" y="1082126"/>
                </a:cubicBezTo>
                <a:cubicBezTo>
                  <a:pt x="662287" y="1086662"/>
                  <a:pt x="662386" y="1091522"/>
                  <a:pt x="660472" y="1095733"/>
                </a:cubicBezTo>
                <a:cubicBezTo>
                  <a:pt x="653569" y="1110918"/>
                  <a:pt x="652130" y="1110366"/>
                  <a:pt x="641422" y="1117505"/>
                </a:cubicBezTo>
                <a:cubicBezTo>
                  <a:pt x="634584" y="1138022"/>
                  <a:pt x="643807" y="1112735"/>
                  <a:pt x="633258" y="1133833"/>
                </a:cubicBezTo>
                <a:cubicBezTo>
                  <a:pt x="631975" y="1136399"/>
                  <a:pt x="632297" y="1139733"/>
                  <a:pt x="630536" y="1141998"/>
                </a:cubicBezTo>
                <a:cubicBezTo>
                  <a:pt x="610055" y="1168331"/>
                  <a:pt x="622302" y="1152919"/>
                  <a:pt x="606044" y="1161048"/>
                </a:cubicBezTo>
                <a:cubicBezTo>
                  <a:pt x="603118" y="1162511"/>
                  <a:pt x="600868" y="1165163"/>
                  <a:pt x="597879" y="1166491"/>
                </a:cubicBezTo>
                <a:cubicBezTo>
                  <a:pt x="592636" y="1168821"/>
                  <a:pt x="586994" y="1170119"/>
                  <a:pt x="581551" y="1171933"/>
                </a:cubicBezTo>
                <a:lnTo>
                  <a:pt x="573386" y="1174655"/>
                </a:lnTo>
                <a:lnTo>
                  <a:pt x="565222" y="1177376"/>
                </a:lnTo>
                <a:cubicBezTo>
                  <a:pt x="562501" y="1179190"/>
                  <a:pt x="557851" y="1179646"/>
                  <a:pt x="557058" y="1182819"/>
                </a:cubicBezTo>
                <a:cubicBezTo>
                  <a:pt x="555689" y="1188296"/>
                  <a:pt x="560405" y="1201026"/>
                  <a:pt x="562501" y="1207312"/>
                </a:cubicBezTo>
                <a:cubicBezTo>
                  <a:pt x="550203" y="1244205"/>
                  <a:pt x="565150" y="1210505"/>
                  <a:pt x="548894" y="1229083"/>
                </a:cubicBezTo>
                <a:cubicBezTo>
                  <a:pt x="544586" y="1234006"/>
                  <a:pt x="541637" y="1239969"/>
                  <a:pt x="538008" y="1245412"/>
                </a:cubicBezTo>
                <a:lnTo>
                  <a:pt x="532565" y="1253576"/>
                </a:lnTo>
                <a:cubicBezTo>
                  <a:pt x="531658" y="1256298"/>
                  <a:pt x="529844" y="1258872"/>
                  <a:pt x="529844" y="1261741"/>
                </a:cubicBezTo>
                <a:cubicBezTo>
                  <a:pt x="529844" y="1266754"/>
                  <a:pt x="531935" y="1282253"/>
                  <a:pt x="535286" y="1288955"/>
                </a:cubicBezTo>
                <a:cubicBezTo>
                  <a:pt x="536749" y="1291880"/>
                  <a:pt x="538915" y="1294398"/>
                  <a:pt x="540729" y="1297119"/>
                </a:cubicBezTo>
                <a:cubicBezTo>
                  <a:pt x="538915" y="1299840"/>
                  <a:pt x="537840" y="1303240"/>
                  <a:pt x="535286" y="1305283"/>
                </a:cubicBezTo>
                <a:cubicBezTo>
                  <a:pt x="533046" y="1307075"/>
                  <a:pt x="529880" y="1307217"/>
                  <a:pt x="527122" y="1308005"/>
                </a:cubicBezTo>
                <a:cubicBezTo>
                  <a:pt x="523045" y="1309170"/>
                  <a:pt x="512428" y="1311270"/>
                  <a:pt x="508072" y="1313448"/>
                </a:cubicBezTo>
                <a:cubicBezTo>
                  <a:pt x="486978" y="1323996"/>
                  <a:pt x="512257" y="1314775"/>
                  <a:pt x="491744" y="1321612"/>
                </a:cubicBezTo>
                <a:cubicBezTo>
                  <a:pt x="486301" y="1320705"/>
                  <a:pt x="480350" y="1321359"/>
                  <a:pt x="475415" y="1318891"/>
                </a:cubicBezTo>
                <a:cubicBezTo>
                  <a:pt x="466426" y="1314397"/>
                  <a:pt x="467795" y="1287594"/>
                  <a:pt x="467251" y="1286233"/>
                </a:cubicBezTo>
                <a:cubicBezTo>
                  <a:pt x="466186" y="1283569"/>
                  <a:pt x="461808" y="1284419"/>
                  <a:pt x="459086" y="1283512"/>
                </a:cubicBezTo>
                <a:cubicBezTo>
                  <a:pt x="453643" y="1284419"/>
                  <a:pt x="448144" y="1285036"/>
                  <a:pt x="442758" y="1286233"/>
                </a:cubicBezTo>
                <a:cubicBezTo>
                  <a:pt x="439958" y="1286855"/>
                  <a:pt x="436261" y="1286621"/>
                  <a:pt x="434594" y="1288955"/>
                </a:cubicBezTo>
                <a:cubicBezTo>
                  <a:pt x="431259" y="1293623"/>
                  <a:pt x="434594" y="1303469"/>
                  <a:pt x="429151" y="1305283"/>
                </a:cubicBezTo>
                <a:lnTo>
                  <a:pt x="404658" y="1313448"/>
                </a:lnTo>
                <a:lnTo>
                  <a:pt x="396494" y="1316169"/>
                </a:lnTo>
                <a:cubicBezTo>
                  <a:pt x="381072" y="1315262"/>
                  <a:pt x="365506" y="1315740"/>
                  <a:pt x="350229" y="1313448"/>
                </a:cubicBezTo>
                <a:cubicBezTo>
                  <a:pt x="344486" y="1312587"/>
                  <a:pt x="337762" y="1302415"/>
                  <a:pt x="333901" y="1299841"/>
                </a:cubicBezTo>
                <a:cubicBezTo>
                  <a:pt x="331514" y="1298250"/>
                  <a:pt x="328458" y="1298026"/>
                  <a:pt x="325736" y="1297119"/>
                </a:cubicBezTo>
                <a:cubicBezTo>
                  <a:pt x="321782" y="1285254"/>
                  <a:pt x="322038" y="1281250"/>
                  <a:pt x="314851" y="1272626"/>
                </a:cubicBezTo>
                <a:cubicBezTo>
                  <a:pt x="312387" y="1269669"/>
                  <a:pt x="309408" y="1267183"/>
                  <a:pt x="306686" y="1264462"/>
                </a:cubicBezTo>
                <a:cubicBezTo>
                  <a:pt x="305779" y="1261741"/>
                  <a:pt x="305993" y="1258326"/>
                  <a:pt x="303965" y="1256298"/>
                </a:cubicBezTo>
                <a:cubicBezTo>
                  <a:pt x="301937" y="1254269"/>
                  <a:pt x="298367" y="1254859"/>
                  <a:pt x="295801" y="1253576"/>
                </a:cubicBezTo>
                <a:cubicBezTo>
                  <a:pt x="292875" y="1252113"/>
                  <a:pt x="290358" y="1249947"/>
                  <a:pt x="287636" y="1248133"/>
                </a:cubicBezTo>
                <a:cubicBezTo>
                  <a:pt x="278957" y="1222093"/>
                  <a:pt x="290864" y="1260176"/>
                  <a:pt x="282194" y="1193705"/>
                </a:cubicBezTo>
                <a:cubicBezTo>
                  <a:pt x="282193" y="1193695"/>
                  <a:pt x="275391" y="1173299"/>
                  <a:pt x="274029" y="1169212"/>
                </a:cubicBezTo>
                <a:lnTo>
                  <a:pt x="265865" y="1144719"/>
                </a:lnTo>
                <a:cubicBezTo>
                  <a:pt x="264958" y="1141998"/>
                  <a:pt x="264735" y="1138942"/>
                  <a:pt x="263144" y="1136555"/>
                </a:cubicBezTo>
                <a:cubicBezTo>
                  <a:pt x="259515" y="1131112"/>
                  <a:pt x="258464" y="1122294"/>
                  <a:pt x="252258" y="1120226"/>
                </a:cubicBezTo>
                <a:lnTo>
                  <a:pt x="244094" y="1117505"/>
                </a:lnTo>
                <a:cubicBezTo>
                  <a:pt x="241372" y="1118412"/>
                  <a:pt x="238316" y="1118635"/>
                  <a:pt x="235929" y="1120226"/>
                </a:cubicBezTo>
                <a:cubicBezTo>
                  <a:pt x="215542" y="1133817"/>
                  <a:pt x="239014" y="1124642"/>
                  <a:pt x="219601" y="1131112"/>
                </a:cubicBezTo>
                <a:cubicBezTo>
                  <a:pt x="216879" y="1133833"/>
                  <a:pt x="215246" y="1138732"/>
                  <a:pt x="211436" y="1139276"/>
                </a:cubicBezTo>
                <a:cubicBezTo>
                  <a:pt x="126131" y="1151463"/>
                  <a:pt x="164304" y="1128064"/>
                  <a:pt x="135236" y="1147441"/>
                </a:cubicBezTo>
                <a:cubicBezTo>
                  <a:pt x="133160" y="1150556"/>
                  <a:pt x="128549" y="1161094"/>
                  <a:pt x="121629" y="1158326"/>
                </a:cubicBezTo>
                <a:cubicBezTo>
                  <a:pt x="118592" y="1157111"/>
                  <a:pt x="118000" y="1152883"/>
                  <a:pt x="116186" y="1150162"/>
                </a:cubicBezTo>
                <a:cubicBezTo>
                  <a:pt x="109710" y="1130730"/>
                  <a:pt x="115518" y="1137015"/>
                  <a:pt x="102579" y="1128391"/>
                </a:cubicBezTo>
                <a:cubicBezTo>
                  <a:pt x="95322" y="1129298"/>
                  <a:pt x="87864" y="1129188"/>
                  <a:pt x="80808" y="1131112"/>
                </a:cubicBezTo>
                <a:cubicBezTo>
                  <a:pt x="77653" y="1131973"/>
                  <a:pt x="75569" y="1135092"/>
                  <a:pt x="72644" y="1136555"/>
                </a:cubicBezTo>
                <a:cubicBezTo>
                  <a:pt x="70078" y="1137838"/>
                  <a:pt x="67201" y="1138369"/>
                  <a:pt x="64479" y="1139276"/>
                </a:cubicBezTo>
                <a:cubicBezTo>
                  <a:pt x="60851" y="1138369"/>
                  <a:pt x="56637" y="1138729"/>
                  <a:pt x="53594" y="1136555"/>
                </a:cubicBezTo>
                <a:cubicBezTo>
                  <a:pt x="51446" y="1135020"/>
                  <a:pt x="42192" y="1120813"/>
                  <a:pt x="39986" y="1117505"/>
                </a:cubicBezTo>
                <a:cubicBezTo>
                  <a:pt x="39079" y="1114784"/>
                  <a:pt x="37265" y="1112210"/>
                  <a:pt x="37265" y="1109341"/>
                </a:cubicBezTo>
                <a:cubicBezTo>
                  <a:pt x="37265" y="1105155"/>
                  <a:pt x="39900" y="1090463"/>
                  <a:pt x="42708" y="1084848"/>
                </a:cubicBezTo>
                <a:cubicBezTo>
                  <a:pt x="44171" y="1081922"/>
                  <a:pt x="46337" y="1079405"/>
                  <a:pt x="48151" y="1076683"/>
                </a:cubicBezTo>
                <a:cubicBezTo>
                  <a:pt x="49058" y="1073962"/>
                  <a:pt x="50872" y="1071388"/>
                  <a:pt x="50872" y="1068519"/>
                </a:cubicBezTo>
                <a:cubicBezTo>
                  <a:pt x="50872" y="1056692"/>
                  <a:pt x="51020" y="1044615"/>
                  <a:pt x="48151" y="1033141"/>
                </a:cubicBezTo>
                <a:cubicBezTo>
                  <a:pt x="47217" y="1029407"/>
                  <a:pt x="42943" y="1027440"/>
                  <a:pt x="39986" y="1024976"/>
                </a:cubicBezTo>
                <a:cubicBezTo>
                  <a:pt x="32951" y="1019114"/>
                  <a:pt x="31841" y="1019539"/>
                  <a:pt x="23658" y="1016812"/>
                </a:cubicBezTo>
                <a:cubicBezTo>
                  <a:pt x="0" y="1001040"/>
                  <a:pt x="3847" y="1010486"/>
                  <a:pt x="10051" y="973269"/>
                </a:cubicBezTo>
                <a:cubicBezTo>
                  <a:pt x="10994" y="967610"/>
                  <a:pt x="15494" y="956941"/>
                  <a:pt x="15494" y="956941"/>
                </a:cubicBezTo>
                <a:cubicBezTo>
                  <a:pt x="12138" y="926744"/>
                  <a:pt x="15370" y="940243"/>
                  <a:pt x="7329" y="916119"/>
                </a:cubicBezTo>
                <a:lnTo>
                  <a:pt x="4608" y="907955"/>
                </a:lnTo>
                <a:lnTo>
                  <a:pt x="1886" y="899791"/>
                </a:lnTo>
                <a:cubicBezTo>
                  <a:pt x="2793" y="893441"/>
                  <a:pt x="670" y="885804"/>
                  <a:pt x="4608" y="880741"/>
                </a:cubicBezTo>
                <a:cubicBezTo>
                  <a:pt x="6207" y="878685"/>
                  <a:pt x="27287" y="873710"/>
                  <a:pt x="31822" y="872576"/>
                </a:cubicBezTo>
                <a:lnTo>
                  <a:pt x="42708" y="839919"/>
                </a:lnTo>
                <a:cubicBezTo>
                  <a:pt x="44922" y="833277"/>
                  <a:pt x="45595" y="828868"/>
                  <a:pt x="50872" y="823591"/>
                </a:cubicBezTo>
                <a:cubicBezTo>
                  <a:pt x="53185" y="821278"/>
                  <a:pt x="56047" y="819476"/>
                  <a:pt x="59036" y="818148"/>
                </a:cubicBezTo>
                <a:cubicBezTo>
                  <a:pt x="64279" y="815818"/>
                  <a:pt x="75365" y="812705"/>
                  <a:pt x="75365" y="812705"/>
                </a:cubicBezTo>
                <a:cubicBezTo>
                  <a:pt x="80808" y="813612"/>
                  <a:pt x="86307" y="814229"/>
                  <a:pt x="91694" y="815426"/>
                </a:cubicBezTo>
                <a:cubicBezTo>
                  <a:pt x="94494" y="816048"/>
                  <a:pt x="97830" y="816120"/>
                  <a:pt x="99858" y="818148"/>
                </a:cubicBezTo>
                <a:cubicBezTo>
                  <a:pt x="104483" y="822773"/>
                  <a:pt x="110744" y="834476"/>
                  <a:pt x="110744" y="834476"/>
                </a:cubicBezTo>
                <a:cubicBezTo>
                  <a:pt x="113341" y="842270"/>
                  <a:pt x="113235" y="846009"/>
                  <a:pt x="121629" y="850805"/>
                </a:cubicBezTo>
                <a:cubicBezTo>
                  <a:pt x="124877" y="852661"/>
                  <a:pt x="128886" y="852619"/>
                  <a:pt x="132515" y="853526"/>
                </a:cubicBezTo>
                <a:cubicBezTo>
                  <a:pt x="138865" y="852619"/>
                  <a:pt x="145609" y="853187"/>
                  <a:pt x="151565" y="850805"/>
                </a:cubicBezTo>
                <a:cubicBezTo>
                  <a:pt x="155138" y="849376"/>
                  <a:pt x="156527" y="844776"/>
                  <a:pt x="159729" y="842641"/>
                </a:cubicBezTo>
                <a:cubicBezTo>
                  <a:pt x="162116" y="841050"/>
                  <a:pt x="165172" y="840826"/>
                  <a:pt x="167894" y="839919"/>
                </a:cubicBezTo>
                <a:cubicBezTo>
                  <a:pt x="171522" y="840826"/>
                  <a:pt x="175183" y="841614"/>
                  <a:pt x="178779" y="842641"/>
                </a:cubicBezTo>
                <a:cubicBezTo>
                  <a:pt x="181537" y="843429"/>
                  <a:pt x="184075" y="845362"/>
                  <a:pt x="186944" y="845362"/>
                </a:cubicBezTo>
                <a:cubicBezTo>
                  <a:pt x="196963" y="845362"/>
                  <a:pt x="206901" y="843548"/>
                  <a:pt x="216879" y="842641"/>
                </a:cubicBezTo>
                <a:cubicBezTo>
                  <a:pt x="234500" y="836767"/>
                  <a:pt x="232109" y="842403"/>
                  <a:pt x="235929" y="829033"/>
                </a:cubicBezTo>
                <a:cubicBezTo>
                  <a:pt x="236956" y="825437"/>
                  <a:pt x="237744" y="821776"/>
                  <a:pt x="238651" y="818148"/>
                </a:cubicBezTo>
                <a:cubicBezTo>
                  <a:pt x="243187" y="819055"/>
                  <a:pt x="248121" y="818801"/>
                  <a:pt x="252258" y="820869"/>
                </a:cubicBezTo>
                <a:cubicBezTo>
                  <a:pt x="255700" y="822590"/>
                  <a:pt x="257465" y="826569"/>
                  <a:pt x="260422" y="829033"/>
                </a:cubicBezTo>
                <a:cubicBezTo>
                  <a:pt x="267345" y="834803"/>
                  <a:pt x="272577" y="837002"/>
                  <a:pt x="282194" y="837198"/>
                </a:cubicBezTo>
                <a:lnTo>
                  <a:pt x="535286" y="839919"/>
                </a:lnTo>
                <a:cubicBezTo>
                  <a:pt x="543359" y="839381"/>
                  <a:pt x="577181" y="847970"/>
                  <a:pt x="581551" y="829033"/>
                </a:cubicBezTo>
                <a:cubicBezTo>
                  <a:pt x="583601" y="820150"/>
                  <a:pt x="582886" y="810830"/>
                  <a:pt x="584272" y="801819"/>
                </a:cubicBezTo>
                <a:cubicBezTo>
                  <a:pt x="584708" y="798984"/>
                  <a:pt x="586087" y="796376"/>
                  <a:pt x="586994" y="793655"/>
                </a:cubicBezTo>
                <a:cubicBezTo>
                  <a:pt x="586087" y="787305"/>
                  <a:pt x="585530" y="780895"/>
                  <a:pt x="584272" y="774605"/>
                </a:cubicBezTo>
                <a:cubicBezTo>
                  <a:pt x="583709" y="771792"/>
                  <a:pt x="583343" y="768681"/>
                  <a:pt x="581551" y="766441"/>
                </a:cubicBezTo>
                <a:cubicBezTo>
                  <a:pt x="579508" y="763887"/>
                  <a:pt x="576108" y="762812"/>
                  <a:pt x="573386" y="760998"/>
                </a:cubicBezTo>
                <a:cubicBezTo>
                  <a:pt x="571572" y="758276"/>
                  <a:pt x="569407" y="755759"/>
                  <a:pt x="567944" y="752833"/>
                </a:cubicBezTo>
                <a:cubicBezTo>
                  <a:pt x="566661" y="750267"/>
                  <a:pt x="565222" y="747538"/>
                  <a:pt x="565222" y="744669"/>
                </a:cubicBezTo>
                <a:cubicBezTo>
                  <a:pt x="565222" y="664835"/>
                  <a:pt x="566209" y="584998"/>
                  <a:pt x="567944" y="505183"/>
                </a:cubicBezTo>
                <a:cubicBezTo>
                  <a:pt x="568150" y="495715"/>
                  <a:pt x="576108" y="487440"/>
                  <a:pt x="576108" y="477969"/>
                </a:cubicBezTo>
                <a:lnTo>
                  <a:pt x="567944" y="4441"/>
                </a:ln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03" name="Freeform 102"/>
          <p:cNvSpPr/>
          <p:nvPr/>
        </p:nvSpPr>
        <p:spPr>
          <a:xfrm>
            <a:off x="1573219" y="1255187"/>
            <a:ext cx="1049337" cy="1104900"/>
          </a:xfrm>
          <a:custGeom>
            <a:avLst/>
            <a:gdLst>
              <a:gd name="connsiteX0" fmla="*/ 1036132 w 1048832"/>
              <a:gd name="connsiteY0" fmla="*/ 195399 h 1104357"/>
              <a:gd name="connsiteX1" fmla="*/ 1022525 w 1048832"/>
              <a:gd name="connsiteY1" fmla="*/ 187235 h 1104357"/>
              <a:gd name="connsiteX2" fmla="*/ 1014361 w 1048832"/>
              <a:gd name="connsiteY2" fmla="*/ 181792 h 1104357"/>
              <a:gd name="connsiteX3" fmla="*/ 1000753 w 1048832"/>
              <a:gd name="connsiteY3" fmla="*/ 168185 h 1104357"/>
              <a:gd name="connsiteX4" fmla="*/ 984425 w 1048832"/>
              <a:gd name="connsiteY4" fmla="*/ 162742 h 1104357"/>
              <a:gd name="connsiteX5" fmla="*/ 976261 w 1048832"/>
              <a:gd name="connsiteY5" fmla="*/ 154578 h 1104357"/>
              <a:gd name="connsiteX6" fmla="*/ 968096 w 1048832"/>
              <a:gd name="connsiteY6" fmla="*/ 151857 h 1104357"/>
              <a:gd name="connsiteX7" fmla="*/ 959932 w 1048832"/>
              <a:gd name="connsiteY7" fmla="*/ 146414 h 1104357"/>
              <a:gd name="connsiteX8" fmla="*/ 951768 w 1048832"/>
              <a:gd name="connsiteY8" fmla="*/ 130085 h 1104357"/>
              <a:gd name="connsiteX9" fmla="*/ 935439 w 1048832"/>
              <a:gd name="connsiteY9" fmla="*/ 119199 h 1104357"/>
              <a:gd name="connsiteX10" fmla="*/ 932718 w 1048832"/>
              <a:gd name="connsiteY10" fmla="*/ 111035 h 1104357"/>
              <a:gd name="connsiteX11" fmla="*/ 913668 w 1048832"/>
              <a:gd name="connsiteY11" fmla="*/ 89264 h 1104357"/>
              <a:gd name="connsiteX12" fmla="*/ 905503 w 1048832"/>
              <a:gd name="connsiteY12" fmla="*/ 86542 h 1104357"/>
              <a:gd name="connsiteX13" fmla="*/ 889175 w 1048832"/>
              <a:gd name="connsiteY13" fmla="*/ 78378 h 1104357"/>
              <a:gd name="connsiteX14" fmla="*/ 872846 w 1048832"/>
              <a:gd name="connsiteY14" fmla="*/ 67492 h 1104357"/>
              <a:gd name="connsiteX15" fmla="*/ 856518 w 1048832"/>
              <a:gd name="connsiteY15" fmla="*/ 53885 h 1104357"/>
              <a:gd name="connsiteX16" fmla="*/ 842911 w 1048832"/>
              <a:gd name="connsiteY16" fmla="*/ 42999 h 1104357"/>
              <a:gd name="connsiteX17" fmla="*/ 818418 w 1048832"/>
              <a:gd name="connsiteY17" fmla="*/ 26671 h 1104357"/>
              <a:gd name="connsiteX18" fmla="*/ 810253 w 1048832"/>
              <a:gd name="connsiteY18" fmla="*/ 21228 h 1104357"/>
              <a:gd name="connsiteX19" fmla="*/ 802089 w 1048832"/>
              <a:gd name="connsiteY19" fmla="*/ 18507 h 1104357"/>
              <a:gd name="connsiteX20" fmla="*/ 793925 w 1048832"/>
              <a:gd name="connsiteY20" fmla="*/ 13064 h 1104357"/>
              <a:gd name="connsiteX21" fmla="*/ 783039 w 1048832"/>
              <a:gd name="connsiteY21" fmla="*/ 13064 h 1104357"/>
              <a:gd name="connsiteX22" fmla="*/ 772153 w 1048832"/>
              <a:gd name="connsiteY22" fmla="*/ 37557 h 1104357"/>
              <a:gd name="connsiteX23" fmla="*/ 766711 w 1048832"/>
              <a:gd name="connsiteY23" fmla="*/ 56607 h 1104357"/>
              <a:gd name="connsiteX24" fmla="*/ 758546 w 1048832"/>
              <a:gd name="connsiteY24" fmla="*/ 83821 h 1104357"/>
              <a:gd name="connsiteX25" fmla="*/ 753103 w 1048832"/>
              <a:gd name="connsiteY25" fmla="*/ 116478 h 1104357"/>
              <a:gd name="connsiteX26" fmla="*/ 606146 w 1048832"/>
              <a:gd name="connsiteY26" fmla="*/ 113757 h 1104357"/>
              <a:gd name="connsiteX27" fmla="*/ 592539 w 1048832"/>
              <a:gd name="connsiteY27" fmla="*/ 111035 h 1104357"/>
              <a:gd name="connsiteX28" fmla="*/ 551718 w 1048832"/>
              <a:gd name="connsiteY28" fmla="*/ 108314 h 1104357"/>
              <a:gd name="connsiteX29" fmla="*/ 500011 w 1048832"/>
              <a:gd name="connsiteY29" fmla="*/ 108314 h 1104357"/>
              <a:gd name="connsiteX30" fmla="*/ 494568 w 1048832"/>
              <a:gd name="connsiteY30" fmla="*/ 119199 h 1104357"/>
              <a:gd name="connsiteX31" fmla="*/ 489125 w 1048832"/>
              <a:gd name="connsiteY31" fmla="*/ 135528 h 1104357"/>
              <a:gd name="connsiteX32" fmla="*/ 486403 w 1048832"/>
              <a:gd name="connsiteY32" fmla="*/ 143692 h 1104357"/>
              <a:gd name="connsiteX33" fmla="*/ 483682 w 1048832"/>
              <a:gd name="connsiteY33" fmla="*/ 168185 h 1104357"/>
              <a:gd name="connsiteX34" fmla="*/ 478239 w 1048832"/>
              <a:gd name="connsiteY34" fmla="*/ 198121 h 1104357"/>
              <a:gd name="connsiteX35" fmla="*/ 472796 w 1048832"/>
              <a:gd name="connsiteY35" fmla="*/ 214449 h 1104357"/>
              <a:gd name="connsiteX36" fmla="*/ 464632 w 1048832"/>
              <a:gd name="connsiteY36" fmla="*/ 241664 h 1104357"/>
              <a:gd name="connsiteX37" fmla="*/ 459189 w 1048832"/>
              <a:gd name="connsiteY37" fmla="*/ 257992 h 1104357"/>
              <a:gd name="connsiteX38" fmla="*/ 456468 w 1048832"/>
              <a:gd name="connsiteY38" fmla="*/ 266157 h 1104357"/>
              <a:gd name="connsiteX39" fmla="*/ 453746 w 1048832"/>
              <a:gd name="connsiteY39" fmla="*/ 277042 h 1104357"/>
              <a:gd name="connsiteX40" fmla="*/ 448303 w 1048832"/>
              <a:gd name="connsiteY40" fmla="*/ 293371 h 1104357"/>
              <a:gd name="connsiteX41" fmla="*/ 445582 w 1048832"/>
              <a:gd name="connsiteY41" fmla="*/ 304257 h 1104357"/>
              <a:gd name="connsiteX42" fmla="*/ 442861 w 1048832"/>
              <a:gd name="connsiteY42" fmla="*/ 312421 h 1104357"/>
              <a:gd name="connsiteX43" fmla="*/ 426532 w 1048832"/>
              <a:gd name="connsiteY43" fmla="*/ 317864 h 1104357"/>
              <a:gd name="connsiteX44" fmla="*/ 410203 w 1048832"/>
              <a:gd name="connsiteY44" fmla="*/ 326028 h 1104357"/>
              <a:gd name="connsiteX45" fmla="*/ 402039 w 1048832"/>
              <a:gd name="connsiteY45" fmla="*/ 331471 h 1104357"/>
              <a:gd name="connsiteX46" fmla="*/ 385711 w 1048832"/>
              <a:gd name="connsiteY46" fmla="*/ 345078 h 1104357"/>
              <a:gd name="connsiteX47" fmla="*/ 377546 w 1048832"/>
              <a:gd name="connsiteY47" fmla="*/ 347799 h 1104357"/>
              <a:gd name="connsiteX48" fmla="*/ 366661 w 1048832"/>
              <a:gd name="connsiteY48" fmla="*/ 366849 h 1104357"/>
              <a:gd name="connsiteX49" fmla="*/ 361218 w 1048832"/>
              <a:gd name="connsiteY49" fmla="*/ 383178 h 1104357"/>
              <a:gd name="connsiteX50" fmla="*/ 358496 w 1048832"/>
              <a:gd name="connsiteY50" fmla="*/ 391342 h 1104357"/>
              <a:gd name="connsiteX51" fmla="*/ 355775 w 1048832"/>
              <a:gd name="connsiteY51" fmla="*/ 404949 h 1104357"/>
              <a:gd name="connsiteX52" fmla="*/ 353053 w 1048832"/>
              <a:gd name="connsiteY52" fmla="*/ 434885 h 1104357"/>
              <a:gd name="connsiteX53" fmla="*/ 347611 w 1048832"/>
              <a:gd name="connsiteY53" fmla="*/ 451214 h 1104357"/>
              <a:gd name="connsiteX54" fmla="*/ 344889 w 1048832"/>
              <a:gd name="connsiteY54" fmla="*/ 470264 h 1104357"/>
              <a:gd name="connsiteX55" fmla="*/ 339446 w 1048832"/>
              <a:gd name="connsiteY55" fmla="*/ 486592 h 1104357"/>
              <a:gd name="connsiteX56" fmla="*/ 336725 w 1048832"/>
              <a:gd name="connsiteY56" fmla="*/ 497478 h 1104357"/>
              <a:gd name="connsiteX57" fmla="*/ 325839 w 1048832"/>
              <a:gd name="connsiteY57" fmla="*/ 494757 h 1104357"/>
              <a:gd name="connsiteX58" fmla="*/ 317675 w 1048832"/>
              <a:gd name="connsiteY58" fmla="*/ 492035 h 1104357"/>
              <a:gd name="connsiteX59" fmla="*/ 151668 w 1048832"/>
              <a:gd name="connsiteY59" fmla="*/ 489314 h 1104357"/>
              <a:gd name="connsiteX60" fmla="*/ 80911 w 1048832"/>
              <a:gd name="connsiteY60" fmla="*/ 481149 h 1104357"/>
              <a:gd name="connsiteX61" fmla="*/ 34646 w 1048832"/>
              <a:gd name="connsiteY61" fmla="*/ 483871 h 1104357"/>
              <a:gd name="connsiteX62" fmla="*/ 37368 w 1048832"/>
              <a:gd name="connsiteY62" fmla="*/ 494757 h 1104357"/>
              <a:gd name="connsiteX63" fmla="*/ 42811 w 1048832"/>
              <a:gd name="connsiteY63" fmla="*/ 511085 h 1104357"/>
              <a:gd name="connsiteX64" fmla="*/ 50975 w 1048832"/>
              <a:gd name="connsiteY64" fmla="*/ 527414 h 1104357"/>
              <a:gd name="connsiteX65" fmla="*/ 67303 w 1048832"/>
              <a:gd name="connsiteY65" fmla="*/ 538299 h 1104357"/>
              <a:gd name="connsiteX66" fmla="*/ 70025 w 1048832"/>
              <a:gd name="connsiteY66" fmla="*/ 546464 h 1104357"/>
              <a:gd name="connsiteX67" fmla="*/ 78189 w 1048832"/>
              <a:gd name="connsiteY67" fmla="*/ 551907 h 1104357"/>
              <a:gd name="connsiteX68" fmla="*/ 75468 w 1048832"/>
              <a:gd name="connsiteY68" fmla="*/ 570957 h 1104357"/>
              <a:gd name="connsiteX69" fmla="*/ 70025 w 1048832"/>
              <a:gd name="connsiteY69" fmla="*/ 592728 h 1104357"/>
              <a:gd name="connsiteX70" fmla="*/ 64582 w 1048832"/>
              <a:gd name="connsiteY70" fmla="*/ 609057 h 1104357"/>
              <a:gd name="connsiteX71" fmla="*/ 61861 w 1048832"/>
              <a:gd name="connsiteY71" fmla="*/ 617221 h 1104357"/>
              <a:gd name="connsiteX72" fmla="*/ 56418 w 1048832"/>
              <a:gd name="connsiteY72" fmla="*/ 638992 h 1104357"/>
              <a:gd name="connsiteX73" fmla="*/ 59139 w 1048832"/>
              <a:gd name="connsiteY73" fmla="*/ 671649 h 1104357"/>
              <a:gd name="connsiteX74" fmla="*/ 61861 w 1048832"/>
              <a:gd name="connsiteY74" fmla="*/ 679814 h 1104357"/>
              <a:gd name="connsiteX75" fmla="*/ 53696 w 1048832"/>
              <a:gd name="connsiteY75" fmla="*/ 796835 h 1104357"/>
              <a:gd name="connsiteX76" fmla="*/ 53696 w 1048832"/>
              <a:gd name="connsiteY76" fmla="*/ 796835 h 1104357"/>
              <a:gd name="connsiteX77" fmla="*/ 45532 w 1048832"/>
              <a:gd name="connsiteY77" fmla="*/ 824049 h 1104357"/>
              <a:gd name="connsiteX78" fmla="*/ 42811 w 1048832"/>
              <a:gd name="connsiteY78" fmla="*/ 832214 h 1104357"/>
              <a:gd name="connsiteX79" fmla="*/ 23761 w 1048832"/>
              <a:gd name="connsiteY79" fmla="*/ 856707 h 1104357"/>
              <a:gd name="connsiteX80" fmla="*/ 18318 w 1048832"/>
              <a:gd name="connsiteY80" fmla="*/ 864871 h 1104357"/>
              <a:gd name="connsiteX81" fmla="*/ 15596 w 1048832"/>
              <a:gd name="connsiteY81" fmla="*/ 873035 h 1104357"/>
              <a:gd name="connsiteX82" fmla="*/ 1989 w 1048832"/>
              <a:gd name="connsiteY82" fmla="*/ 897528 h 1104357"/>
              <a:gd name="connsiteX83" fmla="*/ 4711 w 1048832"/>
              <a:gd name="connsiteY83" fmla="*/ 919299 h 1104357"/>
              <a:gd name="connsiteX84" fmla="*/ 15596 w 1048832"/>
              <a:gd name="connsiteY84" fmla="*/ 922021 h 1104357"/>
              <a:gd name="connsiteX85" fmla="*/ 23761 w 1048832"/>
              <a:gd name="connsiteY85" fmla="*/ 919299 h 1104357"/>
              <a:gd name="connsiteX86" fmla="*/ 48253 w 1048832"/>
              <a:gd name="connsiteY86" fmla="*/ 905692 h 1104357"/>
              <a:gd name="connsiteX87" fmla="*/ 113568 w 1048832"/>
              <a:gd name="connsiteY87" fmla="*/ 902971 h 1104357"/>
              <a:gd name="connsiteX88" fmla="*/ 129896 w 1048832"/>
              <a:gd name="connsiteY88" fmla="*/ 897528 h 1104357"/>
              <a:gd name="connsiteX89" fmla="*/ 138061 w 1048832"/>
              <a:gd name="connsiteY89" fmla="*/ 894807 h 1104357"/>
              <a:gd name="connsiteX90" fmla="*/ 146225 w 1048832"/>
              <a:gd name="connsiteY90" fmla="*/ 900249 h 1104357"/>
              <a:gd name="connsiteX91" fmla="*/ 154389 w 1048832"/>
              <a:gd name="connsiteY91" fmla="*/ 902971 h 1104357"/>
              <a:gd name="connsiteX92" fmla="*/ 167996 w 1048832"/>
              <a:gd name="connsiteY92" fmla="*/ 913857 h 1104357"/>
              <a:gd name="connsiteX93" fmla="*/ 173439 w 1048832"/>
              <a:gd name="connsiteY93" fmla="*/ 922021 h 1104357"/>
              <a:gd name="connsiteX94" fmla="*/ 189768 w 1048832"/>
              <a:gd name="connsiteY94" fmla="*/ 932907 h 1104357"/>
              <a:gd name="connsiteX95" fmla="*/ 214261 w 1048832"/>
              <a:gd name="connsiteY95" fmla="*/ 943792 h 1104357"/>
              <a:gd name="connsiteX96" fmla="*/ 241475 w 1048832"/>
              <a:gd name="connsiteY96" fmla="*/ 946514 h 1104357"/>
              <a:gd name="connsiteX97" fmla="*/ 249639 w 1048832"/>
              <a:gd name="connsiteY97" fmla="*/ 951957 h 1104357"/>
              <a:gd name="connsiteX98" fmla="*/ 252361 w 1048832"/>
              <a:gd name="connsiteY98" fmla="*/ 960121 h 1104357"/>
              <a:gd name="connsiteX99" fmla="*/ 257803 w 1048832"/>
              <a:gd name="connsiteY99" fmla="*/ 968285 h 1104357"/>
              <a:gd name="connsiteX100" fmla="*/ 260525 w 1048832"/>
              <a:gd name="connsiteY100" fmla="*/ 979171 h 1104357"/>
              <a:gd name="connsiteX101" fmla="*/ 263246 w 1048832"/>
              <a:gd name="connsiteY101" fmla="*/ 987335 h 1104357"/>
              <a:gd name="connsiteX102" fmla="*/ 265968 w 1048832"/>
              <a:gd name="connsiteY102" fmla="*/ 1025435 h 1104357"/>
              <a:gd name="connsiteX103" fmla="*/ 268689 w 1048832"/>
              <a:gd name="connsiteY103" fmla="*/ 1033599 h 1104357"/>
              <a:gd name="connsiteX104" fmla="*/ 279575 w 1048832"/>
              <a:gd name="connsiteY104" fmla="*/ 1049928 h 1104357"/>
              <a:gd name="connsiteX105" fmla="*/ 285018 w 1048832"/>
              <a:gd name="connsiteY105" fmla="*/ 1058092 h 1104357"/>
              <a:gd name="connsiteX106" fmla="*/ 298625 w 1048832"/>
              <a:gd name="connsiteY106" fmla="*/ 1074421 h 1104357"/>
              <a:gd name="connsiteX107" fmla="*/ 312232 w 1048832"/>
              <a:gd name="connsiteY107" fmla="*/ 1098914 h 1104357"/>
              <a:gd name="connsiteX108" fmla="*/ 320396 w 1048832"/>
              <a:gd name="connsiteY108" fmla="*/ 1104357 h 1104357"/>
              <a:gd name="connsiteX109" fmla="*/ 325839 w 1048832"/>
              <a:gd name="connsiteY109" fmla="*/ 1096192 h 1104357"/>
              <a:gd name="connsiteX110" fmla="*/ 334003 w 1048832"/>
              <a:gd name="connsiteY110" fmla="*/ 1088028 h 1104357"/>
              <a:gd name="connsiteX111" fmla="*/ 342168 w 1048832"/>
              <a:gd name="connsiteY111" fmla="*/ 1085307 h 1104357"/>
              <a:gd name="connsiteX112" fmla="*/ 372103 w 1048832"/>
              <a:gd name="connsiteY112" fmla="*/ 1082585 h 1104357"/>
              <a:gd name="connsiteX113" fmla="*/ 377546 w 1048832"/>
              <a:gd name="connsiteY113" fmla="*/ 1063535 h 1104357"/>
              <a:gd name="connsiteX114" fmla="*/ 380268 w 1048832"/>
              <a:gd name="connsiteY114" fmla="*/ 1055371 h 1104357"/>
              <a:gd name="connsiteX115" fmla="*/ 391153 w 1048832"/>
              <a:gd name="connsiteY115" fmla="*/ 1025435 h 1104357"/>
              <a:gd name="connsiteX116" fmla="*/ 410203 w 1048832"/>
              <a:gd name="connsiteY116" fmla="*/ 1014549 h 1104357"/>
              <a:gd name="connsiteX117" fmla="*/ 426532 w 1048832"/>
              <a:gd name="connsiteY117" fmla="*/ 1017271 h 1104357"/>
              <a:gd name="connsiteX118" fmla="*/ 442861 w 1048832"/>
              <a:gd name="connsiteY118" fmla="*/ 1030878 h 1104357"/>
              <a:gd name="connsiteX119" fmla="*/ 453746 w 1048832"/>
              <a:gd name="connsiteY119" fmla="*/ 1047207 h 1104357"/>
              <a:gd name="connsiteX120" fmla="*/ 478239 w 1048832"/>
              <a:gd name="connsiteY120" fmla="*/ 1044485 h 1104357"/>
              <a:gd name="connsiteX121" fmla="*/ 486403 w 1048832"/>
              <a:gd name="connsiteY121" fmla="*/ 1041764 h 1104357"/>
              <a:gd name="connsiteX122" fmla="*/ 502732 w 1048832"/>
              <a:gd name="connsiteY122" fmla="*/ 1044485 h 1104357"/>
              <a:gd name="connsiteX123" fmla="*/ 519061 w 1048832"/>
              <a:gd name="connsiteY123" fmla="*/ 1049928 h 1104357"/>
              <a:gd name="connsiteX124" fmla="*/ 529946 w 1048832"/>
              <a:gd name="connsiteY124" fmla="*/ 1047207 h 1104357"/>
              <a:gd name="connsiteX125" fmla="*/ 538111 w 1048832"/>
              <a:gd name="connsiteY125" fmla="*/ 1044485 h 1104357"/>
              <a:gd name="connsiteX126" fmla="*/ 554439 w 1048832"/>
              <a:gd name="connsiteY126" fmla="*/ 1041764 h 1104357"/>
              <a:gd name="connsiteX127" fmla="*/ 576211 w 1048832"/>
              <a:gd name="connsiteY127" fmla="*/ 1028157 h 1104357"/>
              <a:gd name="connsiteX128" fmla="*/ 587096 w 1048832"/>
              <a:gd name="connsiteY128" fmla="*/ 1030878 h 1104357"/>
              <a:gd name="connsiteX129" fmla="*/ 595261 w 1048832"/>
              <a:gd name="connsiteY129" fmla="*/ 1039042 h 1104357"/>
              <a:gd name="connsiteX130" fmla="*/ 603425 w 1048832"/>
              <a:gd name="connsiteY130" fmla="*/ 1041764 h 1104357"/>
              <a:gd name="connsiteX131" fmla="*/ 611589 w 1048832"/>
              <a:gd name="connsiteY131" fmla="*/ 1047207 h 1104357"/>
              <a:gd name="connsiteX132" fmla="*/ 627918 w 1048832"/>
              <a:gd name="connsiteY132" fmla="*/ 1052649 h 1104357"/>
              <a:gd name="connsiteX133" fmla="*/ 761268 w 1048832"/>
              <a:gd name="connsiteY133" fmla="*/ 1047207 h 1104357"/>
              <a:gd name="connsiteX134" fmla="*/ 769432 w 1048832"/>
              <a:gd name="connsiteY134" fmla="*/ 1044485 h 1104357"/>
              <a:gd name="connsiteX135" fmla="*/ 780318 w 1048832"/>
              <a:gd name="connsiteY135" fmla="*/ 1041764 h 1104357"/>
              <a:gd name="connsiteX136" fmla="*/ 796646 w 1048832"/>
              <a:gd name="connsiteY136" fmla="*/ 1036321 h 1104357"/>
              <a:gd name="connsiteX137" fmla="*/ 837468 w 1048832"/>
              <a:gd name="connsiteY137" fmla="*/ 1033599 h 1104357"/>
              <a:gd name="connsiteX138" fmla="*/ 889175 w 1048832"/>
              <a:gd name="connsiteY138" fmla="*/ 1028157 h 1104357"/>
              <a:gd name="connsiteX139" fmla="*/ 897339 w 1048832"/>
              <a:gd name="connsiteY139" fmla="*/ 1025435 h 1104357"/>
              <a:gd name="connsiteX140" fmla="*/ 916389 w 1048832"/>
              <a:gd name="connsiteY140" fmla="*/ 1019992 h 1104357"/>
              <a:gd name="connsiteX141" fmla="*/ 908225 w 1048832"/>
              <a:gd name="connsiteY141" fmla="*/ 962842 h 1104357"/>
              <a:gd name="connsiteX142" fmla="*/ 902782 w 1048832"/>
              <a:gd name="connsiteY142" fmla="*/ 954678 h 1104357"/>
              <a:gd name="connsiteX143" fmla="*/ 900061 w 1048832"/>
              <a:gd name="connsiteY143" fmla="*/ 736964 h 1104357"/>
              <a:gd name="connsiteX144" fmla="*/ 905503 w 1048832"/>
              <a:gd name="connsiteY144" fmla="*/ 720635 h 1104357"/>
              <a:gd name="connsiteX145" fmla="*/ 902782 w 1048832"/>
              <a:gd name="connsiteY145" fmla="*/ 361407 h 1104357"/>
              <a:gd name="connsiteX146" fmla="*/ 900061 w 1048832"/>
              <a:gd name="connsiteY146" fmla="*/ 350521 h 1104357"/>
              <a:gd name="connsiteX147" fmla="*/ 902782 w 1048832"/>
              <a:gd name="connsiteY147" fmla="*/ 225335 h 1104357"/>
              <a:gd name="connsiteX148" fmla="*/ 908225 w 1048832"/>
              <a:gd name="connsiteY148" fmla="*/ 209007 h 1104357"/>
              <a:gd name="connsiteX149" fmla="*/ 946325 w 1048832"/>
              <a:gd name="connsiteY149" fmla="*/ 203564 h 1104357"/>
              <a:gd name="connsiteX150" fmla="*/ 1036132 w 1048832"/>
              <a:gd name="connsiteY150" fmla="*/ 195399 h 110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</a:cxnLst>
            <a:rect l="l" t="t" r="r" b="b"/>
            <a:pathLst>
              <a:path w="1048832" h="1104357">
                <a:moveTo>
                  <a:pt x="1036132" y="195399"/>
                </a:moveTo>
                <a:cubicBezTo>
                  <a:pt x="1048832" y="192678"/>
                  <a:pt x="1027010" y="190038"/>
                  <a:pt x="1022525" y="187235"/>
                </a:cubicBezTo>
                <a:cubicBezTo>
                  <a:pt x="1019751" y="185502"/>
                  <a:pt x="1016674" y="184105"/>
                  <a:pt x="1014361" y="181792"/>
                </a:cubicBezTo>
                <a:cubicBezTo>
                  <a:pt x="1004926" y="172357"/>
                  <a:pt x="1013817" y="173991"/>
                  <a:pt x="1000753" y="168185"/>
                </a:cubicBezTo>
                <a:cubicBezTo>
                  <a:pt x="995510" y="165855"/>
                  <a:pt x="984425" y="162742"/>
                  <a:pt x="984425" y="162742"/>
                </a:cubicBezTo>
                <a:cubicBezTo>
                  <a:pt x="981704" y="160021"/>
                  <a:pt x="979463" y="156713"/>
                  <a:pt x="976261" y="154578"/>
                </a:cubicBezTo>
                <a:cubicBezTo>
                  <a:pt x="973874" y="152987"/>
                  <a:pt x="970662" y="153140"/>
                  <a:pt x="968096" y="151857"/>
                </a:cubicBezTo>
                <a:cubicBezTo>
                  <a:pt x="965171" y="150394"/>
                  <a:pt x="962653" y="148228"/>
                  <a:pt x="959932" y="146414"/>
                </a:cubicBezTo>
                <a:cubicBezTo>
                  <a:pt x="957991" y="140589"/>
                  <a:pt x="956734" y="134431"/>
                  <a:pt x="951768" y="130085"/>
                </a:cubicBezTo>
                <a:cubicBezTo>
                  <a:pt x="946845" y="125777"/>
                  <a:pt x="935439" y="119199"/>
                  <a:pt x="935439" y="119199"/>
                </a:cubicBezTo>
                <a:cubicBezTo>
                  <a:pt x="934532" y="116478"/>
                  <a:pt x="934111" y="113543"/>
                  <a:pt x="932718" y="111035"/>
                </a:cubicBezTo>
                <a:cubicBezTo>
                  <a:pt x="926438" y="99732"/>
                  <a:pt x="924064" y="94462"/>
                  <a:pt x="913668" y="89264"/>
                </a:cubicBezTo>
                <a:cubicBezTo>
                  <a:pt x="911102" y="87981"/>
                  <a:pt x="908069" y="87825"/>
                  <a:pt x="905503" y="86542"/>
                </a:cubicBezTo>
                <a:cubicBezTo>
                  <a:pt x="884405" y="75993"/>
                  <a:pt x="909692" y="85216"/>
                  <a:pt x="889175" y="78378"/>
                </a:cubicBezTo>
                <a:cubicBezTo>
                  <a:pt x="883732" y="74749"/>
                  <a:pt x="877472" y="72118"/>
                  <a:pt x="872846" y="67492"/>
                </a:cubicBezTo>
                <a:cubicBezTo>
                  <a:pt x="862369" y="57015"/>
                  <a:pt x="867884" y="61463"/>
                  <a:pt x="856518" y="53885"/>
                </a:cubicBezTo>
                <a:cubicBezTo>
                  <a:pt x="846462" y="38802"/>
                  <a:pt x="856828" y="50731"/>
                  <a:pt x="842911" y="42999"/>
                </a:cubicBezTo>
                <a:cubicBezTo>
                  <a:pt x="842891" y="42988"/>
                  <a:pt x="822510" y="29399"/>
                  <a:pt x="818418" y="26671"/>
                </a:cubicBezTo>
                <a:cubicBezTo>
                  <a:pt x="815696" y="24857"/>
                  <a:pt x="813356" y="22262"/>
                  <a:pt x="810253" y="21228"/>
                </a:cubicBezTo>
                <a:lnTo>
                  <a:pt x="802089" y="18507"/>
                </a:lnTo>
                <a:cubicBezTo>
                  <a:pt x="799368" y="16693"/>
                  <a:pt x="796238" y="15377"/>
                  <a:pt x="793925" y="13064"/>
                </a:cubicBezTo>
                <a:cubicBezTo>
                  <a:pt x="785216" y="4355"/>
                  <a:pt x="791748" y="0"/>
                  <a:pt x="783039" y="13064"/>
                </a:cubicBezTo>
                <a:cubicBezTo>
                  <a:pt x="776562" y="32495"/>
                  <a:pt x="780778" y="24618"/>
                  <a:pt x="772153" y="37557"/>
                </a:cubicBezTo>
                <a:cubicBezTo>
                  <a:pt x="762999" y="65022"/>
                  <a:pt x="776973" y="22398"/>
                  <a:pt x="766711" y="56607"/>
                </a:cubicBezTo>
                <a:cubicBezTo>
                  <a:pt x="760898" y="75983"/>
                  <a:pt x="762130" y="67695"/>
                  <a:pt x="758546" y="83821"/>
                </a:cubicBezTo>
                <a:cubicBezTo>
                  <a:pt x="755365" y="98137"/>
                  <a:pt x="755373" y="100589"/>
                  <a:pt x="753103" y="116478"/>
                </a:cubicBezTo>
                <a:lnTo>
                  <a:pt x="606146" y="113757"/>
                </a:lnTo>
                <a:cubicBezTo>
                  <a:pt x="601523" y="113600"/>
                  <a:pt x="597142" y="111495"/>
                  <a:pt x="592539" y="111035"/>
                </a:cubicBezTo>
                <a:cubicBezTo>
                  <a:pt x="578969" y="109678"/>
                  <a:pt x="565325" y="109221"/>
                  <a:pt x="551718" y="108314"/>
                </a:cubicBezTo>
                <a:cubicBezTo>
                  <a:pt x="534410" y="105841"/>
                  <a:pt x="517679" y="102004"/>
                  <a:pt x="500011" y="108314"/>
                </a:cubicBezTo>
                <a:cubicBezTo>
                  <a:pt x="496191" y="109678"/>
                  <a:pt x="496075" y="115432"/>
                  <a:pt x="494568" y="119199"/>
                </a:cubicBezTo>
                <a:cubicBezTo>
                  <a:pt x="492437" y="124526"/>
                  <a:pt x="490939" y="130085"/>
                  <a:pt x="489125" y="135528"/>
                </a:cubicBezTo>
                <a:lnTo>
                  <a:pt x="486403" y="143692"/>
                </a:lnTo>
                <a:cubicBezTo>
                  <a:pt x="485496" y="151856"/>
                  <a:pt x="484701" y="160034"/>
                  <a:pt x="483682" y="168185"/>
                </a:cubicBezTo>
                <a:cubicBezTo>
                  <a:pt x="482175" y="180239"/>
                  <a:pt x="481500" y="187251"/>
                  <a:pt x="478239" y="198121"/>
                </a:cubicBezTo>
                <a:cubicBezTo>
                  <a:pt x="476590" y="203616"/>
                  <a:pt x="474187" y="208883"/>
                  <a:pt x="472796" y="214449"/>
                </a:cubicBezTo>
                <a:cubicBezTo>
                  <a:pt x="468683" y="230903"/>
                  <a:pt x="471259" y="221783"/>
                  <a:pt x="464632" y="241664"/>
                </a:cubicBezTo>
                <a:lnTo>
                  <a:pt x="459189" y="257992"/>
                </a:lnTo>
                <a:cubicBezTo>
                  <a:pt x="458282" y="260714"/>
                  <a:pt x="457164" y="263374"/>
                  <a:pt x="456468" y="266157"/>
                </a:cubicBezTo>
                <a:cubicBezTo>
                  <a:pt x="455561" y="269785"/>
                  <a:pt x="454821" y="273460"/>
                  <a:pt x="453746" y="277042"/>
                </a:cubicBezTo>
                <a:cubicBezTo>
                  <a:pt x="452097" y="282537"/>
                  <a:pt x="449694" y="287805"/>
                  <a:pt x="448303" y="293371"/>
                </a:cubicBezTo>
                <a:cubicBezTo>
                  <a:pt x="447396" y="297000"/>
                  <a:pt x="446609" y="300661"/>
                  <a:pt x="445582" y="304257"/>
                </a:cubicBezTo>
                <a:cubicBezTo>
                  <a:pt x="444794" y="307015"/>
                  <a:pt x="445195" y="310754"/>
                  <a:pt x="442861" y="312421"/>
                </a:cubicBezTo>
                <a:cubicBezTo>
                  <a:pt x="438192" y="315756"/>
                  <a:pt x="431306" y="314681"/>
                  <a:pt x="426532" y="317864"/>
                </a:cubicBezTo>
                <a:cubicBezTo>
                  <a:pt x="415981" y="324898"/>
                  <a:pt x="421471" y="322273"/>
                  <a:pt x="410203" y="326028"/>
                </a:cubicBezTo>
                <a:cubicBezTo>
                  <a:pt x="407482" y="327842"/>
                  <a:pt x="404552" y="329377"/>
                  <a:pt x="402039" y="331471"/>
                </a:cubicBezTo>
                <a:cubicBezTo>
                  <a:pt x="393014" y="338992"/>
                  <a:pt x="395843" y="340012"/>
                  <a:pt x="385711" y="345078"/>
                </a:cubicBezTo>
                <a:cubicBezTo>
                  <a:pt x="383145" y="346361"/>
                  <a:pt x="380268" y="346892"/>
                  <a:pt x="377546" y="347799"/>
                </a:cubicBezTo>
                <a:cubicBezTo>
                  <a:pt x="372636" y="355164"/>
                  <a:pt x="370114" y="358216"/>
                  <a:pt x="366661" y="366849"/>
                </a:cubicBezTo>
                <a:cubicBezTo>
                  <a:pt x="364530" y="372176"/>
                  <a:pt x="363032" y="377735"/>
                  <a:pt x="361218" y="383178"/>
                </a:cubicBezTo>
                <a:cubicBezTo>
                  <a:pt x="360311" y="385899"/>
                  <a:pt x="359059" y="388529"/>
                  <a:pt x="358496" y="391342"/>
                </a:cubicBezTo>
                <a:lnTo>
                  <a:pt x="355775" y="404949"/>
                </a:lnTo>
                <a:cubicBezTo>
                  <a:pt x="354868" y="414928"/>
                  <a:pt x="354794" y="425018"/>
                  <a:pt x="353053" y="434885"/>
                </a:cubicBezTo>
                <a:cubicBezTo>
                  <a:pt x="352056" y="440535"/>
                  <a:pt x="347611" y="451214"/>
                  <a:pt x="347611" y="451214"/>
                </a:cubicBezTo>
                <a:cubicBezTo>
                  <a:pt x="346704" y="457564"/>
                  <a:pt x="346332" y="464014"/>
                  <a:pt x="344889" y="470264"/>
                </a:cubicBezTo>
                <a:cubicBezTo>
                  <a:pt x="343599" y="475854"/>
                  <a:pt x="340837" y="481026"/>
                  <a:pt x="339446" y="486592"/>
                </a:cubicBezTo>
                <a:lnTo>
                  <a:pt x="336725" y="497478"/>
                </a:lnTo>
                <a:cubicBezTo>
                  <a:pt x="333096" y="496571"/>
                  <a:pt x="329435" y="495785"/>
                  <a:pt x="325839" y="494757"/>
                </a:cubicBezTo>
                <a:cubicBezTo>
                  <a:pt x="323081" y="493969"/>
                  <a:pt x="320542" y="492125"/>
                  <a:pt x="317675" y="492035"/>
                </a:cubicBezTo>
                <a:cubicBezTo>
                  <a:pt x="262359" y="490306"/>
                  <a:pt x="207004" y="490221"/>
                  <a:pt x="151668" y="489314"/>
                </a:cubicBezTo>
                <a:cubicBezTo>
                  <a:pt x="89913" y="483432"/>
                  <a:pt x="113282" y="487625"/>
                  <a:pt x="80911" y="481149"/>
                </a:cubicBezTo>
                <a:lnTo>
                  <a:pt x="34646" y="483871"/>
                </a:lnTo>
                <a:cubicBezTo>
                  <a:pt x="31076" y="484987"/>
                  <a:pt x="36293" y="491174"/>
                  <a:pt x="37368" y="494757"/>
                </a:cubicBezTo>
                <a:cubicBezTo>
                  <a:pt x="39017" y="500252"/>
                  <a:pt x="40997" y="505642"/>
                  <a:pt x="42811" y="511085"/>
                </a:cubicBezTo>
                <a:cubicBezTo>
                  <a:pt x="44752" y="516909"/>
                  <a:pt x="46009" y="523069"/>
                  <a:pt x="50975" y="527414"/>
                </a:cubicBezTo>
                <a:cubicBezTo>
                  <a:pt x="55898" y="531721"/>
                  <a:pt x="67303" y="538299"/>
                  <a:pt x="67303" y="538299"/>
                </a:cubicBezTo>
                <a:cubicBezTo>
                  <a:pt x="68210" y="541021"/>
                  <a:pt x="68233" y="544224"/>
                  <a:pt x="70025" y="546464"/>
                </a:cubicBezTo>
                <a:cubicBezTo>
                  <a:pt x="72068" y="549018"/>
                  <a:pt x="77479" y="548714"/>
                  <a:pt x="78189" y="551907"/>
                </a:cubicBezTo>
                <a:cubicBezTo>
                  <a:pt x="79581" y="558169"/>
                  <a:pt x="76726" y="564667"/>
                  <a:pt x="75468" y="570957"/>
                </a:cubicBezTo>
                <a:cubicBezTo>
                  <a:pt x="74001" y="578292"/>
                  <a:pt x="72390" y="585632"/>
                  <a:pt x="70025" y="592728"/>
                </a:cubicBezTo>
                <a:lnTo>
                  <a:pt x="64582" y="609057"/>
                </a:lnTo>
                <a:cubicBezTo>
                  <a:pt x="63675" y="611778"/>
                  <a:pt x="62424" y="614408"/>
                  <a:pt x="61861" y="617221"/>
                </a:cubicBezTo>
                <a:cubicBezTo>
                  <a:pt x="58576" y="633641"/>
                  <a:pt x="60602" y="626440"/>
                  <a:pt x="56418" y="638992"/>
                </a:cubicBezTo>
                <a:cubicBezTo>
                  <a:pt x="57325" y="649878"/>
                  <a:pt x="57695" y="660821"/>
                  <a:pt x="59139" y="671649"/>
                </a:cubicBezTo>
                <a:cubicBezTo>
                  <a:pt x="59518" y="674493"/>
                  <a:pt x="61861" y="676945"/>
                  <a:pt x="61861" y="679814"/>
                </a:cubicBezTo>
                <a:cubicBezTo>
                  <a:pt x="61861" y="777611"/>
                  <a:pt x="69266" y="750128"/>
                  <a:pt x="53696" y="796835"/>
                </a:cubicBezTo>
                <a:lnTo>
                  <a:pt x="53696" y="796835"/>
                </a:lnTo>
                <a:cubicBezTo>
                  <a:pt x="49582" y="813292"/>
                  <a:pt x="52160" y="804165"/>
                  <a:pt x="45532" y="824049"/>
                </a:cubicBezTo>
                <a:cubicBezTo>
                  <a:pt x="44625" y="826771"/>
                  <a:pt x="44840" y="830186"/>
                  <a:pt x="42811" y="832214"/>
                </a:cubicBezTo>
                <a:cubicBezTo>
                  <a:pt x="30019" y="845004"/>
                  <a:pt x="36783" y="837174"/>
                  <a:pt x="23761" y="856707"/>
                </a:cubicBezTo>
                <a:cubicBezTo>
                  <a:pt x="21947" y="859428"/>
                  <a:pt x="19353" y="861768"/>
                  <a:pt x="18318" y="864871"/>
                </a:cubicBezTo>
                <a:cubicBezTo>
                  <a:pt x="17411" y="867592"/>
                  <a:pt x="16989" y="870527"/>
                  <a:pt x="15596" y="873035"/>
                </a:cubicBezTo>
                <a:cubicBezTo>
                  <a:pt x="0" y="901108"/>
                  <a:pt x="8148" y="879055"/>
                  <a:pt x="1989" y="897528"/>
                </a:cubicBezTo>
                <a:cubicBezTo>
                  <a:pt x="2896" y="904785"/>
                  <a:pt x="1159" y="912906"/>
                  <a:pt x="4711" y="919299"/>
                </a:cubicBezTo>
                <a:cubicBezTo>
                  <a:pt x="6527" y="922568"/>
                  <a:pt x="11856" y="922021"/>
                  <a:pt x="15596" y="922021"/>
                </a:cubicBezTo>
                <a:cubicBezTo>
                  <a:pt x="18465" y="922021"/>
                  <a:pt x="21253" y="920692"/>
                  <a:pt x="23761" y="919299"/>
                </a:cubicBezTo>
                <a:cubicBezTo>
                  <a:pt x="29145" y="916308"/>
                  <a:pt x="39730" y="906323"/>
                  <a:pt x="48253" y="905692"/>
                </a:cubicBezTo>
                <a:cubicBezTo>
                  <a:pt x="69984" y="904082"/>
                  <a:pt x="91796" y="903878"/>
                  <a:pt x="113568" y="902971"/>
                </a:cubicBezTo>
                <a:lnTo>
                  <a:pt x="129896" y="897528"/>
                </a:lnTo>
                <a:lnTo>
                  <a:pt x="138061" y="894807"/>
                </a:lnTo>
                <a:cubicBezTo>
                  <a:pt x="140782" y="896621"/>
                  <a:pt x="143300" y="898786"/>
                  <a:pt x="146225" y="900249"/>
                </a:cubicBezTo>
                <a:cubicBezTo>
                  <a:pt x="148791" y="901532"/>
                  <a:pt x="152149" y="901179"/>
                  <a:pt x="154389" y="902971"/>
                </a:cubicBezTo>
                <a:cubicBezTo>
                  <a:pt x="171974" y="917040"/>
                  <a:pt x="147476" y="907015"/>
                  <a:pt x="167996" y="913857"/>
                </a:cubicBezTo>
                <a:cubicBezTo>
                  <a:pt x="169810" y="916578"/>
                  <a:pt x="170978" y="919867"/>
                  <a:pt x="173439" y="922021"/>
                </a:cubicBezTo>
                <a:cubicBezTo>
                  <a:pt x="178362" y="926329"/>
                  <a:pt x="184325" y="929278"/>
                  <a:pt x="189768" y="932907"/>
                </a:cubicBezTo>
                <a:cubicBezTo>
                  <a:pt x="198144" y="938491"/>
                  <a:pt x="202833" y="942649"/>
                  <a:pt x="214261" y="943792"/>
                </a:cubicBezTo>
                <a:lnTo>
                  <a:pt x="241475" y="946514"/>
                </a:lnTo>
                <a:cubicBezTo>
                  <a:pt x="244196" y="948328"/>
                  <a:pt x="247596" y="949403"/>
                  <a:pt x="249639" y="951957"/>
                </a:cubicBezTo>
                <a:cubicBezTo>
                  <a:pt x="251431" y="954197"/>
                  <a:pt x="251078" y="957555"/>
                  <a:pt x="252361" y="960121"/>
                </a:cubicBezTo>
                <a:cubicBezTo>
                  <a:pt x="253824" y="963046"/>
                  <a:pt x="255989" y="965564"/>
                  <a:pt x="257803" y="968285"/>
                </a:cubicBezTo>
                <a:cubicBezTo>
                  <a:pt x="258710" y="971914"/>
                  <a:pt x="259497" y="975575"/>
                  <a:pt x="260525" y="979171"/>
                </a:cubicBezTo>
                <a:cubicBezTo>
                  <a:pt x="261313" y="981929"/>
                  <a:pt x="262911" y="984486"/>
                  <a:pt x="263246" y="987335"/>
                </a:cubicBezTo>
                <a:cubicBezTo>
                  <a:pt x="264734" y="999980"/>
                  <a:pt x="264480" y="1012790"/>
                  <a:pt x="265968" y="1025435"/>
                </a:cubicBezTo>
                <a:cubicBezTo>
                  <a:pt x="266303" y="1028284"/>
                  <a:pt x="267296" y="1031091"/>
                  <a:pt x="268689" y="1033599"/>
                </a:cubicBezTo>
                <a:cubicBezTo>
                  <a:pt x="271866" y="1039317"/>
                  <a:pt x="275946" y="1044485"/>
                  <a:pt x="279575" y="1049928"/>
                </a:cubicBezTo>
                <a:cubicBezTo>
                  <a:pt x="281389" y="1052649"/>
                  <a:pt x="282705" y="1055779"/>
                  <a:pt x="285018" y="1058092"/>
                </a:cubicBezTo>
                <a:cubicBezTo>
                  <a:pt x="295495" y="1068570"/>
                  <a:pt x="291047" y="1063055"/>
                  <a:pt x="298625" y="1074421"/>
                </a:cubicBezTo>
                <a:cubicBezTo>
                  <a:pt x="301461" y="1082929"/>
                  <a:pt x="304210" y="1093566"/>
                  <a:pt x="312232" y="1098914"/>
                </a:cubicBezTo>
                <a:lnTo>
                  <a:pt x="320396" y="1104357"/>
                </a:lnTo>
                <a:cubicBezTo>
                  <a:pt x="322210" y="1101635"/>
                  <a:pt x="323745" y="1098705"/>
                  <a:pt x="325839" y="1096192"/>
                </a:cubicBezTo>
                <a:cubicBezTo>
                  <a:pt x="328303" y="1093235"/>
                  <a:pt x="330801" y="1090163"/>
                  <a:pt x="334003" y="1088028"/>
                </a:cubicBezTo>
                <a:cubicBezTo>
                  <a:pt x="336390" y="1086437"/>
                  <a:pt x="339328" y="1085713"/>
                  <a:pt x="342168" y="1085307"/>
                </a:cubicBezTo>
                <a:cubicBezTo>
                  <a:pt x="352087" y="1083890"/>
                  <a:pt x="362125" y="1083492"/>
                  <a:pt x="372103" y="1082585"/>
                </a:cubicBezTo>
                <a:cubicBezTo>
                  <a:pt x="378629" y="1063011"/>
                  <a:pt x="370712" y="1087455"/>
                  <a:pt x="377546" y="1063535"/>
                </a:cubicBezTo>
                <a:cubicBezTo>
                  <a:pt x="378334" y="1060777"/>
                  <a:pt x="379513" y="1058139"/>
                  <a:pt x="380268" y="1055371"/>
                </a:cubicBezTo>
                <a:cubicBezTo>
                  <a:pt x="383169" y="1044734"/>
                  <a:pt x="383020" y="1033568"/>
                  <a:pt x="391153" y="1025435"/>
                </a:cubicBezTo>
                <a:cubicBezTo>
                  <a:pt x="399390" y="1017198"/>
                  <a:pt x="400863" y="1017663"/>
                  <a:pt x="410203" y="1014549"/>
                </a:cubicBezTo>
                <a:cubicBezTo>
                  <a:pt x="415646" y="1015456"/>
                  <a:pt x="421297" y="1015526"/>
                  <a:pt x="426532" y="1017271"/>
                </a:cubicBezTo>
                <a:cubicBezTo>
                  <a:pt x="431247" y="1018843"/>
                  <a:pt x="440210" y="1027469"/>
                  <a:pt x="442861" y="1030878"/>
                </a:cubicBezTo>
                <a:cubicBezTo>
                  <a:pt x="446877" y="1036042"/>
                  <a:pt x="453746" y="1047207"/>
                  <a:pt x="453746" y="1047207"/>
                </a:cubicBezTo>
                <a:cubicBezTo>
                  <a:pt x="461910" y="1046300"/>
                  <a:pt x="470136" y="1045836"/>
                  <a:pt x="478239" y="1044485"/>
                </a:cubicBezTo>
                <a:cubicBezTo>
                  <a:pt x="481068" y="1044013"/>
                  <a:pt x="483534" y="1041764"/>
                  <a:pt x="486403" y="1041764"/>
                </a:cubicBezTo>
                <a:cubicBezTo>
                  <a:pt x="491921" y="1041764"/>
                  <a:pt x="497289" y="1043578"/>
                  <a:pt x="502732" y="1044485"/>
                </a:cubicBezTo>
                <a:cubicBezTo>
                  <a:pt x="508175" y="1046299"/>
                  <a:pt x="513495" y="1051319"/>
                  <a:pt x="519061" y="1049928"/>
                </a:cubicBezTo>
                <a:cubicBezTo>
                  <a:pt x="522689" y="1049021"/>
                  <a:pt x="526350" y="1048234"/>
                  <a:pt x="529946" y="1047207"/>
                </a:cubicBezTo>
                <a:cubicBezTo>
                  <a:pt x="532705" y="1046419"/>
                  <a:pt x="535310" y="1045107"/>
                  <a:pt x="538111" y="1044485"/>
                </a:cubicBezTo>
                <a:cubicBezTo>
                  <a:pt x="543497" y="1043288"/>
                  <a:pt x="548996" y="1042671"/>
                  <a:pt x="554439" y="1041764"/>
                </a:cubicBezTo>
                <a:cubicBezTo>
                  <a:pt x="573871" y="1035287"/>
                  <a:pt x="567585" y="1041095"/>
                  <a:pt x="576211" y="1028157"/>
                </a:cubicBezTo>
                <a:cubicBezTo>
                  <a:pt x="579839" y="1029064"/>
                  <a:pt x="583849" y="1029023"/>
                  <a:pt x="587096" y="1030878"/>
                </a:cubicBezTo>
                <a:cubicBezTo>
                  <a:pt x="590438" y="1032787"/>
                  <a:pt x="592059" y="1036907"/>
                  <a:pt x="595261" y="1039042"/>
                </a:cubicBezTo>
                <a:cubicBezTo>
                  <a:pt x="597648" y="1040633"/>
                  <a:pt x="600859" y="1040481"/>
                  <a:pt x="603425" y="1041764"/>
                </a:cubicBezTo>
                <a:cubicBezTo>
                  <a:pt x="606350" y="1043227"/>
                  <a:pt x="608600" y="1045879"/>
                  <a:pt x="611589" y="1047207"/>
                </a:cubicBezTo>
                <a:cubicBezTo>
                  <a:pt x="616832" y="1049537"/>
                  <a:pt x="627918" y="1052649"/>
                  <a:pt x="627918" y="1052649"/>
                </a:cubicBezTo>
                <a:lnTo>
                  <a:pt x="761268" y="1047207"/>
                </a:lnTo>
                <a:cubicBezTo>
                  <a:pt x="764128" y="1046987"/>
                  <a:pt x="766674" y="1045273"/>
                  <a:pt x="769432" y="1044485"/>
                </a:cubicBezTo>
                <a:cubicBezTo>
                  <a:pt x="773028" y="1043457"/>
                  <a:pt x="776735" y="1042839"/>
                  <a:pt x="780318" y="1041764"/>
                </a:cubicBezTo>
                <a:cubicBezTo>
                  <a:pt x="785813" y="1040115"/>
                  <a:pt x="790922" y="1036703"/>
                  <a:pt x="796646" y="1036321"/>
                </a:cubicBezTo>
                <a:lnTo>
                  <a:pt x="837468" y="1033599"/>
                </a:lnTo>
                <a:cubicBezTo>
                  <a:pt x="865495" y="1026593"/>
                  <a:pt x="830357" y="1034692"/>
                  <a:pt x="889175" y="1028157"/>
                </a:cubicBezTo>
                <a:cubicBezTo>
                  <a:pt x="892026" y="1027840"/>
                  <a:pt x="894581" y="1026223"/>
                  <a:pt x="897339" y="1025435"/>
                </a:cubicBezTo>
                <a:cubicBezTo>
                  <a:pt x="921259" y="1018601"/>
                  <a:pt x="896815" y="1026518"/>
                  <a:pt x="916389" y="1019992"/>
                </a:cubicBezTo>
                <a:cubicBezTo>
                  <a:pt x="915863" y="1012094"/>
                  <a:pt x="916897" y="975849"/>
                  <a:pt x="908225" y="962842"/>
                </a:cubicBezTo>
                <a:lnTo>
                  <a:pt x="902782" y="954678"/>
                </a:lnTo>
                <a:cubicBezTo>
                  <a:pt x="876491" y="875804"/>
                  <a:pt x="892796" y="930691"/>
                  <a:pt x="900061" y="736964"/>
                </a:cubicBezTo>
                <a:cubicBezTo>
                  <a:pt x="900276" y="731231"/>
                  <a:pt x="905503" y="720635"/>
                  <a:pt x="905503" y="720635"/>
                </a:cubicBezTo>
                <a:cubicBezTo>
                  <a:pt x="904596" y="600892"/>
                  <a:pt x="904543" y="481140"/>
                  <a:pt x="902782" y="361407"/>
                </a:cubicBezTo>
                <a:cubicBezTo>
                  <a:pt x="902727" y="357667"/>
                  <a:pt x="900061" y="354261"/>
                  <a:pt x="900061" y="350521"/>
                </a:cubicBezTo>
                <a:cubicBezTo>
                  <a:pt x="900061" y="308782"/>
                  <a:pt x="900378" y="267004"/>
                  <a:pt x="902782" y="225335"/>
                </a:cubicBezTo>
                <a:cubicBezTo>
                  <a:pt x="903112" y="219607"/>
                  <a:pt x="902782" y="210822"/>
                  <a:pt x="908225" y="209007"/>
                </a:cubicBezTo>
                <a:cubicBezTo>
                  <a:pt x="923823" y="203807"/>
                  <a:pt x="920769" y="204132"/>
                  <a:pt x="946325" y="203564"/>
                </a:cubicBezTo>
                <a:cubicBezTo>
                  <a:pt x="977160" y="202879"/>
                  <a:pt x="1023432" y="198120"/>
                  <a:pt x="1036132" y="195399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06" name="Freeform 105"/>
          <p:cNvSpPr/>
          <p:nvPr/>
        </p:nvSpPr>
        <p:spPr>
          <a:xfrm>
            <a:off x="1611314" y="1166288"/>
            <a:ext cx="742950" cy="582083"/>
          </a:xfrm>
          <a:custGeom>
            <a:avLst/>
            <a:gdLst>
              <a:gd name="connsiteX0" fmla="*/ 0 w 742950"/>
              <a:gd name="connsiteY0" fmla="*/ 557893 h 582911"/>
              <a:gd name="connsiteX1" fmla="*/ 16328 w 742950"/>
              <a:gd name="connsiteY1" fmla="*/ 536122 h 582911"/>
              <a:gd name="connsiteX2" fmla="*/ 21771 w 742950"/>
              <a:gd name="connsiteY2" fmla="*/ 519793 h 582911"/>
              <a:gd name="connsiteX3" fmla="*/ 27214 w 742950"/>
              <a:gd name="connsiteY3" fmla="*/ 503465 h 582911"/>
              <a:gd name="connsiteX4" fmla="*/ 29935 w 742950"/>
              <a:gd name="connsiteY4" fmla="*/ 495300 h 582911"/>
              <a:gd name="connsiteX5" fmla="*/ 32657 w 742950"/>
              <a:gd name="connsiteY5" fmla="*/ 484415 h 582911"/>
              <a:gd name="connsiteX6" fmla="*/ 38100 w 742950"/>
              <a:gd name="connsiteY6" fmla="*/ 468086 h 582911"/>
              <a:gd name="connsiteX7" fmla="*/ 40821 w 742950"/>
              <a:gd name="connsiteY7" fmla="*/ 459922 h 582911"/>
              <a:gd name="connsiteX8" fmla="*/ 62593 w 742950"/>
              <a:gd name="connsiteY8" fmla="*/ 432708 h 582911"/>
              <a:gd name="connsiteX9" fmla="*/ 68035 w 742950"/>
              <a:gd name="connsiteY9" fmla="*/ 421822 h 582911"/>
              <a:gd name="connsiteX10" fmla="*/ 84364 w 742950"/>
              <a:gd name="connsiteY10" fmla="*/ 410936 h 582911"/>
              <a:gd name="connsiteX11" fmla="*/ 103414 w 742950"/>
              <a:gd name="connsiteY11" fmla="*/ 389165 h 582911"/>
              <a:gd name="connsiteX12" fmla="*/ 111578 w 742950"/>
              <a:gd name="connsiteY12" fmla="*/ 372836 h 582911"/>
              <a:gd name="connsiteX13" fmla="*/ 119743 w 742950"/>
              <a:gd name="connsiteY13" fmla="*/ 367393 h 582911"/>
              <a:gd name="connsiteX14" fmla="*/ 141514 w 742950"/>
              <a:gd name="connsiteY14" fmla="*/ 342900 h 582911"/>
              <a:gd name="connsiteX15" fmla="*/ 157843 w 742950"/>
              <a:gd name="connsiteY15" fmla="*/ 329293 h 582911"/>
              <a:gd name="connsiteX16" fmla="*/ 168728 w 742950"/>
              <a:gd name="connsiteY16" fmla="*/ 312965 h 582911"/>
              <a:gd name="connsiteX17" fmla="*/ 176893 w 742950"/>
              <a:gd name="connsiteY17" fmla="*/ 304800 h 582911"/>
              <a:gd name="connsiteX18" fmla="*/ 182335 w 742950"/>
              <a:gd name="connsiteY18" fmla="*/ 296636 h 582911"/>
              <a:gd name="connsiteX19" fmla="*/ 190500 w 742950"/>
              <a:gd name="connsiteY19" fmla="*/ 293915 h 582911"/>
              <a:gd name="connsiteX20" fmla="*/ 204107 w 742950"/>
              <a:gd name="connsiteY20" fmla="*/ 277586 h 582911"/>
              <a:gd name="connsiteX21" fmla="*/ 212271 w 742950"/>
              <a:gd name="connsiteY21" fmla="*/ 274865 h 582911"/>
              <a:gd name="connsiteX22" fmla="*/ 225878 w 742950"/>
              <a:gd name="connsiteY22" fmla="*/ 250372 h 582911"/>
              <a:gd name="connsiteX23" fmla="*/ 228600 w 742950"/>
              <a:gd name="connsiteY23" fmla="*/ 239486 h 582911"/>
              <a:gd name="connsiteX24" fmla="*/ 234043 w 742950"/>
              <a:gd name="connsiteY24" fmla="*/ 185058 h 582911"/>
              <a:gd name="connsiteX25" fmla="*/ 247650 w 742950"/>
              <a:gd name="connsiteY25" fmla="*/ 160565 h 582911"/>
              <a:gd name="connsiteX26" fmla="*/ 255814 w 742950"/>
              <a:gd name="connsiteY26" fmla="*/ 152400 h 582911"/>
              <a:gd name="connsiteX27" fmla="*/ 263978 w 742950"/>
              <a:gd name="connsiteY27" fmla="*/ 149679 h 582911"/>
              <a:gd name="connsiteX28" fmla="*/ 280307 w 742950"/>
              <a:gd name="connsiteY28" fmla="*/ 138793 h 582911"/>
              <a:gd name="connsiteX29" fmla="*/ 288471 w 742950"/>
              <a:gd name="connsiteY29" fmla="*/ 133350 h 582911"/>
              <a:gd name="connsiteX30" fmla="*/ 296635 w 742950"/>
              <a:gd name="connsiteY30" fmla="*/ 130629 h 582911"/>
              <a:gd name="connsiteX31" fmla="*/ 315685 w 742950"/>
              <a:gd name="connsiteY31" fmla="*/ 125186 h 582911"/>
              <a:gd name="connsiteX32" fmla="*/ 334735 w 742950"/>
              <a:gd name="connsiteY32" fmla="*/ 117022 h 582911"/>
              <a:gd name="connsiteX33" fmla="*/ 342900 w 742950"/>
              <a:gd name="connsiteY33" fmla="*/ 111579 h 582911"/>
              <a:gd name="connsiteX34" fmla="*/ 353785 w 742950"/>
              <a:gd name="connsiteY34" fmla="*/ 95250 h 582911"/>
              <a:gd name="connsiteX35" fmla="*/ 364671 w 742950"/>
              <a:gd name="connsiteY35" fmla="*/ 78922 h 582911"/>
              <a:gd name="connsiteX36" fmla="*/ 375557 w 742950"/>
              <a:gd name="connsiteY36" fmla="*/ 62593 h 582911"/>
              <a:gd name="connsiteX37" fmla="*/ 381000 w 742950"/>
              <a:gd name="connsiteY37" fmla="*/ 54429 h 582911"/>
              <a:gd name="connsiteX38" fmla="*/ 391885 w 742950"/>
              <a:gd name="connsiteY38" fmla="*/ 29936 h 582911"/>
              <a:gd name="connsiteX39" fmla="*/ 400050 w 742950"/>
              <a:gd name="connsiteY39" fmla="*/ 2722 h 582911"/>
              <a:gd name="connsiteX40" fmla="*/ 408214 w 742950"/>
              <a:gd name="connsiteY40" fmla="*/ 0 h 582911"/>
              <a:gd name="connsiteX41" fmla="*/ 432707 w 742950"/>
              <a:gd name="connsiteY41" fmla="*/ 5443 h 582911"/>
              <a:gd name="connsiteX42" fmla="*/ 449035 w 742950"/>
              <a:gd name="connsiteY42" fmla="*/ 16329 h 582911"/>
              <a:gd name="connsiteX43" fmla="*/ 590550 w 742950"/>
              <a:gd name="connsiteY43" fmla="*/ 19050 h 582911"/>
              <a:gd name="connsiteX44" fmla="*/ 606878 w 742950"/>
              <a:gd name="connsiteY44" fmla="*/ 21772 h 582911"/>
              <a:gd name="connsiteX45" fmla="*/ 642257 w 742950"/>
              <a:gd name="connsiteY45" fmla="*/ 24493 h 582911"/>
              <a:gd name="connsiteX46" fmla="*/ 658585 w 742950"/>
              <a:gd name="connsiteY46" fmla="*/ 29936 h 582911"/>
              <a:gd name="connsiteX47" fmla="*/ 742950 w 742950"/>
              <a:gd name="connsiteY47" fmla="*/ 32658 h 582911"/>
              <a:gd name="connsiteX48" fmla="*/ 740228 w 742950"/>
              <a:gd name="connsiteY48" fmla="*/ 155122 h 582911"/>
              <a:gd name="connsiteX49" fmla="*/ 734785 w 742950"/>
              <a:gd name="connsiteY49" fmla="*/ 171450 h 582911"/>
              <a:gd name="connsiteX50" fmla="*/ 732064 w 742950"/>
              <a:gd name="connsiteY50" fmla="*/ 179615 h 582911"/>
              <a:gd name="connsiteX51" fmla="*/ 718457 w 742950"/>
              <a:gd name="connsiteY51" fmla="*/ 204108 h 582911"/>
              <a:gd name="connsiteX52" fmla="*/ 710293 w 742950"/>
              <a:gd name="connsiteY52" fmla="*/ 209550 h 582911"/>
              <a:gd name="connsiteX53" fmla="*/ 538843 w 742950"/>
              <a:gd name="connsiteY53" fmla="*/ 206829 h 582911"/>
              <a:gd name="connsiteX54" fmla="*/ 514350 w 742950"/>
              <a:gd name="connsiteY54" fmla="*/ 198665 h 582911"/>
              <a:gd name="connsiteX55" fmla="*/ 489857 w 742950"/>
              <a:gd name="connsiteY55" fmla="*/ 195943 h 582911"/>
              <a:gd name="connsiteX56" fmla="*/ 462643 w 742950"/>
              <a:gd name="connsiteY56" fmla="*/ 201386 h 582911"/>
              <a:gd name="connsiteX57" fmla="*/ 459921 w 742950"/>
              <a:gd name="connsiteY57" fmla="*/ 209550 h 582911"/>
              <a:gd name="connsiteX58" fmla="*/ 454478 w 742950"/>
              <a:gd name="connsiteY58" fmla="*/ 217715 h 582911"/>
              <a:gd name="connsiteX59" fmla="*/ 449035 w 742950"/>
              <a:gd name="connsiteY59" fmla="*/ 244929 h 582911"/>
              <a:gd name="connsiteX60" fmla="*/ 446314 w 742950"/>
              <a:gd name="connsiteY60" fmla="*/ 253093 h 582911"/>
              <a:gd name="connsiteX61" fmla="*/ 440871 w 742950"/>
              <a:gd name="connsiteY61" fmla="*/ 272143 h 582911"/>
              <a:gd name="connsiteX62" fmla="*/ 435428 w 742950"/>
              <a:gd name="connsiteY62" fmla="*/ 280308 h 582911"/>
              <a:gd name="connsiteX63" fmla="*/ 429985 w 742950"/>
              <a:gd name="connsiteY63" fmla="*/ 323850 h 582911"/>
              <a:gd name="connsiteX64" fmla="*/ 427264 w 742950"/>
              <a:gd name="connsiteY64" fmla="*/ 332015 h 582911"/>
              <a:gd name="connsiteX65" fmla="*/ 424543 w 742950"/>
              <a:gd name="connsiteY65" fmla="*/ 342900 h 582911"/>
              <a:gd name="connsiteX66" fmla="*/ 419100 w 742950"/>
              <a:gd name="connsiteY66" fmla="*/ 359229 h 582911"/>
              <a:gd name="connsiteX67" fmla="*/ 410935 w 742950"/>
              <a:gd name="connsiteY67" fmla="*/ 383722 h 582911"/>
              <a:gd name="connsiteX68" fmla="*/ 405493 w 742950"/>
              <a:gd name="connsiteY68" fmla="*/ 400050 h 582911"/>
              <a:gd name="connsiteX69" fmla="*/ 397328 w 742950"/>
              <a:gd name="connsiteY69" fmla="*/ 416379 h 582911"/>
              <a:gd name="connsiteX70" fmla="*/ 389164 w 742950"/>
              <a:gd name="connsiteY70" fmla="*/ 419100 h 582911"/>
              <a:gd name="connsiteX71" fmla="*/ 370114 w 742950"/>
              <a:gd name="connsiteY71" fmla="*/ 424543 h 582911"/>
              <a:gd name="connsiteX72" fmla="*/ 361950 w 742950"/>
              <a:gd name="connsiteY72" fmla="*/ 429986 h 582911"/>
              <a:gd name="connsiteX73" fmla="*/ 353785 w 742950"/>
              <a:gd name="connsiteY73" fmla="*/ 432708 h 582911"/>
              <a:gd name="connsiteX74" fmla="*/ 337457 w 742950"/>
              <a:gd name="connsiteY74" fmla="*/ 443593 h 582911"/>
              <a:gd name="connsiteX75" fmla="*/ 323850 w 742950"/>
              <a:gd name="connsiteY75" fmla="*/ 468086 h 582911"/>
              <a:gd name="connsiteX76" fmla="*/ 318407 w 742950"/>
              <a:gd name="connsiteY76" fmla="*/ 476250 h 582911"/>
              <a:gd name="connsiteX77" fmla="*/ 315685 w 742950"/>
              <a:gd name="connsiteY77" fmla="*/ 484415 h 582911"/>
              <a:gd name="connsiteX78" fmla="*/ 307521 w 742950"/>
              <a:gd name="connsiteY78" fmla="*/ 500743 h 582911"/>
              <a:gd name="connsiteX79" fmla="*/ 304800 w 742950"/>
              <a:gd name="connsiteY79" fmla="*/ 517072 h 582911"/>
              <a:gd name="connsiteX80" fmla="*/ 299357 w 742950"/>
              <a:gd name="connsiteY80" fmla="*/ 533400 h 582911"/>
              <a:gd name="connsiteX81" fmla="*/ 296635 w 742950"/>
              <a:gd name="connsiteY81" fmla="*/ 582386 h 582911"/>
              <a:gd name="connsiteX82" fmla="*/ 149678 w 742950"/>
              <a:gd name="connsiteY82" fmla="*/ 576943 h 582911"/>
              <a:gd name="connsiteX83" fmla="*/ 122464 w 742950"/>
              <a:gd name="connsiteY83" fmla="*/ 571500 h 582911"/>
              <a:gd name="connsiteX84" fmla="*/ 106135 w 742950"/>
              <a:gd name="connsiteY84" fmla="*/ 566058 h 582911"/>
              <a:gd name="connsiteX85" fmla="*/ 89807 w 742950"/>
              <a:gd name="connsiteY85" fmla="*/ 560615 h 582911"/>
              <a:gd name="connsiteX86" fmla="*/ 81643 w 742950"/>
              <a:gd name="connsiteY86" fmla="*/ 557893 h 582911"/>
              <a:gd name="connsiteX87" fmla="*/ 0 w 742950"/>
              <a:gd name="connsiteY87" fmla="*/ 557893 h 582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742950" h="582911">
                <a:moveTo>
                  <a:pt x="0" y="557893"/>
                </a:moveTo>
                <a:cubicBezTo>
                  <a:pt x="1385" y="556162"/>
                  <a:pt x="14163" y="540993"/>
                  <a:pt x="16328" y="536122"/>
                </a:cubicBezTo>
                <a:cubicBezTo>
                  <a:pt x="18658" y="530879"/>
                  <a:pt x="19957" y="525236"/>
                  <a:pt x="21771" y="519793"/>
                </a:cubicBezTo>
                <a:lnTo>
                  <a:pt x="27214" y="503465"/>
                </a:lnTo>
                <a:cubicBezTo>
                  <a:pt x="28121" y="500743"/>
                  <a:pt x="29239" y="498083"/>
                  <a:pt x="29935" y="495300"/>
                </a:cubicBezTo>
                <a:cubicBezTo>
                  <a:pt x="30842" y="491672"/>
                  <a:pt x="31582" y="487997"/>
                  <a:pt x="32657" y="484415"/>
                </a:cubicBezTo>
                <a:cubicBezTo>
                  <a:pt x="34306" y="478920"/>
                  <a:pt x="36286" y="473529"/>
                  <a:pt x="38100" y="468086"/>
                </a:cubicBezTo>
                <a:cubicBezTo>
                  <a:pt x="39007" y="465365"/>
                  <a:pt x="39230" y="462309"/>
                  <a:pt x="40821" y="459922"/>
                </a:cubicBezTo>
                <a:cubicBezTo>
                  <a:pt x="54553" y="439323"/>
                  <a:pt x="47081" y="448218"/>
                  <a:pt x="62593" y="432708"/>
                </a:cubicBezTo>
                <a:cubicBezTo>
                  <a:pt x="64407" y="429079"/>
                  <a:pt x="65166" y="424691"/>
                  <a:pt x="68035" y="421822"/>
                </a:cubicBezTo>
                <a:cubicBezTo>
                  <a:pt x="72661" y="417196"/>
                  <a:pt x="84364" y="410936"/>
                  <a:pt x="84364" y="410936"/>
                </a:cubicBezTo>
                <a:cubicBezTo>
                  <a:pt x="97064" y="391887"/>
                  <a:pt x="89807" y="398237"/>
                  <a:pt x="103414" y="389165"/>
                </a:cubicBezTo>
                <a:cubicBezTo>
                  <a:pt x="105627" y="382524"/>
                  <a:pt x="106301" y="378112"/>
                  <a:pt x="111578" y="372836"/>
                </a:cubicBezTo>
                <a:cubicBezTo>
                  <a:pt x="113891" y="370523"/>
                  <a:pt x="117021" y="369207"/>
                  <a:pt x="119743" y="367393"/>
                </a:cubicBezTo>
                <a:cubicBezTo>
                  <a:pt x="129454" y="352824"/>
                  <a:pt x="122872" y="361542"/>
                  <a:pt x="141514" y="342900"/>
                </a:cubicBezTo>
                <a:cubicBezTo>
                  <a:pt x="151991" y="332423"/>
                  <a:pt x="146476" y="336871"/>
                  <a:pt x="157843" y="329293"/>
                </a:cubicBezTo>
                <a:cubicBezTo>
                  <a:pt x="161471" y="323850"/>
                  <a:pt x="164103" y="317590"/>
                  <a:pt x="168728" y="312965"/>
                </a:cubicBezTo>
                <a:cubicBezTo>
                  <a:pt x="171450" y="310243"/>
                  <a:pt x="174429" y="307757"/>
                  <a:pt x="176893" y="304800"/>
                </a:cubicBezTo>
                <a:cubicBezTo>
                  <a:pt x="178987" y="302287"/>
                  <a:pt x="179781" y="298679"/>
                  <a:pt x="182335" y="296636"/>
                </a:cubicBezTo>
                <a:cubicBezTo>
                  <a:pt x="184575" y="294844"/>
                  <a:pt x="187778" y="294822"/>
                  <a:pt x="190500" y="293915"/>
                </a:cubicBezTo>
                <a:cubicBezTo>
                  <a:pt x="194516" y="287890"/>
                  <a:pt x="197821" y="281777"/>
                  <a:pt x="204107" y="277586"/>
                </a:cubicBezTo>
                <a:cubicBezTo>
                  <a:pt x="206494" y="275995"/>
                  <a:pt x="209550" y="275772"/>
                  <a:pt x="212271" y="274865"/>
                </a:cubicBezTo>
                <a:cubicBezTo>
                  <a:pt x="222020" y="260242"/>
                  <a:pt x="222285" y="262948"/>
                  <a:pt x="225878" y="250372"/>
                </a:cubicBezTo>
                <a:cubicBezTo>
                  <a:pt x="226906" y="246776"/>
                  <a:pt x="227693" y="243115"/>
                  <a:pt x="228600" y="239486"/>
                </a:cubicBezTo>
                <a:cubicBezTo>
                  <a:pt x="230584" y="207731"/>
                  <a:pt x="228042" y="206059"/>
                  <a:pt x="234043" y="185058"/>
                </a:cubicBezTo>
                <a:cubicBezTo>
                  <a:pt x="236782" y="175473"/>
                  <a:pt x="239848" y="168368"/>
                  <a:pt x="247650" y="160565"/>
                </a:cubicBezTo>
                <a:cubicBezTo>
                  <a:pt x="250371" y="157843"/>
                  <a:pt x="252612" y="154535"/>
                  <a:pt x="255814" y="152400"/>
                </a:cubicBezTo>
                <a:cubicBezTo>
                  <a:pt x="258201" y="150809"/>
                  <a:pt x="261257" y="150586"/>
                  <a:pt x="263978" y="149679"/>
                </a:cubicBezTo>
                <a:lnTo>
                  <a:pt x="280307" y="138793"/>
                </a:lnTo>
                <a:cubicBezTo>
                  <a:pt x="283028" y="136979"/>
                  <a:pt x="285368" y="134384"/>
                  <a:pt x="288471" y="133350"/>
                </a:cubicBezTo>
                <a:cubicBezTo>
                  <a:pt x="291192" y="132443"/>
                  <a:pt x="293877" y="131417"/>
                  <a:pt x="296635" y="130629"/>
                </a:cubicBezTo>
                <a:cubicBezTo>
                  <a:pt x="300712" y="129464"/>
                  <a:pt x="311330" y="127364"/>
                  <a:pt x="315685" y="125186"/>
                </a:cubicBezTo>
                <a:cubicBezTo>
                  <a:pt x="334475" y="115790"/>
                  <a:pt x="312086" y="122684"/>
                  <a:pt x="334735" y="117022"/>
                </a:cubicBezTo>
                <a:cubicBezTo>
                  <a:pt x="337457" y="115208"/>
                  <a:pt x="340746" y="114041"/>
                  <a:pt x="342900" y="111579"/>
                </a:cubicBezTo>
                <a:cubicBezTo>
                  <a:pt x="347208" y="106656"/>
                  <a:pt x="350157" y="100693"/>
                  <a:pt x="353785" y="95250"/>
                </a:cubicBezTo>
                <a:lnTo>
                  <a:pt x="364671" y="78922"/>
                </a:lnTo>
                <a:lnTo>
                  <a:pt x="375557" y="62593"/>
                </a:lnTo>
                <a:lnTo>
                  <a:pt x="381000" y="54429"/>
                </a:lnTo>
                <a:cubicBezTo>
                  <a:pt x="387477" y="34997"/>
                  <a:pt x="383261" y="42874"/>
                  <a:pt x="391885" y="29936"/>
                </a:cubicBezTo>
                <a:cubicBezTo>
                  <a:pt x="392857" y="26050"/>
                  <a:pt x="398244" y="3324"/>
                  <a:pt x="400050" y="2722"/>
                </a:cubicBezTo>
                <a:lnTo>
                  <a:pt x="408214" y="0"/>
                </a:lnTo>
                <a:cubicBezTo>
                  <a:pt x="410185" y="329"/>
                  <a:pt x="428243" y="2467"/>
                  <a:pt x="432707" y="5443"/>
                </a:cubicBezTo>
                <a:cubicBezTo>
                  <a:pt x="440822" y="10854"/>
                  <a:pt x="438768" y="15956"/>
                  <a:pt x="449035" y="16329"/>
                </a:cubicBezTo>
                <a:cubicBezTo>
                  <a:pt x="496184" y="18043"/>
                  <a:pt x="543378" y="18143"/>
                  <a:pt x="590550" y="19050"/>
                </a:cubicBezTo>
                <a:cubicBezTo>
                  <a:pt x="595993" y="19957"/>
                  <a:pt x="601391" y="21194"/>
                  <a:pt x="606878" y="21772"/>
                </a:cubicBezTo>
                <a:cubicBezTo>
                  <a:pt x="618641" y="23010"/>
                  <a:pt x="630574" y="22648"/>
                  <a:pt x="642257" y="24493"/>
                </a:cubicBezTo>
                <a:cubicBezTo>
                  <a:pt x="647924" y="25388"/>
                  <a:pt x="652851" y="29751"/>
                  <a:pt x="658585" y="29936"/>
                </a:cubicBezTo>
                <a:lnTo>
                  <a:pt x="742950" y="32658"/>
                </a:lnTo>
                <a:cubicBezTo>
                  <a:pt x="742043" y="73479"/>
                  <a:pt x="742626" y="114361"/>
                  <a:pt x="740228" y="155122"/>
                </a:cubicBezTo>
                <a:cubicBezTo>
                  <a:pt x="739891" y="160849"/>
                  <a:pt x="736599" y="166007"/>
                  <a:pt x="734785" y="171450"/>
                </a:cubicBezTo>
                <a:lnTo>
                  <a:pt x="732064" y="179615"/>
                </a:lnTo>
                <a:cubicBezTo>
                  <a:pt x="729229" y="188123"/>
                  <a:pt x="726478" y="198761"/>
                  <a:pt x="718457" y="204108"/>
                </a:cubicBezTo>
                <a:lnTo>
                  <a:pt x="710293" y="209550"/>
                </a:lnTo>
                <a:cubicBezTo>
                  <a:pt x="653143" y="208643"/>
                  <a:pt x="595946" y="209312"/>
                  <a:pt x="538843" y="206829"/>
                </a:cubicBezTo>
                <a:cubicBezTo>
                  <a:pt x="512041" y="205664"/>
                  <a:pt x="531833" y="200608"/>
                  <a:pt x="514350" y="198665"/>
                </a:cubicBezTo>
                <a:lnTo>
                  <a:pt x="489857" y="195943"/>
                </a:lnTo>
                <a:cubicBezTo>
                  <a:pt x="480786" y="197757"/>
                  <a:pt x="471065" y="197558"/>
                  <a:pt x="462643" y="201386"/>
                </a:cubicBezTo>
                <a:cubicBezTo>
                  <a:pt x="460032" y="202573"/>
                  <a:pt x="461204" y="206984"/>
                  <a:pt x="459921" y="209550"/>
                </a:cubicBezTo>
                <a:cubicBezTo>
                  <a:pt x="458458" y="212476"/>
                  <a:pt x="456292" y="214993"/>
                  <a:pt x="454478" y="217715"/>
                </a:cubicBezTo>
                <a:cubicBezTo>
                  <a:pt x="448331" y="236159"/>
                  <a:pt x="455289" y="213658"/>
                  <a:pt x="449035" y="244929"/>
                </a:cubicBezTo>
                <a:cubicBezTo>
                  <a:pt x="448472" y="247742"/>
                  <a:pt x="447102" y="250335"/>
                  <a:pt x="446314" y="253093"/>
                </a:cubicBezTo>
                <a:cubicBezTo>
                  <a:pt x="445149" y="257170"/>
                  <a:pt x="443049" y="267788"/>
                  <a:pt x="440871" y="272143"/>
                </a:cubicBezTo>
                <a:cubicBezTo>
                  <a:pt x="439408" y="275069"/>
                  <a:pt x="437242" y="277586"/>
                  <a:pt x="435428" y="280308"/>
                </a:cubicBezTo>
                <a:cubicBezTo>
                  <a:pt x="428254" y="301833"/>
                  <a:pt x="435868" y="276789"/>
                  <a:pt x="429985" y="323850"/>
                </a:cubicBezTo>
                <a:cubicBezTo>
                  <a:pt x="429629" y="326697"/>
                  <a:pt x="428052" y="329257"/>
                  <a:pt x="427264" y="332015"/>
                </a:cubicBezTo>
                <a:cubicBezTo>
                  <a:pt x="426237" y="335611"/>
                  <a:pt x="425618" y="339318"/>
                  <a:pt x="424543" y="342900"/>
                </a:cubicBezTo>
                <a:cubicBezTo>
                  <a:pt x="422894" y="348395"/>
                  <a:pt x="420914" y="353786"/>
                  <a:pt x="419100" y="359229"/>
                </a:cubicBezTo>
                <a:lnTo>
                  <a:pt x="410935" y="383722"/>
                </a:lnTo>
                <a:lnTo>
                  <a:pt x="405493" y="400050"/>
                </a:lnTo>
                <a:cubicBezTo>
                  <a:pt x="403700" y="405428"/>
                  <a:pt x="402124" y="412543"/>
                  <a:pt x="397328" y="416379"/>
                </a:cubicBezTo>
                <a:cubicBezTo>
                  <a:pt x="395088" y="418171"/>
                  <a:pt x="391922" y="418312"/>
                  <a:pt x="389164" y="419100"/>
                </a:cubicBezTo>
                <a:cubicBezTo>
                  <a:pt x="365244" y="425934"/>
                  <a:pt x="389688" y="418019"/>
                  <a:pt x="370114" y="424543"/>
                </a:cubicBezTo>
                <a:cubicBezTo>
                  <a:pt x="367393" y="426357"/>
                  <a:pt x="364875" y="428523"/>
                  <a:pt x="361950" y="429986"/>
                </a:cubicBezTo>
                <a:cubicBezTo>
                  <a:pt x="359384" y="431269"/>
                  <a:pt x="356293" y="431315"/>
                  <a:pt x="353785" y="432708"/>
                </a:cubicBezTo>
                <a:cubicBezTo>
                  <a:pt x="348067" y="435885"/>
                  <a:pt x="337457" y="443593"/>
                  <a:pt x="337457" y="443593"/>
                </a:cubicBezTo>
                <a:cubicBezTo>
                  <a:pt x="332666" y="457963"/>
                  <a:pt x="336326" y="449372"/>
                  <a:pt x="323850" y="468086"/>
                </a:cubicBezTo>
                <a:cubicBezTo>
                  <a:pt x="322036" y="470807"/>
                  <a:pt x="319441" y="473147"/>
                  <a:pt x="318407" y="476250"/>
                </a:cubicBezTo>
                <a:cubicBezTo>
                  <a:pt x="317500" y="478972"/>
                  <a:pt x="316968" y="481849"/>
                  <a:pt x="315685" y="484415"/>
                </a:cubicBezTo>
                <a:cubicBezTo>
                  <a:pt x="305133" y="505521"/>
                  <a:pt x="314364" y="480219"/>
                  <a:pt x="307521" y="500743"/>
                </a:cubicBezTo>
                <a:cubicBezTo>
                  <a:pt x="306614" y="506186"/>
                  <a:pt x="306138" y="511719"/>
                  <a:pt x="304800" y="517072"/>
                </a:cubicBezTo>
                <a:cubicBezTo>
                  <a:pt x="303409" y="522638"/>
                  <a:pt x="299357" y="533400"/>
                  <a:pt x="299357" y="533400"/>
                </a:cubicBezTo>
                <a:cubicBezTo>
                  <a:pt x="298450" y="549729"/>
                  <a:pt x="310863" y="574323"/>
                  <a:pt x="296635" y="582386"/>
                </a:cubicBezTo>
                <a:cubicBezTo>
                  <a:pt x="295709" y="582911"/>
                  <a:pt x="157205" y="577244"/>
                  <a:pt x="149678" y="576943"/>
                </a:cubicBezTo>
                <a:cubicBezTo>
                  <a:pt x="127040" y="569398"/>
                  <a:pt x="163113" y="580880"/>
                  <a:pt x="122464" y="571500"/>
                </a:cubicBezTo>
                <a:cubicBezTo>
                  <a:pt x="116874" y="570210"/>
                  <a:pt x="111578" y="567872"/>
                  <a:pt x="106135" y="566058"/>
                </a:cubicBezTo>
                <a:lnTo>
                  <a:pt x="89807" y="560615"/>
                </a:lnTo>
                <a:cubicBezTo>
                  <a:pt x="87086" y="559708"/>
                  <a:pt x="84512" y="557893"/>
                  <a:pt x="81643" y="557893"/>
                </a:cubicBezTo>
                <a:lnTo>
                  <a:pt x="0" y="557893"/>
                </a:ln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09" name="Freeform 108"/>
          <p:cNvSpPr/>
          <p:nvPr/>
        </p:nvSpPr>
        <p:spPr>
          <a:xfrm>
            <a:off x="2017718" y="518585"/>
            <a:ext cx="974725" cy="719667"/>
          </a:xfrm>
          <a:custGeom>
            <a:avLst/>
            <a:gdLst>
              <a:gd name="connsiteX0" fmla="*/ 1870 w 975173"/>
              <a:gd name="connsiteY0" fmla="*/ 639519 h 718852"/>
              <a:gd name="connsiteX1" fmla="*/ 7480 w 975173"/>
              <a:gd name="connsiteY1" fmla="*/ 625494 h 718852"/>
              <a:gd name="connsiteX2" fmla="*/ 15894 w 975173"/>
              <a:gd name="connsiteY2" fmla="*/ 622690 h 718852"/>
              <a:gd name="connsiteX3" fmla="*/ 24309 w 975173"/>
              <a:gd name="connsiteY3" fmla="*/ 617080 h 718852"/>
              <a:gd name="connsiteX4" fmla="*/ 52358 w 975173"/>
              <a:gd name="connsiteY4" fmla="*/ 611470 h 718852"/>
              <a:gd name="connsiteX5" fmla="*/ 69188 w 975173"/>
              <a:gd name="connsiteY5" fmla="*/ 605860 h 718852"/>
              <a:gd name="connsiteX6" fmla="*/ 77602 w 975173"/>
              <a:gd name="connsiteY6" fmla="*/ 603055 h 718852"/>
              <a:gd name="connsiteX7" fmla="*/ 86017 w 975173"/>
              <a:gd name="connsiteY7" fmla="*/ 597445 h 718852"/>
              <a:gd name="connsiteX8" fmla="*/ 102846 w 975173"/>
              <a:gd name="connsiteY8" fmla="*/ 591836 h 718852"/>
              <a:gd name="connsiteX9" fmla="*/ 122481 w 975173"/>
              <a:gd name="connsiteY9" fmla="*/ 586226 h 718852"/>
              <a:gd name="connsiteX10" fmla="*/ 130896 w 975173"/>
              <a:gd name="connsiteY10" fmla="*/ 583421 h 718852"/>
              <a:gd name="connsiteX11" fmla="*/ 142115 w 975173"/>
              <a:gd name="connsiteY11" fmla="*/ 580616 h 718852"/>
              <a:gd name="connsiteX12" fmla="*/ 161749 w 975173"/>
              <a:gd name="connsiteY12" fmla="*/ 575006 h 718852"/>
              <a:gd name="connsiteX13" fmla="*/ 186994 w 975173"/>
              <a:gd name="connsiteY13" fmla="*/ 558177 h 718852"/>
              <a:gd name="connsiteX14" fmla="*/ 195408 w 975173"/>
              <a:gd name="connsiteY14" fmla="*/ 552567 h 718852"/>
              <a:gd name="connsiteX15" fmla="*/ 212238 w 975173"/>
              <a:gd name="connsiteY15" fmla="*/ 538542 h 718852"/>
              <a:gd name="connsiteX16" fmla="*/ 223457 w 975173"/>
              <a:gd name="connsiteY16" fmla="*/ 521713 h 718852"/>
              <a:gd name="connsiteX17" fmla="*/ 234677 w 975173"/>
              <a:gd name="connsiteY17" fmla="*/ 516103 h 718852"/>
              <a:gd name="connsiteX18" fmla="*/ 251507 w 975173"/>
              <a:gd name="connsiteY18" fmla="*/ 502079 h 718852"/>
              <a:gd name="connsiteX19" fmla="*/ 259921 w 975173"/>
              <a:gd name="connsiteY19" fmla="*/ 499274 h 718852"/>
              <a:gd name="connsiteX20" fmla="*/ 276751 w 975173"/>
              <a:gd name="connsiteY20" fmla="*/ 488054 h 718852"/>
              <a:gd name="connsiteX21" fmla="*/ 285165 w 975173"/>
              <a:gd name="connsiteY21" fmla="*/ 482444 h 718852"/>
              <a:gd name="connsiteX22" fmla="*/ 293580 w 975173"/>
              <a:gd name="connsiteY22" fmla="*/ 474029 h 718852"/>
              <a:gd name="connsiteX23" fmla="*/ 301995 w 975173"/>
              <a:gd name="connsiteY23" fmla="*/ 448785 h 718852"/>
              <a:gd name="connsiteX24" fmla="*/ 304800 w 975173"/>
              <a:gd name="connsiteY24" fmla="*/ 440371 h 718852"/>
              <a:gd name="connsiteX25" fmla="*/ 307605 w 975173"/>
              <a:gd name="connsiteY25" fmla="*/ 378663 h 718852"/>
              <a:gd name="connsiteX26" fmla="*/ 313215 w 975173"/>
              <a:gd name="connsiteY26" fmla="*/ 361833 h 718852"/>
              <a:gd name="connsiteX27" fmla="*/ 321629 w 975173"/>
              <a:gd name="connsiteY27" fmla="*/ 345004 h 718852"/>
              <a:gd name="connsiteX28" fmla="*/ 324434 w 975173"/>
              <a:gd name="connsiteY28" fmla="*/ 336589 h 718852"/>
              <a:gd name="connsiteX29" fmla="*/ 332849 w 975173"/>
              <a:gd name="connsiteY29" fmla="*/ 328174 h 718852"/>
              <a:gd name="connsiteX30" fmla="*/ 338459 w 975173"/>
              <a:gd name="connsiteY30" fmla="*/ 319759 h 718852"/>
              <a:gd name="connsiteX31" fmla="*/ 346873 w 975173"/>
              <a:gd name="connsiteY31" fmla="*/ 311345 h 718852"/>
              <a:gd name="connsiteX32" fmla="*/ 358093 w 975173"/>
              <a:gd name="connsiteY32" fmla="*/ 294515 h 718852"/>
              <a:gd name="connsiteX33" fmla="*/ 360898 w 975173"/>
              <a:gd name="connsiteY33" fmla="*/ 286101 h 718852"/>
              <a:gd name="connsiteX34" fmla="*/ 369313 w 975173"/>
              <a:gd name="connsiteY34" fmla="*/ 277686 h 718852"/>
              <a:gd name="connsiteX35" fmla="*/ 377727 w 975173"/>
              <a:gd name="connsiteY35" fmla="*/ 260856 h 718852"/>
              <a:gd name="connsiteX36" fmla="*/ 386142 w 975173"/>
              <a:gd name="connsiteY36" fmla="*/ 252442 h 718852"/>
              <a:gd name="connsiteX37" fmla="*/ 397362 w 975173"/>
              <a:gd name="connsiteY37" fmla="*/ 235612 h 718852"/>
              <a:gd name="connsiteX38" fmla="*/ 416996 w 975173"/>
              <a:gd name="connsiteY38" fmla="*/ 224393 h 718852"/>
              <a:gd name="connsiteX39" fmla="*/ 433826 w 975173"/>
              <a:gd name="connsiteY39" fmla="*/ 213173 h 718852"/>
              <a:gd name="connsiteX40" fmla="*/ 450655 w 975173"/>
              <a:gd name="connsiteY40" fmla="*/ 207563 h 718852"/>
              <a:gd name="connsiteX41" fmla="*/ 459070 w 975173"/>
              <a:gd name="connsiteY41" fmla="*/ 204758 h 718852"/>
              <a:gd name="connsiteX42" fmla="*/ 470289 w 975173"/>
              <a:gd name="connsiteY42" fmla="*/ 201953 h 718852"/>
              <a:gd name="connsiteX43" fmla="*/ 481509 w 975173"/>
              <a:gd name="connsiteY43" fmla="*/ 196344 h 718852"/>
              <a:gd name="connsiteX44" fmla="*/ 495534 w 975173"/>
              <a:gd name="connsiteY44" fmla="*/ 193539 h 718852"/>
              <a:gd name="connsiteX45" fmla="*/ 512363 w 975173"/>
              <a:gd name="connsiteY45" fmla="*/ 187929 h 718852"/>
              <a:gd name="connsiteX46" fmla="*/ 520778 w 975173"/>
              <a:gd name="connsiteY46" fmla="*/ 185124 h 718852"/>
              <a:gd name="connsiteX47" fmla="*/ 529192 w 975173"/>
              <a:gd name="connsiteY47" fmla="*/ 182319 h 718852"/>
              <a:gd name="connsiteX48" fmla="*/ 537607 w 975173"/>
              <a:gd name="connsiteY48" fmla="*/ 179514 h 718852"/>
              <a:gd name="connsiteX49" fmla="*/ 554437 w 975173"/>
              <a:gd name="connsiteY49" fmla="*/ 168294 h 718852"/>
              <a:gd name="connsiteX50" fmla="*/ 562851 w 975173"/>
              <a:gd name="connsiteY50" fmla="*/ 162685 h 718852"/>
              <a:gd name="connsiteX51" fmla="*/ 579681 w 975173"/>
              <a:gd name="connsiteY51" fmla="*/ 148660 h 718852"/>
              <a:gd name="connsiteX52" fmla="*/ 585291 w 975173"/>
              <a:gd name="connsiteY52" fmla="*/ 140245 h 718852"/>
              <a:gd name="connsiteX53" fmla="*/ 599315 w 975173"/>
              <a:gd name="connsiteY53" fmla="*/ 123416 h 718852"/>
              <a:gd name="connsiteX54" fmla="*/ 610535 w 975173"/>
              <a:gd name="connsiteY54" fmla="*/ 98172 h 718852"/>
              <a:gd name="connsiteX55" fmla="*/ 618949 w 975173"/>
              <a:gd name="connsiteY55" fmla="*/ 89757 h 718852"/>
              <a:gd name="connsiteX56" fmla="*/ 635779 w 975173"/>
              <a:gd name="connsiteY56" fmla="*/ 75732 h 718852"/>
              <a:gd name="connsiteX57" fmla="*/ 646999 w 975173"/>
              <a:gd name="connsiteY57" fmla="*/ 58903 h 718852"/>
              <a:gd name="connsiteX58" fmla="*/ 655413 w 975173"/>
              <a:gd name="connsiteY58" fmla="*/ 42074 h 718852"/>
              <a:gd name="connsiteX59" fmla="*/ 666633 w 975173"/>
              <a:gd name="connsiteY59" fmla="*/ 16829 h 718852"/>
              <a:gd name="connsiteX60" fmla="*/ 675048 w 975173"/>
              <a:gd name="connsiteY60" fmla="*/ 14025 h 718852"/>
              <a:gd name="connsiteX61" fmla="*/ 683462 w 975173"/>
              <a:gd name="connsiteY61" fmla="*/ 5610 h 718852"/>
              <a:gd name="connsiteX62" fmla="*/ 700292 w 975173"/>
              <a:gd name="connsiteY62" fmla="*/ 0 h 718852"/>
              <a:gd name="connsiteX63" fmla="*/ 708707 w 975173"/>
              <a:gd name="connsiteY63" fmla="*/ 11220 h 718852"/>
              <a:gd name="connsiteX64" fmla="*/ 714316 w 975173"/>
              <a:gd name="connsiteY64" fmla="*/ 19634 h 718852"/>
              <a:gd name="connsiteX65" fmla="*/ 722731 w 975173"/>
              <a:gd name="connsiteY65" fmla="*/ 25244 h 718852"/>
              <a:gd name="connsiteX66" fmla="*/ 725536 w 975173"/>
              <a:gd name="connsiteY66" fmla="*/ 33659 h 718852"/>
              <a:gd name="connsiteX67" fmla="*/ 733951 w 975173"/>
              <a:gd name="connsiteY67" fmla="*/ 39269 h 718852"/>
              <a:gd name="connsiteX68" fmla="*/ 787244 w 975173"/>
              <a:gd name="connsiteY68" fmla="*/ 47683 h 718852"/>
              <a:gd name="connsiteX69" fmla="*/ 804073 w 975173"/>
              <a:gd name="connsiteY69" fmla="*/ 53293 h 718852"/>
              <a:gd name="connsiteX70" fmla="*/ 812488 w 975173"/>
              <a:gd name="connsiteY70" fmla="*/ 58903 h 718852"/>
              <a:gd name="connsiteX71" fmla="*/ 820903 w 975173"/>
              <a:gd name="connsiteY71" fmla="*/ 61708 h 718852"/>
              <a:gd name="connsiteX72" fmla="*/ 829318 w 975173"/>
              <a:gd name="connsiteY72" fmla="*/ 67318 h 718852"/>
              <a:gd name="connsiteX73" fmla="*/ 854562 w 975173"/>
              <a:gd name="connsiteY73" fmla="*/ 75732 h 718852"/>
              <a:gd name="connsiteX74" fmla="*/ 862976 w 975173"/>
              <a:gd name="connsiteY74" fmla="*/ 78537 h 718852"/>
              <a:gd name="connsiteX75" fmla="*/ 874196 w 975173"/>
              <a:gd name="connsiteY75" fmla="*/ 75732 h 718852"/>
              <a:gd name="connsiteX76" fmla="*/ 882611 w 975173"/>
              <a:gd name="connsiteY76" fmla="*/ 72928 h 718852"/>
              <a:gd name="connsiteX77" fmla="*/ 899440 w 975173"/>
              <a:gd name="connsiteY77" fmla="*/ 78537 h 718852"/>
              <a:gd name="connsiteX78" fmla="*/ 907855 w 975173"/>
              <a:gd name="connsiteY78" fmla="*/ 81342 h 718852"/>
              <a:gd name="connsiteX79" fmla="*/ 924684 w 975173"/>
              <a:gd name="connsiteY79" fmla="*/ 106586 h 718852"/>
              <a:gd name="connsiteX80" fmla="*/ 930294 w 975173"/>
              <a:gd name="connsiteY80" fmla="*/ 115001 h 718852"/>
              <a:gd name="connsiteX81" fmla="*/ 938709 w 975173"/>
              <a:gd name="connsiteY81" fmla="*/ 120611 h 718852"/>
              <a:gd name="connsiteX82" fmla="*/ 952734 w 975173"/>
              <a:gd name="connsiteY82" fmla="*/ 145855 h 718852"/>
              <a:gd name="connsiteX83" fmla="*/ 955538 w 975173"/>
              <a:gd name="connsiteY83" fmla="*/ 255247 h 718852"/>
              <a:gd name="connsiteX84" fmla="*/ 958343 w 975173"/>
              <a:gd name="connsiteY84" fmla="*/ 269271 h 718852"/>
              <a:gd name="connsiteX85" fmla="*/ 966758 w 975173"/>
              <a:gd name="connsiteY85" fmla="*/ 294515 h 718852"/>
              <a:gd name="connsiteX86" fmla="*/ 972368 w 975173"/>
              <a:gd name="connsiteY86" fmla="*/ 311345 h 718852"/>
              <a:gd name="connsiteX87" fmla="*/ 975173 w 975173"/>
              <a:gd name="connsiteY87" fmla="*/ 319759 h 718852"/>
              <a:gd name="connsiteX88" fmla="*/ 966758 w 975173"/>
              <a:gd name="connsiteY88" fmla="*/ 345004 h 718852"/>
              <a:gd name="connsiteX89" fmla="*/ 958343 w 975173"/>
              <a:gd name="connsiteY89" fmla="*/ 350613 h 718852"/>
              <a:gd name="connsiteX90" fmla="*/ 952734 w 975173"/>
              <a:gd name="connsiteY90" fmla="*/ 359028 h 718852"/>
              <a:gd name="connsiteX91" fmla="*/ 877001 w 975173"/>
              <a:gd name="connsiteY91" fmla="*/ 353418 h 718852"/>
              <a:gd name="connsiteX92" fmla="*/ 829318 w 975173"/>
              <a:gd name="connsiteY92" fmla="*/ 356223 h 718852"/>
              <a:gd name="connsiteX93" fmla="*/ 820903 w 975173"/>
              <a:gd name="connsiteY93" fmla="*/ 361833 h 718852"/>
              <a:gd name="connsiteX94" fmla="*/ 804073 w 975173"/>
              <a:gd name="connsiteY94" fmla="*/ 367443 h 718852"/>
              <a:gd name="connsiteX95" fmla="*/ 776024 w 975173"/>
              <a:gd name="connsiteY95" fmla="*/ 375858 h 718852"/>
              <a:gd name="connsiteX96" fmla="*/ 767610 w 975173"/>
              <a:gd name="connsiteY96" fmla="*/ 378663 h 718852"/>
              <a:gd name="connsiteX97" fmla="*/ 759195 w 975173"/>
              <a:gd name="connsiteY97" fmla="*/ 384272 h 718852"/>
              <a:gd name="connsiteX98" fmla="*/ 753585 w 975173"/>
              <a:gd name="connsiteY98" fmla="*/ 392687 h 718852"/>
              <a:gd name="connsiteX99" fmla="*/ 747975 w 975173"/>
              <a:gd name="connsiteY99" fmla="*/ 409517 h 718852"/>
              <a:gd name="connsiteX100" fmla="*/ 728341 w 975173"/>
              <a:gd name="connsiteY100" fmla="*/ 448785 h 718852"/>
              <a:gd name="connsiteX101" fmla="*/ 703097 w 975173"/>
              <a:gd name="connsiteY101" fmla="*/ 457200 h 718852"/>
              <a:gd name="connsiteX102" fmla="*/ 694682 w 975173"/>
              <a:gd name="connsiteY102" fmla="*/ 460005 h 718852"/>
              <a:gd name="connsiteX103" fmla="*/ 686267 w 975173"/>
              <a:gd name="connsiteY103" fmla="*/ 462810 h 718852"/>
              <a:gd name="connsiteX104" fmla="*/ 683462 w 975173"/>
              <a:gd name="connsiteY104" fmla="*/ 471225 h 718852"/>
              <a:gd name="connsiteX105" fmla="*/ 666633 w 975173"/>
              <a:gd name="connsiteY105" fmla="*/ 476834 h 718852"/>
              <a:gd name="connsiteX106" fmla="*/ 663828 w 975173"/>
              <a:gd name="connsiteY106" fmla="*/ 485249 h 718852"/>
              <a:gd name="connsiteX107" fmla="*/ 644194 w 975173"/>
              <a:gd name="connsiteY107" fmla="*/ 507688 h 718852"/>
              <a:gd name="connsiteX108" fmla="*/ 560046 w 975173"/>
              <a:gd name="connsiteY108" fmla="*/ 510493 h 718852"/>
              <a:gd name="connsiteX109" fmla="*/ 540412 w 975173"/>
              <a:gd name="connsiteY109" fmla="*/ 516103 h 718852"/>
              <a:gd name="connsiteX110" fmla="*/ 531997 w 975173"/>
              <a:gd name="connsiteY110" fmla="*/ 518908 h 718852"/>
              <a:gd name="connsiteX111" fmla="*/ 520778 w 975173"/>
              <a:gd name="connsiteY111" fmla="*/ 521713 h 718852"/>
              <a:gd name="connsiteX112" fmla="*/ 512363 w 975173"/>
              <a:gd name="connsiteY112" fmla="*/ 524518 h 718852"/>
              <a:gd name="connsiteX113" fmla="*/ 498338 w 975173"/>
              <a:gd name="connsiteY113" fmla="*/ 530128 h 718852"/>
              <a:gd name="connsiteX114" fmla="*/ 481509 w 975173"/>
              <a:gd name="connsiteY114" fmla="*/ 532932 h 718852"/>
              <a:gd name="connsiteX115" fmla="*/ 445045 w 975173"/>
              <a:gd name="connsiteY115" fmla="*/ 544152 h 718852"/>
              <a:gd name="connsiteX116" fmla="*/ 402972 w 975173"/>
              <a:gd name="connsiteY116" fmla="*/ 558177 h 718852"/>
              <a:gd name="connsiteX117" fmla="*/ 394557 w 975173"/>
              <a:gd name="connsiteY117" fmla="*/ 560982 h 718852"/>
              <a:gd name="connsiteX118" fmla="*/ 386142 w 975173"/>
              <a:gd name="connsiteY118" fmla="*/ 563786 h 718852"/>
              <a:gd name="connsiteX119" fmla="*/ 369313 w 975173"/>
              <a:gd name="connsiteY119" fmla="*/ 575006 h 718852"/>
              <a:gd name="connsiteX120" fmla="*/ 352483 w 975173"/>
              <a:gd name="connsiteY120" fmla="*/ 583421 h 718852"/>
              <a:gd name="connsiteX121" fmla="*/ 346873 w 975173"/>
              <a:gd name="connsiteY121" fmla="*/ 591836 h 718852"/>
              <a:gd name="connsiteX122" fmla="*/ 341264 w 975173"/>
              <a:gd name="connsiteY122" fmla="*/ 608665 h 718852"/>
              <a:gd name="connsiteX123" fmla="*/ 338459 w 975173"/>
              <a:gd name="connsiteY123" fmla="*/ 617080 h 718852"/>
              <a:gd name="connsiteX124" fmla="*/ 335654 w 975173"/>
              <a:gd name="connsiteY124" fmla="*/ 625494 h 718852"/>
              <a:gd name="connsiteX125" fmla="*/ 332849 w 975173"/>
              <a:gd name="connsiteY125" fmla="*/ 633909 h 718852"/>
              <a:gd name="connsiteX126" fmla="*/ 330044 w 975173"/>
              <a:gd name="connsiteY126" fmla="*/ 675983 h 718852"/>
              <a:gd name="connsiteX127" fmla="*/ 206628 w 975173"/>
              <a:gd name="connsiteY127" fmla="*/ 670373 h 718852"/>
              <a:gd name="connsiteX128" fmla="*/ 192603 w 975173"/>
              <a:gd name="connsiteY128" fmla="*/ 667568 h 718852"/>
              <a:gd name="connsiteX129" fmla="*/ 175774 w 975173"/>
              <a:gd name="connsiteY129" fmla="*/ 661958 h 718852"/>
              <a:gd name="connsiteX130" fmla="*/ 125286 w 975173"/>
              <a:gd name="connsiteY130" fmla="*/ 659153 h 718852"/>
              <a:gd name="connsiteX131" fmla="*/ 60773 w 975173"/>
              <a:gd name="connsiteY131" fmla="*/ 656348 h 718852"/>
              <a:gd name="connsiteX132" fmla="*/ 43943 w 975173"/>
              <a:gd name="connsiteY132" fmla="*/ 650739 h 718852"/>
              <a:gd name="connsiteX133" fmla="*/ 35529 w 975173"/>
              <a:gd name="connsiteY133" fmla="*/ 645129 h 718852"/>
              <a:gd name="connsiteX134" fmla="*/ 18699 w 975173"/>
              <a:gd name="connsiteY134" fmla="*/ 636714 h 718852"/>
              <a:gd name="connsiteX135" fmla="*/ 1870 w 975173"/>
              <a:gd name="connsiteY135" fmla="*/ 639519 h 718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975173" h="718852">
                <a:moveTo>
                  <a:pt x="1870" y="639519"/>
                </a:moveTo>
                <a:cubicBezTo>
                  <a:pt x="0" y="637649"/>
                  <a:pt x="4257" y="629362"/>
                  <a:pt x="7480" y="625494"/>
                </a:cubicBezTo>
                <a:cubicBezTo>
                  <a:pt x="9373" y="623223"/>
                  <a:pt x="13250" y="624012"/>
                  <a:pt x="15894" y="622690"/>
                </a:cubicBezTo>
                <a:cubicBezTo>
                  <a:pt x="18909" y="621182"/>
                  <a:pt x="21294" y="618588"/>
                  <a:pt x="24309" y="617080"/>
                </a:cubicBezTo>
                <a:cubicBezTo>
                  <a:pt x="32142" y="613164"/>
                  <a:pt x="45122" y="612504"/>
                  <a:pt x="52358" y="611470"/>
                </a:cubicBezTo>
                <a:lnTo>
                  <a:pt x="69188" y="605860"/>
                </a:lnTo>
                <a:cubicBezTo>
                  <a:pt x="71993" y="604925"/>
                  <a:pt x="75142" y="604695"/>
                  <a:pt x="77602" y="603055"/>
                </a:cubicBezTo>
                <a:cubicBezTo>
                  <a:pt x="80407" y="601185"/>
                  <a:pt x="82936" y="598814"/>
                  <a:pt x="86017" y="597445"/>
                </a:cubicBezTo>
                <a:cubicBezTo>
                  <a:pt x="91420" y="595044"/>
                  <a:pt x="97236" y="593706"/>
                  <a:pt x="102846" y="591836"/>
                </a:cubicBezTo>
                <a:cubicBezTo>
                  <a:pt x="123033" y="585107"/>
                  <a:pt x="97812" y="593274"/>
                  <a:pt x="122481" y="586226"/>
                </a:cubicBezTo>
                <a:cubicBezTo>
                  <a:pt x="125324" y="585414"/>
                  <a:pt x="128053" y="584233"/>
                  <a:pt x="130896" y="583421"/>
                </a:cubicBezTo>
                <a:cubicBezTo>
                  <a:pt x="134602" y="582362"/>
                  <a:pt x="138409" y="581675"/>
                  <a:pt x="142115" y="580616"/>
                </a:cubicBezTo>
                <a:cubicBezTo>
                  <a:pt x="170281" y="572568"/>
                  <a:pt x="126679" y="583774"/>
                  <a:pt x="161749" y="575006"/>
                </a:cubicBezTo>
                <a:lnTo>
                  <a:pt x="186994" y="558177"/>
                </a:lnTo>
                <a:cubicBezTo>
                  <a:pt x="189799" y="556307"/>
                  <a:pt x="193024" y="554951"/>
                  <a:pt x="195408" y="552567"/>
                </a:cubicBezTo>
                <a:cubicBezTo>
                  <a:pt x="206207" y="541768"/>
                  <a:pt x="200522" y="546352"/>
                  <a:pt x="212238" y="538542"/>
                </a:cubicBezTo>
                <a:cubicBezTo>
                  <a:pt x="215978" y="532932"/>
                  <a:pt x="217427" y="524728"/>
                  <a:pt x="223457" y="521713"/>
                </a:cubicBezTo>
                <a:cubicBezTo>
                  <a:pt x="227197" y="519843"/>
                  <a:pt x="231274" y="518533"/>
                  <a:pt x="234677" y="516103"/>
                </a:cubicBezTo>
                <a:cubicBezTo>
                  <a:pt x="249156" y="505761"/>
                  <a:pt x="236664" y="509500"/>
                  <a:pt x="251507" y="502079"/>
                </a:cubicBezTo>
                <a:cubicBezTo>
                  <a:pt x="254151" y="500757"/>
                  <a:pt x="257337" y="500710"/>
                  <a:pt x="259921" y="499274"/>
                </a:cubicBezTo>
                <a:cubicBezTo>
                  <a:pt x="265815" y="496000"/>
                  <a:pt x="271141" y="491794"/>
                  <a:pt x="276751" y="488054"/>
                </a:cubicBezTo>
                <a:cubicBezTo>
                  <a:pt x="279556" y="486184"/>
                  <a:pt x="282781" y="484828"/>
                  <a:pt x="285165" y="482444"/>
                </a:cubicBezTo>
                <a:lnTo>
                  <a:pt x="293580" y="474029"/>
                </a:lnTo>
                <a:lnTo>
                  <a:pt x="301995" y="448785"/>
                </a:lnTo>
                <a:lnTo>
                  <a:pt x="304800" y="440371"/>
                </a:lnTo>
                <a:cubicBezTo>
                  <a:pt x="305735" y="419802"/>
                  <a:pt x="305411" y="399136"/>
                  <a:pt x="307605" y="378663"/>
                </a:cubicBezTo>
                <a:cubicBezTo>
                  <a:pt x="308235" y="372783"/>
                  <a:pt x="311345" y="367443"/>
                  <a:pt x="313215" y="361833"/>
                </a:cubicBezTo>
                <a:cubicBezTo>
                  <a:pt x="317086" y="350217"/>
                  <a:pt x="314377" y="355881"/>
                  <a:pt x="321629" y="345004"/>
                </a:cubicBezTo>
                <a:cubicBezTo>
                  <a:pt x="322564" y="342199"/>
                  <a:pt x="322794" y="339049"/>
                  <a:pt x="324434" y="336589"/>
                </a:cubicBezTo>
                <a:cubicBezTo>
                  <a:pt x="326634" y="333288"/>
                  <a:pt x="330309" y="331221"/>
                  <a:pt x="332849" y="328174"/>
                </a:cubicBezTo>
                <a:cubicBezTo>
                  <a:pt x="335007" y="325584"/>
                  <a:pt x="336301" y="322349"/>
                  <a:pt x="338459" y="319759"/>
                </a:cubicBezTo>
                <a:cubicBezTo>
                  <a:pt x="340998" y="316712"/>
                  <a:pt x="344438" y="314476"/>
                  <a:pt x="346873" y="311345"/>
                </a:cubicBezTo>
                <a:cubicBezTo>
                  <a:pt x="351012" y="306023"/>
                  <a:pt x="355961" y="300911"/>
                  <a:pt x="358093" y="294515"/>
                </a:cubicBezTo>
                <a:cubicBezTo>
                  <a:pt x="359028" y="291710"/>
                  <a:pt x="359258" y="288561"/>
                  <a:pt x="360898" y="286101"/>
                </a:cubicBezTo>
                <a:cubicBezTo>
                  <a:pt x="363099" y="282800"/>
                  <a:pt x="366508" y="280491"/>
                  <a:pt x="369313" y="277686"/>
                </a:cubicBezTo>
                <a:cubicBezTo>
                  <a:pt x="372123" y="269255"/>
                  <a:pt x="371687" y="268104"/>
                  <a:pt x="377727" y="260856"/>
                </a:cubicBezTo>
                <a:cubicBezTo>
                  <a:pt x="380266" y="257809"/>
                  <a:pt x="383707" y="255573"/>
                  <a:pt x="386142" y="252442"/>
                </a:cubicBezTo>
                <a:cubicBezTo>
                  <a:pt x="390282" y="247120"/>
                  <a:pt x="391752" y="239352"/>
                  <a:pt x="397362" y="235612"/>
                </a:cubicBezTo>
                <a:cubicBezTo>
                  <a:pt x="426449" y="216218"/>
                  <a:pt x="381433" y="245729"/>
                  <a:pt x="416996" y="224393"/>
                </a:cubicBezTo>
                <a:cubicBezTo>
                  <a:pt x="422778" y="220924"/>
                  <a:pt x="427430" y="215305"/>
                  <a:pt x="433826" y="213173"/>
                </a:cubicBezTo>
                <a:lnTo>
                  <a:pt x="450655" y="207563"/>
                </a:lnTo>
                <a:cubicBezTo>
                  <a:pt x="453460" y="206628"/>
                  <a:pt x="456202" y="205475"/>
                  <a:pt x="459070" y="204758"/>
                </a:cubicBezTo>
                <a:cubicBezTo>
                  <a:pt x="462810" y="203823"/>
                  <a:pt x="466680" y="203306"/>
                  <a:pt x="470289" y="201953"/>
                </a:cubicBezTo>
                <a:cubicBezTo>
                  <a:pt x="474204" y="200485"/>
                  <a:pt x="477542" y="197666"/>
                  <a:pt x="481509" y="196344"/>
                </a:cubicBezTo>
                <a:cubicBezTo>
                  <a:pt x="486032" y="194837"/>
                  <a:pt x="490934" y="194793"/>
                  <a:pt x="495534" y="193539"/>
                </a:cubicBezTo>
                <a:cubicBezTo>
                  <a:pt x="501239" y="191983"/>
                  <a:pt x="506753" y="189799"/>
                  <a:pt x="512363" y="187929"/>
                </a:cubicBezTo>
                <a:lnTo>
                  <a:pt x="520778" y="185124"/>
                </a:lnTo>
                <a:lnTo>
                  <a:pt x="529192" y="182319"/>
                </a:lnTo>
                <a:cubicBezTo>
                  <a:pt x="531997" y="181384"/>
                  <a:pt x="535147" y="181154"/>
                  <a:pt x="537607" y="179514"/>
                </a:cubicBezTo>
                <a:lnTo>
                  <a:pt x="554437" y="168294"/>
                </a:lnTo>
                <a:cubicBezTo>
                  <a:pt x="557242" y="166424"/>
                  <a:pt x="560468" y="165068"/>
                  <a:pt x="562851" y="162685"/>
                </a:cubicBezTo>
                <a:cubicBezTo>
                  <a:pt x="573650" y="151886"/>
                  <a:pt x="567965" y="156470"/>
                  <a:pt x="579681" y="148660"/>
                </a:cubicBezTo>
                <a:cubicBezTo>
                  <a:pt x="581551" y="145855"/>
                  <a:pt x="583133" y="142835"/>
                  <a:pt x="585291" y="140245"/>
                </a:cubicBezTo>
                <a:cubicBezTo>
                  <a:pt x="591582" y="132696"/>
                  <a:pt x="595335" y="132370"/>
                  <a:pt x="599315" y="123416"/>
                </a:cubicBezTo>
                <a:cubicBezTo>
                  <a:pt x="606306" y="107685"/>
                  <a:pt x="601465" y="109056"/>
                  <a:pt x="610535" y="98172"/>
                </a:cubicBezTo>
                <a:cubicBezTo>
                  <a:pt x="613074" y="95125"/>
                  <a:pt x="615902" y="92296"/>
                  <a:pt x="618949" y="89757"/>
                </a:cubicBezTo>
                <a:cubicBezTo>
                  <a:pt x="629187" y="81225"/>
                  <a:pt x="626719" y="87380"/>
                  <a:pt x="635779" y="75732"/>
                </a:cubicBezTo>
                <a:cubicBezTo>
                  <a:pt x="639918" y="70410"/>
                  <a:pt x="646999" y="58903"/>
                  <a:pt x="646999" y="58903"/>
                </a:cubicBezTo>
                <a:cubicBezTo>
                  <a:pt x="657219" y="28233"/>
                  <a:pt x="640923" y="74675"/>
                  <a:pt x="655413" y="42074"/>
                </a:cubicBezTo>
                <a:cubicBezTo>
                  <a:pt x="658013" y="36223"/>
                  <a:pt x="660066" y="22082"/>
                  <a:pt x="666633" y="16829"/>
                </a:cubicBezTo>
                <a:cubicBezTo>
                  <a:pt x="668942" y="14982"/>
                  <a:pt x="672243" y="14960"/>
                  <a:pt x="675048" y="14025"/>
                </a:cubicBezTo>
                <a:cubicBezTo>
                  <a:pt x="677853" y="11220"/>
                  <a:pt x="679995" y="7536"/>
                  <a:pt x="683462" y="5610"/>
                </a:cubicBezTo>
                <a:cubicBezTo>
                  <a:pt x="688631" y="2738"/>
                  <a:pt x="700292" y="0"/>
                  <a:pt x="700292" y="0"/>
                </a:cubicBezTo>
                <a:cubicBezTo>
                  <a:pt x="703097" y="3740"/>
                  <a:pt x="705990" y="7416"/>
                  <a:pt x="708707" y="11220"/>
                </a:cubicBezTo>
                <a:cubicBezTo>
                  <a:pt x="710666" y="13963"/>
                  <a:pt x="711933" y="17251"/>
                  <a:pt x="714316" y="19634"/>
                </a:cubicBezTo>
                <a:cubicBezTo>
                  <a:pt x="716700" y="22018"/>
                  <a:pt x="719926" y="23374"/>
                  <a:pt x="722731" y="25244"/>
                </a:cubicBezTo>
                <a:cubicBezTo>
                  <a:pt x="723666" y="28049"/>
                  <a:pt x="723689" y="31350"/>
                  <a:pt x="725536" y="33659"/>
                </a:cubicBezTo>
                <a:cubicBezTo>
                  <a:pt x="727642" y="36291"/>
                  <a:pt x="730870" y="37900"/>
                  <a:pt x="733951" y="39269"/>
                </a:cubicBezTo>
                <a:cubicBezTo>
                  <a:pt x="753762" y="48074"/>
                  <a:pt x="762579" y="45786"/>
                  <a:pt x="787244" y="47683"/>
                </a:cubicBezTo>
                <a:cubicBezTo>
                  <a:pt x="792854" y="49553"/>
                  <a:pt x="799153" y="50013"/>
                  <a:pt x="804073" y="53293"/>
                </a:cubicBezTo>
                <a:cubicBezTo>
                  <a:pt x="806878" y="55163"/>
                  <a:pt x="809473" y="57395"/>
                  <a:pt x="812488" y="58903"/>
                </a:cubicBezTo>
                <a:cubicBezTo>
                  <a:pt x="815133" y="60225"/>
                  <a:pt x="818258" y="60386"/>
                  <a:pt x="820903" y="61708"/>
                </a:cubicBezTo>
                <a:cubicBezTo>
                  <a:pt x="823918" y="63216"/>
                  <a:pt x="826237" y="65949"/>
                  <a:pt x="829318" y="67318"/>
                </a:cubicBezTo>
                <a:cubicBezTo>
                  <a:pt x="829348" y="67332"/>
                  <a:pt x="850339" y="74324"/>
                  <a:pt x="854562" y="75732"/>
                </a:cubicBezTo>
                <a:lnTo>
                  <a:pt x="862976" y="78537"/>
                </a:lnTo>
                <a:cubicBezTo>
                  <a:pt x="866716" y="77602"/>
                  <a:pt x="870489" y="76791"/>
                  <a:pt x="874196" y="75732"/>
                </a:cubicBezTo>
                <a:cubicBezTo>
                  <a:pt x="877039" y="74920"/>
                  <a:pt x="879672" y="72601"/>
                  <a:pt x="882611" y="72928"/>
                </a:cubicBezTo>
                <a:cubicBezTo>
                  <a:pt x="888488" y="73581"/>
                  <a:pt x="893830" y="76667"/>
                  <a:pt x="899440" y="78537"/>
                </a:cubicBezTo>
                <a:lnTo>
                  <a:pt x="907855" y="81342"/>
                </a:lnTo>
                <a:lnTo>
                  <a:pt x="924684" y="106586"/>
                </a:lnTo>
                <a:cubicBezTo>
                  <a:pt x="926554" y="109391"/>
                  <a:pt x="927489" y="113131"/>
                  <a:pt x="930294" y="115001"/>
                </a:cubicBezTo>
                <a:lnTo>
                  <a:pt x="938709" y="120611"/>
                </a:lnTo>
                <a:cubicBezTo>
                  <a:pt x="951569" y="139900"/>
                  <a:pt x="947797" y="131044"/>
                  <a:pt x="952734" y="145855"/>
                </a:cubicBezTo>
                <a:cubicBezTo>
                  <a:pt x="953669" y="182319"/>
                  <a:pt x="953882" y="218809"/>
                  <a:pt x="955538" y="255247"/>
                </a:cubicBezTo>
                <a:cubicBezTo>
                  <a:pt x="955754" y="260009"/>
                  <a:pt x="957089" y="264672"/>
                  <a:pt x="958343" y="269271"/>
                </a:cubicBezTo>
                <a:cubicBezTo>
                  <a:pt x="958347" y="269287"/>
                  <a:pt x="965353" y="290300"/>
                  <a:pt x="966758" y="294515"/>
                </a:cubicBezTo>
                <a:lnTo>
                  <a:pt x="972368" y="311345"/>
                </a:lnTo>
                <a:lnTo>
                  <a:pt x="975173" y="319759"/>
                </a:lnTo>
                <a:cubicBezTo>
                  <a:pt x="973293" y="331041"/>
                  <a:pt x="974646" y="337116"/>
                  <a:pt x="966758" y="345004"/>
                </a:cubicBezTo>
                <a:cubicBezTo>
                  <a:pt x="964374" y="347388"/>
                  <a:pt x="961148" y="348743"/>
                  <a:pt x="958343" y="350613"/>
                </a:cubicBezTo>
                <a:cubicBezTo>
                  <a:pt x="956473" y="353418"/>
                  <a:pt x="956084" y="358656"/>
                  <a:pt x="952734" y="359028"/>
                </a:cubicBezTo>
                <a:cubicBezTo>
                  <a:pt x="944973" y="359890"/>
                  <a:pt x="890107" y="354609"/>
                  <a:pt x="877001" y="353418"/>
                </a:cubicBezTo>
                <a:cubicBezTo>
                  <a:pt x="861107" y="354353"/>
                  <a:pt x="845064" y="353861"/>
                  <a:pt x="829318" y="356223"/>
                </a:cubicBezTo>
                <a:cubicBezTo>
                  <a:pt x="825984" y="356723"/>
                  <a:pt x="823984" y="360464"/>
                  <a:pt x="820903" y="361833"/>
                </a:cubicBezTo>
                <a:cubicBezTo>
                  <a:pt x="815499" y="364235"/>
                  <a:pt x="809810" y="366009"/>
                  <a:pt x="804073" y="367443"/>
                </a:cubicBezTo>
                <a:cubicBezTo>
                  <a:pt x="787119" y="371682"/>
                  <a:pt x="796508" y="369030"/>
                  <a:pt x="776024" y="375858"/>
                </a:cubicBezTo>
                <a:cubicBezTo>
                  <a:pt x="773219" y="376793"/>
                  <a:pt x="770070" y="377023"/>
                  <a:pt x="767610" y="378663"/>
                </a:cubicBezTo>
                <a:lnTo>
                  <a:pt x="759195" y="384272"/>
                </a:lnTo>
                <a:cubicBezTo>
                  <a:pt x="757325" y="387077"/>
                  <a:pt x="754954" y="389606"/>
                  <a:pt x="753585" y="392687"/>
                </a:cubicBezTo>
                <a:cubicBezTo>
                  <a:pt x="751183" y="398091"/>
                  <a:pt x="747975" y="409517"/>
                  <a:pt x="747975" y="409517"/>
                </a:cubicBezTo>
                <a:cubicBezTo>
                  <a:pt x="745684" y="432430"/>
                  <a:pt x="752138" y="440853"/>
                  <a:pt x="728341" y="448785"/>
                </a:cubicBezTo>
                <a:lnTo>
                  <a:pt x="703097" y="457200"/>
                </a:lnTo>
                <a:lnTo>
                  <a:pt x="694682" y="460005"/>
                </a:lnTo>
                <a:lnTo>
                  <a:pt x="686267" y="462810"/>
                </a:lnTo>
                <a:cubicBezTo>
                  <a:pt x="685332" y="465615"/>
                  <a:pt x="685868" y="469506"/>
                  <a:pt x="683462" y="471225"/>
                </a:cubicBezTo>
                <a:cubicBezTo>
                  <a:pt x="678650" y="474662"/>
                  <a:pt x="666633" y="476834"/>
                  <a:pt x="666633" y="476834"/>
                </a:cubicBezTo>
                <a:cubicBezTo>
                  <a:pt x="665698" y="479639"/>
                  <a:pt x="665264" y="482664"/>
                  <a:pt x="663828" y="485249"/>
                </a:cubicBezTo>
                <a:cubicBezTo>
                  <a:pt x="662486" y="487665"/>
                  <a:pt x="652345" y="506947"/>
                  <a:pt x="644194" y="507688"/>
                </a:cubicBezTo>
                <a:cubicBezTo>
                  <a:pt x="616244" y="510229"/>
                  <a:pt x="588095" y="509558"/>
                  <a:pt x="560046" y="510493"/>
                </a:cubicBezTo>
                <a:cubicBezTo>
                  <a:pt x="539879" y="517216"/>
                  <a:pt x="565057" y="509061"/>
                  <a:pt x="540412" y="516103"/>
                </a:cubicBezTo>
                <a:cubicBezTo>
                  <a:pt x="537569" y="516915"/>
                  <a:pt x="534840" y="518096"/>
                  <a:pt x="531997" y="518908"/>
                </a:cubicBezTo>
                <a:cubicBezTo>
                  <a:pt x="528291" y="519967"/>
                  <a:pt x="524484" y="520654"/>
                  <a:pt x="520778" y="521713"/>
                </a:cubicBezTo>
                <a:cubicBezTo>
                  <a:pt x="517935" y="522525"/>
                  <a:pt x="515131" y="523480"/>
                  <a:pt x="512363" y="524518"/>
                </a:cubicBezTo>
                <a:cubicBezTo>
                  <a:pt x="507648" y="526286"/>
                  <a:pt x="503196" y="528803"/>
                  <a:pt x="498338" y="530128"/>
                </a:cubicBezTo>
                <a:cubicBezTo>
                  <a:pt x="492851" y="531624"/>
                  <a:pt x="487086" y="531817"/>
                  <a:pt x="481509" y="532932"/>
                </a:cubicBezTo>
                <a:cubicBezTo>
                  <a:pt x="469009" y="535432"/>
                  <a:pt x="457102" y="540133"/>
                  <a:pt x="445045" y="544152"/>
                </a:cubicBezTo>
                <a:lnTo>
                  <a:pt x="402972" y="558177"/>
                </a:lnTo>
                <a:lnTo>
                  <a:pt x="394557" y="560982"/>
                </a:lnTo>
                <a:lnTo>
                  <a:pt x="386142" y="563786"/>
                </a:lnTo>
                <a:cubicBezTo>
                  <a:pt x="370190" y="579738"/>
                  <a:pt x="385549" y="566887"/>
                  <a:pt x="369313" y="575006"/>
                </a:cubicBezTo>
                <a:cubicBezTo>
                  <a:pt x="347567" y="585880"/>
                  <a:pt x="373631" y="576372"/>
                  <a:pt x="352483" y="583421"/>
                </a:cubicBezTo>
                <a:cubicBezTo>
                  <a:pt x="350613" y="586226"/>
                  <a:pt x="348242" y="588755"/>
                  <a:pt x="346873" y="591836"/>
                </a:cubicBezTo>
                <a:cubicBezTo>
                  <a:pt x="344472" y="597239"/>
                  <a:pt x="343134" y="603055"/>
                  <a:pt x="341264" y="608665"/>
                </a:cubicBezTo>
                <a:lnTo>
                  <a:pt x="338459" y="617080"/>
                </a:lnTo>
                <a:lnTo>
                  <a:pt x="335654" y="625494"/>
                </a:lnTo>
                <a:lnTo>
                  <a:pt x="332849" y="633909"/>
                </a:lnTo>
                <a:cubicBezTo>
                  <a:pt x="331914" y="647934"/>
                  <a:pt x="343378" y="671538"/>
                  <a:pt x="330044" y="675983"/>
                </a:cubicBezTo>
                <a:cubicBezTo>
                  <a:pt x="201438" y="718852"/>
                  <a:pt x="252241" y="681776"/>
                  <a:pt x="206628" y="670373"/>
                </a:cubicBezTo>
                <a:cubicBezTo>
                  <a:pt x="202003" y="669217"/>
                  <a:pt x="197203" y="668822"/>
                  <a:pt x="192603" y="667568"/>
                </a:cubicBezTo>
                <a:cubicBezTo>
                  <a:pt x="186898" y="666012"/>
                  <a:pt x="181678" y="662286"/>
                  <a:pt x="175774" y="661958"/>
                </a:cubicBezTo>
                <a:lnTo>
                  <a:pt x="125286" y="659153"/>
                </a:lnTo>
                <a:lnTo>
                  <a:pt x="60773" y="656348"/>
                </a:lnTo>
                <a:cubicBezTo>
                  <a:pt x="55163" y="654478"/>
                  <a:pt x="48863" y="654019"/>
                  <a:pt x="43943" y="650739"/>
                </a:cubicBezTo>
                <a:cubicBezTo>
                  <a:pt x="41138" y="648869"/>
                  <a:pt x="38544" y="646637"/>
                  <a:pt x="35529" y="645129"/>
                </a:cubicBezTo>
                <a:cubicBezTo>
                  <a:pt x="12298" y="633513"/>
                  <a:pt x="42820" y="652795"/>
                  <a:pt x="18699" y="636714"/>
                </a:cubicBezTo>
                <a:cubicBezTo>
                  <a:pt x="15233" y="626316"/>
                  <a:pt x="3740" y="641389"/>
                  <a:pt x="1870" y="639519"/>
                </a:cubicBezTo>
                <a:close/>
              </a:path>
            </a:pathLst>
          </a:custGeom>
          <a:solidFill>
            <a:srgbClr val="00CC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0" name="Subtitle 2"/>
          <p:cNvSpPr txBox="1">
            <a:spLocks/>
          </p:cNvSpPr>
          <p:nvPr/>
        </p:nvSpPr>
        <p:spPr bwMode="auto">
          <a:xfrm rot="-1357031">
            <a:off x="2224089" y="698504"/>
            <a:ext cx="755650" cy="334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1400">
                <a:latin typeface="Ramabhadra" pitchFamily="2" charset="0"/>
                <a:cs typeface="Ramabhadra" pitchFamily="2" charset="0"/>
              </a:rPr>
              <a:t>మొరాకో</a:t>
            </a:r>
            <a:endParaRPr lang="en-IN" sz="1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1" name="Freeform 110"/>
          <p:cNvSpPr/>
          <p:nvPr/>
        </p:nvSpPr>
        <p:spPr>
          <a:xfrm>
            <a:off x="2351094" y="484721"/>
            <a:ext cx="1633537" cy="1557867"/>
          </a:xfrm>
          <a:custGeom>
            <a:avLst/>
            <a:gdLst>
              <a:gd name="connsiteX0" fmla="*/ 583630 w 1634323"/>
              <a:gd name="connsiteY0" fmla="*/ 123416 h 1557180"/>
              <a:gd name="connsiteX1" fmla="*/ 645338 w 1634323"/>
              <a:gd name="connsiteY1" fmla="*/ 120611 h 1557180"/>
              <a:gd name="connsiteX2" fmla="*/ 662167 w 1634323"/>
              <a:gd name="connsiteY2" fmla="*/ 115001 h 1557180"/>
              <a:gd name="connsiteX3" fmla="*/ 670582 w 1634323"/>
              <a:gd name="connsiteY3" fmla="*/ 109391 h 1557180"/>
              <a:gd name="connsiteX4" fmla="*/ 690216 w 1634323"/>
              <a:gd name="connsiteY4" fmla="*/ 86952 h 1557180"/>
              <a:gd name="connsiteX5" fmla="*/ 698631 w 1634323"/>
              <a:gd name="connsiteY5" fmla="*/ 84147 h 1557180"/>
              <a:gd name="connsiteX6" fmla="*/ 723875 w 1634323"/>
              <a:gd name="connsiteY6" fmla="*/ 70123 h 1557180"/>
              <a:gd name="connsiteX7" fmla="*/ 760339 w 1634323"/>
              <a:gd name="connsiteY7" fmla="*/ 67318 h 1557180"/>
              <a:gd name="connsiteX8" fmla="*/ 768754 w 1634323"/>
              <a:gd name="connsiteY8" fmla="*/ 64513 h 1557180"/>
              <a:gd name="connsiteX9" fmla="*/ 785583 w 1634323"/>
              <a:gd name="connsiteY9" fmla="*/ 56098 h 1557180"/>
              <a:gd name="connsiteX10" fmla="*/ 791193 w 1634323"/>
              <a:gd name="connsiteY10" fmla="*/ 47684 h 1557180"/>
              <a:gd name="connsiteX11" fmla="*/ 799608 w 1634323"/>
              <a:gd name="connsiteY11" fmla="*/ 44879 h 1557180"/>
              <a:gd name="connsiteX12" fmla="*/ 808022 w 1634323"/>
              <a:gd name="connsiteY12" fmla="*/ 39269 h 1557180"/>
              <a:gd name="connsiteX13" fmla="*/ 816437 w 1634323"/>
              <a:gd name="connsiteY13" fmla="*/ 30854 h 1557180"/>
              <a:gd name="connsiteX14" fmla="*/ 830462 w 1634323"/>
              <a:gd name="connsiteY14" fmla="*/ 28049 h 1557180"/>
              <a:gd name="connsiteX15" fmla="*/ 914609 w 1634323"/>
              <a:gd name="connsiteY15" fmla="*/ 22439 h 1557180"/>
              <a:gd name="connsiteX16" fmla="*/ 931438 w 1634323"/>
              <a:gd name="connsiteY16" fmla="*/ 16830 h 1557180"/>
              <a:gd name="connsiteX17" fmla="*/ 939853 w 1634323"/>
              <a:gd name="connsiteY17" fmla="*/ 14025 h 1557180"/>
              <a:gd name="connsiteX18" fmla="*/ 959487 w 1634323"/>
              <a:gd name="connsiteY18" fmla="*/ 8415 h 1557180"/>
              <a:gd name="connsiteX19" fmla="*/ 1054854 w 1634323"/>
              <a:gd name="connsiteY19" fmla="*/ 11220 h 1557180"/>
              <a:gd name="connsiteX20" fmla="*/ 1102538 w 1634323"/>
              <a:gd name="connsiteY20" fmla="*/ 14025 h 1557180"/>
              <a:gd name="connsiteX21" fmla="*/ 1119367 w 1634323"/>
              <a:gd name="connsiteY21" fmla="*/ 19634 h 1557180"/>
              <a:gd name="connsiteX22" fmla="*/ 1144611 w 1634323"/>
              <a:gd name="connsiteY22" fmla="*/ 28049 h 1557180"/>
              <a:gd name="connsiteX23" fmla="*/ 1161441 w 1634323"/>
              <a:gd name="connsiteY23" fmla="*/ 33659 h 1557180"/>
              <a:gd name="connsiteX24" fmla="*/ 1169856 w 1634323"/>
              <a:gd name="connsiteY24" fmla="*/ 36464 h 1557180"/>
              <a:gd name="connsiteX25" fmla="*/ 1189490 w 1634323"/>
              <a:gd name="connsiteY25" fmla="*/ 30854 h 1557180"/>
              <a:gd name="connsiteX26" fmla="*/ 1206319 w 1634323"/>
              <a:gd name="connsiteY26" fmla="*/ 25244 h 1557180"/>
              <a:gd name="connsiteX27" fmla="*/ 1214734 w 1634323"/>
              <a:gd name="connsiteY27" fmla="*/ 22439 h 1557180"/>
              <a:gd name="connsiteX28" fmla="*/ 1225954 w 1634323"/>
              <a:gd name="connsiteY28" fmla="*/ 19634 h 1557180"/>
              <a:gd name="connsiteX29" fmla="*/ 1239978 w 1634323"/>
              <a:gd name="connsiteY29" fmla="*/ 5610 h 1557180"/>
              <a:gd name="connsiteX30" fmla="*/ 1248393 w 1634323"/>
              <a:gd name="connsiteY30" fmla="*/ 0 h 1557180"/>
              <a:gd name="connsiteX31" fmla="*/ 1273637 w 1634323"/>
              <a:gd name="connsiteY31" fmla="*/ 14025 h 1557180"/>
              <a:gd name="connsiteX32" fmla="*/ 1282052 w 1634323"/>
              <a:gd name="connsiteY32" fmla="*/ 19634 h 1557180"/>
              <a:gd name="connsiteX33" fmla="*/ 1326930 w 1634323"/>
              <a:gd name="connsiteY33" fmla="*/ 8415 h 1557180"/>
              <a:gd name="connsiteX34" fmla="*/ 1332540 w 1634323"/>
              <a:gd name="connsiteY34" fmla="*/ 0 h 1557180"/>
              <a:gd name="connsiteX35" fmla="*/ 1369004 w 1634323"/>
              <a:gd name="connsiteY35" fmla="*/ 5610 h 1557180"/>
              <a:gd name="connsiteX36" fmla="*/ 1385833 w 1634323"/>
              <a:gd name="connsiteY36" fmla="*/ 11220 h 1557180"/>
              <a:gd name="connsiteX37" fmla="*/ 1394248 w 1634323"/>
              <a:gd name="connsiteY37" fmla="*/ 14025 h 1557180"/>
              <a:gd name="connsiteX38" fmla="*/ 1402663 w 1634323"/>
              <a:gd name="connsiteY38" fmla="*/ 16830 h 1557180"/>
              <a:gd name="connsiteX39" fmla="*/ 1399858 w 1634323"/>
              <a:gd name="connsiteY39" fmla="*/ 33659 h 1557180"/>
              <a:gd name="connsiteX40" fmla="*/ 1391443 w 1634323"/>
              <a:gd name="connsiteY40" fmla="*/ 61708 h 1557180"/>
              <a:gd name="connsiteX41" fmla="*/ 1388638 w 1634323"/>
              <a:gd name="connsiteY41" fmla="*/ 70123 h 1557180"/>
              <a:gd name="connsiteX42" fmla="*/ 1380224 w 1634323"/>
              <a:gd name="connsiteY42" fmla="*/ 75733 h 1557180"/>
              <a:gd name="connsiteX43" fmla="*/ 1374614 w 1634323"/>
              <a:gd name="connsiteY43" fmla="*/ 95367 h 1557180"/>
              <a:gd name="connsiteX44" fmla="*/ 1371809 w 1634323"/>
              <a:gd name="connsiteY44" fmla="*/ 159880 h 1557180"/>
              <a:gd name="connsiteX45" fmla="*/ 1369004 w 1634323"/>
              <a:gd name="connsiteY45" fmla="*/ 168295 h 1557180"/>
              <a:gd name="connsiteX46" fmla="*/ 1366199 w 1634323"/>
              <a:gd name="connsiteY46" fmla="*/ 179514 h 1557180"/>
              <a:gd name="connsiteX47" fmla="*/ 1354979 w 1634323"/>
              <a:gd name="connsiteY47" fmla="*/ 196344 h 1557180"/>
              <a:gd name="connsiteX48" fmla="*/ 1343760 w 1634323"/>
              <a:gd name="connsiteY48" fmla="*/ 221588 h 1557180"/>
              <a:gd name="connsiteX49" fmla="*/ 1326930 w 1634323"/>
              <a:gd name="connsiteY49" fmla="*/ 232807 h 1557180"/>
              <a:gd name="connsiteX50" fmla="*/ 1318516 w 1634323"/>
              <a:gd name="connsiteY50" fmla="*/ 238417 h 1557180"/>
              <a:gd name="connsiteX51" fmla="*/ 1315711 w 1634323"/>
              <a:gd name="connsiteY51" fmla="*/ 246832 h 1557180"/>
              <a:gd name="connsiteX52" fmla="*/ 1307296 w 1634323"/>
              <a:gd name="connsiteY52" fmla="*/ 263661 h 1557180"/>
              <a:gd name="connsiteX53" fmla="*/ 1310101 w 1634323"/>
              <a:gd name="connsiteY53" fmla="*/ 300125 h 1557180"/>
              <a:gd name="connsiteX54" fmla="*/ 1318516 w 1634323"/>
              <a:gd name="connsiteY54" fmla="*/ 325369 h 1557180"/>
              <a:gd name="connsiteX55" fmla="*/ 1324125 w 1634323"/>
              <a:gd name="connsiteY55" fmla="*/ 342199 h 1557180"/>
              <a:gd name="connsiteX56" fmla="*/ 1326930 w 1634323"/>
              <a:gd name="connsiteY56" fmla="*/ 350614 h 1557180"/>
              <a:gd name="connsiteX57" fmla="*/ 1340955 w 1634323"/>
              <a:gd name="connsiteY57" fmla="*/ 367443 h 1557180"/>
              <a:gd name="connsiteX58" fmla="*/ 1349370 w 1634323"/>
              <a:gd name="connsiteY58" fmla="*/ 373053 h 1557180"/>
              <a:gd name="connsiteX59" fmla="*/ 1366199 w 1634323"/>
              <a:gd name="connsiteY59" fmla="*/ 398297 h 1557180"/>
              <a:gd name="connsiteX60" fmla="*/ 1371809 w 1634323"/>
              <a:gd name="connsiteY60" fmla="*/ 420736 h 1557180"/>
              <a:gd name="connsiteX61" fmla="*/ 1374614 w 1634323"/>
              <a:gd name="connsiteY61" fmla="*/ 431956 h 1557180"/>
              <a:gd name="connsiteX62" fmla="*/ 1380224 w 1634323"/>
              <a:gd name="connsiteY62" fmla="*/ 448785 h 1557180"/>
              <a:gd name="connsiteX63" fmla="*/ 1391443 w 1634323"/>
              <a:gd name="connsiteY63" fmla="*/ 465615 h 1557180"/>
              <a:gd name="connsiteX64" fmla="*/ 1408273 w 1634323"/>
              <a:gd name="connsiteY64" fmla="*/ 482444 h 1557180"/>
              <a:gd name="connsiteX65" fmla="*/ 1413883 w 1634323"/>
              <a:gd name="connsiteY65" fmla="*/ 499274 h 1557180"/>
              <a:gd name="connsiteX66" fmla="*/ 1419492 w 1634323"/>
              <a:gd name="connsiteY66" fmla="*/ 518908 h 1557180"/>
              <a:gd name="connsiteX67" fmla="*/ 1425102 w 1634323"/>
              <a:gd name="connsiteY67" fmla="*/ 527323 h 1557180"/>
              <a:gd name="connsiteX68" fmla="*/ 1427907 w 1634323"/>
              <a:gd name="connsiteY68" fmla="*/ 546957 h 1557180"/>
              <a:gd name="connsiteX69" fmla="*/ 1430712 w 1634323"/>
              <a:gd name="connsiteY69" fmla="*/ 555372 h 1557180"/>
              <a:gd name="connsiteX70" fmla="*/ 1433517 w 1634323"/>
              <a:gd name="connsiteY70" fmla="*/ 580616 h 1557180"/>
              <a:gd name="connsiteX71" fmla="*/ 1439127 w 1634323"/>
              <a:gd name="connsiteY71" fmla="*/ 597445 h 1557180"/>
              <a:gd name="connsiteX72" fmla="*/ 1441932 w 1634323"/>
              <a:gd name="connsiteY72" fmla="*/ 605860 h 1557180"/>
              <a:gd name="connsiteX73" fmla="*/ 1450346 w 1634323"/>
              <a:gd name="connsiteY73" fmla="*/ 622690 h 1557180"/>
              <a:gd name="connsiteX74" fmla="*/ 1453151 w 1634323"/>
              <a:gd name="connsiteY74" fmla="*/ 639519 h 1557180"/>
              <a:gd name="connsiteX75" fmla="*/ 1455956 w 1634323"/>
              <a:gd name="connsiteY75" fmla="*/ 647934 h 1557180"/>
              <a:gd name="connsiteX76" fmla="*/ 1458761 w 1634323"/>
              <a:gd name="connsiteY76" fmla="*/ 659153 h 1557180"/>
              <a:gd name="connsiteX77" fmla="*/ 1467176 w 1634323"/>
              <a:gd name="connsiteY77" fmla="*/ 684398 h 1557180"/>
              <a:gd name="connsiteX78" fmla="*/ 1469981 w 1634323"/>
              <a:gd name="connsiteY78" fmla="*/ 692812 h 1557180"/>
              <a:gd name="connsiteX79" fmla="*/ 1475590 w 1634323"/>
              <a:gd name="connsiteY79" fmla="*/ 712447 h 1557180"/>
              <a:gd name="connsiteX80" fmla="*/ 1472786 w 1634323"/>
              <a:gd name="connsiteY80" fmla="*/ 774155 h 1557180"/>
              <a:gd name="connsiteX81" fmla="*/ 1469981 w 1634323"/>
              <a:gd name="connsiteY81" fmla="*/ 788179 h 1557180"/>
              <a:gd name="connsiteX82" fmla="*/ 1467176 w 1634323"/>
              <a:gd name="connsiteY82" fmla="*/ 805009 h 1557180"/>
              <a:gd name="connsiteX83" fmla="*/ 1464371 w 1634323"/>
              <a:gd name="connsiteY83" fmla="*/ 886351 h 1557180"/>
              <a:gd name="connsiteX84" fmla="*/ 1453151 w 1634323"/>
              <a:gd name="connsiteY84" fmla="*/ 903180 h 1557180"/>
              <a:gd name="connsiteX85" fmla="*/ 1427907 w 1634323"/>
              <a:gd name="connsiteY85" fmla="*/ 917205 h 1557180"/>
              <a:gd name="connsiteX86" fmla="*/ 1419492 w 1634323"/>
              <a:gd name="connsiteY86" fmla="*/ 925620 h 1557180"/>
              <a:gd name="connsiteX87" fmla="*/ 1427907 w 1634323"/>
              <a:gd name="connsiteY87" fmla="*/ 973303 h 1557180"/>
              <a:gd name="connsiteX88" fmla="*/ 1430712 w 1634323"/>
              <a:gd name="connsiteY88" fmla="*/ 981718 h 1557180"/>
              <a:gd name="connsiteX89" fmla="*/ 1439127 w 1634323"/>
              <a:gd name="connsiteY89" fmla="*/ 990133 h 1557180"/>
              <a:gd name="connsiteX90" fmla="*/ 1450346 w 1634323"/>
              <a:gd name="connsiteY90" fmla="*/ 1006962 h 1557180"/>
              <a:gd name="connsiteX91" fmla="*/ 1464371 w 1634323"/>
              <a:gd name="connsiteY91" fmla="*/ 1023791 h 1557180"/>
              <a:gd name="connsiteX92" fmla="*/ 1481200 w 1634323"/>
              <a:gd name="connsiteY92" fmla="*/ 1035011 h 1557180"/>
              <a:gd name="connsiteX93" fmla="*/ 1489615 w 1634323"/>
              <a:gd name="connsiteY93" fmla="*/ 1040621 h 1557180"/>
              <a:gd name="connsiteX94" fmla="*/ 1498030 w 1634323"/>
              <a:gd name="connsiteY94" fmla="*/ 1057450 h 1557180"/>
              <a:gd name="connsiteX95" fmla="*/ 1506444 w 1634323"/>
              <a:gd name="connsiteY95" fmla="*/ 1060255 h 1557180"/>
              <a:gd name="connsiteX96" fmla="*/ 1512054 w 1634323"/>
              <a:gd name="connsiteY96" fmla="*/ 1068670 h 1557180"/>
              <a:gd name="connsiteX97" fmla="*/ 1570957 w 1634323"/>
              <a:gd name="connsiteY97" fmla="*/ 1077085 h 1557180"/>
              <a:gd name="connsiteX98" fmla="*/ 1596202 w 1634323"/>
              <a:gd name="connsiteY98" fmla="*/ 1091109 h 1557180"/>
              <a:gd name="connsiteX99" fmla="*/ 1607421 w 1634323"/>
              <a:gd name="connsiteY99" fmla="*/ 1124768 h 1557180"/>
              <a:gd name="connsiteX100" fmla="*/ 1610226 w 1634323"/>
              <a:gd name="connsiteY100" fmla="*/ 1133183 h 1557180"/>
              <a:gd name="connsiteX101" fmla="*/ 1621446 w 1634323"/>
              <a:gd name="connsiteY101" fmla="*/ 1150012 h 1557180"/>
              <a:gd name="connsiteX102" fmla="*/ 1627056 w 1634323"/>
              <a:gd name="connsiteY102" fmla="*/ 1158427 h 1557180"/>
              <a:gd name="connsiteX103" fmla="*/ 1627056 w 1634323"/>
              <a:gd name="connsiteY103" fmla="*/ 1189281 h 1557180"/>
              <a:gd name="connsiteX104" fmla="*/ 1615836 w 1634323"/>
              <a:gd name="connsiteY104" fmla="*/ 1192086 h 1557180"/>
              <a:gd name="connsiteX105" fmla="*/ 1599006 w 1634323"/>
              <a:gd name="connsiteY105" fmla="*/ 1197696 h 1557180"/>
              <a:gd name="connsiteX106" fmla="*/ 1582177 w 1634323"/>
              <a:gd name="connsiteY106" fmla="*/ 1203306 h 1557180"/>
              <a:gd name="connsiteX107" fmla="*/ 1573762 w 1634323"/>
              <a:gd name="connsiteY107" fmla="*/ 1206111 h 1557180"/>
              <a:gd name="connsiteX108" fmla="*/ 1556933 w 1634323"/>
              <a:gd name="connsiteY108" fmla="*/ 1214525 h 1557180"/>
              <a:gd name="connsiteX109" fmla="*/ 1540103 w 1634323"/>
              <a:gd name="connsiteY109" fmla="*/ 1222940 h 1557180"/>
              <a:gd name="connsiteX110" fmla="*/ 1531689 w 1634323"/>
              <a:gd name="connsiteY110" fmla="*/ 1228550 h 1557180"/>
              <a:gd name="connsiteX111" fmla="*/ 1526079 w 1634323"/>
              <a:gd name="connsiteY111" fmla="*/ 1236964 h 1557180"/>
              <a:gd name="connsiteX112" fmla="*/ 1498030 w 1634323"/>
              <a:gd name="connsiteY112" fmla="*/ 1250989 h 1557180"/>
              <a:gd name="connsiteX113" fmla="*/ 1467176 w 1634323"/>
              <a:gd name="connsiteY113" fmla="*/ 1262209 h 1557180"/>
              <a:gd name="connsiteX114" fmla="*/ 1450346 w 1634323"/>
              <a:gd name="connsiteY114" fmla="*/ 1267818 h 1557180"/>
              <a:gd name="connsiteX115" fmla="*/ 1441932 w 1634323"/>
              <a:gd name="connsiteY115" fmla="*/ 1270623 h 1557180"/>
              <a:gd name="connsiteX116" fmla="*/ 1425102 w 1634323"/>
              <a:gd name="connsiteY116" fmla="*/ 1279038 h 1557180"/>
              <a:gd name="connsiteX117" fmla="*/ 1419492 w 1634323"/>
              <a:gd name="connsiteY117" fmla="*/ 1287453 h 1557180"/>
              <a:gd name="connsiteX118" fmla="*/ 1402663 w 1634323"/>
              <a:gd name="connsiteY118" fmla="*/ 1293063 h 1557180"/>
              <a:gd name="connsiteX119" fmla="*/ 1385833 w 1634323"/>
              <a:gd name="connsiteY119" fmla="*/ 1301477 h 1557180"/>
              <a:gd name="connsiteX120" fmla="*/ 1369004 w 1634323"/>
              <a:gd name="connsiteY120" fmla="*/ 1312697 h 1557180"/>
              <a:gd name="connsiteX121" fmla="*/ 1343760 w 1634323"/>
              <a:gd name="connsiteY121" fmla="*/ 1326722 h 1557180"/>
              <a:gd name="connsiteX122" fmla="*/ 1338150 w 1634323"/>
              <a:gd name="connsiteY122" fmla="*/ 1335136 h 1557180"/>
              <a:gd name="connsiteX123" fmla="*/ 1312906 w 1634323"/>
              <a:gd name="connsiteY123" fmla="*/ 1343551 h 1557180"/>
              <a:gd name="connsiteX124" fmla="*/ 1304491 w 1634323"/>
              <a:gd name="connsiteY124" fmla="*/ 1346356 h 1557180"/>
              <a:gd name="connsiteX125" fmla="*/ 1279247 w 1634323"/>
              <a:gd name="connsiteY125" fmla="*/ 1363185 h 1557180"/>
              <a:gd name="connsiteX126" fmla="*/ 1270832 w 1634323"/>
              <a:gd name="connsiteY126" fmla="*/ 1368795 h 1557180"/>
              <a:gd name="connsiteX127" fmla="*/ 1262417 w 1634323"/>
              <a:gd name="connsiteY127" fmla="*/ 1374405 h 1557180"/>
              <a:gd name="connsiteX128" fmla="*/ 1254003 w 1634323"/>
              <a:gd name="connsiteY128" fmla="*/ 1377210 h 1557180"/>
              <a:gd name="connsiteX129" fmla="*/ 1248393 w 1634323"/>
              <a:gd name="connsiteY129" fmla="*/ 1385625 h 1557180"/>
              <a:gd name="connsiteX130" fmla="*/ 1231563 w 1634323"/>
              <a:gd name="connsiteY130" fmla="*/ 1394039 h 1557180"/>
              <a:gd name="connsiteX131" fmla="*/ 1206319 w 1634323"/>
              <a:gd name="connsiteY131" fmla="*/ 1413674 h 1557180"/>
              <a:gd name="connsiteX132" fmla="*/ 1197905 w 1634323"/>
              <a:gd name="connsiteY132" fmla="*/ 1430503 h 1557180"/>
              <a:gd name="connsiteX133" fmla="*/ 1189490 w 1634323"/>
              <a:gd name="connsiteY133" fmla="*/ 1436113 h 1557180"/>
              <a:gd name="connsiteX134" fmla="*/ 1178270 w 1634323"/>
              <a:gd name="connsiteY134" fmla="*/ 1447333 h 1557180"/>
              <a:gd name="connsiteX135" fmla="*/ 1169856 w 1634323"/>
              <a:gd name="connsiteY135" fmla="*/ 1455747 h 1557180"/>
              <a:gd name="connsiteX136" fmla="*/ 1153026 w 1634323"/>
              <a:gd name="connsiteY136" fmla="*/ 1461357 h 1557180"/>
              <a:gd name="connsiteX137" fmla="*/ 1136197 w 1634323"/>
              <a:gd name="connsiteY137" fmla="*/ 1472577 h 1557180"/>
              <a:gd name="connsiteX138" fmla="*/ 1119367 w 1634323"/>
              <a:gd name="connsiteY138" fmla="*/ 1480991 h 1557180"/>
              <a:gd name="connsiteX139" fmla="*/ 1099733 w 1634323"/>
              <a:gd name="connsiteY139" fmla="*/ 1509041 h 1557180"/>
              <a:gd name="connsiteX140" fmla="*/ 1091318 w 1634323"/>
              <a:gd name="connsiteY140" fmla="*/ 1511845 h 1557180"/>
              <a:gd name="connsiteX141" fmla="*/ 1082903 w 1634323"/>
              <a:gd name="connsiteY141" fmla="*/ 1520260 h 1557180"/>
              <a:gd name="connsiteX142" fmla="*/ 1066074 w 1634323"/>
              <a:gd name="connsiteY142" fmla="*/ 1525870 h 1557180"/>
              <a:gd name="connsiteX143" fmla="*/ 962292 w 1634323"/>
              <a:gd name="connsiteY143" fmla="*/ 1525870 h 1557180"/>
              <a:gd name="connsiteX144" fmla="*/ 956683 w 1634323"/>
              <a:gd name="connsiteY144" fmla="*/ 1534285 h 1557180"/>
              <a:gd name="connsiteX145" fmla="*/ 948268 w 1634323"/>
              <a:gd name="connsiteY145" fmla="*/ 1539895 h 1557180"/>
              <a:gd name="connsiteX146" fmla="*/ 925829 w 1634323"/>
              <a:gd name="connsiteY146" fmla="*/ 1553919 h 1557180"/>
              <a:gd name="connsiteX147" fmla="*/ 917414 w 1634323"/>
              <a:gd name="connsiteY147" fmla="*/ 1556724 h 1557180"/>
              <a:gd name="connsiteX148" fmla="*/ 900584 w 1634323"/>
              <a:gd name="connsiteY148" fmla="*/ 1553919 h 1557180"/>
              <a:gd name="connsiteX149" fmla="*/ 889365 w 1634323"/>
              <a:gd name="connsiteY149" fmla="*/ 1537090 h 1557180"/>
              <a:gd name="connsiteX150" fmla="*/ 883755 w 1634323"/>
              <a:gd name="connsiteY150" fmla="*/ 1503431 h 1557180"/>
              <a:gd name="connsiteX151" fmla="*/ 880950 w 1634323"/>
              <a:gd name="connsiteY151" fmla="*/ 1495016 h 1557180"/>
              <a:gd name="connsiteX152" fmla="*/ 878145 w 1634323"/>
              <a:gd name="connsiteY152" fmla="*/ 1483796 h 1557180"/>
              <a:gd name="connsiteX153" fmla="*/ 872535 w 1634323"/>
              <a:gd name="connsiteY153" fmla="*/ 1475382 h 1557180"/>
              <a:gd name="connsiteX154" fmla="*/ 852901 w 1634323"/>
              <a:gd name="connsiteY154" fmla="*/ 1469772 h 1557180"/>
              <a:gd name="connsiteX155" fmla="*/ 836071 w 1634323"/>
              <a:gd name="connsiteY155" fmla="*/ 1464162 h 1557180"/>
              <a:gd name="connsiteX156" fmla="*/ 827657 w 1634323"/>
              <a:gd name="connsiteY156" fmla="*/ 1458552 h 1557180"/>
              <a:gd name="connsiteX157" fmla="*/ 819242 w 1634323"/>
              <a:gd name="connsiteY157" fmla="*/ 1455747 h 1557180"/>
              <a:gd name="connsiteX158" fmla="*/ 793998 w 1634323"/>
              <a:gd name="connsiteY158" fmla="*/ 1436113 h 1557180"/>
              <a:gd name="connsiteX159" fmla="*/ 777168 w 1634323"/>
              <a:gd name="connsiteY159" fmla="*/ 1427698 h 1557180"/>
              <a:gd name="connsiteX160" fmla="*/ 751924 w 1634323"/>
              <a:gd name="connsiteY160" fmla="*/ 1416479 h 1557180"/>
              <a:gd name="connsiteX161" fmla="*/ 749119 w 1634323"/>
              <a:gd name="connsiteY161" fmla="*/ 1408064 h 1557180"/>
              <a:gd name="connsiteX162" fmla="*/ 746314 w 1634323"/>
              <a:gd name="connsiteY162" fmla="*/ 1396844 h 1557180"/>
              <a:gd name="connsiteX163" fmla="*/ 726680 w 1634323"/>
              <a:gd name="connsiteY163" fmla="*/ 1388430 h 1557180"/>
              <a:gd name="connsiteX164" fmla="*/ 721070 w 1634323"/>
              <a:gd name="connsiteY164" fmla="*/ 1340746 h 1557180"/>
              <a:gd name="connsiteX165" fmla="*/ 718265 w 1634323"/>
              <a:gd name="connsiteY165" fmla="*/ 1332331 h 1557180"/>
              <a:gd name="connsiteX166" fmla="*/ 709851 w 1634323"/>
              <a:gd name="connsiteY166" fmla="*/ 1326722 h 1557180"/>
              <a:gd name="connsiteX167" fmla="*/ 704241 w 1634323"/>
              <a:gd name="connsiteY167" fmla="*/ 1318307 h 1557180"/>
              <a:gd name="connsiteX168" fmla="*/ 701436 w 1634323"/>
              <a:gd name="connsiteY168" fmla="*/ 1309892 h 1557180"/>
              <a:gd name="connsiteX169" fmla="*/ 684606 w 1634323"/>
              <a:gd name="connsiteY169" fmla="*/ 1307087 h 1557180"/>
              <a:gd name="connsiteX170" fmla="*/ 659362 w 1634323"/>
              <a:gd name="connsiteY170" fmla="*/ 1298672 h 1557180"/>
              <a:gd name="connsiteX171" fmla="*/ 650948 w 1634323"/>
              <a:gd name="connsiteY171" fmla="*/ 1295868 h 1557180"/>
              <a:gd name="connsiteX172" fmla="*/ 625703 w 1634323"/>
              <a:gd name="connsiteY172" fmla="*/ 1279038 h 1557180"/>
              <a:gd name="connsiteX173" fmla="*/ 617289 w 1634323"/>
              <a:gd name="connsiteY173" fmla="*/ 1273428 h 1557180"/>
              <a:gd name="connsiteX174" fmla="*/ 608874 w 1634323"/>
              <a:gd name="connsiteY174" fmla="*/ 1270623 h 1557180"/>
              <a:gd name="connsiteX175" fmla="*/ 583630 w 1634323"/>
              <a:gd name="connsiteY175" fmla="*/ 1250989 h 1557180"/>
              <a:gd name="connsiteX176" fmla="*/ 563995 w 1634323"/>
              <a:gd name="connsiteY176" fmla="*/ 1239769 h 1557180"/>
              <a:gd name="connsiteX177" fmla="*/ 555581 w 1634323"/>
              <a:gd name="connsiteY177" fmla="*/ 1222940 h 1557180"/>
              <a:gd name="connsiteX178" fmla="*/ 549971 w 1634323"/>
              <a:gd name="connsiteY178" fmla="*/ 1214525 h 1557180"/>
              <a:gd name="connsiteX179" fmla="*/ 547166 w 1634323"/>
              <a:gd name="connsiteY179" fmla="*/ 1206111 h 1557180"/>
              <a:gd name="connsiteX180" fmla="*/ 513507 w 1634323"/>
              <a:gd name="connsiteY180" fmla="*/ 1178061 h 1557180"/>
              <a:gd name="connsiteX181" fmla="*/ 488263 w 1634323"/>
              <a:gd name="connsiteY181" fmla="*/ 1169647 h 1557180"/>
              <a:gd name="connsiteX182" fmla="*/ 479848 w 1634323"/>
              <a:gd name="connsiteY182" fmla="*/ 1166842 h 1557180"/>
              <a:gd name="connsiteX183" fmla="*/ 471433 w 1634323"/>
              <a:gd name="connsiteY183" fmla="*/ 1164037 h 1557180"/>
              <a:gd name="connsiteX184" fmla="*/ 463019 w 1634323"/>
              <a:gd name="connsiteY184" fmla="*/ 1158427 h 1557180"/>
              <a:gd name="connsiteX185" fmla="*/ 457409 w 1634323"/>
              <a:gd name="connsiteY185" fmla="*/ 1150012 h 1557180"/>
              <a:gd name="connsiteX186" fmla="*/ 448994 w 1634323"/>
              <a:gd name="connsiteY186" fmla="*/ 1147207 h 1557180"/>
              <a:gd name="connsiteX187" fmla="*/ 443384 w 1634323"/>
              <a:gd name="connsiteY187" fmla="*/ 1138793 h 1557180"/>
              <a:gd name="connsiteX188" fmla="*/ 434970 w 1634323"/>
              <a:gd name="connsiteY188" fmla="*/ 1135988 h 1557180"/>
              <a:gd name="connsiteX189" fmla="*/ 415335 w 1634323"/>
              <a:gd name="connsiteY189" fmla="*/ 1127573 h 1557180"/>
              <a:gd name="connsiteX190" fmla="*/ 392896 w 1634323"/>
              <a:gd name="connsiteY190" fmla="*/ 1107939 h 1557180"/>
              <a:gd name="connsiteX191" fmla="*/ 390091 w 1634323"/>
              <a:gd name="connsiteY191" fmla="*/ 1099524 h 1557180"/>
              <a:gd name="connsiteX192" fmla="*/ 378871 w 1634323"/>
              <a:gd name="connsiteY192" fmla="*/ 1082695 h 1557180"/>
              <a:gd name="connsiteX193" fmla="*/ 367652 w 1634323"/>
              <a:gd name="connsiteY193" fmla="*/ 1068670 h 1557180"/>
              <a:gd name="connsiteX194" fmla="*/ 356432 w 1634323"/>
              <a:gd name="connsiteY194" fmla="*/ 1054645 h 1557180"/>
              <a:gd name="connsiteX195" fmla="*/ 348017 w 1634323"/>
              <a:gd name="connsiteY195" fmla="*/ 1037816 h 1557180"/>
              <a:gd name="connsiteX196" fmla="*/ 339603 w 1634323"/>
              <a:gd name="connsiteY196" fmla="*/ 1035011 h 1557180"/>
              <a:gd name="connsiteX197" fmla="*/ 322773 w 1634323"/>
              <a:gd name="connsiteY197" fmla="*/ 1023791 h 1557180"/>
              <a:gd name="connsiteX198" fmla="*/ 314359 w 1634323"/>
              <a:gd name="connsiteY198" fmla="*/ 1018182 h 1557180"/>
              <a:gd name="connsiteX199" fmla="*/ 300334 w 1634323"/>
              <a:gd name="connsiteY199" fmla="*/ 1006962 h 1557180"/>
              <a:gd name="connsiteX200" fmla="*/ 291919 w 1634323"/>
              <a:gd name="connsiteY200" fmla="*/ 998547 h 1557180"/>
              <a:gd name="connsiteX201" fmla="*/ 275090 w 1634323"/>
              <a:gd name="connsiteY201" fmla="*/ 990133 h 1557180"/>
              <a:gd name="connsiteX202" fmla="*/ 266675 w 1634323"/>
              <a:gd name="connsiteY202" fmla="*/ 981718 h 1557180"/>
              <a:gd name="connsiteX203" fmla="*/ 255456 w 1634323"/>
              <a:gd name="connsiteY203" fmla="*/ 964888 h 1557180"/>
              <a:gd name="connsiteX204" fmla="*/ 247041 w 1634323"/>
              <a:gd name="connsiteY204" fmla="*/ 959279 h 1557180"/>
              <a:gd name="connsiteX205" fmla="*/ 233016 w 1634323"/>
              <a:gd name="connsiteY205" fmla="*/ 942449 h 1557180"/>
              <a:gd name="connsiteX206" fmla="*/ 218992 w 1634323"/>
              <a:gd name="connsiteY206" fmla="*/ 922815 h 1557180"/>
              <a:gd name="connsiteX207" fmla="*/ 202162 w 1634323"/>
              <a:gd name="connsiteY207" fmla="*/ 911595 h 1557180"/>
              <a:gd name="connsiteX208" fmla="*/ 182528 w 1634323"/>
              <a:gd name="connsiteY208" fmla="*/ 903180 h 1557180"/>
              <a:gd name="connsiteX209" fmla="*/ 165698 w 1634323"/>
              <a:gd name="connsiteY209" fmla="*/ 897571 h 1557180"/>
              <a:gd name="connsiteX210" fmla="*/ 148869 w 1634323"/>
              <a:gd name="connsiteY210" fmla="*/ 886351 h 1557180"/>
              <a:gd name="connsiteX211" fmla="*/ 134844 w 1634323"/>
              <a:gd name="connsiteY211" fmla="*/ 872326 h 1557180"/>
              <a:gd name="connsiteX212" fmla="*/ 126430 w 1634323"/>
              <a:gd name="connsiteY212" fmla="*/ 855497 h 1557180"/>
              <a:gd name="connsiteX213" fmla="*/ 118015 w 1634323"/>
              <a:gd name="connsiteY213" fmla="*/ 852692 h 1557180"/>
              <a:gd name="connsiteX214" fmla="*/ 92771 w 1634323"/>
              <a:gd name="connsiteY214" fmla="*/ 838668 h 1557180"/>
              <a:gd name="connsiteX215" fmla="*/ 67527 w 1634323"/>
              <a:gd name="connsiteY215" fmla="*/ 821838 h 1557180"/>
              <a:gd name="connsiteX216" fmla="*/ 59112 w 1634323"/>
              <a:gd name="connsiteY216" fmla="*/ 816228 h 1557180"/>
              <a:gd name="connsiteX217" fmla="*/ 50697 w 1634323"/>
              <a:gd name="connsiteY217" fmla="*/ 810618 h 1557180"/>
              <a:gd name="connsiteX218" fmla="*/ 42283 w 1634323"/>
              <a:gd name="connsiteY218" fmla="*/ 807814 h 1557180"/>
              <a:gd name="connsiteX219" fmla="*/ 28258 w 1634323"/>
              <a:gd name="connsiteY219" fmla="*/ 790984 h 1557180"/>
              <a:gd name="connsiteX220" fmla="*/ 14233 w 1634323"/>
              <a:gd name="connsiteY220" fmla="*/ 774155 h 1557180"/>
              <a:gd name="connsiteX221" fmla="*/ 11429 w 1634323"/>
              <a:gd name="connsiteY221" fmla="*/ 639519 h 1557180"/>
              <a:gd name="connsiteX222" fmla="*/ 14233 w 1634323"/>
              <a:gd name="connsiteY222" fmla="*/ 631104 h 1557180"/>
              <a:gd name="connsiteX223" fmla="*/ 39478 w 1634323"/>
              <a:gd name="connsiteY223" fmla="*/ 611470 h 1557180"/>
              <a:gd name="connsiteX224" fmla="*/ 47892 w 1634323"/>
              <a:gd name="connsiteY224" fmla="*/ 605860 h 1557180"/>
              <a:gd name="connsiteX225" fmla="*/ 56307 w 1634323"/>
              <a:gd name="connsiteY225" fmla="*/ 603055 h 1557180"/>
              <a:gd name="connsiteX226" fmla="*/ 73136 w 1634323"/>
              <a:gd name="connsiteY226" fmla="*/ 591836 h 1557180"/>
              <a:gd name="connsiteX227" fmla="*/ 81551 w 1634323"/>
              <a:gd name="connsiteY227" fmla="*/ 586226 h 1557180"/>
              <a:gd name="connsiteX228" fmla="*/ 95576 w 1634323"/>
              <a:gd name="connsiteY228" fmla="*/ 583421 h 1557180"/>
              <a:gd name="connsiteX229" fmla="*/ 120820 w 1634323"/>
              <a:gd name="connsiteY229" fmla="*/ 575006 h 1557180"/>
              <a:gd name="connsiteX230" fmla="*/ 129235 w 1634323"/>
              <a:gd name="connsiteY230" fmla="*/ 572201 h 1557180"/>
              <a:gd name="connsiteX231" fmla="*/ 140454 w 1634323"/>
              <a:gd name="connsiteY231" fmla="*/ 569396 h 1557180"/>
              <a:gd name="connsiteX232" fmla="*/ 165698 w 1634323"/>
              <a:gd name="connsiteY232" fmla="*/ 560982 h 1557180"/>
              <a:gd name="connsiteX233" fmla="*/ 174113 w 1634323"/>
              <a:gd name="connsiteY233" fmla="*/ 558177 h 1557180"/>
              <a:gd name="connsiteX234" fmla="*/ 193748 w 1634323"/>
              <a:gd name="connsiteY234" fmla="*/ 555372 h 1557180"/>
              <a:gd name="connsiteX235" fmla="*/ 303139 w 1634323"/>
              <a:gd name="connsiteY235" fmla="*/ 546957 h 1557180"/>
              <a:gd name="connsiteX236" fmla="*/ 319968 w 1634323"/>
              <a:gd name="connsiteY236" fmla="*/ 541347 h 1557180"/>
              <a:gd name="connsiteX237" fmla="*/ 328383 w 1634323"/>
              <a:gd name="connsiteY237" fmla="*/ 532933 h 1557180"/>
              <a:gd name="connsiteX238" fmla="*/ 333993 w 1634323"/>
              <a:gd name="connsiteY238" fmla="*/ 524518 h 1557180"/>
              <a:gd name="connsiteX239" fmla="*/ 342408 w 1634323"/>
              <a:gd name="connsiteY239" fmla="*/ 518908 h 1557180"/>
              <a:gd name="connsiteX240" fmla="*/ 348017 w 1634323"/>
              <a:gd name="connsiteY240" fmla="*/ 510493 h 1557180"/>
              <a:gd name="connsiteX241" fmla="*/ 364847 w 1634323"/>
              <a:gd name="connsiteY241" fmla="*/ 502079 h 1557180"/>
              <a:gd name="connsiteX242" fmla="*/ 381676 w 1634323"/>
              <a:gd name="connsiteY242" fmla="*/ 493664 h 1557180"/>
              <a:gd name="connsiteX243" fmla="*/ 384481 w 1634323"/>
              <a:gd name="connsiteY243" fmla="*/ 485249 h 1557180"/>
              <a:gd name="connsiteX244" fmla="*/ 401311 w 1634323"/>
              <a:gd name="connsiteY244" fmla="*/ 474030 h 1557180"/>
              <a:gd name="connsiteX245" fmla="*/ 409725 w 1634323"/>
              <a:gd name="connsiteY245" fmla="*/ 457200 h 1557180"/>
              <a:gd name="connsiteX246" fmla="*/ 415335 w 1634323"/>
              <a:gd name="connsiteY246" fmla="*/ 440371 h 1557180"/>
              <a:gd name="connsiteX247" fmla="*/ 418140 w 1634323"/>
              <a:gd name="connsiteY247" fmla="*/ 431956 h 1557180"/>
              <a:gd name="connsiteX248" fmla="*/ 420945 w 1634323"/>
              <a:gd name="connsiteY248" fmla="*/ 423541 h 1557180"/>
              <a:gd name="connsiteX249" fmla="*/ 437775 w 1634323"/>
              <a:gd name="connsiteY249" fmla="*/ 415126 h 1557180"/>
              <a:gd name="connsiteX250" fmla="*/ 454604 w 1634323"/>
              <a:gd name="connsiteY250" fmla="*/ 409517 h 1557180"/>
              <a:gd name="connsiteX251" fmla="*/ 471433 w 1634323"/>
              <a:gd name="connsiteY251" fmla="*/ 403907 h 1557180"/>
              <a:gd name="connsiteX252" fmla="*/ 491068 w 1634323"/>
              <a:gd name="connsiteY252" fmla="*/ 398297 h 1557180"/>
              <a:gd name="connsiteX253" fmla="*/ 499483 w 1634323"/>
              <a:gd name="connsiteY253" fmla="*/ 395492 h 1557180"/>
              <a:gd name="connsiteX254" fmla="*/ 510702 w 1634323"/>
              <a:gd name="connsiteY254" fmla="*/ 392687 h 1557180"/>
              <a:gd name="connsiteX255" fmla="*/ 527532 w 1634323"/>
              <a:gd name="connsiteY255" fmla="*/ 387077 h 1557180"/>
              <a:gd name="connsiteX256" fmla="*/ 541556 w 1634323"/>
              <a:gd name="connsiteY256" fmla="*/ 389882 h 1557180"/>
              <a:gd name="connsiteX257" fmla="*/ 549971 w 1634323"/>
              <a:gd name="connsiteY257" fmla="*/ 392687 h 1557180"/>
              <a:gd name="connsiteX258" fmla="*/ 569605 w 1634323"/>
              <a:gd name="connsiteY258" fmla="*/ 395492 h 1557180"/>
              <a:gd name="connsiteX259" fmla="*/ 620094 w 1634323"/>
              <a:gd name="connsiteY259" fmla="*/ 392687 h 1557180"/>
              <a:gd name="connsiteX260" fmla="*/ 634118 w 1634323"/>
              <a:gd name="connsiteY260" fmla="*/ 370248 h 1557180"/>
              <a:gd name="connsiteX261" fmla="*/ 636923 w 1634323"/>
              <a:gd name="connsiteY261" fmla="*/ 361833 h 1557180"/>
              <a:gd name="connsiteX262" fmla="*/ 634118 w 1634323"/>
              <a:gd name="connsiteY262" fmla="*/ 328174 h 1557180"/>
              <a:gd name="connsiteX263" fmla="*/ 631313 w 1634323"/>
              <a:gd name="connsiteY263" fmla="*/ 308540 h 1557180"/>
              <a:gd name="connsiteX264" fmla="*/ 628508 w 1634323"/>
              <a:gd name="connsiteY264" fmla="*/ 238417 h 1557180"/>
              <a:gd name="connsiteX265" fmla="*/ 622898 w 1634323"/>
              <a:gd name="connsiteY265" fmla="*/ 221588 h 1557180"/>
              <a:gd name="connsiteX266" fmla="*/ 620094 w 1634323"/>
              <a:gd name="connsiteY266" fmla="*/ 213173 h 1557180"/>
              <a:gd name="connsiteX267" fmla="*/ 617289 w 1634323"/>
              <a:gd name="connsiteY267" fmla="*/ 204758 h 1557180"/>
              <a:gd name="connsiteX268" fmla="*/ 614484 w 1634323"/>
              <a:gd name="connsiteY268" fmla="*/ 154270 h 1557180"/>
              <a:gd name="connsiteX269" fmla="*/ 611679 w 1634323"/>
              <a:gd name="connsiteY269" fmla="*/ 145855 h 1557180"/>
              <a:gd name="connsiteX270" fmla="*/ 603264 w 1634323"/>
              <a:gd name="connsiteY270" fmla="*/ 143050 h 1557180"/>
              <a:gd name="connsiteX271" fmla="*/ 594849 w 1634323"/>
              <a:gd name="connsiteY271" fmla="*/ 137441 h 1557180"/>
              <a:gd name="connsiteX272" fmla="*/ 592044 w 1634323"/>
              <a:gd name="connsiteY272" fmla="*/ 129026 h 1557180"/>
              <a:gd name="connsiteX273" fmla="*/ 583630 w 1634323"/>
              <a:gd name="connsiteY273" fmla="*/ 126221 h 1557180"/>
              <a:gd name="connsiteX274" fmla="*/ 583630 w 1634323"/>
              <a:gd name="connsiteY274" fmla="*/ 123416 h 1557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</a:cxnLst>
            <a:rect l="l" t="t" r="r" b="b"/>
            <a:pathLst>
              <a:path w="1634323" h="1557180">
                <a:moveTo>
                  <a:pt x="583630" y="123416"/>
                </a:moveTo>
                <a:cubicBezTo>
                  <a:pt x="593915" y="122481"/>
                  <a:pt x="624865" y="122805"/>
                  <a:pt x="645338" y="120611"/>
                </a:cubicBezTo>
                <a:cubicBezTo>
                  <a:pt x="651217" y="119981"/>
                  <a:pt x="657247" y="118281"/>
                  <a:pt x="662167" y="115001"/>
                </a:cubicBezTo>
                <a:lnTo>
                  <a:pt x="670582" y="109391"/>
                </a:lnTo>
                <a:cubicBezTo>
                  <a:pt x="678995" y="96772"/>
                  <a:pt x="678531" y="92795"/>
                  <a:pt x="690216" y="86952"/>
                </a:cubicBezTo>
                <a:cubicBezTo>
                  <a:pt x="692861" y="85630"/>
                  <a:pt x="696046" y="85583"/>
                  <a:pt x="698631" y="84147"/>
                </a:cubicBezTo>
                <a:cubicBezTo>
                  <a:pt x="706556" y="79744"/>
                  <a:pt x="714048" y="71351"/>
                  <a:pt x="723875" y="70123"/>
                </a:cubicBezTo>
                <a:cubicBezTo>
                  <a:pt x="735971" y="68611"/>
                  <a:pt x="748184" y="68253"/>
                  <a:pt x="760339" y="67318"/>
                </a:cubicBezTo>
                <a:cubicBezTo>
                  <a:pt x="763144" y="66383"/>
                  <a:pt x="766109" y="65835"/>
                  <a:pt x="768754" y="64513"/>
                </a:cubicBezTo>
                <a:cubicBezTo>
                  <a:pt x="790503" y="53638"/>
                  <a:pt x="764431" y="63149"/>
                  <a:pt x="785583" y="56098"/>
                </a:cubicBezTo>
                <a:cubicBezTo>
                  <a:pt x="787453" y="53293"/>
                  <a:pt x="788561" y="49790"/>
                  <a:pt x="791193" y="47684"/>
                </a:cubicBezTo>
                <a:cubicBezTo>
                  <a:pt x="793502" y="45837"/>
                  <a:pt x="796963" y="46201"/>
                  <a:pt x="799608" y="44879"/>
                </a:cubicBezTo>
                <a:cubicBezTo>
                  <a:pt x="802623" y="43371"/>
                  <a:pt x="805432" y="41427"/>
                  <a:pt x="808022" y="39269"/>
                </a:cubicBezTo>
                <a:cubicBezTo>
                  <a:pt x="811069" y="36729"/>
                  <a:pt x="812889" y="32628"/>
                  <a:pt x="816437" y="30854"/>
                </a:cubicBezTo>
                <a:cubicBezTo>
                  <a:pt x="820701" y="28722"/>
                  <a:pt x="825808" y="29083"/>
                  <a:pt x="830462" y="28049"/>
                </a:cubicBezTo>
                <a:cubicBezTo>
                  <a:pt x="870548" y="19141"/>
                  <a:pt x="804597" y="26670"/>
                  <a:pt x="914609" y="22439"/>
                </a:cubicBezTo>
                <a:lnTo>
                  <a:pt x="931438" y="16830"/>
                </a:lnTo>
                <a:cubicBezTo>
                  <a:pt x="934243" y="15895"/>
                  <a:pt x="936985" y="14742"/>
                  <a:pt x="939853" y="14025"/>
                </a:cubicBezTo>
                <a:cubicBezTo>
                  <a:pt x="953941" y="10503"/>
                  <a:pt x="947416" y="12439"/>
                  <a:pt x="959487" y="8415"/>
                </a:cubicBezTo>
                <a:lnTo>
                  <a:pt x="1054854" y="11220"/>
                </a:lnTo>
                <a:cubicBezTo>
                  <a:pt x="1070764" y="11844"/>
                  <a:pt x="1086750" y="11966"/>
                  <a:pt x="1102538" y="14025"/>
                </a:cubicBezTo>
                <a:cubicBezTo>
                  <a:pt x="1108401" y="14790"/>
                  <a:pt x="1113757" y="17764"/>
                  <a:pt x="1119367" y="19634"/>
                </a:cubicBezTo>
                <a:lnTo>
                  <a:pt x="1144611" y="28049"/>
                </a:lnTo>
                <a:lnTo>
                  <a:pt x="1161441" y="33659"/>
                </a:lnTo>
                <a:lnTo>
                  <a:pt x="1169856" y="36464"/>
                </a:lnTo>
                <a:cubicBezTo>
                  <a:pt x="1198123" y="27041"/>
                  <a:pt x="1154283" y="41416"/>
                  <a:pt x="1189490" y="30854"/>
                </a:cubicBezTo>
                <a:cubicBezTo>
                  <a:pt x="1195154" y="29155"/>
                  <a:pt x="1200709" y="27114"/>
                  <a:pt x="1206319" y="25244"/>
                </a:cubicBezTo>
                <a:cubicBezTo>
                  <a:pt x="1209124" y="24309"/>
                  <a:pt x="1211866" y="23156"/>
                  <a:pt x="1214734" y="22439"/>
                </a:cubicBezTo>
                <a:lnTo>
                  <a:pt x="1225954" y="19634"/>
                </a:lnTo>
                <a:cubicBezTo>
                  <a:pt x="1248390" y="4678"/>
                  <a:pt x="1221280" y="24308"/>
                  <a:pt x="1239978" y="5610"/>
                </a:cubicBezTo>
                <a:cubicBezTo>
                  <a:pt x="1242362" y="3226"/>
                  <a:pt x="1245588" y="1870"/>
                  <a:pt x="1248393" y="0"/>
                </a:cubicBezTo>
                <a:cubicBezTo>
                  <a:pt x="1263205" y="4937"/>
                  <a:pt x="1254345" y="1164"/>
                  <a:pt x="1273637" y="14025"/>
                </a:cubicBezTo>
                <a:lnTo>
                  <a:pt x="1282052" y="19634"/>
                </a:lnTo>
                <a:cubicBezTo>
                  <a:pt x="1344901" y="15445"/>
                  <a:pt x="1315930" y="30414"/>
                  <a:pt x="1326930" y="8415"/>
                </a:cubicBezTo>
                <a:cubicBezTo>
                  <a:pt x="1328438" y="5400"/>
                  <a:pt x="1330670" y="2805"/>
                  <a:pt x="1332540" y="0"/>
                </a:cubicBezTo>
                <a:cubicBezTo>
                  <a:pt x="1343038" y="1312"/>
                  <a:pt x="1358132" y="2645"/>
                  <a:pt x="1369004" y="5610"/>
                </a:cubicBezTo>
                <a:cubicBezTo>
                  <a:pt x="1374709" y="7166"/>
                  <a:pt x="1380223" y="9350"/>
                  <a:pt x="1385833" y="11220"/>
                </a:cubicBezTo>
                <a:lnTo>
                  <a:pt x="1394248" y="14025"/>
                </a:lnTo>
                <a:lnTo>
                  <a:pt x="1402663" y="16830"/>
                </a:lnTo>
                <a:cubicBezTo>
                  <a:pt x="1401728" y="22440"/>
                  <a:pt x="1400973" y="28082"/>
                  <a:pt x="1399858" y="33659"/>
                </a:cubicBezTo>
                <a:cubicBezTo>
                  <a:pt x="1397738" y="44259"/>
                  <a:pt x="1395022" y="50972"/>
                  <a:pt x="1391443" y="61708"/>
                </a:cubicBezTo>
                <a:cubicBezTo>
                  <a:pt x="1390508" y="64513"/>
                  <a:pt x="1391098" y="68483"/>
                  <a:pt x="1388638" y="70123"/>
                </a:cubicBezTo>
                <a:lnTo>
                  <a:pt x="1380224" y="75733"/>
                </a:lnTo>
                <a:cubicBezTo>
                  <a:pt x="1378643" y="80474"/>
                  <a:pt x="1374950" y="90837"/>
                  <a:pt x="1374614" y="95367"/>
                </a:cubicBezTo>
                <a:cubicBezTo>
                  <a:pt x="1373024" y="116833"/>
                  <a:pt x="1373460" y="138419"/>
                  <a:pt x="1371809" y="159880"/>
                </a:cubicBezTo>
                <a:cubicBezTo>
                  <a:pt x="1371582" y="162828"/>
                  <a:pt x="1369816" y="165452"/>
                  <a:pt x="1369004" y="168295"/>
                </a:cubicBezTo>
                <a:cubicBezTo>
                  <a:pt x="1367945" y="172001"/>
                  <a:pt x="1367923" y="176066"/>
                  <a:pt x="1366199" y="179514"/>
                </a:cubicBezTo>
                <a:cubicBezTo>
                  <a:pt x="1363184" y="185545"/>
                  <a:pt x="1354979" y="196344"/>
                  <a:pt x="1354979" y="196344"/>
                </a:cubicBezTo>
                <a:cubicBezTo>
                  <a:pt x="1352890" y="202613"/>
                  <a:pt x="1350036" y="216097"/>
                  <a:pt x="1343760" y="221588"/>
                </a:cubicBezTo>
                <a:cubicBezTo>
                  <a:pt x="1338686" y="226028"/>
                  <a:pt x="1332540" y="229067"/>
                  <a:pt x="1326930" y="232807"/>
                </a:cubicBezTo>
                <a:lnTo>
                  <a:pt x="1318516" y="238417"/>
                </a:lnTo>
                <a:cubicBezTo>
                  <a:pt x="1317581" y="241222"/>
                  <a:pt x="1317033" y="244187"/>
                  <a:pt x="1315711" y="246832"/>
                </a:cubicBezTo>
                <a:cubicBezTo>
                  <a:pt x="1304835" y="268584"/>
                  <a:pt x="1314347" y="242510"/>
                  <a:pt x="1307296" y="263661"/>
                </a:cubicBezTo>
                <a:cubicBezTo>
                  <a:pt x="1308231" y="275816"/>
                  <a:pt x="1308200" y="288084"/>
                  <a:pt x="1310101" y="300125"/>
                </a:cubicBezTo>
                <a:cubicBezTo>
                  <a:pt x="1310102" y="300130"/>
                  <a:pt x="1317112" y="321159"/>
                  <a:pt x="1318516" y="325369"/>
                </a:cubicBezTo>
                <a:lnTo>
                  <a:pt x="1324125" y="342199"/>
                </a:lnTo>
                <a:cubicBezTo>
                  <a:pt x="1325060" y="345004"/>
                  <a:pt x="1325290" y="348154"/>
                  <a:pt x="1326930" y="350614"/>
                </a:cubicBezTo>
                <a:cubicBezTo>
                  <a:pt x="1332446" y="358887"/>
                  <a:pt x="1332857" y="360694"/>
                  <a:pt x="1340955" y="367443"/>
                </a:cubicBezTo>
                <a:cubicBezTo>
                  <a:pt x="1343545" y="369601"/>
                  <a:pt x="1346565" y="371183"/>
                  <a:pt x="1349370" y="373053"/>
                </a:cubicBezTo>
                <a:cubicBezTo>
                  <a:pt x="1356457" y="394317"/>
                  <a:pt x="1350249" y="386334"/>
                  <a:pt x="1366199" y="398297"/>
                </a:cubicBezTo>
                <a:lnTo>
                  <a:pt x="1371809" y="420736"/>
                </a:lnTo>
                <a:cubicBezTo>
                  <a:pt x="1372744" y="424476"/>
                  <a:pt x="1373395" y="428299"/>
                  <a:pt x="1374614" y="431956"/>
                </a:cubicBezTo>
                <a:cubicBezTo>
                  <a:pt x="1376484" y="437566"/>
                  <a:pt x="1376944" y="443865"/>
                  <a:pt x="1380224" y="448785"/>
                </a:cubicBezTo>
                <a:cubicBezTo>
                  <a:pt x="1383964" y="454395"/>
                  <a:pt x="1386675" y="460848"/>
                  <a:pt x="1391443" y="465615"/>
                </a:cubicBezTo>
                <a:lnTo>
                  <a:pt x="1408273" y="482444"/>
                </a:lnTo>
                <a:cubicBezTo>
                  <a:pt x="1410143" y="488054"/>
                  <a:pt x="1412449" y="493537"/>
                  <a:pt x="1413883" y="499274"/>
                </a:cubicBezTo>
                <a:cubicBezTo>
                  <a:pt x="1414782" y="502872"/>
                  <a:pt x="1417479" y="514882"/>
                  <a:pt x="1419492" y="518908"/>
                </a:cubicBezTo>
                <a:cubicBezTo>
                  <a:pt x="1421000" y="521923"/>
                  <a:pt x="1423232" y="524518"/>
                  <a:pt x="1425102" y="527323"/>
                </a:cubicBezTo>
                <a:cubicBezTo>
                  <a:pt x="1426037" y="533868"/>
                  <a:pt x="1426610" y="540474"/>
                  <a:pt x="1427907" y="546957"/>
                </a:cubicBezTo>
                <a:cubicBezTo>
                  <a:pt x="1428487" y="549856"/>
                  <a:pt x="1430226" y="552456"/>
                  <a:pt x="1430712" y="555372"/>
                </a:cubicBezTo>
                <a:cubicBezTo>
                  <a:pt x="1432104" y="563723"/>
                  <a:pt x="1431857" y="572314"/>
                  <a:pt x="1433517" y="580616"/>
                </a:cubicBezTo>
                <a:cubicBezTo>
                  <a:pt x="1434677" y="586414"/>
                  <a:pt x="1437257" y="591835"/>
                  <a:pt x="1439127" y="597445"/>
                </a:cubicBezTo>
                <a:cubicBezTo>
                  <a:pt x="1440062" y="600250"/>
                  <a:pt x="1440292" y="603400"/>
                  <a:pt x="1441932" y="605860"/>
                </a:cubicBezTo>
                <a:cubicBezTo>
                  <a:pt x="1446974" y="613425"/>
                  <a:pt x="1448411" y="613981"/>
                  <a:pt x="1450346" y="622690"/>
                </a:cubicBezTo>
                <a:cubicBezTo>
                  <a:pt x="1451580" y="628242"/>
                  <a:pt x="1451917" y="633967"/>
                  <a:pt x="1453151" y="639519"/>
                </a:cubicBezTo>
                <a:cubicBezTo>
                  <a:pt x="1453792" y="642405"/>
                  <a:pt x="1455144" y="645091"/>
                  <a:pt x="1455956" y="647934"/>
                </a:cubicBezTo>
                <a:cubicBezTo>
                  <a:pt x="1457015" y="651640"/>
                  <a:pt x="1457653" y="655461"/>
                  <a:pt x="1458761" y="659153"/>
                </a:cubicBezTo>
                <a:cubicBezTo>
                  <a:pt x="1461310" y="667649"/>
                  <a:pt x="1464371" y="675983"/>
                  <a:pt x="1467176" y="684398"/>
                </a:cubicBezTo>
                <a:cubicBezTo>
                  <a:pt x="1468111" y="687203"/>
                  <a:pt x="1469264" y="689944"/>
                  <a:pt x="1469981" y="692812"/>
                </a:cubicBezTo>
                <a:cubicBezTo>
                  <a:pt x="1473503" y="706900"/>
                  <a:pt x="1471567" y="700375"/>
                  <a:pt x="1475590" y="712447"/>
                </a:cubicBezTo>
                <a:cubicBezTo>
                  <a:pt x="1474655" y="733016"/>
                  <a:pt x="1474307" y="753621"/>
                  <a:pt x="1472786" y="774155"/>
                </a:cubicBezTo>
                <a:cubicBezTo>
                  <a:pt x="1472434" y="778909"/>
                  <a:pt x="1470834" y="783489"/>
                  <a:pt x="1469981" y="788179"/>
                </a:cubicBezTo>
                <a:cubicBezTo>
                  <a:pt x="1468964" y="793775"/>
                  <a:pt x="1468111" y="799399"/>
                  <a:pt x="1467176" y="805009"/>
                </a:cubicBezTo>
                <a:cubicBezTo>
                  <a:pt x="1466241" y="832123"/>
                  <a:pt x="1468208" y="859494"/>
                  <a:pt x="1464371" y="886351"/>
                </a:cubicBezTo>
                <a:cubicBezTo>
                  <a:pt x="1463417" y="893025"/>
                  <a:pt x="1458761" y="899440"/>
                  <a:pt x="1453151" y="903180"/>
                </a:cubicBezTo>
                <a:cubicBezTo>
                  <a:pt x="1433862" y="916040"/>
                  <a:pt x="1442718" y="912268"/>
                  <a:pt x="1427907" y="917205"/>
                </a:cubicBezTo>
                <a:cubicBezTo>
                  <a:pt x="1425102" y="920010"/>
                  <a:pt x="1420053" y="921693"/>
                  <a:pt x="1419492" y="925620"/>
                </a:cubicBezTo>
                <a:cubicBezTo>
                  <a:pt x="1416820" y="944326"/>
                  <a:pt x="1422474" y="957004"/>
                  <a:pt x="1427907" y="973303"/>
                </a:cubicBezTo>
                <a:cubicBezTo>
                  <a:pt x="1428842" y="976108"/>
                  <a:pt x="1428621" y="979627"/>
                  <a:pt x="1430712" y="981718"/>
                </a:cubicBezTo>
                <a:lnTo>
                  <a:pt x="1439127" y="990133"/>
                </a:lnTo>
                <a:cubicBezTo>
                  <a:pt x="1445797" y="1010141"/>
                  <a:pt x="1436339" y="985950"/>
                  <a:pt x="1450346" y="1006962"/>
                </a:cubicBezTo>
                <a:cubicBezTo>
                  <a:pt x="1462122" y="1024628"/>
                  <a:pt x="1438939" y="1005989"/>
                  <a:pt x="1464371" y="1023791"/>
                </a:cubicBezTo>
                <a:cubicBezTo>
                  <a:pt x="1469894" y="1027657"/>
                  <a:pt x="1475590" y="1031271"/>
                  <a:pt x="1481200" y="1035011"/>
                </a:cubicBezTo>
                <a:lnTo>
                  <a:pt x="1489615" y="1040621"/>
                </a:lnTo>
                <a:cubicBezTo>
                  <a:pt x="1491463" y="1046165"/>
                  <a:pt x="1493086" y="1053495"/>
                  <a:pt x="1498030" y="1057450"/>
                </a:cubicBezTo>
                <a:cubicBezTo>
                  <a:pt x="1500339" y="1059297"/>
                  <a:pt x="1503639" y="1059320"/>
                  <a:pt x="1506444" y="1060255"/>
                </a:cubicBezTo>
                <a:cubicBezTo>
                  <a:pt x="1508314" y="1063060"/>
                  <a:pt x="1509195" y="1066883"/>
                  <a:pt x="1512054" y="1068670"/>
                </a:cubicBezTo>
                <a:cubicBezTo>
                  <a:pt x="1526461" y="1077674"/>
                  <a:pt x="1560437" y="1076384"/>
                  <a:pt x="1570957" y="1077085"/>
                </a:cubicBezTo>
                <a:cubicBezTo>
                  <a:pt x="1591550" y="1083949"/>
                  <a:pt x="1583605" y="1078514"/>
                  <a:pt x="1596202" y="1091109"/>
                </a:cubicBezTo>
                <a:lnTo>
                  <a:pt x="1607421" y="1124768"/>
                </a:lnTo>
                <a:cubicBezTo>
                  <a:pt x="1608356" y="1127573"/>
                  <a:pt x="1608586" y="1130723"/>
                  <a:pt x="1610226" y="1133183"/>
                </a:cubicBezTo>
                <a:lnTo>
                  <a:pt x="1621446" y="1150012"/>
                </a:lnTo>
                <a:lnTo>
                  <a:pt x="1627056" y="1158427"/>
                </a:lnTo>
                <a:cubicBezTo>
                  <a:pt x="1630636" y="1169172"/>
                  <a:pt x="1634323" y="1176201"/>
                  <a:pt x="1627056" y="1189281"/>
                </a:cubicBezTo>
                <a:cubicBezTo>
                  <a:pt x="1625184" y="1192651"/>
                  <a:pt x="1619529" y="1190978"/>
                  <a:pt x="1615836" y="1192086"/>
                </a:cubicBezTo>
                <a:cubicBezTo>
                  <a:pt x="1610172" y="1193785"/>
                  <a:pt x="1604616" y="1195826"/>
                  <a:pt x="1599006" y="1197696"/>
                </a:cubicBezTo>
                <a:lnTo>
                  <a:pt x="1582177" y="1203306"/>
                </a:lnTo>
                <a:cubicBezTo>
                  <a:pt x="1579372" y="1204241"/>
                  <a:pt x="1576222" y="1204471"/>
                  <a:pt x="1573762" y="1206111"/>
                </a:cubicBezTo>
                <a:cubicBezTo>
                  <a:pt x="1549646" y="1222187"/>
                  <a:pt x="1580161" y="1202911"/>
                  <a:pt x="1556933" y="1214525"/>
                </a:cubicBezTo>
                <a:cubicBezTo>
                  <a:pt x="1535183" y="1225400"/>
                  <a:pt x="1561254" y="1215890"/>
                  <a:pt x="1540103" y="1222940"/>
                </a:cubicBezTo>
                <a:cubicBezTo>
                  <a:pt x="1537298" y="1224810"/>
                  <a:pt x="1534073" y="1226166"/>
                  <a:pt x="1531689" y="1228550"/>
                </a:cubicBezTo>
                <a:cubicBezTo>
                  <a:pt x="1529305" y="1230934"/>
                  <a:pt x="1528616" y="1234744"/>
                  <a:pt x="1526079" y="1236964"/>
                </a:cubicBezTo>
                <a:cubicBezTo>
                  <a:pt x="1512720" y="1248652"/>
                  <a:pt x="1511972" y="1247503"/>
                  <a:pt x="1498030" y="1250989"/>
                </a:cubicBezTo>
                <a:cubicBezTo>
                  <a:pt x="1480392" y="1262747"/>
                  <a:pt x="1499306" y="1251501"/>
                  <a:pt x="1467176" y="1262209"/>
                </a:cubicBezTo>
                <a:lnTo>
                  <a:pt x="1450346" y="1267818"/>
                </a:lnTo>
                <a:cubicBezTo>
                  <a:pt x="1447541" y="1268753"/>
                  <a:pt x="1444392" y="1268983"/>
                  <a:pt x="1441932" y="1270623"/>
                </a:cubicBezTo>
                <a:cubicBezTo>
                  <a:pt x="1431057" y="1277873"/>
                  <a:pt x="1436715" y="1275167"/>
                  <a:pt x="1425102" y="1279038"/>
                </a:cubicBezTo>
                <a:cubicBezTo>
                  <a:pt x="1423232" y="1281843"/>
                  <a:pt x="1422351" y="1285666"/>
                  <a:pt x="1419492" y="1287453"/>
                </a:cubicBezTo>
                <a:cubicBezTo>
                  <a:pt x="1414478" y="1290587"/>
                  <a:pt x="1407583" y="1289783"/>
                  <a:pt x="1402663" y="1293063"/>
                </a:cubicBezTo>
                <a:cubicBezTo>
                  <a:pt x="1391788" y="1300312"/>
                  <a:pt x="1397446" y="1297606"/>
                  <a:pt x="1385833" y="1301477"/>
                </a:cubicBezTo>
                <a:cubicBezTo>
                  <a:pt x="1367161" y="1320152"/>
                  <a:pt x="1387270" y="1302549"/>
                  <a:pt x="1369004" y="1312697"/>
                </a:cubicBezTo>
                <a:cubicBezTo>
                  <a:pt x="1340070" y="1328772"/>
                  <a:pt x="1362801" y="1320375"/>
                  <a:pt x="1343760" y="1326722"/>
                </a:cubicBezTo>
                <a:cubicBezTo>
                  <a:pt x="1341890" y="1329527"/>
                  <a:pt x="1341009" y="1333349"/>
                  <a:pt x="1338150" y="1335136"/>
                </a:cubicBezTo>
                <a:cubicBezTo>
                  <a:pt x="1338149" y="1335137"/>
                  <a:pt x="1317114" y="1342148"/>
                  <a:pt x="1312906" y="1343551"/>
                </a:cubicBezTo>
                <a:cubicBezTo>
                  <a:pt x="1310101" y="1344486"/>
                  <a:pt x="1306951" y="1344716"/>
                  <a:pt x="1304491" y="1346356"/>
                </a:cubicBezTo>
                <a:lnTo>
                  <a:pt x="1279247" y="1363185"/>
                </a:lnTo>
                <a:lnTo>
                  <a:pt x="1270832" y="1368795"/>
                </a:lnTo>
                <a:cubicBezTo>
                  <a:pt x="1268027" y="1370665"/>
                  <a:pt x="1265615" y="1373339"/>
                  <a:pt x="1262417" y="1374405"/>
                </a:cubicBezTo>
                <a:lnTo>
                  <a:pt x="1254003" y="1377210"/>
                </a:lnTo>
                <a:cubicBezTo>
                  <a:pt x="1252133" y="1380015"/>
                  <a:pt x="1250777" y="1383241"/>
                  <a:pt x="1248393" y="1385625"/>
                </a:cubicBezTo>
                <a:cubicBezTo>
                  <a:pt x="1242957" y="1391061"/>
                  <a:pt x="1238405" y="1391758"/>
                  <a:pt x="1231563" y="1394039"/>
                </a:cubicBezTo>
                <a:cubicBezTo>
                  <a:pt x="1212643" y="1412960"/>
                  <a:pt x="1222260" y="1408360"/>
                  <a:pt x="1206319" y="1413674"/>
                </a:cubicBezTo>
                <a:cubicBezTo>
                  <a:pt x="1204038" y="1420516"/>
                  <a:pt x="1203340" y="1425067"/>
                  <a:pt x="1197905" y="1430503"/>
                </a:cubicBezTo>
                <a:cubicBezTo>
                  <a:pt x="1195521" y="1432887"/>
                  <a:pt x="1192295" y="1434243"/>
                  <a:pt x="1189490" y="1436113"/>
                </a:cubicBezTo>
                <a:cubicBezTo>
                  <a:pt x="1184147" y="1452141"/>
                  <a:pt x="1191093" y="1438785"/>
                  <a:pt x="1178270" y="1447333"/>
                </a:cubicBezTo>
                <a:cubicBezTo>
                  <a:pt x="1174970" y="1449533"/>
                  <a:pt x="1173323" y="1453821"/>
                  <a:pt x="1169856" y="1455747"/>
                </a:cubicBezTo>
                <a:cubicBezTo>
                  <a:pt x="1164687" y="1458619"/>
                  <a:pt x="1157946" y="1458077"/>
                  <a:pt x="1153026" y="1461357"/>
                </a:cubicBezTo>
                <a:cubicBezTo>
                  <a:pt x="1147416" y="1465097"/>
                  <a:pt x="1142593" y="1470445"/>
                  <a:pt x="1136197" y="1472577"/>
                </a:cubicBezTo>
                <a:cubicBezTo>
                  <a:pt x="1124584" y="1476448"/>
                  <a:pt x="1130242" y="1473742"/>
                  <a:pt x="1119367" y="1480991"/>
                </a:cubicBezTo>
                <a:cubicBezTo>
                  <a:pt x="1119030" y="1481496"/>
                  <a:pt x="1102850" y="1506444"/>
                  <a:pt x="1099733" y="1509041"/>
                </a:cubicBezTo>
                <a:cubicBezTo>
                  <a:pt x="1097462" y="1510934"/>
                  <a:pt x="1094123" y="1510910"/>
                  <a:pt x="1091318" y="1511845"/>
                </a:cubicBezTo>
                <a:cubicBezTo>
                  <a:pt x="1088513" y="1514650"/>
                  <a:pt x="1086371" y="1518333"/>
                  <a:pt x="1082903" y="1520260"/>
                </a:cubicBezTo>
                <a:cubicBezTo>
                  <a:pt x="1077734" y="1523132"/>
                  <a:pt x="1066074" y="1525870"/>
                  <a:pt x="1066074" y="1525870"/>
                </a:cubicBezTo>
                <a:cubicBezTo>
                  <a:pt x="1042265" y="1524736"/>
                  <a:pt x="988612" y="1520021"/>
                  <a:pt x="962292" y="1525870"/>
                </a:cubicBezTo>
                <a:cubicBezTo>
                  <a:pt x="959001" y="1526601"/>
                  <a:pt x="959067" y="1531901"/>
                  <a:pt x="956683" y="1534285"/>
                </a:cubicBezTo>
                <a:cubicBezTo>
                  <a:pt x="954299" y="1536669"/>
                  <a:pt x="951073" y="1538025"/>
                  <a:pt x="948268" y="1539895"/>
                </a:cubicBezTo>
                <a:cubicBezTo>
                  <a:pt x="939378" y="1553229"/>
                  <a:pt x="945856" y="1547243"/>
                  <a:pt x="925829" y="1553919"/>
                </a:cubicBezTo>
                <a:lnTo>
                  <a:pt x="917414" y="1556724"/>
                </a:lnTo>
                <a:cubicBezTo>
                  <a:pt x="911804" y="1555789"/>
                  <a:pt x="905243" y="1557180"/>
                  <a:pt x="900584" y="1553919"/>
                </a:cubicBezTo>
                <a:cubicBezTo>
                  <a:pt x="895061" y="1550053"/>
                  <a:pt x="889365" y="1537090"/>
                  <a:pt x="889365" y="1537090"/>
                </a:cubicBezTo>
                <a:cubicBezTo>
                  <a:pt x="887495" y="1525870"/>
                  <a:pt x="887352" y="1514222"/>
                  <a:pt x="883755" y="1503431"/>
                </a:cubicBezTo>
                <a:cubicBezTo>
                  <a:pt x="882820" y="1500626"/>
                  <a:pt x="881762" y="1497859"/>
                  <a:pt x="880950" y="1495016"/>
                </a:cubicBezTo>
                <a:cubicBezTo>
                  <a:pt x="879891" y="1491309"/>
                  <a:pt x="879664" y="1487339"/>
                  <a:pt x="878145" y="1483796"/>
                </a:cubicBezTo>
                <a:cubicBezTo>
                  <a:pt x="876817" y="1480698"/>
                  <a:pt x="875167" y="1477488"/>
                  <a:pt x="872535" y="1475382"/>
                </a:cubicBezTo>
                <a:cubicBezTo>
                  <a:pt x="870649" y="1473873"/>
                  <a:pt x="853708" y="1470014"/>
                  <a:pt x="852901" y="1469772"/>
                </a:cubicBezTo>
                <a:cubicBezTo>
                  <a:pt x="847237" y="1468073"/>
                  <a:pt x="836071" y="1464162"/>
                  <a:pt x="836071" y="1464162"/>
                </a:cubicBezTo>
                <a:cubicBezTo>
                  <a:pt x="833266" y="1462292"/>
                  <a:pt x="830672" y="1460060"/>
                  <a:pt x="827657" y="1458552"/>
                </a:cubicBezTo>
                <a:cubicBezTo>
                  <a:pt x="825012" y="1457230"/>
                  <a:pt x="821702" y="1457387"/>
                  <a:pt x="819242" y="1455747"/>
                </a:cubicBezTo>
                <a:cubicBezTo>
                  <a:pt x="804723" y="1446069"/>
                  <a:pt x="816399" y="1443580"/>
                  <a:pt x="793998" y="1436113"/>
                </a:cubicBezTo>
                <a:cubicBezTo>
                  <a:pt x="763313" y="1425885"/>
                  <a:pt x="809788" y="1442196"/>
                  <a:pt x="777168" y="1427698"/>
                </a:cubicBezTo>
                <a:cubicBezTo>
                  <a:pt x="747122" y="1414343"/>
                  <a:pt x="770971" y="1429175"/>
                  <a:pt x="751924" y="1416479"/>
                </a:cubicBezTo>
                <a:cubicBezTo>
                  <a:pt x="750989" y="1413674"/>
                  <a:pt x="749931" y="1410907"/>
                  <a:pt x="749119" y="1408064"/>
                </a:cubicBezTo>
                <a:cubicBezTo>
                  <a:pt x="748060" y="1404357"/>
                  <a:pt x="748452" y="1400052"/>
                  <a:pt x="746314" y="1396844"/>
                </a:cubicBezTo>
                <a:cubicBezTo>
                  <a:pt x="742439" y="1391031"/>
                  <a:pt x="732311" y="1389837"/>
                  <a:pt x="726680" y="1388430"/>
                </a:cubicBezTo>
                <a:cubicBezTo>
                  <a:pt x="719046" y="1365527"/>
                  <a:pt x="727101" y="1392011"/>
                  <a:pt x="721070" y="1340746"/>
                </a:cubicBezTo>
                <a:cubicBezTo>
                  <a:pt x="720725" y="1337810"/>
                  <a:pt x="720112" y="1334640"/>
                  <a:pt x="718265" y="1332331"/>
                </a:cubicBezTo>
                <a:cubicBezTo>
                  <a:pt x="716159" y="1329699"/>
                  <a:pt x="712656" y="1328592"/>
                  <a:pt x="709851" y="1326722"/>
                </a:cubicBezTo>
                <a:cubicBezTo>
                  <a:pt x="707981" y="1323917"/>
                  <a:pt x="705749" y="1321322"/>
                  <a:pt x="704241" y="1318307"/>
                </a:cubicBezTo>
                <a:cubicBezTo>
                  <a:pt x="702919" y="1315662"/>
                  <a:pt x="704003" y="1311359"/>
                  <a:pt x="701436" y="1309892"/>
                </a:cubicBezTo>
                <a:cubicBezTo>
                  <a:pt x="696498" y="1307070"/>
                  <a:pt x="690216" y="1308022"/>
                  <a:pt x="684606" y="1307087"/>
                </a:cubicBezTo>
                <a:lnTo>
                  <a:pt x="659362" y="1298672"/>
                </a:lnTo>
                <a:lnTo>
                  <a:pt x="650948" y="1295868"/>
                </a:lnTo>
                <a:lnTo>
                  <a:pt x="625703" y="1279038"/>
                </a:lnTo>
                <a:cubicBezTo>
                  <a:pt x="622898" y="1277168"/>
                  <a:pt x="620487" y="1274494"/>
                  <a:pt x="617289" y="1273428"/>
                </a:cubicBezTo>
                <a:cubicBezTo>
                  <a:pt x="614484" y="1272493"/>
                  <a:pt x="611459" y="1272059"/>
                  <a:pt x="608874" y="1270623"/>
                </a:cubicBezTo>
                <a:cubicBezTo>
                  <a:pt x="583348" y="1256443"/>
                  <a:pt x="599986" y="1264620"/>
                  <a:pt x="583630" y="1250989"/>
                </a:cubicBezTo>
                <a:cubicBezTo>
                  <a:pt x="577684" y="1246034"/>
                  <a:pt x="570853" y="1243198"/>
                  <a:pt x="563995" y="1239769"/>
                </a:cubicBezTo>
                <a:cubicBezTo>
                  <a:pt x="547919" y="1215653"/>
                  <a:pt x="567195" y="1246168"/>
                  <a:pt x="555581" y="1222940"/>
                </a:cubicBezTo>
                <a:cubicBezTo>
                  <a:pt x="554073" y="1219925"/>
                  <a:pt x="551479" y="1217540"/>
                  <a:pt x="549971" y="1214525"/>
                </a:cubicBezTo>
                <a:cubicBezTo>
                  <a:pt x="548649" y="1211881"/>
                  <a:pt x="548981" y="1208445"/>
                  <a:pt x="547166" y="1206111"/>
                </a:cubicBezTo>
                <a:cubicBezTo>
                  <a:pt x="541699" y="1199082"/>
                  <a:pt x="523229" y="1181301"/>
                  <a:pt x="513507" y="1178061"/>
                </a:cubicBezTo>
                <a:lnTo>
                  <a:pt x="488263" y="1169647"/>
                </a:lnTo>
                <a:lnTo>
                  <a:pt x="479848" y="1166842"/>
                </a:lnTo>
                <a:lnTo>
                  <a:pt x="471433" y="1164037"/>
                </a:lnTo>
                <a:cubicBezTo>
                  <a:pt x="468628" y="1162167"/>
                  <a:pt x="465403" y="1160811"/>
                  <a:pt x="463019" y="1158427"/>
                </a:cubicBezTo>
                <a:cubicBezTo>
                  <a:pt x="460635" y="1156043"/>
                  <a:pt x="460041" y="1152118"/>
                  <a:pt x="457409" y="1150012"/>
                </a:cubicBezTo>
                <a:cubicBezTo>
                  <a:pt x="455100" y="1148165"/>
                  <a:pt x="451799" y="1148142"/>
                  <a:pt x="448994" y="1147207"/>
                </a:cubicBezTo>
                <a:cubicBezTo>
                  <a:pt x="447124" y="1144402"/>
                  <a:pt x="446016" y="1140899"/>
                  <a:pt x="443384" y="1138793"/>
                </a:cubicBezTo>
                <a:cubicBezTo>
                  <a:pt x="441075" y="1136946"/>
                  <a:pt x="437614" y="1137310"/>
                  <a:pt x="434970" y="1135988"/>
                </a:cubicBezTo>
                <a:cubicBezTo>
                  <a:pt x="415601" y="1126303"/>
                  <a:pt x="438684" y="1133410"/>
                  <a:pt x="415335" y="1127573"/>
                </a:cubicBezTo>
                <a:cubicBezTo>
                  <a:pt x="395701" y="1114483"/>
                  <a:pt x="402246" y="1121963"/>
                  <a:pt x="392896" y="1107939"/>
                </a:cubicBezTo>
                <a:cubicBezTo>
                  <a:pt x="391961" y="1105134"/>
                  <a:pt x="391527" y="1102109"/>
                  <a:pt x="390091" y="1099524"/>
                </a:cubicBezTo>
                <a:cubicBezTo>
                  <a:pt x="386817" y="1093630"/>
                  <a:pt x="378871" y="1082695"/>
                  <a:pt x="378871" y="1082695"/>
                </a:cubicBezTo>
                <a:cubicBezTo>
                  <a:pt x="371824" y="1061546"/>
                  <a:pt x="382150" y="1086792"/>
                  <a:pt x="367652" y="1068670"/>
                </a:cubicBezTo>
                <a:cubicBezTo>
                  <a:pt x="352168" y="1049315"/>
                  <a:pt x="380548" y="1070722"/>
                  <a:pt x="356432" y="1054645"/>
                </a:cubicBezTo>
                <a:cubicBezTo>
                  <a:pt x="354584" y="1049102"/>
                  <a:pt x="352960" y="1041771"/>
                  <a:pt x="348017" y="1037816"/>
                </a:cubicBezTo>
                <a:cubicBezTo>
                  <a:pt x="345708" y="1035969"/>
                  <a:pt x="342187" y="1036447"/>
                  <a:pt x="339603" y="1035011"/>
                </a:cubicBezTo>
                <a:cubicBezTo>
                  <a:pt x="333709" y="1031737"/>
                  <a:pt x="328383" y="1027531"/>
                  <a:pt x="322773" y="1023791"/>
                </a:cubicBezTo>
                <a:lnTo>
                  <a:pt x="314359" y="1018182"/>
                </a:lnTo>
                <a:cubicBezTo>
                  <a:pt x="301812" y="999362"/>
                  <a:pt x="316592" y="1017801"/>
                  <a:pt x="300334" y="1006962"/>
                </a:cubicBezTo>
                <a:cubicBezTo>
                  <a:pt x="297033" y="1004762"/>
                  <a:pt x="295220" y="1000748"/>
                  <a:pt x="291919" y="998547"/>
                </a:cubicBezTo>
                <a:cubicBezTo>
                  <a:pt x="266616" y="981677"/>
                  <a:pt x="301576" y="1012203"/>
                  <a:pt x="275090" y="990133"/>
                </a:cubicBezTo>
                <a:cubicBezTo>
                  <a:pt x="272042" y="987594"/>
                  <a:pt x="269110" y="984849"/>
                  <a:pt x="266675" y="981718"/>
                </a:cubicBezTo>
                <a:cubicBezTo>
                  <a:pt x="262536" y="976396"/>
                  <a:pt x="261066" y="968627"/>
                  <a:pt x="255456" y="964888"/>
                </a:cubicBezTo>
                <a:lnTo>
                  <a:pt x="247041" y="959279"/>
                </a:lnTo>
                <a:cubicBezTo>
                  <a:pt x="233112" y="938386"/>
                  <a:pt x="251014" y="964047"/>
                  <a:pt x="233016" y="942449"/>
                </a:cubicBezTo>
                <a:cubicBezTo>
                  <a:pt x="227657" y="936018"/>
                  <a:pt x="225486" y="928587"/>
                  <a:pt x="218992" y="922815"/>
                </a:cubicBezTo>
                <a:cubicBezTo>
                  <a:pt x="213953" y="918336"/>
                  <a:pt x="207772" y="915335"/>
                  <a:pt x="202162" y="911595"/>
                </a:cubicBezTo>
                <a:cubicBezTo>
                  <a:pt x="188813" y="902695"/>
                  <a:pt x="198994" y="908119"/>
                  <a:pt x="182528" y="903180"/>
                </a:cubicBezTo>
                <a:cubicBezTo>
                  <a:pt x="176864" y="901481"/>
                  <a:pt x="165698" y="897571"/>
                  <a:pt x="165698" y="897571"/>
                </a:cubicBezTo>
                <a:cubicBezTo>
                  <a:pt x="160088" y="893831"/>
                  <a:pt x="152609" y="891961"/>
                  <a:pt x="148869" y="886351"/>
                </a:cubicBezTo>
                <a:cubicBezTo>
                  <a:pt x="141389" y="875131"/>
                  <a:pt x="146064" y="879806"/>
                  <a:pt x="134844" y="872326"/>
                </a:cubicBezTo>
                <a:cubicBezTo>
                  <a:pt x="132996" y="866782"/>
                  <a:pt x="131374" y="859452"/>
                  <a:pt x="126430" y="855497"/>
                </a:cubicBezTo>
                <a:cubicBezTo>
                  <a:pt x="124121" y="853650"/>
                  <a:pt x="120600" y="854128"/>
                  <a:pt x="118015" y="852692"/>
                </a:cubicBezTo>
                <a:cubicBezTo>
                  <a:pt x="89086" y="836620"/>
                  <a:pt x="111810" y="845012"/>
                  <a:pt x="92771" y="838668"/>
                </a:cubicBezTo>
                <a:lnTo>
                  <a:pt x="67527" y="821838"/>
                </a:lnTo>
                <a:lnTo>
                  <a:pt x="59112" y="816228"/>
                </a:lnTo>
                <a:cubicBezTo>
                  <a:pt x="56307" y="814358"/>
                  <a:pt x="53895" y="811684"/>
                  <a:pt x="50697" y="810618"/>
                </a:cubicBezTo>
                <a:lnTo>
                  <a:pt x="42283" y="807814"/>
                </a:lnTo>
                <a:cubicBezTo>
                  <a:pt x="28354" y="786921"/>
                  <a:pt x="46256" y="812582"/>
                  <a:pt x="28258" y="790984"/>
                </a:cubicBezTo>
                <a:cubicBezTo>
                  <a:pt x="8739" y="767561"/>
                  <a:pt x="38808" y="798728"/>
                  <a:pt x="14233" y="774155"/>
                </a:cubicBezTo>
                <a:cubicBezTo>
                  <a:pt x="0" y="717214"/>
                  <a:pt x="6257" y="750725"/>
                  <a:pt x="11429" y="639519"/>
                </a:cubicBezTo>
                <a:cubicBezTo>
                  <a:pt x="11566" y="636566"/>
                  <a:pt x="12593" y="633564"/>
                  <a:pt x="14233" y="631104"/>
                </a:cubicBezTo>
                <a:cubicBezTo>
                  <a:pt x="19504" y="623197"/>
                  <a:pt x="32796" y="615925"/>
                  <a:pt x="39478" y="611470"/>
                </a:cubicBezTo>
                <a:cubicBezTo>
                  <a:pt x="42283" y="609600"/>
                  <a:pt x="44694" y="606926"/>
                  <a:pt x="47892" y="605860"/>
                </a:cubicBezTo>
                <a:cubicBezTo>
                  <a:pt x="50697" y="604925"/>
                  <a:pt x="53722" y="604491"/>
                  <a:pt x="56307" y="603055"/>
                </a:cubicBezTo>
                <a:cubicBezTo>
                  <a:pt x="62201" y="599781"/>
                  <a:pt x="67526" y="595576"/>
                  <a:pt x="73136" y="591836"/>
                </a:cubicBezTo>
                <a:cubicBezTo>
                  <a:pt x="75941" y="589966"/>
                  <a:pt x="78245" y="586887"/>
                  <a:pt x="81551" y="586226"/>
                </a:cubicBezTo>
                <a:cubicBezTo>
                  <a:pt x="86226" y="585291"/>
                  <a:pt x="90976" y="584675"/>
                  <a:pt x="95576" y="583421"/>
                </a:cubicBezTo>
                <a:cubicBezTo>
                  <a:pt x="104133" y="581087"/>
                  <a:pt x="112405" y="577811"/>
                  <a:pt x="120820" y="575006"/>
                </a:cubicBezTo>
                <a:cubicBezTo>
                  <a:pt x="123625" y="574071"/>
                  <a:pt x="126367" y="572918"/>
                  <a:pt x="129235" y="572201"/>
                </a:cubicBezTo>
                <a:cubicBezTo>
                  <a:pt x="132975" y="571266"/>
                  <a:pt x="136762" y="570504"/>
                  <a:pt x="140454" y="569396"/>
                </a:cubicBezTo>
                <a:cubicBezTo>
                  <a:pt x="140517" y="569377"/>
                  <a:pt x="161459" y="562395"/>
                  <a:pt x="165698" y="560982"/>
                </a:cubicBezTo>
                <a:cubicBezTo>
                  <a:pt x="168503" y="560047"/>
                  <a:pt x="171186" y="558595"/>
                  <a:pt x="174113" y="558177"/>
                </a:cubicBezTo>
                <a:lnTo>
                  <a:pt x="193748" y="555372"/>
                </a:lnTo>
                <a:cubicBezTo>
                  <a:pt x="239861" y="540000"/>
                  <a:pt x="204667" y="549941"/>
                  <a:pt x="303139" y="546957"/>
                </a:cubicBezTo>
                <a:cubicBezTo>
                  <a:pt x="308749" y="545087"/>
                  <a:pt x="315787" y="545528"/>
                  <a:pt x="319968" y="541347"/>
                </a:cubicBezTo>
                <a:cubicBezTo>
                  <a:pt x="322773" y="538542"/>
                  <a:pt x="325844" y="535980"/>
                  <a:pt x="328383" y="532933"/>
                </a:cubicBezTo>
                <a:cubicBezTo>
                  <a:pt x="330541" y="530343"/>
                  <a:pt x="331609" y="526902"/>
                  <a:pt x="333993" y="524518"/>
                </a:cubicBezTo>
                <a:cubicBezTo>
                  <a:pt x="336377" y="522134"/>
                  <a:pt x="339603" y="520778"/>
                  <a:pt x="342408" y="518908"/>
                </a:cubicBezTo>
                <a:cubicBezTo>
                  <a:pt x="344278" y="516103"/>
                  <a:pt x="345633" y="512877"/>
                  <a:pt x="348017" y="510493"/>
                </a:cubicBezTo>
                <a:cubicBezTo>
                  <a:pt x="356053" y="502457"/>
                  <a:pt x="355724" y="506640"/>
                  <a:pt x="364847" y="502079"/>
                </a:cubicBezTo>
                <a:cubicBezTo>
                  <a:pt x="386599" y="491203"/>
                  <a:pt x="360525" y="500715"/>
                  <a:pt x="381676" y="493664"/>
                </a:cubicBezTo>
                <a:cubicBezTo>
                  <a:pt x="382611" y="490859"/>
                  <a:pt x="382390" y="487340"/>
                  <a:pt x="384481" y="485249"/>
                </a:cubicBezTo>
                <a:cubicBezTo>
                  <a:pt x="389249" y="480482"/>
                  <a:pt x="401311" y="474030"/>
                  <a:pt x="401311" y="474030"/>
                </a:cubicBezTo>
                <a:cubicBezTo>
                  <a:pt x="411540" y="443344"/>
                  <a:pt x="395228" y="489821"/>
                  <a:pt x="409725" y="457200"/>
                </a:cubicBezTo>
                <a:cubicBezTo>
                  <a:pt x="412126" y="451796"/>
                  <a:pt x="413465" y="445981"/>
                  <a:pt x="415335" y="440371"/>
                </a:cubicBezTo>
                <a:lnTo>
                  <a:pt x="418140" y="431956"/>
                </a:lnTo>
                <a:cubicBezTo>
                  <a:pt x="419075" y="429151"/>
                  <a:pt x="418140" y="424476"/>
                  <a:pt x="420945" y="423541"/>
                </a:cubicBezTo>
                <a:cubicBezTo>
                  <a:pt x="451640" y="413309"/>
                  <a:pt x="405143" y="429628"/>
                  <a:pt x="437775" y="415126"/>
                </a:cubicBezTo>
                <a:cubicBezTo>
                  <a:pt x="443178" y="412725"/>
                  <a:pt x="448994" y="411387"/>
                  <a:pt x="454604" y="409517"/>
                </a:cubicBezTo>
                <a:lnTo>
                  <a:pt x="471433" y="403907"/>
                </a:lnTo>
                <a:cubicBezTo>
                  <a:pt x="491601" y="397184"/>
                  <a:pt x="466424" y="405338"/>
                  <a:pt x="491068" y="398297"/>
                </a:cubicBezTo>
                <a:cubicBezTo>
                  <a:pt x="493911" y="397485"/>
                  <a:pt x="496640" y="396304"/>
                  <a:pt x="499483" y="395492"/>
                </a:cubicBezTo>
                <a:cubicBezTo>
                  <a:pt x="503189" y="394433"/>
                  <a:pt x="507010" y="393795"/>
                  <a:pt x="510702" y="392687"/>
                </a:cubicBezTo>
                <a:cubicBezTo>
                  <a:pt x="516366" y="390988"/>
                  <a:pt x="527532" y="387077"/>
                  <a:pt x="527532" y="387077"/>
                </a:cubicBezTo>
                <a:cubicBezTo>
                  <a:pt x="532207" y="388012"/>
                  <a:pt x="536931" y="388726"/>
                  <a:pt x="541556" y="389882"/>
                </a:cubicBezTo>
                <a:cubicBezTo>
                  <a:pt x="544424" y="390599"/>
                  <a:pt x="547072" y="392107"/>
                  <a:pt x="549971" y="392687"/>
                </a:cubicBezTo>
                <a:cubicBezTo>
                  <a:pt x="556454" y="393984"/>
                  <a:pt x="563060" y="394557"/>
                  <a:pt x="569605" y="395492"/>
                </a:cubicBezTo>
                <a:cubicBezTo>
                  <a:pt x="586435" y="394557"/>
                  <a:pt x="603408" y="395071"/>
                  <a:pt x="620094" y="392687"/>
                </a:cubicBezTo>
                <a:cubicBezTo>
                  <a:pt x="630983" y="391131"/>
                  <a:pt x="631731" y="377409"/>
                  <a:pt x="634118" y="370248"/>
                </a:cubicBezTo>
                <a:lnTo>
                  <a:pt x="636923" y="361833"/>
                </a:lnTo>
                <a:cubicBezTo>
                  <a:pt x="635988" y="350613"/>
                  <a:pt x="635297" y="339371"/>
                  <a:pt x="634118" y="328174"/>
                </a:cubicBezTo>
                <a:cubicBezTo>
                  <a:pt x="633426" y="321599"/>
                  <a:pt x="631725" y="315138"/>
                  <a:pt x="631313" y="308540"/>
                </a:cubicBezTo>
                <a:cubicBezTo>
                  <a:pt x="629854" y="285193"/>
                  <a:pt x="630761" y="261701"/>
                  <a:pt x="628508" y="238417"/>
                </a:cubicBezTo>
                <a:cubicBezTo>
                  <a:pt x="627938" y="232531"/>
                  <a:pt x="624768" y="227198"/>
                  <a:pt x="622898" y="221588"/>
                </a:cubicBezTo>
                <a:lnTo>
                  <a:pt x="620094" y="213173"/>
                </a:lnTo>
                <a:lnTo>
                  <a:pt x="617289" y="204758"/>
                </a:lnTo>
                <a:cubicBezTo>
                  <a:pt x="616354" y="187929"/>
                  <a:pt x="616082" y="171049"/>
                  <a:pt x="614484" y="154270"/>
                </a:cubicBezTo>
                <a:cubicBezTo>
                  <a:pt x="614204" y="151327"/>
                  <a:pt x="613770" y="147946"/>
                  <a:pt x="611679" y="145855"/>
                </a:cubicBezTo>
                <a:cubicBezTo>
                  <a:pt x="609588" y="143764"/>
                  <a:pt x="605909" y="144372"/>
                  <a:pt x="603264" y="143050"/>
                </a:cubicBezTo>
                <a:cubicBezTo>
                  <a:pt x="600249" y="141543"/>
                  <a:pt x="597654" y="139311"/>
                  <a:pt x="594849" y="137441"/>
                </a:cubicBezTo>
                <a:cubicBezTo>
                  <a:pt x="593914" y="134636"/>
                  <a:pt x="594135" y="131117"/>
                  <a:pt x="592044" y="129026"/>
                </a:cubicBezTo>
                <a:cubicBezTo>
                  <a:pt x="589954" y="126935"/>
                  <a:pt x="586274" y="127543"/>
                  <a:pt x="583630" y="126221"/>
                </a:cubicBezTo>
                <a:cubicBezTo>
                  <a:pt x="582447" y="125630"/>
                  <a:pt x="573345" y="124351"/>
                  <a:pt x="583630" y="123416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3" name="Freeform 112"/>
          <p:cNvSpPr/>
          <p:nvPr/>
        </p:nvSpPr>
        <p:spPr>
          <a:xfrm>
            <a:off x="3660781" y="455088"/>
            <a:ext cx="307975" cy="626533"/>
          </a:xfrm>
          <a:custGeom>
            <a:avLst/>
            <a:gdLst>
              <a:gd name="connsiteX0" fmla="*/ 100977 w 308540"/>
              <a:gd name="connsiteY0" fmla="*/ 39269 h 626494"/>
              <a:gd name="connsiteX1" fmla="*/ 131831 w 308540"/>
              <a:gd name="connsiteY1" fmla="*/ 33659 h 626494"/>
              <a:gd name="connsiteX2" fmla="*/ 148660 w 308540"/>
              <a:gd name="connsiteY2" fmla="*/ 22439 h 626494"/>
              <a:gd name="connsiteX3" fmla="*/ 154270 w 308540"/>
              <a:gd name="connsiteY3" fmla="*/ 14025 h 626494"/>
              <a:gd name="connsiteX4" fmla="*/ 162685 w 308540"/>
              <a:gd name="connsiteY4" fmla="*/ 8415 h 626494"/>
              <a:gd name="connsiteX5" fmla="*/ 171099 w 308540"/>
              <a:gd name="connsiteY5" fmla="*/ 0 h 626494"/>
              <a:gd name="connsiteX6" fmla="*/ 193539 w 308540"/>
              <a:gd name="connsiteY6" fmla="*/ 2805 h 626494"/>
              <a:gd name="connsiteX7" fmla="*/ 201953 w 308540"/>
              <a:gd name="connsiteY7" fmla="*/ 5610 h 626494"/>
              <a:gd name="connsiteX8" fmla="*/ 213173 w 308540"/>
              <a:gd name="connsiteY8" fmla="*/ 16830 h 626494"/>
              <a:gd name="connsiteX9" fmla="*/ 227197 w 308540"/>
              <a:gd name="connsiteY9" fmla="*/ 42074 h 626494"/>
              <a:gd name="connsiteX10" fmla="*/ 230002 w 308540"/>
              <a:gd name="connsiteY10" fmla="*/ 50488 h 626494"/>
              <a:gd name="connsiteX11" fmla="*/ 246832 w 308540"/>
              <a:gd name="connsiteY11" fmla="*/ 56098 h 626494"/>
              <a:gd name="connsiteX12" fmla="*/ 266466 w 308540"/>
              <a:gd name="connsiteY12" fmla="*/ 53293 h 626494"/>
              <a:gd name="connsiteX13" fmla="*/ 272076 w 308540"/>
              <a:gd name="connsiteY13" fmla="*/ 44879 h 626494"/>
              <a:gd name="connsiteX14" fmla="*/ 280491 w 308540"/>
              <a:gd name="connsiteY14" fmla="*/ 42074 h 626494"/>
              <a:gd name="connsiteX15" fmla="*/ 288905 w 308540"/>
              <a:gd name="connsiteY15" fmla="*/ 44879 h 626494"/>
              <a:gd name="connsiteX16" fmla="*/ 286101 w 308540"/>
              <a:gd name="connsiteY16" fmla="*/ 64513 h 626494"/>
              <a:gd name="connsiteX17" fmla="*/ 283296 w 308540"/>
              <a:gd name="connsiteY17" fmla="*/ 72928 h 626494"/>
              <a:gd name="connsiteX18" fmla="*/ 274881 w 308540"/>
              <a:gd name="connsiteY18" fmla="*/ 78538 h 626494"/>
              <a:gd name="connsiteX19" fmla="*/ 258051 w 308540"/>
              <a:gd name="connsiteY19" fmla="*/ 84147 h 626494"/>
              <a:gd name="connsiteX20" fmla="*/ 241222 w 308540"/>
              <a:gd name="connsiteY20" fmla="*/ 98172 h 626494"/>
              <a:gd name="connsiteX21" fmla="*/ 238417 w 308540"/>
              <a:gd name="connsiteY21" fmla="*/ 106587 h 626494"/>
              <a:gd name="connsiteX22" fmla="*/ 244027 w 308540"/>
              <a:gd name="connsiteY22" fmla="*/ 126221 h 626494"/>
              <a:gd name="connsiteX23" fmla="*/ 255247 w 308540"/>
              <a:gd name="connsiteY23" fmla="*/ 143050 h 626494"/>
              <a:gd name="connsiteX24" fmla="*/ 260856 w 308540"/>
              <a:gd name="connsiteY24" fmla="*/ 159880 h 626494"/>
              <a:gd name="connsiteX25" fmla="*/ 263661 w 308540"/>
              <a:gd name="connsiteY25" fmla="*/ 168295 h 626494"/>
              <a:gd name="connsiteX26" fmla="*/ 269271 w 308540"/>
              <a:gd name="connsiteY26" fmla="*/ 176709 h 626494"/>
              <a:gd name="connsiteX27" fmla="*/ 269271 w 308540"/>
              <a:gd name="connsiteY27" fmla="*/ 224393 h 626494"/>
              <a:gd name="connsiteX28" fmla="*/ 263661 w 308540"/>
              <a:gd name="connsiteY28" fmla="*/ 232807 h 626494"/>
              <a:gd name="connsiteX29" fmla="*/ 255247 w 308540"/>
              <a:gd name="connsiteY29" fmla="*/ 235612 h 626494"/>
              <a:gd name="connsiteX30" fmla="*/ 246832 w 308540"/>
              <a:gd name="connsiteY30" fmla="*/ 244027 h 626494"/>
              <a:gd name="connsiteX31" fmla="*/ 230002 w 308540"/>
              <a:gd name="connsiteY31" fmla="*/ 255247 h 626494"/>
              <a:gd name="connsiteX32" fmla="*/ 218783 w 308540"/>
              <a:gd name="connsiteY32" fmla="*/ 272076 h 626494"/>
              <a:gd name="connsiteX33" fmla="*/ 213173 w 308540"/>
              <a:gd name="connsiteY33" fmla="*/ 280491 h 626494"/>
              <a:gd name="connsiteX34" fmla="*/ 215978 w 308540"/>
              <a:gd name="connsiteY34" fmla="*/ 300125 h 626494"/>
              <a:gd name="connsiteX35" fmla="*/ 221588 w 308540"/>
              <a:gd name="connsiteY35" fmla="*/ 308540 h 626494"/>
              <a:gd name="connsiteX36" fmla="*/ 246832 w 308540"/>
              <a:gd name="connsiteY36" fmla="*/ 322565 h 626494"/>
              <a:gd name="connsiteX37" fmla="*/ 280491 w 308540"/>
              <a:gd name="connsiteY37" fmla="*/ 325369 h 626494"/>
              <a:gd name="connsiteX38" fmla="*/ 283296 w 308540"/>
              <a:gd name="connsiteY38" fmla="*/ 333784 h 626494"/>
              <a:gd name="connsiteX39" fmla="*/ 283296 w 308540"/>
              <a:gd name="connsiteY39" fmla="*/ 353418 h 626494"/>
              <a:gd name="connsiteX40" fmla="*/ 291710 w 308540"/>
              <a:gd name="connsiteY40" fmla="*/ 356223 h 626494"/>
              <a:gd name="connsiteX41" fmla="*/ 300125 w 308540"/>
              <a:gd name="connsiteY41" fmla="*/ 361833 h 626494"/>
              <a:gd name="connsiteX42" fmla="*/ 305735 w 308540"/>
              <a:gd name="connsiteY42" fmla="*/ 415126 h 626494"/>
              <a:gd name="connsiteX43" fmla="*/ 308540 w 308540"/>
              <a:gd name="connsiteY43" fmla="*/ 423541 h 626494"/>
              <a:gd name="connsiteX44" fmla="*/ 286101 w 308540"/>
              <a:gd name="connsiteY44" fmla="*/ 443176 h 626494"/>
              <a:gd name="connsiteX45" fmla="*/ 277686 w 308540"/>
              <a:gd name="connsiteY45" fmla="*/ 448785 h 626494"/>
              <a:gd name="connsiteX46" fmla="*/ 269271 w 308540"/>
              <a:gd name="connsiteY46" fmla="*/ 451590 h 626494"/>
              <a:gd name="connsiteX47" fmla="*/ 252442 w 308540"/>
              <a:gd name="connsiteY47" fmla="*/ 460005 h 626494"/>
              <a:gd name="connsiteX48" fmla="*/ 235612 w 308540"/>
              <a:gd name="connsiteY48" fmla="*/ 471225 h 626494"/>
              <a:gd name="connsiteX49" fmla="*/ 230002 w 308540"/>
              <a:gd name="connsiteY49" fmla="*/ 479639 h 626494"/>
              <a:gd name="connsiteX50" fmla="*/ 221588 w 308540"/>
              <a:gd name="connsiteY50" fmla="*/ 485249 h 626494"/>
              <a:gd name="connsiteX51" fmla="*/ 215978 w 308540"/>
              <a:gd name="connsiteY51" fmla="*/ 493664 h 626494"/>
              <a:gd name="connsiteX52" fmla="*/ 207563 w 308540"/>
              <a:gd name="connsiteY52" fmla="*/ 504884 h 626494"/>
              <a:gd name="connsiteX53" fmla="*/ 204758 w 308540"/>
              <a:gd name="connsiteY53" fmla="*/ 513298 h 626494"/>
              <a:gd name="connsiteX54" fmla="*/ 199148 w 308540"/>
              <a:gd name="connsiteY54" fmla="*/ 521713 h 626494"/>
              <a:gd name="connsiteX55" fmla="*/ 196343 w 308540"/>
              <a:gd name="connsiteY55" fmla="*/ 580616 h 626494"/>
              <a:gd name="connsiteX56" fmla="*/ 171099 w 308540"/>
              <a:gd name="connsiteY56" fmla="*/ 594641 h 626494"/>
              <a:gd name="connsiteX57" fmla="*/ 162685 w 308540"/>
              <a:gd name="connsiteY57" fmla="*/ 600250 h 626494"/>
              <a:gd name="connsiteX58" fmla="*/ 157075 w 308540"/>
              <a:gd name="connsiteY58" fmla="*/ 608665 h 626494"/>
              <a:gd name="connsiteX59" fmla="*/ 154270 w 308540"/>
              <a:gd name="connsiteY59" fmla="*/ 617080 h 626494"/>
              <a:gd name="connsiteX60" fmla="*/ 145855 w 308540"/>
              <a:gd name="connsiteY60" fmla="*/ 619885 h 626494"/>
              <a:gd name="connsiteX61" fmla="*/ 131831 w 308540"/>
              <a:gd name="connsiteY61" fmla="*/ 603055 h 626494"/>
              <a:gd name="connsiteX62" fmla="*/ 123416 w 308540"/>
              <a:gd name="connsiteY62" fmla="*/ 594641 h 626494"/>
              <a:gd name="connsiteX63" fmla="*/ 117806 w 308540"/>
              <a:gd name="connsiteY63" fmla="*/ 577811 h 626494"/>
              <a:gd name="connsiteX64" fmla="*/ 112196 w 308540"/>
              <a:gd name="connsiteY64" fmla="*/ 555372 h 626494"/>
              <a:gd name="connsiteX65" fmla="*/ 106586 w 308540"/>
              <a:gd name="connsiteY65" fmla="*/ 535738 h 626494"/>
              <a:gd name="connsiteX66" fmla="*/ 100977 w 308540"/>
              <a:gd name="connsiteY66" fmla="*/ 518908 h 626494"/>
              <a:gd name="connsiteX67" fmla="*/ 95367 w 308540"/>
              <a:gd name="connsiteY67" fmla="*/ 502079 h 626494"/>
              <a:gd name="connsiteX68" fmla="*/ 92562 w 308540"/>
              <a:gd name="connsiteY68" fmla="*/ 493664 h 626494"/>
              <a:gd name="connsiteX69" fmla="*/ 86952 w 308540"/>
              <a:gd name="connsiteY69" fmla="*/ 485249 h 626494"/>
              <a:gd name="connsiteX70" fmla="*/ 75732 w 308540"/>
              <a:gd name="connsiteY70" fmla="*/ 460005 h 626494"/>
              <a:gd name="connsiteX71" fmla="*/ 70123 w 308540"/>
              <a:gd name="connsiteY71" fmla="*/ 440371 h 626494"/>
              <a:gd name="connsiteX72" fmla="*/ 50488 w 308540"/>
              <a:gd name="connsiteY72" fmla="*/ 415126 h 626494"/>
              <a:gd name="connsiteX73" fmla="*/ 39269 w 308540"/>
              <a:gd name="connsiteY73" fmla="*/ 398297 h 626494"/>
              <a:gd name="connsiteX74" fmla="*/ 33659 w 308540"/>
              <a:gd name="connsiteY74" fmla="*/ 389882 h 626494"/>
              <a:gd name="connsiteX75" fmla="*/ 19634 w 308540"/>
              <a:gd name="connsiteY75" fmla="*/ 373053 h 626494"/>
              <a:gd name="connsiteX76" fmla="*/ 14024 w 308540"/>
              <a:gd name="connsiteY76" fmla="*/ 356223 h 626494"/>
              <a:gd name="connsiteX77" fmla="*/ 11220 w 308540"/>
              <a:gd name="connsiteY77" fmla="*/ 347809 h 626494"/>
              <a:gd name="connsiteX78" fmla="*/ 5610 w 308540"/>
              <a:gd name="connsiteY78" fmla="*/ 339394 h 626494"/>
              <a:gd name="connsiteX79" fmla="*/ 0 w 308540"/>
              <a:gd name="connsiteY79" fmla="*/ 322565 h 626494"/>
              <a:gd name="connsiteX80" fmla="*/ 2805 w 308540"/>
              <a:gd name="connsiteY80" fmla="*/ 297320 h 626494"/>
              <a:gd name="connsiteX81" fmla="*/ 14024 w 308540"/>
              <a:gd name="connsiteY81" fmla="*/ 280491 h 626494"/>
              <a:gd name="connsiteX82" fmla="*/ 25244 w 308540"/>
              <a:gd name="connsiteY82" fmla="*/ 263661 h 626494"/>
              <a:gd name="connsiteX83" fmla="*/ 30854 w 308540"/>
              <a:gd name="connsiteY83" fmla="*/ 255247 h 626494"/>
              <a:gd name="connsiteX84" fmla="*/ 39269 w 308540"/>
              <a:gd name="connsiteY84" fmla="*/ 249637 h 626494"/>
              <a:gd name="connsiteX85" fmla="*/ 50488 w 308540"/>
              <a:gd name="connsiteY85" fmla="*/ 232807 h 626494"/>
              <a:gd name="connsiteX86" fmla="*/ 56098 w 308540"/>
              <a:gd name="connsiteY86" fmla="*/ 224393 h 626494"/>
              <a:gd name="connsiteX87" fmla="*/ 61708 w 308540"/>
              <a:gd name="connsiteY87" fmla="*/ 207563 h 626494"/>
              <a:gd name="connsiteX88" fmla="*/ 64513 w 308540"/>
              <a:gd name="connsiteY88" fmla="*/ 123416 h 626494"/>
              <a:gd name="connsiteX89" fmla="*/ 81342 w 308540"/>
              <a:gd name="connsiteY89" fmla="*/ 112196 h 626494"/>
              <a:gd name="connsiteX90" fmla="*/ 86952 w 308540"/>
              <a:gd name="connsiteY90" fmla="*/ 103782 h 626494"/>
              <a:gd name="connsiteX91" fmla="*/ 92562 w 308540"/>
              <a:gd name="connsiteY91" fmla="*/ 64513 h 626494"/>
              <a:gd name="connsiteX92" fmla="*/ 95367 w 308540"/>
              <a:gd name="connsiteY92" fmla="*/ 53293 h 626494"/>
              <a:gd name="connsiteX93" fmla="*/ 100977 w 308540"/>
              <a:gd name="connsiteY93" fmla="*/ 39269 h 626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308540" h="626494">
                <a:moveTo>
                  <a:pt x="100977" y="39269"/>
                </a:moveTo>
                <a:cubicBezTo>
                  <a:pt x="107054" y="35997"/>
                  <a:pt x="126541" y="36304"/>
                  <a:pt x="131831" y="33659"/>
                </a:cubicBezTo>
                <a:cubicBezTo>
                  <a:pt x="137861" y="30644"/>
                  <a:pt x="148660" y="22439"/>
                  <a:pt x="148660" y="22439"/>
                </a:cubicBezTo>
                <a:cubicBezTo>
                  <a:pt x="150530" y="19634"/>
                  <a:pt x="151886" y="16409"/>
                  <a:pt x="154270" y="14025"/>
                </a:cubicBezTo>
                <a:cubicBezTo>
                  <a:pt x="156654" y="11641"/>
                  <a:pt x="160095" y="10573"/>
                  <a:pt x="162685" y="8415"/>
                </a:cubicBezTo>
                <a:cubicBezTo>
                  <a:pt x="165732" y="5876"/>
                  <a:pt x="168294" y="2805"/>
                  <a:pt x="171099" y="0"/>
                </a:cubicBezTo>
                <a:cubicBezTo>
                  <a:pt x="178579" y="935"/>
                  <a:pt x="186122" y="1456"/>
                  <a:pt x="193539" y="2805"/>
                </a:cubicBezTo>
                <a:cubicBezTo>
                  <a:pt x="196448" y="3334"/>
                  <a:pt x="199863" y="3519"/>
                  <a:pt x="201953" y="5610"/>
                </a:cubicBezTo>
                <a:cubicBezTo>
                  <a:pt x="216911" y="20569"/>
                  <a:pt x="190735" y="9351"/>
                  <a:pt x="213173" y="16830"/>
                </a:cubicBezTo>
                <a:cubicBezTo>
                  <a:pt x="225770" y="29426"/>
                  <a:pt x="220333" y="21480"/>
                  <a:pt x="227197" y="42074"/>
                </a:cubicBezTo>
                <a:cubicBezTo>
                  <a:pt x="228132" y="44879"/>
                  <a:pt x="227197" y="49553"/>
                  <a:pt x="230002" y="50488"/>
                </a:cubicBezTo>
                <a:lnTo>
                  <a:pt x="246832" y="56098"/>
                </a:lnTo>
                <a:cubicBezTo>
                  <a:pt x="253377" y="55163"/>
                  <a:pt x="260425" y="55978"/>
                  <a:pt x="266466" y="53293"/>
                </a:cubicBezTo>
                <a:cubicBezTo>
                  <a:pt x="269546" y="51924"/>
                  <a:pt x="269444" y="46985"/>
                  <a:pt x="272076" y="44879"/>
                </a:cubicBezTo>
                <a:cubicBezTo>
                  <a:pt x="274385" y="43032"/>
                  <a:pt x="277686" y="43009"/>
                  <a:pt x="280491" y="42074"/>
                </a:cubicBezTo>
                <a:cubicBezTo>
                  <a:pt x="283296" y="43009"/>
                  <a:pt x="288188" y="42011"/>
                  <a:pt x="288905" y="44879"/>
                </a:cubicBezTo>
                <a:cubicBezTo>
                  <a:pt x="290508" y="51293"/>
                  <a:pt x="287397" y="58030"/>
                  <a:pt x="286101" y="64513"/>
                </a:cubicBezTo>
                <a:cubicBezTo>
                  <a:pt x="285521" y="67412"/>
                  <a:pt x="285143" y="70619"/>
                  <a:pt x="283296" y="72928"/>
                </a:cubicBezTo>
                <a:cubicBezTo>
                  <a:pt x="281190" y="75560"/>
                  <a:pt x="277962" y="77169"/>
                  <a:pt x="274881" y="78538"/>
                </a:cubicBezTo>
                <a:cubicBezTo>
                  <a:pt x="269477" y="80939"/>
                  <a:pt x="258051" y="84147"/>
                  <a:pt x="258051" y="84147"/>
                </a:cubicBezTo>
                <a:cubicBezTo>
                  <a:pt x="251843" y="88286"/>
                  <a:pt x="245541" y="91694"/>
                  <a:pt x="241222" y="98172"/>
                </a:cubicBezTo>
                <a:cubicBezTo>
                  <a:pt x="239582" y="100632"/>
                  <a:pt x="239352" y="103782"/>
                  <a:pt x="238417" y="106587"/>
                </a:cubicBezTo>
                <a:cubicBezTo>
                  <a:pt x="239077" y="109227"/>
                  <a:pt x="242198" y="122930"/>
                  <a:pt x="244027" y="126221"/>
                </a:cubicBezTo>
                <a:cubicBezTo>
                  <a:pt x="247301" y="132115"/>
                  <a:pt x="255247" y="143050"/>
                  <a:pt x="255247" y="143050"/>
                </a:cubicBezTo>
                <a:lnTo>
                  <a:pt x="260856" y="159880"/>
                </a:lnTo>
                <a:cubicBezTo>
                  <a:pt x="261791" y="162685"/>
                  <a:pt x="262021" y="165835"/>
                  <a:pt x="263661" y="168295"/>
                </a:cubicBezTo>
                <a:lnTo>
                  <a:pt x="269271" y="176709"/>
                </a:lnTo>
                <a:cubicBezTo>
                  <a:pt x="275573" y="195614"/>
                  <a:pt x="275186" y="190874"/>
                  <a:pt x="269271" y="224393"/>
                </a:cubicBezTo>
                <a:cubicBezTo>
                  <a:pt x="268685" y="227713"/>
                  <a:pt x="266293" y="230701"/>
                  <a:pt x="263661" y="232807"/>
                </a:cubicBezTo>
                <a:cubicBezTo>
                  <a:pt x="261352" y="234654"/>
                  <a:pt x="258052" y="234677"/>
                  <a:pt x="255247" y="235612"/>
                </a:cubicBezTo>
                <a:cubicBezTo>
                  <a:pt x="252442" y="238417"/>
                  <a:pt x="250133" y="241827"/>
                  <a:pt x="246832" y="244027"/>
                </a:cubicBezTo>
                <a:cubicBezTo>
                  <a:pt x="231710" y="254108"/>
                  <a:pt x="244456" y="236662"/>
                  <a:pt x="230002" y="255247"/>
                </a:cubicBezTo>
                <a:cubicBezTo>
                  <a:pt x="225863" y="260569"/>
                  <a:pt x="222523" y="266466"/>
                  <a:pt x="218783" y="272076"/>
                </a:cubicBezTo>
                <a:lnTo>
                  <a:pt x="213173" y="280491"/>
                </a:lnTo>
                <a:cubicBezTo>
                  <a:pt x="214108" y="287036"/>
                  <a:pt x="214078" y="293793"/>
                  <a:pt x="215978" y="300125"/>
                </a:cubicBezTo>
                <a:cubicBezTo>
                  <a:pt x="216947" y="303354"/>
                  <a:pt x="219051" y="306320"/>
                  <a:pt x="221588" y="308540"/>
                </a:cubicBezTo>
                <a:cubicBezTo>
                  <a:pt x="226352" y="312708"/>
                  <a:pt x="238391" y="321440"/>
                  <a:pt x="246832" y="322565"/>
                </a:cubicBezTo>
                <a:cubicBezTo>
                  <a:pt x="257992" y="324053"/>
                  <a:pt x="269271" y="324434"/>
                  <a:pt x="280491" y="325369"/>
                </a:cubicBezTo>
                <a:cubicBezTo>
                  <a:pt x="281426" y="328174"/>
                  <a:pt x="283296" y="330827"/>
                  <a:pt x="283296" y="333784"/>
                </a:cubicBezTo>
                <a:cubicBezTo>
                  <a:pt x="283296" y="343458"/>
                  <a:pt x="274528" y="342457"/>
                  <a:pt x="283296" y="353418"/>
                </a:cubicBezTo>
                <a:cubicBezTo>
                  <a:pt x="285143" y="355727"/>
                  <a:pt x="289066" y="354901"/>
                  <a:pt x="291710" y="356223"/>
                </a:cubicBezTo>
                <a:cubicBezTo>
                  <a:pt x="294725" y="357731"/>
                  <a:pt x="297320" y="359963"/>
                  <a:pt x="300125" y="361833"/>
                </a:cubicBezTo>
                <a:cubicBezTo>
                  <a:pt x="308260" y="386237"/>
                  <a:pt x="299756" y="358329"/>
                  <a:pt x="305735" y="415126"/>
                </a:cubicBezTo>
                <a:cubicBezTo>
                  <a:pt x="306045" y="418066"/>
                  <a:pt x="307605" y="420736"/>
                  <a:pt x="308540" y="423541"/>
                </a:cubicBezTo>
                <a:cubicBezTo>
                  <a:pt x="299191" y="437565"/>
                  <a:pt x="305734" y="430088"/>
                  <a:pt x="286101" y="443176"/>
                </a:cubicBezTo>
                <a:cubicBezTo>
                  <a:pt x="283296" y="445046"/>
                  <a:pt x="280884" y="447719"/>
                  <a:pt x="277686" y="448785"/>
                </a:cubicBezTo>
                <a:cubicBezTo>
                  <a:pt x="274881" y="449720"/>
                  <a:pt x="271916" y="450268"/>
                  <a:pt x="269271" y="451590"/>
                </a:cubicBezTo>
                <a:cubicBezTo>
                  <a:pt x="247519" y="462466"/>
                  <a:pt x="273593" y="452954"/>
                  <a:pt x="252442" y="460005"/>
                </a:cubicBezTo>
                <a:cubicBezTo>
                  <a:pt x="238359" y="481129"/>
                  <a:pt x="257346" y="456737"/>
                  <a:pt x="235612" y="471225"/>
                </a:cubicBezTo>
                <a:cubicBezTo>
                  <a:pt x="232807" y="473095"/>
                  <a:pt x="232386" y="477255"/>
                  <a:pt x="230002" y="479639"/>
                </a:cubicBezTo>
                <a:cubicBezTo>
                  <a:pt x="227618" y="482023"/>
                  <a:pt x="224393" y="483379"/>
                  <a:pt x="221588" y="485249"/>
                </a:cubicBezTo>
                <a:cubicBezTo>
                  <a:pt x="219718" y="488054"/>
                  <a:pt x="217937" y="490921"/>
                  <a:pt x="215978" y="493664"/>
                </a:cubicBezTo>
                <a:cubicBezTo>
                  <a:pt x="213261" y="497468"/>
                  <a:pt x="209883" y="500825"/>
                  <a:pt x="207563" y="504884"/>
                </a:cubicBezTo>
                <a:cubicBezTo>
                  <a:pt x="206096" y="507451"/>
                  <a:pt x="206080" y="510654"/>
                  <a:pt x="204758" y="513298"/>
                </a:cubicBezTo>
                <a:cubicBezTo>
                  <a:pt x="203250" y="516313"/>
                  <a:pt x="201018" y="518908"/>
                  <a:pt x="199148" y="521713"/>
                </a:cubicBezTo>
                <a:cubicBezTo>
                  <a:pt x="198213" y="541347"/>
                  <a:pt x="201643" y="561687"/>
                  <a:pt x="196343" y="580616"/>
                </a:cubicBezTo>
                <a:cubicBezTo>
                  <a:pt x="193464" y="590900"/>
                  <a:pt x="178714" y="590834"/>
                  <a:pt x="171099" y="594641"/>
                </a:cubicBezTo>
                <a:cubicBezTo>
                  <a:pt x="168084" y="596148"/>
                  <a:pt x="165490" y="598380"/>
                  <a:pt x="162685" y="600250"/>
                </a:cubicBezTo>
                <a:cubicBezTo>
                  <a:pt x="160815" y="603055"/>
                  <a:pt x="158583" y="605650"/>
                  <a:pt x="157075" y="608665"/>
                </a:cubicBezTo>
                <a:cubicBezTo>
                  <a:pt x="155753" y="611310"/>
                  <a:pt x="156361" y="614989"/>
                  <a:pt x="154270" y="617080"/>
                </a:cubicBezTo>
                <a:cubicBezTo>
                  <a:pt x="152179" y="619171"/>
                  <a:pt x="148660" y="618950"/>
                  <a:pt x="145855" y="619885"/>
                </a:cubicBezTo>
                <a:cubicBezTo>
                  <a:pt x="121261" y="595291"/>
                  <a:pt x="151363" y="626494"/>
                  <a:pt x="131831" y="603055"/>
                </a:cubicBezTo>
                <a:cubicBezTo>
                  <a:pt x="129292" y="600008"/>
                  <a:pt x="126221" y="597446"/>
                  <a:pt x="123416" y="594641"/>
                </a:cubicBezTo>
                <a:cubicBezTo>
                  <a:pt x="121546" y="589031"/>
                  <a:pt x="119240" y="583548"/>
                  <a:pt x="117806" y="577811"/>
                </a:cubicBezTo>
                <a:cubicBezTo>
                  <a:pt x="115936" y="570331"/>
                  <a:pt x="114634" y="562686"/>
                  <a:pt x="112196" y="555372"/>
                </a:cubicBezTo>
                <a:cubicBezTo>
                  <a:pt x="102778" y="527119"/>
                  <a:pt x="117140" y="570921"/>
                  <a:pt x="106586" y="535738"/>
                </a:cubicBezTo>
                <a:cubicBezTo>
                  <a:pt x="104887" y="530074"/>
                  <a:pt x="102847" y="524518"/>
                  <a:pt x="100977" y="518908"/>
                </a:cubicBezTo>
                <a:lnTo>
                  <a:pt x="95367" y="502079"/>
                </a:lnTo>
                <a:cubicBezTo>
                  <a:pt x="94432" y="499274"/>
                  <a:pt x="94202" y="496124"/>
                  <a:pt x="92562" y="493664"/>
                </a:cubicBezTo>
                <a:cubicBezTo>
                  <a:pt x="90692" y="490859"/>
                  <a:pt x="88321" y="488330"/>
                  <a:pt x="86952" y="485249"/>
                </a:cubicBezTo>
                <a:cubicBezTo>
                  <a:pt x="73600" y="455208"/>
                  <a:pt x="88428" y="479049"/>
                  <a:pt x="75732" y="460005"/>
                </a:cubicBezTo>
                <a:cubicBezTo>
                  <a:pt x="75071" y="457359"/>
                  <a:pt x="71954" y="443667"/>
                  <a:pt x="70123" y="440371"/>
                </a:cubicBezTo>
                <a:cubicBezTo>
                  <a:pt x="52080" y="407895"/>
                  <a:pt x="66390" y="435572"/>
                  <a:pt x="50488" y="415126"/>
                </a:cubicBezTo>
                <a:cubicBezTo>
                  <a:pt x="46349" y="409804"/>
                  <a:pt x="43009" y="403907"/>
                  <a:pt x="39269" y="398297"/>
                </a:cubicBezTo>
                <a:cubicBezTo>
                  <a:pt x="37399" y="395492"/>
                  <a:pt x="36043" y="392266"/>
                  <a:pt x="33659" y="389882"/>
                </a:cubicBezTo>
                <a:cubicBezTo>
                  <a:pt x="28373" y="384597"/>
                  <a:pt x="22759" y="380083"/>
                  <a:pt x="19634" y="373053"/>
                </a:cubicBezTo>
                <a:cubicBezTo>
                  <a:pt x="17232" y="367649"/>
                  <a:pt x="15894" y="361833"/>
                  <a:pt x="14024" y="356223"/>
                </a:cubicBezTo>
                <a:cubicBezTo>
                  <a:pt x="13089" y="353418"/>
                  <a:pt x="12860" y="350269"/>
                  <a:pt x="11220" y="347809"/>
                </a:cubicBezTo>
                <a:cubicBezTo>
                  <a:pt x="9350" y="345004"/>
                  <a:pt x="6979" y="342475"/>
                  <a:pt x="5610" y="339394"/>
                </a:cubicBezTo>
                <a:cubicBezTo>
                  <a:pt x="3208" y="333991"/>
                  <a:pt x="0" y="322565"/>
                  <a:pt x="0" y="322565"/>
                </a:cubicBezTo>
                <a:cubicBezTo>
                  <a:pt x="935" y="314150"/>
                  <a:pt x="128" y="305352"/>
                  <a:pt x="2805" y="297320"/>
                </a:cubicBezTo>
                <a:cubicBezTo>
                  <a:pt x="4937" y="290924"/>
                  <a:pt x="10284" y="286101"/>
                  <a:pt x="14024" y="280491"/>
                </a:cubicBezTo>
                <a:lnTo>
                  <a:pt x="25244" y="263661"/>
                </a:lnTo>
                <a:cubicBezTo>
                  <a:pt x="27114" y="260856"/>
                  <a:pt x="28049" y="257117"/>
                  <a:pt x="30854" y="255247"/>
                </a:cubicBezTo>
                <a:lnTo>
                  <a:pt x="39269" y="249637"/>
                </a:lnTo>
                <a:lnTo>
                  <a:pt x="50488" y="232807"/>
                </a:lnTo>
                <a:lnTo>
                  <a:pt x="56098" y="224393"/>
                </a:lnTo>
                <a:cubicBezTo>
                  <a:pt x="57968" y="218783"/>
                  <a:pt x="61511" y="213473"/>
                  <a:pt x="61708" y="207563"/>
                </a:cubicBezTo>
                <a:cubicBezTo>
                  <a:pt x="62643" y="179514"/>
                  <a:pt x="58854" y="150904"/>
                  <a:pt x="64513" y="123416"/>
                </a:cubicBezTo>
                <a:cubicBezTo>
                  <a:pt x="65873" y="116812"/>
                  <a:pt x="81342" y="112196"/>
                  <a:pt x="81342" y="112196"/>
                </a:cubicBezTo>
                <a:cubicBezTo>
                  <a:pt x="83212" y="109391"/>
                  <a:pt x="85444" y="106797"/>
                  <a:pt x="86952" y="103782"/>
                </a:cubicBezTo>
                <a:cubicBezTo>
                  <a:pt x="92479" y="92729"/>
                  <a:pt x="91390" y="73305"/>
                  <a:pt x="92562" y="64513"/>
                </a:cubicBezTo>
                <a:cubicBezTo>
                  <a:pt x="93072" y="60692"/>
                  <a:pt x="94259" y="56986"/>
                  <a:pt x="95367" y="53293"/>
                </a:cubicBezTo>
                <a:cubicBezTo>
                  <a:pt x="97066" y="47629"/>
                  <a:pt x="94900" y="42541"/>
                  <a:pt x="100977" y="39269"/>
                </a:cubicBezTo>
                <a:close/>
              </a:path>
            </a:pathLst>
          </a:custGeom>
          <a:solidFill>
            <a:srgbClr val="CC33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4" name="Freeform 113"/>
          <p:cNvSpPr/>
          <p:nvPr/>
        </p:nvSpPr>
        <p:spPr>
          <a:xfrm>
            <a:off x="3775075" y="821267"/>
            <a:ext cx="1276350" cy="1155700"/>
          </a:xfrm>
          <a:custGeom>
            <a:avLst/>
            <a:gdLst>
              <a:gd name="connsiteX0" fmla="*/ 187481 w 1275873"/>
              <a:gd name="connsiteY0" fmla="*/ 3272 h 1156089"/>
              <a:gd name="connsiteX1" fmla="*/ 201506 w 1275873"/>
              <a:gd name="connsiteY1" fmla="*/ 6077 h 1156089"/>
              <a:gd name="connsiteX2" fmla="*/ 209920 w 1275873"/>
              <a:gd name="connsiteY2" fmla="*/ 11687 h 1156089"/>
              <a:gd name="connsiteX3" fmla="*/ 218335 w 1275873"/>
              <a:gd name="connsiteY3" fmla="*/ 14492 h 1156089"/>
              <a:gd name="connsiteX4" fmla="*/ 226750 w 1275873"/>
              <a:gd name="connsiteY4" fmla="*/ 22906 h 1156089"/>
              <a:gd name="connsiteX5" fmla="*/ 251994 w 1275873"/>
              <a:gd name="connsiteY5" fmla="*/ 31321 h 1156089"/>
              <a:gd name="connsiteX6" fmla="*/ 260409 w 1275873"/>
              <a:gd name="connsiteY6" fmla="*/ 34126 h 1156089"/>
              <a:gd name="connsiteX7" fmla="*/ 268823 w 1275873"/>
              <a:gd name="connsiteY7" fmla="*/ 36931 h 1156089"/>
              <a:gd name="connsiteX8" fmla="*/ 330531 w 1275873"/>
              <a:gd name="connsiteY8" fmla="*/ 28516 h 1156089"/>
              <a:gd name="connsiteX9" fmla="*/ 355775 w 1275873"/>
              <a:gd name="connsiteY9" fmla="*/ 20101 h 1156089"/>
              <a:gd name="connsiteX10" fmla="*/ 364190 w 1275873"/>
              <a:gd name="connsiteY10" fmla="*/ 17296 h 1156089"/>
              <a:gd name="connsiteX11" fmla="*/ 386629 w 1275873"/>
              <a:gd name="connsiteY11" fmla="*/ 20101 h 1156089"/>
              <a:gd name="connsiteX12" fmla="*/ 403459 w 1275873"/>
              <a:gd name="connsiteY12" fmla="*/ 25711 h 1156089"/>
              <a:gd name="connsiteX13" fmla="*/ 420288 w 1275873"/>
              <a:gd name="connsiteY13" fmla="*/ 31321 h 1156089"/>
              <a:gd name="connsiteX14" fmla="*/ 428703 w 1275873"/>
              <a:gd name="connsiteY14" fmla="*/ 34126 h 1156089"/>
              <a:gd name="connsiteX15" fmla="*/ 445533 w 1275873"/>
              <a:gd name="connsiteY15" fmla="*/ 36931 h 1156089"/>
              <a:gd name="connsiteX16" fmla="*/ 459557 w 1275873"/>
              <a:gd name="connsiteY16" fmla="*/ 48150 h 1156089"/>
              <a:gd name="connsiteX17" fmla="*/ 467972 w 1275873"/>
              <a:gd name="connsiteY17" fmla="*/ 50955 h 1156089"/>
              <a:gd name="connsiteX18" fmla="*/ 481996 w 1275873"/>
              <a:gd name="connsiteY18" fmla="*/ 79004 h 1156089"/>
              <a:gd name="connsiteX19" fmla="*/ 484801 w 1275873"/>
              <a:gd name="connsiteY19" fmla="*/ 87419 h 1156089"/>
              <a:gd name="connsiteX20" fmla="*/ 487606 w 1275873"/>
              <a:gd name="connsiteY20" fmla="*/ 104249 h 1156089"/>
              <a:gd name="connsiteX21" fmla="*/ 504436 w 1275873"/>
              <a:gd name="connsiteY21" fmla="*/ 115468 h 1156089"/>
              <a:gd name="connsiteX22" fmla="*/ 510045 w 1275873"/>
              <a:gd name="connsiteY22" fmla="*/ 123883 h 1156089"/>
              <a:gd name="connsiteX23" fmla="*/ 521265 w 1275873"/>
              <a:gd name="connsiteY23" fmla="*/ 149127 h 1156089"/>
              <a:gd name="connsiteX24" fmla="*/ 532485 w 1275873"/>
              <a:gd name="connsiteY24" fmla="*/ 154737 h 1156089"/>
              <a:gd name="connsiteX25" fmla="*/ 552119 w 1275873"/>
              <a:gd name="connsiteY25" fmla="*/ 160347 h 1156089"/>
              <a:gd name="connsiteX26" fmla="*/ 560534 w 1275873"/>
              <a:gd name="connsiteY26" fmla="*/ 165957 h 1156089"/>
              <a:gd name="connsiteX27" fmla="*/ 613827 w 1275873"/>
              <a:gd name="connsiteY27" fmla="*/ 165957 h 1156089"/>
              <a:gd name="connsiteX28" fmla="*/ 622242 w 1275873"/>
              <a:gd name="connsiteY28" fmla="*/ 168762 h 1156089"/>
              <a:gd name="connsiteX29" fmla="*/ 639071 w 1275873"/>
              <a:gd name="connsiteY29" fmla="*/ 179981 h 1156089"/>
              <a:gd name="connsiteX30" fmla="*/ 681145 w 1275873"/>
              <a:gd name="connsiteY30" fmla="*/ 194006 h 1156089"/>
              <a:gd name="connsiteX31" fmla="*/ 706389 w 1275873"/>
              <a:gd name="connsiteY31" fmla="*/ 202420 h 1156089"/>
              <a:gd name="connsiteX32" fmla="*/ 714804 w 1275873"/>
              <a:gd name="connsiteY32" fmla="*/ 205225 h 1156089"/>
              <a:gd name="connsiteX33" fmla="*/ 723218 w 1275873"/>
              <a:gd name="connsiteY33" fmla="*/ 210835 h 1156089"/>
              <a:gd name="connsiteX34" fmla="*/ 740048 w 1275873"/>
              <a:gd name="connsiteY34" fmla="*/ 216445 h 1156089"/>
              <a:gd name="connsiteX35" fmla="*/ 748463 w 1275873"/>
              <a:gd name="connsiteY35" fmla="*/ 219250 h 1156089"/>
              <a:gd name="connsiteX36" fmla="*/ 759682 w 1275873"/>
              <a:gd name="connsiteY36" fmla="*/ 222055 h 1156089"/>
              <a:gd name="connsiteX37" fmla="*/ 776512 w 1275873"/>
              <a:gd name="connsiteY37" fmla="*/ 227665 h 1156089"/>
              <a:gd name="connsiteX38" fmla="*/ 784926 w 1275873"/>
              <a:gd name="connsiteY38" fmla="*/ 230469 h 1156089"/>
              <a:gd name="connsiteX39" fmla="*/ 824195 w 1275873"/>
              <a:gd name="connsiteY39" fmla="*/ 227665 h 1156089"/>
              <a:gd name="connsiteX40" fmla="*/ 838220 w 1275873"/>
              <a:gd name="connsiteY40" fmla="*/ 213640 h 1156089"/>
              <a:gd name="connsiteX41" fmla="*/ 846634 w 1275873"/>
              <a:gd name="connsiteY41" fmla="*/ 205225 h 1156089"/>
              <a:gd name="connsiteX42" fmla="*/ 866269 w 1275873"/>
              <a:gd name="connsiteY42" fmla="*/ 182786 h 1156089"/>
              <a:gd name="connsiteX43" fmla="*/ 863464 w 1275873"/>
              <a:gd name="connsiteY43" fmla="*/ 163152 h 1156089"/>
              <a:gd name="connsiteX44" fmla="*/ 846634 w 1275873"/>
              <a:gd name="connsiteY44" fmla="*/ 137908 h 1156089"/>
              <a:gd name="connsiteX45" fmla="*/ 841025 w 1275873"/>
              <a:gd name="connsiteY45" fmla="*/ 129493 h 1156089"/>
              <a:gd name="connsiteX46" fmla="*/ 835415 w 1275873"/>
              <a:gd name="connsiteY46" fmla="*/ 112663 h 1156089"/>
              <a:gd name="connsiteX47" fmla="*/ 838220 w 1275873"/>
              <a:gd name="connsiteY47" fmla="*/ 98639 h 1156089"/>
              <a:gd name="connsiteX48" fmla="*/ 852244 w 1275873"/>
              <a:gd name="connsiteY48" fmla="*/ 79004 h 1156089"/>
              <a:gd name="connsiteX49" fmla="*/ 860659 w 1275873"/>
              <a:gd name="connsiteY49" fmla="*/ 73395 h 1156089"/>
              <a:gd name="connsiteX50" fmla="*/ 866269 w 1275873"/>
              <a:gd name="connsiteY50" fmla="*/ 64980 h 1156089"/>
              <a:gd name="connsiteX51" fmla="*/ 877488 w 1275873"/>
              <a:gd name="connsiteY51" fmla="*/ 62175 h 1156089"/>
              <a:gd name="connsiteX52" fmla="*/ 894318 w 1275873"/>
              <a:gd name="connsiteY52" fmla="*/ 56565 h 1156089"/>
              <a:gd name="connsiteX53" fmla="*/ 902733 w 1275873"/>
              <a:gd name="connsiteY53" fmla="*/ 53760 h 1156089"/>
              <a:gd name="connsiteX54" fmla="*/ 911147 w 1275873"/>
              <a:gd name="connsiteY54" fmla="*/ 48150 h 1156089"/>
              <a:gd name="connsiteX55" fmla="*/ 919562 w 1275873"/>
              <a:gd name="connsiteY55" fmla="*/ 45346 h 1156089"/>
              <a:gd name="connsiteX56" fmla="*/ 1014929 w 1275873"/>
              <a:gd name="connsiteY56" fmla="*/ 48150 h 1156089"/>
              <a:gd name="connsiteX57" fmla="*/ 1031758 w 1275873"/>
              <a:gd name="connsiteY57" fmla="*/ 59370 h 1156089"/>
              <a:gd name="connsiteX58" fmla="*/ 1048588 w 1275873"/>
              <a:gd name="connsiteY58" fmla="*/ 64980 h 1156089"/>
              <a:gd name="connsiteX59" fmla="*/ 1057002 w 1275873"/>
              <a:gd name="connsiteY59" fmla="*/ 73395 h 1156089"/>
              <a:gd name="connsiteX60" fmla="*/ 1071027 w 1275873"/>
              <a:gd name="connsiteY60" fmla="*/ 98639 h 1156089"/>
              <a:gd name="connsiteX61" fmla="*/ 1087856 w 1275873"/>
              <a:gd name="connsiteY61" fmla="*/ 107054 h 1156089"/>
              <a:gd name="connsiteX62" fmla="*/ 1096271 w 1275873"/>
              <a:gd name="connsiteY62" fmla="*/ 112663 h 1156089"/>
              <a:gd name="connsiteX63" fmla="*/ 1113101 w 1275873"/>
              <a:gd name="connsiteY63" fmla="*/ 121078 h 1156089"/>
              <a:gd name="connsiteX64" fmla="*/ 1157979 w 1275873"/>
              <a:gd name="connsiteY64" fmla="*/ 115468 h 1156089"/>
              <a:gd name="connsiteX65" fmla="*/ 1174809 w 1275873"/>
              <a:gd name="connsiteY65" fmla="*/ 109858 h 1156089"/>
              <a:gd name="connsiteX66" fmla="*/ 1180418 w 1275873"/>
              <a:gd name="connsiteY66" fmla="*/ 101444 h 1156089"/>
              <a:gd name="connsiteX67" fmla="*/ 1219687 w 1275873"/>
              <a:gd name="connsiteY67" fmla="*/ 107054 h 1156089"/>
              <a:gd name="connsiteX68" fmla="*/ 1228102 w 1275873"/>
              <a:gd name="connsiteY68" fmla="*/ 115468 h 1156089"/>
              <a:gd name="connsiteX69" fmla="*/ 1233712 w 1275873"/>
              <a:gd name="connsiteY69" fmla="*/ 132298 h 1156089"/>
              <a:gd name="connsiteX70" fmla="*/ 1230907 w 1275873"/>
              <a:gd name="connsiteY70" fmla="*/ 149127 h 1156089"/>
              <a:gd name="connsiteX71" fmla="*/ 1225297 w 1275873"/>
              <a:gd name="connsiteY71" fmla="*/ 165957 h 1156089"/>
              <a:gd name="connsiteX72" fmla="*/ 1228102 w 1275873"/>
              <a:gd name="connsiteY72" fmla="*/ 191201 h 1156089"/>
              <a:gd name="connsiteX73" fmla="*/ 1233712 w 1275873"/>
              <a:gd name="connsiteY73" fmla="*/ 323031 h 1156089"/>
              <a:gd name="connsiteX74" fmla="*/ 1236517 w 1275873"/>
              <a:gd name="connsiteY74" fmla="*/ 331446 h 1156089"/>
              <a:gd name="connsiteX75" fmla="*/ 1239321 w 1275873"/>
              <a:gd name="connsiteY75" fmla="*/ 381935 h 1156089"/>
              <a:gd name="connsiteX76" fmla="*/ 1242126 w 1275873"/>
              <a:gd name="connsiteY76" fmla="*/ 398764 h 1156089"/>
              <a:gd name="connsiteX77" fmla="*/ 1244931 w 1275873"/>
              <a:gd name="connsiteY77" fmla="*/ 516570 h 1156089"/>
              <a:gd name="connsiteX78" fmla="*/ 1247736 w 1275873"/>
              <a:gd name="connsiteY78" fmla="*/ 524985 h 1156089"/>
              <a:gd name="connsiteX79" fmla="*/ 1250541 w 1275873"/>
              <a:gd name="connsiteY79" fmla="*/ 536204 h 1156089"/>
              <a:gd name="connsiteX80" fmla="*/ 1256151 w 1275873"/>
              <a:gd name="connsiteY80" fmla="*/ 553034 h 1156089"/>
              <a:gd name="connsiteX81" fmla="*/ 1261761 w 1275873"/>
              <a:gd name="connsiteY81" fmla="*/ 746573 h 1156089"/>
              <a:gd name="connsiteX82" fmla="*/ 1267371 w 1275873"/>
              <a:gd name="connsiteY82" fmla="*/ 783036 h 1156089"/>
              <a:gd name="connsiteX83" fmla="*/ 1270175 w 1275873"/>
              <a:gd name="connsiteY83" fmla="*/ 805476 h 1156089"/>
              <a:gd name="connsiteX84" fmla="*/ 1272980 w 1275873"/>
              <a:gd name="connsiteY84" fmla="*/ 1083162 h 1156089"/>
              <a:gd name="connsiteX85" fmla="*/ 1275785 w 1275873"/>
              <a:gd name="connsiteY85" fmla="*/ 1105601 h 1156089"/>
              <a:gd name="connsiteX86" fmla="*/ 1272980 w 1275873"/>
              <a:gd name="connsiteY86" fmla="*/ 1130845 h 1156089"/>
              <a:gd name="connsiteX87" fmla="*/ 1264566 w 1275873"/>
              <a:gd name="connsiteY87" fmla="*/ 1136455 h 1156089"/>
              <a:gd name="connsiteX88" fmla="*/ 1225297 w 1275873"/>
              <a:gd name="connsiteY88" fmla="*/ 1142065 h 1156089"/>
              <a:gd name="connsiteX89" fmla="*/ 1200053 w 1275873"/>
              <a:gd name="connsiteY89" fmla="*/ 1150479 h 1156089"/>
              <a:gd name="connsiteX90" fmla="*/ 1191638 w 1275873"/>
              <a:gd name="connsiteY90" fmla="*/ 1153284 h 1156089"/>
              <a:gd name="connsiteX91" fmla="*/ 1183223 w 1275873"/>
              <a:gd name="connsiteY91" fmla="*/ 1156089 h 1156089"/>
              <a:gd name="connsiteX92" fmla="*/ 1172004 w 1275873"/>
              <a:gd name="connsiteY92" fmla="*/ 1153284 h 1156089"/>
              <a:gd name="connsiteX93" fmla="*/ 1160784 w 1275873"/>
              <a:gd name="connsiteY93" fmla="*/ 1133650 h 1156089"/>
              <a:gd name="connsiteX94" fmla="*/ 1143955 w 1275873"/>
              <a:gd name="connsiteY94" fmla="*/ 1122430 h 1156089"/>
              <a:gd name="connsiteX95" fmla="*/ 1135540 w 1275873"/>
              <a:gd name="connsiteY95" fmla="*/ 1119625 h 1156089"/>
              <a:gd name="connsiteX96" fmla="*/ 1124320 w 1275873"/>
              <a:gd name="connsiteY96" fmla="*/ 1114016 h 1156089"/>
              <a:gd name="connsiteX97" fmla="*/ 1110296 w 1275873"/>
              <a:gd name="connsiteY97" fmla="*/ 1111211 h 1156089"/>
              <a:gd name="connsiteX98" fmla="*/ 1093466 w 1275873"/>
              <a:gd name="connsiteY98" fmla="*/ 1105601 h 1156089"/>
              <a:gd name="connsiteX99" fmla="*/ 1076637 w 1275873"/>
              <a:gd name="connsiteY99" fmla="*/ 1099991 h 1156089"/>
              <a:gd name="connsiteX100" fmla="*/ 1068222 w 1275873"/>
              <a:gd name="connsiteY100" fmla="*/ 1097186 h 1156089"/>
              <a:gd name="connsiteX101" fmla="*/ 1051393 w 1275873"/>
              <a:gd name="connsiteY101" fmla="*/ 1088771 h 1156089"/>
              <a:gd name="connsiteX102" fmla="*/ 1037368 w 1275873"/>
              <a:gd name="connsiteY102" fmla="*/ 1074747 h 1156089"/>
              <a:gd name="connsiteX103" fmla="*/ 1020539 w 1275873"/>
              <a:gd name="connsiteY103" fmla="*/ 1069137 h 1156089"/>
              <a:gd name="connsiteX104" fmla="*/ 1003709 w 1275873"/>
              <a:gd name="connsiteY104" fmla="*/ 1060722 h 1156089"/>
              <a:gd name="connsiteX105" fmla="*/ 992490 w 1275873"/>
              <a:gd name="connsiteY105" fmla="*/ 1057917 h 1156089"/>
              <a:gd name="connsiteX106" fmla="*/ 975660 w 1275873"/>
              <a:gd name="connsiteY106" fmla="*/ 1052308 h 1156089"/>
              <a:gd name="connsiteX107" fmla="*/ 908342 w 1275873"/>
              <a:gd name="connsiteY107" fmla="*/ 1007429 h 1156089"/>
              <a:gd name="connsiteX108" fmla="*/ 899928 w 1275873"/>
              <a:gd name="connsiteY108" fmla="*/ 1001819 h 1156089"/>
              <a:gd name="connsiteX109" fmla="*/ 891513 w 1275873"/>
              <a:gd name="connsiteY109" fmla="*/ 993404 h 1156089"/>
              <a:gd name="connsiteX110" fmla="*/ 883098 w 1275873"/>
              <a:gd name="connsiteY110" fmla="*/ 990600 h 1156089"/>
              <a:gd name="connsiteX111" fmla="*/ 866269 w 1275873"/>
              <a:gd name="connsiteY111" fmla="*/ 979380 h 1156089"/>
              <a:gd name="connsiteX112" fmla="*/ 857854 w 1275873"/>
              <a:gd name="connsiteY112" fmla="*/ 976575 h 1156089"/>
              <a:gd name="connsiteX113" fmla="*/ 838220 w 1275873"/>
              <a:gd name="connsiteY113" fmla="*/ 970965 h 1156089"/>
              <a:gd name="connsiteX114" fmla="*/ 829805 w 1275873"/>
              <a:gd name="connsiteY114" fmla="*/ 965355 h 1156089"/>
              <a:gd name="connsiteX115" fmla="*/ 812975 w 1275873"/>
              <a:gd name="connsiteY115" fmla="*/ 959746 h 1156089"/>
              <a:gd name="connsiteX116" fmla="*/ 787731 w 1275873"/>
              <a:gd name="connsiteY116" fmla="*/ 948526 h 1156089"/>
              <a:gd name="connsiteX117" fmla="*/ 754072 w 1275873"/>
              <a:gd name="connsiteY117" fmla="*/ 937306 h 1156089"/>
              <a:gd name="connsiteX118" fmla="*/ 745658 w 1275873"/>
              <a:gd name="connsiteY118" fmla="*/ 934501 h 1156089"/>
              <a:gd name="connsiteX119" fmla="*/ 737243 w 1275873"/>
              <a:gd name="connsiteY119" fmla="*/ 931696 h 1156089"/>
              <a:gd name="connsiteX120" fmla="*/ 709194 w 1275873"/>
              <a:gd name="connsiteY120" fmla="*/ 914867 h 1156089"/>
              <a:gd name="connsiteX121" fmla="*/ 692364 w 1275873"/>
              <a:gd name="connsiteY121" fmla="*/ 906452 h 1156089"/>
              <a:gd name="connsiteX122" fmla="*/ 683950 w 1275873"/>
              <a:gd name="connsiteY122" fmla="*/ 900842 h 1156089"/>
              <a:gd name="connsiteX123" fmla="*/ 678340 w 1275873"/>
              <a:gd name="connsiteY123" fmla="*/ 892428 h 1156089"/>
              <a:gd name="connsiteX124" fmla="*/ 661510 w 1275873"/>
              <a:gd name="connsiteY124" fmla="*/ 886818 h 1156089"/>
              <a:gd name="connsiteX125" fmla="*/ 636266 w 1275873"/>
              <a:gd name="connsiteY125" fmla="*/ 869989 h 1156089"/>
              <a:gd name="connsiteX126" fmla="*/ 627852 w 1275873"/>
              <a:gd name="connsiteY126" fmla="*/ 864379 h 1156089"/>
              <a:gd name="connsiteX127" fmla="*/ 611022 w 1275873"/>
              <a:gd name="connsiteY127" fmla="*/ 853159 h 1156089"/>
              <a:gd name="connsiteX128" fmla="*/ 594193 w 1275873"/>
              <a:gd name="connsiteY128" fmla="*/ 844744 h 1156089"/>
              <a:gd name="connsiteX129" fmla="*/ 571753 w 1275873"/>
              <a:gd name="connsiteY129" fmla="*/ 830720 h 1156089"/>
              <a:gd name="connsiteX130" fmla="*/ 563339 w 1275873"/>
              <a:gd name="connsiteY130" fmla="*/ 827915 h 1156089"/>
              <a:gd name="connsiteX131" fmla="*/ 554924 w 1275873"/>
              <a:gd name="connsiteY131" fmla="*/ 825110 h 1156089"/>
              <a:gd name="connsiteX132" fmla="*/ 535290 w 1275873"/>
              <a:gd name="connsiteY132" fmla="*/ 827915 h 1156089"/>
              <a:gd name="connsiteX133" fmla="*/ 518460 w 1275873"/>
              <a:gd name="connsiteY133" fmla="*/ 839135 h 1156089"/>
              <a:gd name="connsiteX134" fmla="*/ 510045 w 1275873"/>
              <a:gd name="connsiteY134" fmla="*/ 844744 h 1156089"/>
              <a:gd name="connsiteX135" fmla="*/ 501631 w 1275873"/>
              <a:gd name="connsiteY135" fmla="*/ 850354 h 1156089"/>
              <a:gd name="connsiteX136" fmla="*/ 493216 w 1275873"/>
              <a:gd name="connsiteY136" fmla="*/ 858769 h 1156089"/>
              <a:gd name="connsiteX137" fmla="*/ 484801 w 1275873"/>
              <a:gd name="connsiteY137" fmla="*/ 861574 h 1156089"/>
              <a:gd name="connsiteX138" fmla="*/ 476386 w 1275873"/>
              <a:gd name="connsiteY138" fmla="*/ 867184 h 1156089"/>
              <a:gd name="connsiteX139" fmla="*/ 456752 w 1275873"/>
              <a:gd name="connsiteY139" fmla="*/ 872793 h 1156089"/>
              <a:gd name="connsiteX140" fmla="*/ 448337 w 1275873"/>
              <a:gd name="connsiteY140" fmla="*/ 875598 h 1156089"/>
              <a:gd name="connsiteX141" fmla="*/ 431508 w 1275873"/>
              <a:gd name="connsiteY141" fmla="*/ 886818 h 1156089"/>
              <a:gd name="connsiteX142" fmla="*/ 386629 w 1275873"/>
              <a:gd name="connsiteY142" fmla="*/ 895233 h 1156089"/>
              <a:gd name="connsiteX143" fmla="*/ 378215 w 1275873"/>
              <a:gd name="connsiteY143" fmla="*/ 898038 h 1156089"/>
              <a:gd name="connsiteX144" fmla="*/ 347361 w 1275873"/>
              <a:gd name="connsiteY144" fmla="*/ 892428 h 1156089"/>
              <a:gd name="connsiteX145" fmla="*/ 338946 w 1275873"/>
              <a:gd name="connsiteY145" fmla="*/ 875598 h 1156089"/>
              <a:gd name="connsiteX146" fmla="*/ 330531 w 1275873"/>
              <a:gd name="connsiteY146" fmla="*/ 872793 h 1156089"/>
              <a:gd name="connsiteX147" fmla="*/ 313702 w 1275873"/>
              <a:gd name="connsiteY147" fmla="*/ 861574 h 1156089"/>
              <a:gd name="connsiteX148" fmla="*/ 302482 w 1275873"/>
              <a:gd name="connsiteY148" fmla="*/ 855964 h 1156089"/>
              <a:gd name="connsiteX149" fmla="*/ 285653 w 1275873"/>
              <a:gd name="connsiteY149" fmla="*/ 844744 h 1156089"/>
              <a:gd name="connsiteX150" fmla="*/ 268823 w 1275873"/>
              <a:gd name="connsiteY150" fmla="*/ 839135 h 1156089"/>
              <a:gd name="connsiteX151" fmla="*/ 260409 w 1275873"/>
              <a:gd name="connsiteY151" fmla="*/ 836330 h 1156089"/>
              <a:gd name="connsiteX152" fmla="*/ 237969 w 1275873"/>
              <a:gd name="connsiteY152" fmla="*/ 833525 h 1156089"/>
              <a:gd name="connsiteX153" fmla="*/ 221140 w 1275873"/>
              <a:gd name="connsiteY153" fmla="*/ 827915 h 1156089"/>
              <a:gd name="connsiteX154" fmla="*/ 212725 w 1275873"/>
              <a:gd name="connsiteY154" fmla="*/ 825110 h 1156089"/>
              <a:gd name="connsiteX155" fmla="*/ 209920 w 1275873"/>
              <a:gd name="connsiteY155" fmla="*/ 816695 h 1156089"/>
              <a:gd name="connsiteX156" fmla="*/ 201506 w 1275873"/>
              <a:gd name="connsiteY156" fmla="*/ 811085 h 1156089"/>
              <a:gd name="connsiteX157" fmla="*/ 195896 w 1275873"/>
              <a:gd name="connsiteY157" fmla="*/ 802671 h 1156089"/>
              <a:gd name="connsiteX158" fmla="*/ 190286 w 1275873"/>
              <a:gd name="connsiteY158" fmla="*/ 785841 h 1156089"/>
              <a:gd name="connsiteX159" fmla="*/ 187481 w 1275873"/>
              <a:gd name="connsiteY159" fmla="*/ 777427 h 1156089"/>
              <a:gd name="connsiteX160" fmla="*/ 179066 w 1275873"/>
              <a:gd name="connsiteY160" fmla="*/ 769012 h 1156089"/>
              <a:gd name="connsiteX161" fmla="*/ 176261 w 1275873"/>
              <a:gd name="connsiteY161" fmla="*/ 760597 h 1156089"/>
              <a:gd name="connsiteX162" fmla="*/ 142602 w 1275873"/>
              <a:gd name="connsiteY162" fmla="*/ 738158 h 1156089"/>
              <a:gd name="connsiteX163" fmla="*/ 134188 w 1275873"/>
              <a:gd name="connsiteY163" fmla="*/ 735353 h 1156089"/>
              <a:gd name="connsiteX164" fmla="*/ 78090 w 1275873"/>
              <a:gd name="connsiteY164" fmla="*/ 729743 h 1156089"/>
              <a:gd name="connsiteX165" fmla="*/ 61260 w 1275873"/>
              <a:gd name="connsiteY165" fmla="*/ 721328 h 1156089"/>
              <a:gd name="connsiteX166" fmla="*/ 55650 w 1275873"/>
              <a:gd name="connsiteY166" fmla="*/ 712914 h 1156089"/>
              <a:gd name="connsiteX167" fmla="*/ 41626 w 1275873"/>
              <a:gd name="connsiteY167" fmla="*/ 696084 h 1156089"/>
              <a:gd name="connsiteX168" fmla="*/ 33211 w 1275873"/>
              <a:gd name="connsiteY168" fmla="*/ 679255 h 1156089"/>
              <a:gd name="connsiteX169" fmla="*/ 24796 w 1275873"/>
              <a:gd name="connsiteY169" fmla="*/ 673645 h 1156089"/>
              <a:gd name="connsiteX170" fmla="*/ 19186 w 1275873"/>
              <a:gd name="connsiteY170" fmla="*/ 654011 h 1156089"/>
              <a:gd name="connsiteX171" fmla="*/ 7967 w 1275873"/>
              <a:gd name="connsiteY171" fmla="*/ 637181 h 1156089"/>
              <a:gd name="connsiteX172" fmla="*/ 2357 w 1275873"/>
              <a:gd name="connsiteY172" fmla="*/ 617547 h 1156089"/>
              <a:gd name="connsiteX173" fmla="*/ 10772 w 1275873"/>
              <a:gd name="connsiteY173" fmla="*/ 578278 h 1156089"/>
              <a:gd name="connsiteX174" fmla="*/ 19186 w 1275873"/>
              <a:gd name="connsiteY174" fmla="*/ 572668 h 1156089"/>
              <a:gd name="connsiteX175" fmla="*/ 27601 w 1275873"/>
              <a:gd name="connsiteY175" fmla="*/ 555839 h 1156089"/>
              <a:gd name="connsiteX176" fmla="*/ 30406 w 1275873"/>
              <a:gd name="connsiteY176" fmla="*/ 547424 h 1156089"/>
              <a:gd name="connsiteX177" fmla="*/ 41626 w 1275873"/>
              <a:gd name="connsiteY177" fmla="*/ 530595 h 1156089"/>
              <a:gd name="connsiteX178" fmla="*/ 44431 w 1275873"/>
              <a:gd name="connsiteY178" fmla="*/ 522180 h 1156089"/>
              <a:gd name="connsiteX179" fmla="*/ 47236 w 1275873"/>
              <a:gd name="connsiteY179" fmla="*/ 510960 h 1156089"/>
              <a:gd name="connsiteX180" fmla="*/ 52845 w 1275873"/>
              <a:gd name="connsiteY180" fmla="*/ 502546 h 1156089"/>
              <a:gd name="connsiteX181" fmla="*/ 55650 w 1275873"/>
              <a:gd name="connsiteY181" fmla="*/ 337056 h 1156089"/>
              <a:gd name="connsiteX182" fmla="*/ 52845 w 1275873"/>
              <a:gd name="connsiteY182" fmla="*/ 325836 h 1156089"/>
              <a:gd name="connsiteX183" fmla="*/ 47236 w 1275873"/>
              <a:gd name="connsiteY183" fmla="*/ 317422 h 1156089"/>
              <a:gd name="connsiteX184" fmla="*/ 44431 w 1275873"/>
              <a:gd name="connsiteY184" fmla="*/ 309007 h 1156089"/>
              <a:gd name="connsiteX185" fmla="*/ 33211 w 1275873"/>
              <a:gd name="connsiteY185" fmla="*/ 292177 h 1156089"/>
              <a:gd name="connsiteX186" fmla="*/ 27601 w 1275873"/>
              <a:gd name="connsiteY186" fmla="*/ 272543 h 1156089"/>
              <a:gd name="connsiteX187" fmla="*/ 21991 w 1275873"/>
              <a:gd name="connsiteY187" fmla="*/ 250104 h 1156089"/>
              <a:gd name="connsiteX188" fmla="*/ 24796 w 1275873"/>
              <a:gd name="connsiteY188" fmla="*/ 241689 h 1156089"/>
              <a:gd name="connsiteX189" fmla="*/ 38821 w 1275873"/>
              <a:gd name="connsiteY189" fmla="*/ 238884 h 1156089"/>
              <a:gd name="connsiteX190" fmla="*/ 47236 w 1275873"/>
              <a:gd name="connsiteY190" fmla="*/ 236079 h 1156089"/>
              <a:gd name="connsiteX191" fmla="*/ 64065 w 1275873"/>
              <a:gd name="connsiteY191" fmla="*/ 224860 h 1156089"/>
              <a:gd name="connsiteX192" fmla="*/ 75285 w 1275873"/>
              <a:gd name="connsiteY192" fmla="*/ 191201 h 1156089"/>
              <a:gd name="connsiteX193" fmla="*/ 78090 w 1275873"/>
              <a:gd name="connsiteY193" fmla="*/ 182786 h 1156089"/>
              <a:gd name="connsiteX194" fmla="*/ 86504 w 1275873"/>
              <a:gd name="connsiteY194" fmla="*/ 179981 h 1156089"/>
              <a:gd name="connsiteX195" fmla="*/ 89309 w 1275873"/>
              <a:gd name="connsiteY195" fmla="*/ 171566 h 1156089"/>
              <a:gd name="connsiteX196" fmla="*/ 92114 w 1275873"/>
              <a:gd name="connsiteY196" fmla="*/ 129493 h 1156089"/>
              <a:gd name="connsiteX197" fmla="*/ 103334 w 1275873"/>
              <a:gd name="connsiteY197" fmla="*/ 126688 h 1156089"/>
              <a:gd name="connsiteX198" fmla="*/ 120163 w 1275873"/>
              <a:gd name="connsiteY198" fmla="*/ 118273 h 1156089"/>
              <a:gd name="connsiteX199" fmla="*/ 122968 w 1275873"/>
              <a:gd name="connsiteY199" fmla="*/ 109858 h 1156089"/>
              <a:gd name="connsiteX200" fmla="*/ 131383 w 1275873"/>
              <a:gd name="connsiteY200" fmla="*/ 90224 h 1156089"/>
              <a:gd name="connsiteX201" fmla="*/ 142602 w 1275873"/>
              <a:gd name="connsiteY201" fmla="*/ 84614 h 1156089"/>
              <a:gd name="connsiteX202" fmla="*/ 167847 w 1275873"/>
              <a:gd name="connsiteY202" fmla="*/ 76200 h 1156089"/>
              <a:gd name="connsiteX203" fmla="*/ 176261 w 1275873"/>
              <a:gd name="connsiteY203" fmla="*/ 73395 h 1156089"/>
              <a:gd name="connsiteX204" fmla="*/ 193091 w 1275873"/>
              <a:gd name="connsiteY204" fmla="*/ 59370 h 1156089"/>
              <a:gd name="connsiteX205" fmla="*/ 195896 w 1275873"/>
              <a:gd name="connsiteY205" fmla="*/ 34126 h 1156089"/>
              <a:gd name="connsiteX206" fmla="*/ 187481 w 1275873"/>
              <a:gd name="connsiteY206" fmla="*/ 25711 h 1156089"/>
              <a:gd name="connsiteX207" fmla="*/ 187481 w 1275873"/>
              <a:gd name="connsiteY207" fmla="*/ 3272 h 1156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</a:cxnLst>
            <a:rect l="l" t="t" r="r" b="b"/>
            <a:pathLst>
              <a:path w="1275873" h="1156089">
                <a:moveTo>
                  <a:pt x="187481" y="3272"/>
                </a:moveTo>
                <a:cubicBezTo>
                  <a:pt x="189818" y="0"/>
                  <a:pt x="197042" y="4403"/>
                  <a:pt x="201506" y="6077"/>
                </a:cubicBezTo>
                <a:cubicBezTo>
                  <a:pt x="204662" y="7261"/>
                  <a:pt x="206905" y="10179"/>
                  <a:pt x="209920" y="11687"/>
                </a:cubicBezTo>
                <a:cubicBezTo>
                  <a:pt x="212565" y="13009"/>
                  <a:pt x="215530" y="13557"/>
                  <a:pt x="218335" y="14492"/>
                </a:cubicBezTo>
                <a:cubicBezTo>
                  <a:pt x="221140" y="17297"/>
                  <a:pt x="223283" y="20980"/>
                  <a:pt x="226750" y="22906"/>
                </a:cubicBezTo>
                <a:cubicBezTo>
                  <a:pt x="226752" y="22907"/>
                  <a:pt x="247786" y="29918"/>
                  <a:pt x="251994" y="31321"/>
                </a:cubicBezTo>
                <a:lnTo>
                  <a:pt x="260409" y="34126"/>
                </a:lnTo>
                <a:lnTo>
                  <a:pt x="268823" y="36931"/>
                </a:lnTo>
                <a:cubicBezTo>
                  <a:pt x="319606" y="33757"/>
                  <a:pt x="299482" y="38866"/>
                  <a:pt x="330531" y="28516"/>
                </a:cubicBezTo>
                <a:lnTo>
                  <a:pt x="355775" y="20101"/>
                </a:lnTo>
                <a:lnTo>
                  <a:pt x="364190" y="17296"/>
                </a:lnTo>
                <a:cubicBezTo>
                  <a:pt x="371670" y="18231"/>
                  <a:pt x="379258" y="18522"/>
                  <a:pt x="386629" y="20101"/>
                </a:cubicBezTo>
                <a:cubicBezTo>
                  <a:pt x="392411" y="21340"/>
                  <a:pt x="397849" y="23841"/>
                  <a:pt x="403459" y="25711"/>
                </a:cubicBezTo>
                <a:lnTo>
                  <a:pt x="420288" y="31321"/>
                </a:lnTo>
                <a:cubicBezTo>
                  <a:pt x="423093" y="32256"/>
                  <a:pt x="425786" y="33640"/>
                  <a:pt x="428703" y="34126"/>
                </a:cubicBezTo>
                <a:lnTo>
                  <a:pt x="445533" y="36931"/>
                </a:lnTo>
                <a:cubicBezTo>
                  <a:pt x="466684" y="43982"/>
                  <a:pt x="441431" y="33650"/>
                  <a:pt x="459557" y="48150"/>
                </a:cubicBezTo>
                <a:cubicBezTo>
                  <a:pt x="461866" y="49997"/>
                  <a:pt x="465167" y="50020"/>
                  <a:pt x="467972" y="50955"/>
                </a:cubicBezTo>
                <a:cubicBezTo>
                  <a:pt x="483270" y="73905"/>
                  <a:pt x="476446" y="59579"/>
                  <a:pt x="481996" y="79004"/>
                </a:cubicBezTo>
                <a:cubicBezTo>
                  <a:pt x="482808" y="81847"/>
                  <a:pt x="484160" y="84533"/>
                  <a:pt x="484801" y="87419"/>
                </a:cubicBezTo>
                <a:cubicBezTo>
                  <a:pt x="486035" y="92971"/>
                  <a:pt x="484344" y="99590"/>
                  <a:pt x="487606" y="104249"/>
                </a:cubicBezTo>
                <a:cubicBezTo>
                  <a:pt x="491472" y="109772"/>
                  <a:pt x="504436" y="115468"/>
                  <a:pt x="504436" y="115468"/>
                </a:cubicBezTo>
                <a:cubicBezTo>
                  <a:pt x="506306" y="118273"/>
                  <a:pt x="508676" y="120803"/>
                  <a:pt x="510045" y="123883"/>
                </a:cubicBezTo>
                <a:cubicBezTo>
                  <a:pt x="512916" y="130344"/>
                  <a:pt x="514544" y="143526"/>
                  <a:pt x="521265" y="149127"/>
                </a:cubicBezTo>
                <a:cubicBezTo>
                  <a:pt x="524477" y="151804"/>
                  <a:pt x="528642" y="153090"/>
                  <a:pt x="532485" y="154737"/>
                </a:cubicBezTo>
                <a:cubicBezTo>
                  <a:pt x="538120" y="157152"/>
                  <a:pt x="546423" y="158923"/>
                  <a:pt x="552119" y="160347"/>
                </a:cubicBezTo>
                <a:cubicBezTo>
                  <a:pt x="554924" y="162217"/>
                  <a:pt x="557519" y="164449"/>
                  <a:pt x="560534" y="165957"/>
                </a:cubicBezTo>
                <a:cubicBezTo>
                  <a:pt x="576462" y="173922"/>
                  <a:pt x="599994" y="166822"/>
                  <a:pt x="613827" y="165957"/>
                </a:cubicBezTo>
                <a:cubicBezTo>
                  <a:pt x="616632" y="166892"/>
                  <a:pt x="619657" y="167326"/>
                  <a:pt x="622242" y="168762"/>
                </a:cubicBezTo>
                <a:cubicBezTo>
                  <a:pt x="628136" y="172036"/>
                  <a:pt x="632675" y="177849"/>
                  <a:pt x="639071" y="179981"/>
                </a:cubicBezTo>
                <a:lnTo>
                  <a:pt x="681145" y="194006"/>
                </a:lnTo>
                <a:lnTo>
                  <a:pt x="706389" y="202420"/>
                </a:lnTo>
                <a:lnTo>
                  <a:pt x="714804" y="205225"/>
                </a:lnTo>
                <a:cubicBezTo>
                  <a:pt x="717609" y="207095"/>
                  <a:pt x="720138" y="209466"/>
                  <a:pt x="723218" y="210835"/>
                </a:cubicBezTo>
                <a:cubicBezTo>
                  <a:pt x="728622" y="213237"/>
                  <a:pt x="734438" y="214575"/>
                  <a:pt x="740048" y="216445"/>
                </a:cubicBezTo>
                <a:cubicBezTo>
                  <a:pt x="742853" y="217380"/>
                  <a:pt x="745595" y="218533"/>
                  <a:pt x="748463" y="219250"/>
                </a:cubicBezTo>
                <a:cubicBezTo>
                  <a:pt x="752203" y="220185"/>
                  <a:pt x="755990" y="220947"/>
                  <a:pt x="759682" y="222055"/>
                </a:cubicBezTo>
                <a:cubicBezTo>
                  <a:pt x="765346" y="223754"/>
                  <a:pt x="770902" y="225795"/>
                  <a:pt x="776512" y="227665"/>
                </a:cubicBezTo>
                <a:lnTo>
                  <a:pt x="784926" y="230469"/>
                </a:lnTo>
                <a:cubicBezTo>
                  <a:pt x="798016" y="229534"/>
                  <a:pt x="811272" y="229945"/>
                  <a:pt x="824195" y="227665"/>
                </a:cubicBezTo>
                <a:cubicBezTo>
                  <a:pt x="832233" y="226247"/>
                  <a:pt x="833922" y="218798"/>
                  <a:pt x="838220" y="213640"/>
                </a:cubicBezTo>
                <a:cubicBezTo>
                  <a:pt x="840759" y="210593"/>
                  <a:pt x="844199" y="208356"/>
                  <a:pt x="846634" y="205225"/>
                </a:cubicBezTo>
                <a:cubicBezTo>
                  <a:pt x="864253" y="182572"/>
                  <a:pt x="849980" y="193646"/>
                  <a:pt x="866269" y="182786"/>
                </a:cubicBezTo>
                <a:cubicBezTo>
                  <a:pt x="865334" y="176241"/>
                  <a:pt x="865837" y="169322"/>
                  <a:pt x="863464" y="163152"/>
                </a:cubicBezTo>
                <a:cubicBezTo>
                  <a:pt x="863461" y="163144"/>
                  <a:pt x="849442" y="142119"/>
                  <a:pt x="846634" y="137908"/>
                </a:cubicBezTo>
                <a:cubicBezTo>
                  <a:pt x="844764" y="135103"/>
                  <a:pt x="842091" y="132691"/>
                  <a:pt x="841025" y="129493"/>
                </a:cubicBezTo>
                <a:lnTo>
                  <a:pt x="835415" y="112663"/>
                </a:lnTo>
                <a:cubicBezTo>
                  <a:pt x="836350" y="107988"/>
                  <a:pt x="836713" y="103162"/>
                  <a:pt x="838220" y="98639"/>
                </a:cubicBezTo>
                <a:cubicBezTo>
                  <a:pt x="841274" y="89476"/>
                  <a:pt x="844979" y="85058"/>
                  <a:pt x="852244" y="79004"/>
                </a:cubicBezTo>
                <a:cubicBezTo>
                  <a:pt x="854834" y="76846"/>
                  <a:pt x="857854" y="75265"/>
                  <a:pt x="860659" y="73395"/>
                </a:cubicBezTo>
                <a:cubicBezTo>
                  <a:pt x="862529" y="70590"/>
                  <a:pt x="863464" y="66850"/>
                  <a:pt x="866269" y="64980"/>
                </a:cubicBezTo>
                <a:cubicBezTo>
                  <a:pt x="869476" y="62842"/>
                  <a:pt x="873796" y="63283"/>
                  <a:pt x="877488" y="62175"/>
                </a:cubicBezTo>
                <a:cubicBezTo>
                  <a:pt x="883152" y="60476"/>
                  <a:pt x="888708" y="58435"/>
                  <a:pt x="894318" y="56565"/>
                </a:cubicBezTo>
                <a:lnTo>
                  <a:pt x="902733" y="53760"/>
                </a:lnTo>
                <a:cubicBezTo>
                  <a:pt x="905538" y="51890"/>
                  <a:pt x="908132" y="49657"/>
                  <a:pt x="911147" y="48150"/>
                </a:cubicBezTo>
                <a:cubicBezTo>
                  <a:pt x="913792" y="46828"/>
                  <a:pt x="916605" y="45346"/>
                  <a:pt x="919562" y="45346"/>
                </a:cubicBezTo>
                <a:cubicBezTo>
                  <a:pt x="951365" y="45346"/>
                  <a:pt x="983140" y="47215"/>
                  <a:pt x="1014929" y="48150"/>
                </a:cubicBezTo>
                <a:cubicBezTo>
                  <a:pt x="1020539" y="51890"/>
                  <a:pt x="1025362" y="57238"/>
                  <a:pt x="1031758" y="59370"/>
                </a:cubicBezTo>
                <a:lnTo>
                  <a:pt x="1048588" y="64980"/>
                </a:lnTo>
                <a:cubicBezTo>
                  <a:pt x="1051393" y="67785"/>
                  <a:pt x="1054802" y="70095"/>
                  <a:pt x="1057002" y="73395"/>
                </a:cubicBezTo>
                <a:cubicBezTo>
                  <a:pt x="1065185" y="85670"/>
                  <a:pt x="1050765" y="85131"/>
                  <a:pt x="1071027" y="98639"/>
                </a:cubicBezTo>
                <a:cubicBezTo>
                  <a:pt x="1095135" y="114711"/>
                  <a:pt x="1064639" y="95446"/>
                  <a:pt x="1087856" y="107054"/>
                </a:cubicBezTo>
                <a:cubicBezTo>
                  <a:pt x="1090871" y="108561"/>
                  <a:pt x="1093256" y="111156"/>
                  <a:pt x="1096271" y="112663"/>
                </a:cubicBezTo>
                <a:cubicBezTo>
                  <a:pt x="1119489" y="124271"/>
                  <a:pt x="1088994" y="105007"/>
                  <a:pt x="1113101" y="121078"/>
                </a:cubicBezTo>
                <a:cubicBezTo>
                  <a:pt x="1135678" y="119196"/>
                  <a:pt x="1140947" y="120578"/>
                  <a:pt x="1157979" y="115468"/>
                </a:cubicBezTo>
                <a:cubicBezTo>
                  <a:pt x="1163643" y="113769"/>
                  <a:pt x="1174809" y="109858"/>
                  <a:pt x="1174809" y="109858"/>
                </a:cubicBezTo>
                <a:cubicBezTo>
                  <a:pt x="1176679" y="107053"/>
                  <a:pt x="1177086" y="101956"/>
                  <a:pt x="1180418" y="101444"/>
                </a:cubicBezTo>
                <a:cubicBezTo>
                  <a:pt x="1197237" y="98857"/>
                  <a:pt x="1206336" y="102604"/>
                  <a:pt x="1219687" y="107054"/>
                </a:cubicBezTo>
                <a:cubicBezTo>
                  <a:pt x="1222492" y="109859"/>
                  <a:pt x="1226176" y="112001"/>
                  <a:pt x="1228102" y="115468"/>
                </a:cubicBezTo>
                <a:cubicBezTo>
                  <a:pt x="1230974" y="120637"/>
                  <a:pt x="1233712" y="132298"/>
                  <a:pt x="1233712" y="132298"/>
                </a:cubicBezTo>
                <a:cubicBezTo>
                  <a:pt x="1232777" y="137908"/>
                  <a:pt x="1232286" y="143610"/>
                  <a:pt x="1230907" y="149127"/>
                </a:cubicBezTo>
                <a:cubicBezTo>
                  <a:pt x="1229473" y="154864"/>
                  <a:pt x="1225297" y="165957"/>
                  <a:pt x="1225297" y="165957"/>
                </a:cubicBezTo>
                <a:cubicBezTo>
                  <a:pt x="1226232" y="174372"/>
                  <a:pt x="1227777" y="182741"/>
                  <a:pt x="1228102" y="191201"/>
                </a:cubicBezTo>
                <a:cubicBezTo>
                  <a:pt x="1230273" y="247645"/>
                  <a:pt x="1221222" y="279319"/>
                  <a:pt x="1233712" y="323031"/>
                </a:cubicBezTo>
                <a:cubicBezTo>
                  <a:pt x="1234524" y="325874"/>
                  <a:pt x="1235582" y="328641"/>
                  <a:pt x="1236517" y="331446"/>
                </a:cubicBezTo>
                <a:cubicBezTo>
                  <a:pt x="1237452" y="348276"/>
                  <a:pt x="1237921" y="365138"/>
                  <a:pt x="1239321" y="381935"/>
                </a:cubicBezTo>
                <a:cubicBezTo>
                  <a:pt x="1239793" y="387602"/>
                  <a:pt x="1241889" y="393082"/>
                  <a:pt x="1242126" y="398764"/>
                </a:cubicBezTo>
                <a:cubicBezTo>
                  <a:pt x="1243761" y="438010"/>
                  <a:pt x="1243187" y="477329"/>
                  <a:pt x="1244931" y="516570"/>
                </a:cubicBezTo>
                <a:cubicBezTo>
                  <a:pt x="1245062" y="519524"/>
                  <a:pt x="1246924" y="522142"/>
                  <a:pt x="1247736" y="524985"/>
                </a:cubicBezTo>
                <a:cubicBezTo>
                  <a:pt x="1248795" y="528691"/>
                  <a:pt x="1249433" y="532512"/>
                  <a:pt x="1250541" y="536204"/>
                </a:cubicBezTo>
                <a:cubicBezTo>
                  <a:pt x="1252240" y="541868"/>
                  <a:pt x="1256151" y="553034"/>
                  <a:pt x="1256151" y="553034"/>
                </a:cubicBezTo>
                <a:cubicBezTo>
                  <a:pt x="1257013" y="592699"/>
                  <a:pt x="1258293" y="694561"/>
                  <a:pt x="1261761" y="746573"/>
                </a:cubicBezTo>
                <a:cubicBezTo>
                  <a:pt x="1262327" y="755060"/>
                  <a:pt x="1266097" y="774118"/>
                  <a:pt x="1267371" y="783036"/>
                </a:cubicBezTo>
                <a:cubicBezTo>
                  <a:pt x="1268437" y="790498"/>
                  <a:pt x="1269240" y="797996"/>
                  <a:pt x="1270175" y="805476"/>
                </a:cubicBezTo>
                <a:cubicBezTo>
                  <a:pt x="1271110" y="898038"/>
                  <a:pt x="1271250" y="990611"/>
                  <a:pt x="1272980" y="1083162"/>
                </a:cubicBezTo>
                <a:cubicBezTo>
                  <a:pt x="1273121" y="1090699"/>
                  <a:pt x="1275785" y="1098063"/>
                  <a:pt x="1275785" y="1105601"/>
                </a:cubicBezTo>
                <a:cubicBezTo>
                  <a:pt x="1275785" y="1114067"/>
                  <a:pt x="1275873" y="1122888"/>
                  <a:pt x="1272980" y="1130845"/>
                </a:cubicBezTo>
                <a:cubicBezTo>
                  <a:pt x="1271828" y="1134013"/>
                  <a:pt x="1267722" y="1135271"/>
                  <a:pt x="1264566" y="1136455"/>
                </a:cubicBezTo>
                <a:cubicBezTo>
                  <a:pt x="1257046" y="1139275"/>
                  <a:pt x="1228984" y="1141655"/>
                  <a:pt x="1225297" y="1142065"/>
                </a:cubicBezTo>
                <a:lnTo>
                  <a:pt x="1200053" y="1150479"/>
                </a:lnTo>
                <a:lnTo>
                  <a:pt x="1191638" y="1153284"/>
                </a:lnTo>
                <a:lnTo>
                  <a:pt x="1183223" y="1156089"/>
                </a:lnTo>
                <a:cubicBezTo>
                  <a:pt x="1179483" y="1155154"/>
                  <a:pt x="1175211" y="1155422"/>
                  <a:pt x="1172004" y="1153284"/>
                </a:cubicBezTo>
                <a:cubicBezTo>
                  <a:pt x="1166684" y="1149737"/>
                  <a:pt x="1164666" y="1137532"/>
                  <a:pt x="1160784" y="1133650"/>
                </a:cubicBezTo>
                <a:cubicBezTo>
                  <a:pt x="1156017" y="1128883"/>
                  <a:pt x="1150351" y="1124562"/>
                  <a:pt x="1143955" y="1122430"/>
                </a:cubicBezTo>
                <a:cubicBezTo>
                  <a:pt x="1141150" y="1121495"/>
                  <a:pt x="1138258" y="1120790"/>
                  <a:pt x="1135540" y="1119625"/>
                </a:cubicBezTo>
                <a:cubicBezTo>
                  <a:pt x="1131697" y="1117978"/>
                  <a:pt x="1128287" y="1115338"/>
                  <a:pt x="1124320" y="1114016"/>
                </a:cubicBezTo>
                <a:cubicBezTo>
                  <a:pt x="1119797" y="1112509"/>
                  <a:pt x="1114895" y="1112465"/>
                  <a:pt x="1110296" y="1111211"/>
                </a:cubicBezTo>
                <a:cubicBezTo>
                  <a:pt x="1104591" y="1109655"/>
                  <a:pt x="1099076" y="1107471"/>
                  <a:pt x="1093466" y="1105601"/>
                </a:cubicBezTo>
                <a:lnTo>
                  <a:pt x="1076637" y="1099991"/>
                </a:lnTo>
                <a:cubicBezTo>
                  <a:pt x="1073832" y="1099056"/>
                  <a:pt x="1070682" y="1098826"/>
                  <a:pt x="1068222" y="1097186"/>
                </a:cubicBezTo>
                <a:cubicBezTo>
                  <a:pt x="1057347" y="1089936"/>
                  <a:pt x="1063005" y="1092642"/>
                  <a:pt x="1051393" y="1088771"/>
                </a:cubicBezTo>
                <a:cubicBezTo>
                  <a:pt x="1046275" y="1081095"/>
                  <a:pt x="1046225" y="1078684"/>
                  <a:pt x="1037368" y="1074747"/>
                </a:cubicBezTo>
                <a:cubicBezTo>
                  <a:pt x="1031965" y="1072345"/>
                  <a:pt x="1025459" y="1072417"/>
                  <a:pt x="1020539" y="1069137"/>
                </a:cubicBezTo>
                <a:cubicBezTo>
                  <a:pt x="1011319" y="1062990"/>
                  <a:pt x="1013871" y="1063626"/>
                  <a:pt x="1003709" y="1060722"/>
                </a:cubicBezTo>
                <a:cubicBezTo>
                  <a:pt x="1000003" y="1059663"/>
                  <a:pt x="996182" y="1059025"/>
                  <a:pt x="992490" y="1057917"/>
                </a:cubicBezTo>
                <a:cubicBezTo>
                  <a:pt x="986826" y="1056218"/>
                  <a:pt x="975660" y="1052308"/>
                  <a:pt x="975660" y="1052308"/>
                </a:cubicBezTo>
                <a:lnTo>
                  <a:pt x="908342" y="1007429"/>
                </a:lnTo>
                <a:cubicBezTo>
                  <a:pt x="905537" y="1005559"/>
                  <a:pt x="902312" y="1004203"/>
                  <a:pt x="899928" y="1001819"/>
                </a:cubicBezTo>
                <a:cubicBezTo>
                  <a:pt x="897123" y="999014"/>
                  <a:pt x="894814" y="995604"/>
                  <a:pt x="891513" y="993404"/>
                </a:cubicBezTo>
                <a:cubicBezTo>
                  <a:pt x="889053" y="991764"/>
                  <a:pt x="885903" y="991535"/>
                  <a:pt x="883098" y="990600"/>
                </a:cubicBezTo>
                <a:cubicBezTo>
                  <a:pt x="877488" y="986860"/>
                  <a:pt x="872665" y="981512"/>
                  <a:pt x="866269" y="979380"/>
                </a:cubicBezTo>
                <a:cubicBezTo>
                  <a:pt x="863464" y="978445"/>
                  <a:pt x="860697" y="977387"/>
                  <a:pt x="857854" y="976575"/>
                </a:cubicBezTo>
                <a:cubicBezTo>
                  <a:pt x="853658" y="975376"/>
                  <a:pt x="842705" y="973208"/>
                  <a:pt x="838220" y="970965"/>
                </a:cubicBezTo>
                <a:cubicBezTo>
                  <a:pt x="835205" y="969457"/>
                  <a:pt x="832886" y="966724"/>
                  <a:pt x="829805" y="965355"/>
                </a:cubicBezTo>
                <a:cubicBezTo>
                  <a:pt x="824401" y="962954"/>
                  <a:pt x="812975" y="959746"/>
                  <a:pt x="812975" y="959746"/>
                </a:cubicBezTo>
                <a:cubicBezTo>
                  <a:pt x="799640" y="950855"/>
                  <a:pt x="807760" y="955203"/>
                  <a:pt x="787731" y="948526"/>
                </a:cubicBezTo>
                <a:lnTo>
                  <a:pt x="754072" y="937306"/>
                </a:lnTo>
                <a:lnTo>
                  <a:pt x="745658" y="934501"/>
                </a:lnTo>
                <a:cubicBezTo>
                  <a:pt x="742853" y="933566"/>
                  <a:pt x="739703" y="933336"/>
                  <a:pt x="737243" y="931696"/>
                </a:cubicBezTo>
                <a:cubicBezTo>
                  <a:pt x="696058" y="904242"/>
                  <a:pt x="739390" y="932122"/>
                  <a:pt x="709194" y="914867"/>
                </a:cubicBezTo>
                <a:cubicBezTo>
                  <a:pt x="693971" y="906168"/>
                  <a:pt x="707791" y="911594"/>
                  <a:pt x="692364" y="906452"/>
                </a:cubicBezTo>
                <a:cubicBezTo>
                  <a:pt x="689559" y="904582"/>
                  <a:pt x="686334" y="903226"/>
                  <a:pt x="683950" y="900842"/>
                </a:cubicBezTo>
                <a:cubicBezTo>
                  <a:pt x="681566" y="898458"/>
                  <a:pt x="681199" y="894214"/>
                  <a:pt x="678340" y="892428"/>
                </a:cubicBezTo>
                <a:cubicBezTo>
                  <a:pt x="673325" y="889294"/>
                  <a:pt x="661510" y="886818"/>
                  <a:pt x="661510" y="886818"/>
                </a:cubicBezTo>
                <a:lnTo>
                  <a:pt x="636266" y="869989"/>
                </a:lnTo>
                <a:cubicBezTo>
                  <a:pt x="633461" y="868119"/>
                  <a:pt x="630236" y="866763"/>
                  <a:pt x="627852" y="864379"/>
                </a:cubicBezTo>
                <a:cubicBezTo>
                  <a:pt x="611900" y="848427"/>
                  <a:pt x="627260" y="861278"/>
                  <a:pt x="611022" y="853159"/>
                </a:cubicBezTo>
                <a:cubicBezTo>
                  <a:pt x="589270" y="842283"/>
                  <a:pt x="615344" y="851795"/>
                  <a:pt x="594193" y="844744"/>
                </a:cubicBezTo>
                <a:cubicBezTo>
                  <a:pt x="585302" y="831410"/>
                  <a:pt x="591781" y="837396"/>
                  <a:pt x="571753" y="830720"/>
                </a:cubicBezTo>
                <a:lnTo>
                  <a:pt x="563339" y="827915"/>
                </a:lnTo>
                <a:lnTo>
                  <a:pt x="554924" y="825110"/>
                </a:lnTo>
                <a:cubicBezTo>
                  <a:pt x="548379" y="826045"/>
                  <a:pt x="541460" y="825542"/>
                  <a:pt x="535290" y="827915"/>
                </a:cubicBezTo>
                <a:cubicBezTo>
                  <a:pt x="528997" y="830335"/>
                  <a:pt x="524070" y="835395"/>
                  <a:pt x="518460" y="839135"/>
                </a:cubicBezTo>
                <a:lnTo>
                  <a:pt x="510045" y="844744"/>
                </a:lnTo>
                <a:cubicBezTo>
                  <a:pt x="507240" y="846614"/>
                  <a:pt x="504015" y="847970"/>
                  <a:pt x="501631" y="850354"/>
                </a:cubicBezTo>
                <a:cubicBezTo>
                  <a:pt x="498826" y="853159"/>
                  <a:pt x="496517" y="856569"/>
                  <a:pt x="493216" y="858769"/>
                </a:cubicBezTo>
                <a:cubicBezTo>
                  <a:pt x="490756" y="860409"/>
                  <a:pt x="487446" y="860252"/>
                  <a:pt x="484801" y="861574"/>
                </a:cubicBezTo>
                <a:cubicBezTo>
                  <a:pt x="481786" y="863082"/>
                  <a:pt x="479401" y="865676"/>
                  <a:pt x="476386" y="867184"/>
                </a:cubicBezTo>
                <a:cubicBezTo>
                  <a:pt x="471897" y="869428"/>
                  <a:pt x="460953" y="871593"/>
                  <a:pt x="456752" y="872793"/>
                </a:cubicBezTo>
                <a:cubicBezTo>
                  <a:pt x="453909" y="873605"/>
                  <a:pt x="451142" y="874663"/>
                  <a:pt x="448337" y="875598"/>
                </a:cubicBezTo>
                <a:lnTo>
                  <a:pt x="431508" y="886818"/>
                </a:lnTo>
                <a:cubicBezTo>
                  <a:pt x="412951" y="899190"/>
                  <a:pt x="426451" y="892170"/>
                  <a:pt x="386629" y="895233"/>
                </a:cubicBezTo>
                <a:cubicBezTo>
                  <a:pt x="383824" y="896168"/>
                  <a:pt x="381171" y="898038"/>
                  <a:pt x="378215" y="898038"/>
                </a:cubicBezTo>
                <a:cubicBezTo>
                  <a:pt x="362355" y="898038"/>
                  <a:pt x="359195" y="896373"/>
                  <a:pt x="347361" y="892428"/>
                </a:cubicBezTo>
                <a:cubicBezTo>
                  <a:pt x="345513" y="886885"/>
                  <a:pt x="343889" y="879553"/>
                  <a:pt x="338946" y="875598"/>
                </a:cubicBezTo>
                <a:cubicBezTo>
                  <a:pt x="336637" y="873751"/>
                  <a:pt x="333116" y="874229"/>
                  <a:pt x="330531" y="872793"/>
                </a:cubicBezTo>
                <a:cubicBezTo>
                  <a:pt x="324637" y="869519"/>
                  <a:pt x="319732" y="864589"/>
                  <a:pt x="313702" y="861574"/>
                </a:cubicBezTo>
                <a:cubicBezTo>
                  <a:pt x="309962" y="859704"/>
                  <a:pt x="306068" y="858115"/>
                  <a:pt x="302482" y="855964"/>
                </a:cubicBezTo>
                <a:cubicBezTo>
                  <a:pt x="296701" y="852495"/>
                  <a:pt x="292049" y="846876"/>
                  <a:pt x="285653" y="844744"/>
                </a:cubicBezTo>
                <a:lnTo>
                  <a:pt x="268823" y="839135"/>
                </a:lnTo>
                <a:cubicBezTo>
                  <a:pt x="266018" y="838200"/>
                  <a:pt x="263343" y="836697"/>
                  <a:pt x="260409" y="836330"/>
                </a:cubicBezTo>
                <a:lnTo>
                  <a:pt x="237969" y="833525"/>
                </a:lnTo>
                <a:lnTo>
                  <a:pt x="221140" y="827915"/>
                </a:lnTo>
                <a:lnTo>
                  <a:pt x="212725" y="825110"/>
                </a:lnTo>
                <a:cubicBezTo>
                  <a:pt x="211790" y="822305"/>
                  <a:pt x="211767" y="819004"/>
                  <a:pt x="209920" y="816695"/>
                </a:cubicBezTo>
                <a:cubicBezTo>
                  <a:pt x="207814" y="814063"/>
                  <a:pt x="203890" y="813469"/>
                  <a:pt x="201506" y="811085"/>
                </a:cubicBezTo>
                <a:cubicBezTo>
                  <a:pt x="199122" y="808701"/>
                  <a:pt x="197766" y="805476"/>
                  <a:pt x="195896" y="802671"/>
                </a:cubicBezTo>
                <a:lnTo>
                  <a:pt x="190286" y="785841"/>
                </a:lnTo>
                <a:cubicBezTo>
                  <a:pt x="189351" y="783036"/>
                  <a:pt x="189571" y="779517"/>
                  <a:pt x="187481" y="777427"/>
                </a:cubicBezTo>
                <a:lnTo>
                  <a:pt x="179066" y="769012"/>
                </a:lnTo>
                <a:cubicBezTo>
                  <a:pt x="178131" y="766207"/>
                  <a:pt x="178076" y="762931"/>
                  <a:pt x="176261" y="760597"/>
                </a:cubicBezTo>
                <a:cubicBezTo>
                  <a:pt x="161554" y="741687"/>
                  <a:pt x="162260" y="744711"/>
                  <a:pt x="142602" y="738158"/>
                </a:cubicBezTo>
                <a:lnTo>
                  <a:pt x="134188" y="735353"/>
                </a:lnTo>
                <a:cubicBezTo>
                  <a:pt x="110670" y="727513"/>
                  <a:pt x="128715" y="732721"/>
                  <a:pt x="78090" y="729743"/>
                </a:cubicBezTo>
                <a:cubicBezTo>
                  <a:pt x="71245" y="727461"/>
                  <a:pt x="66698" y="726766"/>
                  <a:pt x="61260" y="721328"/>
                </a:cubicBezTo>
                <a:cubicBezTo>
                  <a:pt x="58876" y="718944"/>
                  <a:pt x="57808" y="715504"/>
                  <a:pt x="55650" y="712914"/>
                </a:cubicBezTo>
                <a:cubicBezTo>
                  <a:pt x="47898" y="703612"/>
                  <a:pt x="46848" y="706528"/>
                  <a:pt x="41626" y="696084"/>
                </a:cubicBezTo>
                <a:cubicBezTo>
                  <a:pt x="37063" y="686958"/>
                  <a:pt x="41250" y="687293"/>
                  <a:pt x="33211" y="679255"/>
                </a:cubicBezTo>
                <a:cubicBezTo>
                  <a:pt x="30827" y="676871"/>
                  <a:pt x="27601" y="675515"/>
                  <a:pt x="24796" y="673645"/>
                </a:cubicBezTo>
                <a:cubicBezTo>
                  <a:pt x="24135" y="671002"/>
                  <a:pt x="21016" y="657305"/>
                  <a:pt x="19186" y="654011"/>
                </a:cubicBezTo>
                <a:cubicBezTo>
                  <a:pt x="15912" y="648117"/>
                  <a:pt x="10099" y="643577"/>
                  <a:pt x="7967" y="637181"/>
                </a:cubicBezTo>
                <a:cubicBezTo>
                  <a:pt x="3943" y="625109"/>
                  <a:pt x="5879" y="631634"/>
                  <a:pt x="2357" y="617547"/>
                </a:cubicBezTo>
                <a:cubicBezTo>
                  <a:pt x="3731" y="602437"/>
                  <a:pt x="0" y="589050"/>
                  <a:pt x="10772" y="578278"/>
                </a:cubicBezTo>
                <a:cubicBezTo>
                  <a:pt x="13156" y="575894"/>
                  <a:pt x="16381" y="574538"/>
                  <a:pt x="19186" y="572668"/>
                </a:cubicBezTo>
                <a:cubicBezTo>
                  <a:pt x="26237" y="551517"/>
                  <a:pt x="16725" y="577591"/>
                  <a:pt x="27601" y="555839"/>
                </a:cubicBezTo>
                <a:cubicBezTo>
                  <a:pt x="28923" y="553194"/>
                  <a:pt x="28970" y="550009"/>
                  <a:pt x="30406" y="547424"/>
                </a:cubicBezTo>
                <a:cubicBezTo>
                  <a:pt x="33680" y="541530"/>
                  <a:pt x="41626" y="530595"/>
                  <a:pt x="41626" y="530595"/>
                </a:cubicBezTo>
                <a:cubicBezTo>
                  <a:pt x="42561" y="527790"/>
                  <a:pt x="43619" y="525023"/>
                  <a:pt x="44431" y="522180"/>
                </a:cubicBezTo>
                <a:cubicBezTo>
                  <a:pt x="45490" y="518473"/>
                  <a:pt x="45717" y="514503"/>
                  <a:pt x="47236" y="510960"/>
                </a:cubicBezTo>
                <a:cubicBezTo>
                  <a:pt x="48564" y="507862"/>
                  <a:pt x="50975" y="505351"/>
                  <a:pt x="52845" y="502546"/>
                </a:cubicBezTo>
                <a:cubicBezTo>
                  <a:pt x="69666" y="435264"/>
                  <a:pt x="60812" y="478993"/>
                  <a:pt x="55650" y="337056"/>
                </a:cubicBezTo>
                <a:cubicBezTo>
                  <a:pt x="55510" y="333203"/>
                  <a:pt x="54364" y="329379"/>
                  <a:pt x="52845" y="325836"/>
                </a:cubicBezTo>
                <a:cubicBezTo>
                  <a:pt x="51517" y="322738"/>
                  <a:pt x="48743" y="320437"/>
                  <a:pt x="47236" y="317422"/>
                </a:cubicBezTo>
                <a:cubicBezTo>
                  <a:pt x="45914" y="314777"/>
                  <a:pt x="45867" y="311592"/>
                  <a:pt x="44431" y="309007"/>
                </a:cubicBezTo>
                <a:cubicBezTo>
                  <a:pt x="41157" y="303113"/>
                  <a:pt x="35343" y="298573"/>
                  <a:pt x="33211" y="292177"/>
                </a:cubicBezTo>
                <a:cubicBezTo>
                  <a:pt x="30087" y="282805"/>
                  <a:pt x="29950" y="283111"/>
                  <a:pt x="27601" y="272543"/>
                </a:cubicBezTo>
                <a:cubicBezTo>
                  <a:pt x="23088" y="252236"/>
                  <a:pt x="27003" y="265140"/>
                  <a:pt x="21991" y="250104"/>
                </a:cubicBezTo>
                <a:cubicBezTo>
                  <a:pt x="22926" y="247299"/>
                  <a:pt x="22336" y="243329"/>
                  <a:pt x="24796" y="241689"/>
                </a:cubicBezTo>
                <a:cubicBezTo>
                  <a:pt x="28763" y="239044"/>
                  <a:pt x="34196" y="240040"/>
                  <a:pt x="38821" y="238884"/>
                </a:cubicBezTo>
                <a:cubicBezTo>
                  <a:pt x="41689" y="238167"/>
                  <a:pt x="44431" y="237014"/>
                  <a:pt x="47236" y="236079"/>
                </a:cubicBezTo>
                <a:cubicBezTo>
                  <a:pt x="52846" y="232339"/>
                  <a:pt x="61933" y="231256"/>
                  <a:pt x="64065" y="224860"/>
                </a:cubicBezTo>
                <a:lnTo>
                  <a:pt x="75285" y="191201"/>
                </a:lnTo>
                <a:cubicBezTo>
                  <a:pt x="76220" y="188396"/>
                  <a:pt x="75285" y="183721"/>
                  <a:pt x="78090" y="182786"/>
                </a:cubicBezTo>
                <a:lnTo>
                  <a:pt x="86504" y="179981"/>
                </a:lnTo>
                <a:cubicBezTo>
                  <a:pt x="87439" y="177176"/>
                  <a:pt x="88982" y="174505"/>
                  <a:pt x="89309" y="171566"/>
                </a:cubicBezTo>
                <a:cubicBezTo>
                  <a:pt x="90861" y="157597"/>
                  <a:pt x="87921" y="142909"/>
                  <a:pt x="92114" y="129493"/>
                </a:cubicBezTo>
                <a:cubicBezTo>
                  <a:pt x="93264" y="125813"/>
                  <a:pt x="99627" y="127747"/>
                  <a:pt x="103334" y="126688"/>
                </a:cubicBezTo>
                <a:cubicBezTo>
                  <a:pt x="113494" y="123785"/>
                  <a:pt x="110944" y="124419"/>
                  <a:pt x="120163" y="118273"/>
                </a:cubicBezTo>
                <a:cubicBezTo>
                  <a:pt x="121098" y="115468"/>
                  <a:pt x="122156" y="112701"/>
                  <a:pt x="122968" y="109858"/>
                </a:cubicBezTo>
                <a:cubicBezTo>
                  <a:pt x="125055" y="102554"/>
                  <a:pt x="124978" y="95562"/>
                  <a:pt x="131383" y="90224"/>
                </a:cubicBezTo>
                <a:cubicBezTo>
                  <a:pt x="134595" y="87547"/>
                  <a:pt x="138720" y="86167"/>
                  <a:pt x="142602" y="84614"/>
                </a:cubicBezTo>
                <a:cubicBezTo>
                  <a:pt x="142647" y="84596"/>
                  <a:pt x="163616" y="77610"/>
                  <a:pt x="167847" y="76200"/>
                </a:cubicBezTo>
                <a:cubicBezTo>
                  <a:pt x="170652" y="75265"/>
                  <a:pt x="173801" y="75035"/>
                  <a:pt x="176261" y="73395"/>
                </a:cubicBezTo>
                <a:cubicBezTo>
                  <a:pt x="187977" y="65585"/>
                  <a:pt x="182292" y="70169"/>
                  <a:pt x="193091" y="59370"/>
                </a:cubicBezTo>
                <a:cubicBezTo>
                  <a:pt x="196519" y="49085"/>
                  <a:pt x="202129" y="43476"/>
                  <a:pt x="195896" y="34126"/>
                </a:cubicBezTo>
                <a:cubicBezTo>
                  <a:pt x="193696" y="30825"/>
                  <a:pt x="190286" y="28516"/>
                  <a:pt x="187481" y="25711"/>
                </a:cubicBezTo>
                <a:cubicBezTo>
                  <a:pt x="180097" y="3560"/>
                  <a:pt x="185144" y="6544"/>
                  <a:pt x="187481" y="3272"/>
                </a:cubicBezTo>
                <a:close/>
              </a:path>
            </a:pathLst>
          </a:custGeom>
          <a:solidFill>
            <a:srgbClr val="00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5" name="Subtitle 2"/>
          <p:cNvSpPr txBox="1">
            <a:spLocks/>
          </p:cNvSpPr>
          <p:nvPr/>
        </p:nvSpPr>
        <p:spPr bwMode="auto">
          <a:xfrm>
            <a:off x="3810000" y="1092206"/>
            <a:ext cx="1219200" cy="325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2000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లిబియా</a:t>
            </a:r>
            <a:endParaRPr lang="en-IN" sz="2000">
              <a:solidFill>
                <a:schemeClr val="bg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6" name="Freeform 115"/>
          <p:cNvSpPr/>
          <p:nvPr/>
        </p:nvSpPr>
        <p:spPr>
          <a:xfrm>
            <a:off x="6565906" y="4764623"/>
            <a:ext cx="669925" cy="1204383"/>
          </a:xfrm>
          <a:custGeom>
            <a:avLst/>
            <a:gdLst>
              <a:gd name="connsiteX0" fmla="*/ 607732 w 669101"/>
              <a:gd name="connsiteY0" fmla="*/ 4091 h 1204677"/>
              <a:gd name="connsiteX1" fmla="*/ 610800 w 669101"/>
              <a:gd name="connsiteY1" fmla="*/ 43981 h 1204677"/>
              <a:gd name="connsiteX2" fmla="*/ 613869 w 669101"/>
              <a:gd name="connsiteY2" fmla="*/ 53187 h 1204677"/>
              <a:gd name="connsiteX3" fmla="*/ 623074 w 669101"/>
              <a:gd name="connsiteY3" fmla="*/ 62392 h 1204677"/>
              <a:gd name="connsiteX4" fmla="*/ 632280 w 669101"/>
              <a:gd name="connsiteY4" fmla="*/ 80803 h 1204677"/>
              <a:gd name="connsiteX5" fmla="*/ 641485 w 669101"/>
              <a:gd name="connsiteY5" fmla="*/ 108419 h 1204677"/>
              <a:gd name="connsiteX6" fmla="*/ 644553 w 669101"/>
              <a:gd name="connsiteY6" fmla="*/ 117624 h 1204677"/>
              <a:gd name="connsiteX7" fmla="*/ 647622 w 669101"/>
              <a:gd name="connsiteY7" fmla="*/ 126829 h 1204677"/>
              <a:gd name="connsiteX8" fmla="*/ 650690 w 669101"/>
              <a:gd name="connsiteY8" fmla="*/ 139103 h 1204677"/>
              <a:gd name="connsiteX9" fmla="*/ 656827 w 669101"/>
              <a:gd name="connsiteY9" fmla="*/ 163651 h 1204677"/>
              <a:gd name="connsiteX10" fmla="*/ 659896 w 669101"/>
              <a:gd name="connsiteY10" fmla="*/ 191267 h 1204677"/>
              <a:gd name="connsiteX11" fmla="*/ 666033 w 669101"/>
              <a:gd name="connsiteY11" fmla="*/ 209678 h 1204677"/>
              <a:gd name="connsiteX12" fmla="*/ 669101 w 669101"/>
              <a:gd name="connsiteY12" fmla="*/ 218883 h 1204677"/>
              <a:gd name="connsiteX13" fmla="*/ 666033 w 669101"/>
              <a:gd name="connsiteY13" fmla="*/ 332416 h 1204677"/>
              <a:gd name="connsiteX14" fmla="*/ 662964 w 669101"/>
              <a:gd name="connsiteY14" fmla="*/ 341621 h 1204677"/>
              <a:gd name="connsiteX15" fmla="*/ 650690 w 669101"/>
              <a:gd name="connsiteY15" fmla="*/ 360032 h 1204677"/>
              <a:gd name="connsiteX16" fmla="*/ 635348 w 669101"/>
              <a:gd name="connsiteY16" fmla="*/ 356964 h 1204677"/>
              <a:gd name="connsiteX17" fmla="*/ 626143 w 669101"/>
              <a:gd name="connsiteY17" fmla="*/ 338553 h 1204677"/>
              <a:gd name="connsiteX18" fmla="*/ 616937 w 669101"/>
              <a:gd name="connsiteY18" fmla="*/ 332416 h 1204677"/>
              <a:gd name="connsiteX19" fmla="*/ 607732 w 669101"/>
              <a:gd name="connsiteY19" fmla="*/ 335484 h 1204677"/>
              <a:gd name="connsiteX20" fmla="*/ 595458 w 669101"/>
              <a:gd name="connsiteY20" fmla="*/ 353895 h 1204677"/>
              <a:gd name="connsiteX21" fmla="*/ 598527 w 669101"/>
              <a:gd name="connsiteY21" fmla="*/ 369238 h 1204677"/>
              <a:gd name="connsiteX22" fmla="*/ 601595 w 669101"/>
              <a:gd name="connsiteY22" fmla="*/ 378443 h 1204677"/>
              <a:gd name="connsiteX23" fmla="*/ 598527 w 669101"/>
              <a:gd name="connsiteY23" fmla="*/ 412196 h 1204677"/>
              <a:gd name="connsiteX24" fmla="*/ 589321 w 669101"/>
              <a:gd name="connsiteY24" fmla="*/ 424470 h 1204677"/>
              <a:gd name="connsiteX25" fmla="*/ 583184 w 669101"/>
              <a:gd name="connsiteY25" fmla="*/ 433675 h 1204677"/>
              <a:gd name="connsiteX26" fmla="*/ 567842 w 669101"/>
              <a:gd name="connsiteY26" fmla="*/ 461291 h 1204677"/>
              <a:gd name="connsiteX27" fmla="*/ 561705 w 669101"/>
              <a:gd name="connsiteY27" fmla="*/ 470497 h 1204677"/>
              <a:gd name="connsiteX28" fmla="*/ 555568 w 669101"/>
              <a:gd name="connsiteY28" fmla="*/ 534934 h 1204677"/>
              <a:gd name="connsiteX29" fmla="*/ 549431 w 669101"/>
              <a:gd name="connsiteY29" fmla="*/ 553345 h 1204677"/>
              <a:gd name="connsiteX30" fmla="*/ 537158 w 669101"/>
              <a:gd name="connsiteY30" fmla="*/ 590166 h 1204677"/>
              <a:gd name="connsiteX31" fmla="*/ 518747 w 669101"/>
              <a:gd name="connsiteY31" fmla="*/ 645399 h 1204677"/>
              <a:gd name="connsiteX32" fmla="*/ 512610 w 669101"/>
              <a:gd name="connsiteY32" fmla="*/ 663809 h 1204677"/>
              <a:gd name="connsiteX33" fmla="*/ 509541 w 669101"/>
              <a:gd name="connsiteY33" fmla="*/ 673015 h 1204677"/>
              <a:gd name="connsiteX34" fmla="*/ 503404 w 669101"/>
              <a:gd name="connsiteY34" fmla="*/ 682220 h 1204677"/>
              <a:gd name="connsiteX35" fmla="*/ 484994 w 669101"/>
              <a:gd name="connsiteY35" fmla="*/ 712905 h 1204677"/>
              <a:gd name="connsiteX36" fmla="*/ 475788 w 669101"/>
              <a:gd name="connsiteY36" fmla="*/ 722110 h 1204677"/>
              <a:gd name="connsiteX37" fmla="*/ 472720 w 669101"/>
              <a:gd name="connsiteY37" fmla="*/ 731315 h 1204677"/>
              <a:gd name="connsiteX38" fmla="*/ 460446 w 669101"/>
              <a:gd name="connsiteY38" fmla="*/ 749726 h 1204677"/>
              <a:gd name="connsiteX39" fmla="*/ 454309 w 669101"/>
              <a:gd name="connsiteY39" fmla="*/ 768137 h 1204677"/>
              <a:gd name="connsiteX40" fmla="*/ 451241 w 669101"/>
              <a:gd name="connsiteY40" fmla="*/ 780411 h 1204677"/>
              <a:gd name="connsiteX41" fmla="*/ 445104 w 669101"/>
              <a:gd name="connsiteY41" fmla="*/ 798821 h 1204677"/>
              <a:gd name="connsiteX42" fmla="*/ 438967 w 669101"/>
              <a:gd name="connsiteY42" fmla="*/ 817232 h 1204677"/>
              <a:gd name="connsiteX43" fmla="*/ 435898 w 669101"/>
              <a:gd name="connsiteY43" fmla="*/ 826438 h 1204677"/>
              <a:gd name="connsiteX44" fmla="*/ 426693 w 669101"/>
              <a:gd name="connsiteY44" fmla="*/ 857122 h 1204677"/>
              <a:gd name="connsiteX45" fmla="*/ 420556 w 669101"/>
              <a:gd name="connsiteY45" fmla="*/ 866327 h 1204677"/>
              <a:gd name="connsiteX46" fmla="*/ 408282 w 669101"/>
              <a:gd name="connsiteY46" fmla="*/ 887807 h 1204677"/>
              <a:gd name="connsiteX47" fmla="*/ 402145 w 669101"/>
              <a:gd name="connsiteY47" fmla="*/ 906217 h 1204677"/>
              <a:gd name="connsiteX48" fmla="*/ 396009 w 669101"/>
              <a:gd name="connsiteY48" fmla="*/ 915423 h 1204677"/>
              <a:gd name="connsiteX49" fmla="*/ 392940 w 669101"/>
              <a:gd name="connsiteY49" fmla="*/ 924628 h 1204677"/>
              <a:gd name="connsiteX50" fmla="*/ 380666 w 669101"/>
              <a:gd name="connsiteY50" fmla="*/ 943039 h 1204677"/>
              <a:gd name="connsiteX51" fmla="*/ 374529 w 669101"/>
              <a:gd name="connsiteY51" fmla="*/ 952244 h 1204677"/>
              <a:gd name="connsiteX52" fmla="*/ 365324 w 669101"/>
              <a:gd name="connsiteY52" fmla="*/ 961450 h 1204677"/>
              <a:gd name="connsiteX53" fmla="*/ 362255 w 669101"/>
              <a:gd name="connsiteY53" fmla="*/ 970655 h 1204677"/>
              <a:gd name="connsiteX54" fmla="*/ 349982 w 669101"/>
              <a:gd name="connsiteY54" fmla="*/ 989066 h 1204677"/>
              <a:gd name="connsiteX55" fmla="*/ 343845 w 669101"/>
              <a:gd name="connsiteY55" fmla="*/ 1007476 h 1204677"/>
              <a:gd name="connsiteX56" fmla="*/ 316229 w 669101"/>
              <a:gd name="connsiteY56" fmla="*/ 1090325 h 1204677"/>
              <a:gd name="connsiteX57" fmla="*/ 310092 w 669101"/>
              <a:gd name="connsiteY57" fmla="*/ 1108736 h 1204677"/>
              <a:gd name="connsiteX58" fmla="*/ 307023 w 669101"/>
              <a:gd name="connsiteY58" fmla="*/ 1117941 h 1204677"/>
              <a:gd name="connsiteX59" fmla="*/ 294749 w 669101"/>
              <a:gd name="connsiteY59" fmla="*/ 1136352 h 1204677"/>
              <a:gd name="connsiteX60" fmla="*/ 279407 w 669101"/>
              <a:gd name="connsiteY60" fmla="*/ 1154762 h 1204677"/>
              <a:gd name="connsiteX61" fmla="*/ 251791 w 669101"/>
              <a:gd name="connsiteY61" fmla="*/ 1170105 h 1204677"/>
              <a:gd name="connsiteX62" fmla="*/ 233380 w 669101"/>
              <a:gd name="connsiteY62" fmla="*/ 1182378 h 1204677"/>
              <a:gd name="connsiteX63" fmla="*/ 202696 w 669101"/>
              <a:gd name="connsiteY63" fmla="*/ 1191584 h 1204677"/>
              <a:gd name="connsiteX64" fmla="*/ 162806 w 669101"/>
              <a:gd name="connsiteY64" fmla="*/ 1194652 h 1204677"/>
              <a:gd name="connsiteX65" fmla="*/ 153600 w 669101"/>
              <a:gd name="connsiteY65" fmla="*/ 1197721 h 1204677"/>
              <a:gd name="connsiteX66" fmla="*/ 144395 w 669101"/>
              <a:gd name="connsiteY66" fmla="*/ 1203858 h 1204677"/>
              <a:gd name="connsiteX67" fmla="*/ 107574 w 669101"/>
              <a:gd name="connsiteY67" fmla="*/ 1200789 h 1204677"/>
              <a:gd name="connsiteX68" fmla="*/ 92231 w 669101"/>
              <a:gd name="connsiteY68" fmla="*/ 1197721 h 1204677"/>
              <a:gd name="connsiteX69" fmla="*/ 73821 w 669101"/>
              <a:gd name="connsiteY69" fmla="*/ 1191584 h 1204677"/>
              <a:gd name="connsiteX70" fmla="*/ 58478 w 669101"/>
              <a:gd name="connsiteY70" fmla="*/ 1173173 h 1204677"/>
              <a:gd name="connsiteX71" fmla="*/ 46204 w 669101"/>
              <a:gd name="connsiteY71" fmla="*/ 1154762 h 1204677"/>
              <a:gd name="connsiteX72" fmla="*/ 33931 w 669101"/>
              <a:gd name="connsiteY72" fmla="*/ 1142489 h 1204677"/>
              <a:gd name="connsiteX73" fmla="*/ 15520 w 669101"/>
              <a:gd name="connsiteY73" fmla="*/ 1124078 h 1204677"/>
              <a:gd name="connsiteX74" fmla="*/ 15520 w 669101"/>
              <a:gd name="connsiteY74" fmla="*/ 1071914 h 1204677"/>
              <a:gd name="connsiteX75" fmla="*/ 18588 w 669101"/>
              <a:gd name="connsiteY75" fmla="*/ 1062709 h 1204677"/>
              <a:gd name="connsiteX76" fmla="*/ 24725 w 669101"/>
              <a:gd name="connsiteY76" fmla="*/ 1053503 h 1204677"/>
              <a:gd name="connsiteX77" fmla="*/ 30862 w 669101"/>
              <a:gd name="connsiteY77" fmla="*/ 1035093 h 1204677"/>
              <a:gd name="connsiteX78" fmla="*/ 21657 w 669101"/>
              <a:gd name="connsiteY78" fmla="*/ 1001340 h 1204677"/>
              <a:gd name="connsiteX79" fmla="*/ 18588 w 669101"/>
              <a:gd name="connsiteY79" fmla="*/ 992134 h 1204677"/>
              <a:gd name="connsiteX80" fmla="*/ 15520 w 669101"/>
              <a:gd name="connsiteY80" fmla="*/ 982929 h 1204677"/>
              <a:gd name="connsiteX81" fmla="*/ 9383 w 669101"/>
              <a:gd name="connsiteY81" fmla="*/ 973723 h 1204677"/>
              <a:gd name="connsiteX82" fmla="*/ 9383 w 669101"/>
              <a:gd name="connsiteY82" fmla="*/ 900080 h 1204677"/>
              <a:gd name="connsiteX83" fmla="*/ 15520 w 669101"/>
              <a:gd name="connsiteY83" fmla="*/ 881670 h 1204677"/>
              <a:gd name="connsiteX84" fmla="*/ 24725 w 669101"/>
              <a:gd name="connsiteY84" fmla="*/ 863259 h 1204677"/>
              <a:gd name="connsiteX85" fmla="*/ 30862 w 669101"/>
              <a:gd name="connsiteY85" fmla="*/ 841780 h 1204677"/>
              <a:gd name="connsiteX86" fmla="*/ 43136 w 669101"/>
              <a:gd name="connsiteY86" fmla="*/ 823369 h 1204677"/>
              <a:gd name="connsiteX87" fmla="*/ 55410 w 669101"/>
              <a:gd name="connsiteY87" fmla="*/ 808027 h 1204677"/>
              <a:gd name="connsiteX88" fmla="*/ 70752 w 669101"/>
              <a:gd name="connsiteY88" fmla="*/ 792684 h 1204677"/>
              <a:gd name="connsiteX89" fmla="*/ 86094 w 669101"/>
              <a:gd name="connsiteY89" fmla="*/ 774274 h 1204677"/>
              <a:gd name="connsiteX90" fmla="*/ 92231 w 669101"/>
              <a:gd name="connsiteY90" fmla="*/ 765068 h 1204677"/>
              <a:gd name="connsiteX91" fmla="*/ 101437 w 669101"/>
              <a:gd name="connsiteY91" fmla="*/ 755863 h 1204677"/>
              <a:gd name="connsiteX92" fmla="*/ 119847 w 669101"/>
              <a:gd name="connsiteY92" fmla="*/ 728247 h 1204677"/>
              <a:gd name="connsiteX93" fmla="*/ 132121 w 669101"/>
              <a:gd name="connsiteY93" fmla="*/ 700631 h 1204677"/>
              <a:gd name="connsiteX94" fmla="*/ 135190 w 669101"/>
              <a:gd name="connsiteY94" fmla="*/ 691425 h 1204677"/>
              <a:gd name="connsiteX95" fmla="*/ 132121 w 669101"/>
              <a:gd name="connsiteY95" fmla="*/ 611646 h 1204677"/>
              <a:gd name="connsiteX96" fmla="*/ 122916 w 669101"/>
              <a:gd name="connsiteY96" fmla="*/ 590166 h 1204677"/>
              <a:gd name="connsiteX97" fmla="*/ 119847 w 669101"/>
              <a:gd name="connsiteY97" fmla="*/ 580961 h 1204677"/>
              <a:gd name="connsiteX98" fmla="*/ 110642 w 669101"/>
              <a:gd name="connsiteY98" fmla="*/ 547208 h 1204677"/>
              <a:gd name="connsiteX99" fmla="*/ 113711 w 669101"/>
              <a:gd name="connsiteY99" fmla="*/ 513455 h 1204677"/>
              <a:gd name="connsiteX100" fmla="*/ 116779 w 669101"/>
              <a:gd name="connsiteY100" fmla="*/ 504250 h 1204677"/>
              <a:gd name="connsiteX101" fmla="*/ 125984 w 669101"/>
              <a:gd name="connsiteY101" fmla="*/ 495044 h 1204677"/>
              <a:gd name="connsiteX102" fmla="*/ 135190 w 669101"/>
              <a:gd name="connsiteY102" fmla="*/ 476633 h 1204677"/>
              <a:gd name="connsiteX103" fmla="*/ 141327 w 669101"/>
              <a:gd name="connsiteY103" fmla="*/ 458223 h 1204677"/>
              <a:gd name="connsiteX104" fmla="*/ 147464 w 669101"/>
              <a:gd name="connsiteY104" fmla="*/ 439812 h 1204677"/>
              <a:gd name="connsiteX105" fmla="*/ 150532 w 669101"/>
              <a:gd name="connsiteY105" fmla="*/ 430607 h 1204677"/>
              <a:gd name="connsiteX106" fmla="*/ 159737 w 669101"/>
              <a:gd name="connsiteY106" fmla="*/ 421401 h 1204677"/>
              <a:gd name="connsiteX107" fmla="*/ 172011 w 669101"/>
              <a:gd name="connsiteY107" fmla="*/ 402991 h 1204677"/>
              <a:gd name="connsiteX108" fmla="*/ 181217 w 669101"/>
              <a:gd name="connsiteY108" fmla="*/ 399922 h 1204677"/>
              <a:gd name="connsiteX109" fmla="*/ 199627 w 669101"/>
              <a:gd name="connsiteY109" fmla="*/ 387648 h 1204677"/>
              <a:gd name="connsiteX110" fmla="*/ 218038 w 669101"/>
              <a:gd name="connsiteY110" fmla="*/ 381511 h 1204677"/>
              <a:gd name="connsiteX111" fmla="*/ 227243 w 669101"/>
              <a:gd name="connsiteY111" fmla="*/ 378443 h 1204677"/>
              <a:gd name="connsiteX112" fmla="*/ 251791 w 669101"/>
              <a:gd name="connsiteY112" fmla="*/ 372306 h 1204677"/>
              <a:gd name="connsiteX113" fmla="*/ 270202 w 669101"/>
              <a:gd name="connsiteY113" fmla="*/ 366169 h 1204677"/>
              <a:gd name="connsiteX114" fmla="*/ 279407 w 669101"/>
              <a:gd name="connsiteY114" fmla="*/ 363101 h 1204677"/>
              <a:gd name="connsiteX115" fmla="*/ 297818 w 669101"/>
              <a:gd name="connsiteY115" fmla="*/ 350827 h 1204677"/>
              <a:gd name="connsiteX116" fmla="*/ 307023 w 669101"/>
              <a:gd name="connsiteY116" fmla="*/ 344690 h 1204677"/>
              <a:gd name="connsiteX117" fmla="*/ 328502 w 669101"/>
              <a:gd name="connsiteY117" fmla="*/ 332416 h 1204677"/>
              <a:gd name="connsiteX118" fmla="*/ 365324 w 669101"/>
              <a:gd name="connsiteY118" fmla="*/ 307868 h 1204677"/>
              <a:gd name="connsiteX119" fmla="*/ 374529 w 669101"/>
              <a:gd name="connsiteY119" fmla="*/ 301731 h 1204677"/>
              <a:gd name="connsiteX120" fmla="*/ 386803 w 669101"/>
              <a:gd name="connsiteY120" fmla="*/ 298663 h 1204677"/>
              <a:gd name="connsiteX121" fmla="*/ 396009 w 669101"/>
              <a:gd name="connsiteY121" fmla="*/ 292526 h 1204677"/>
              <a:gd name="connsiteX122" fmla="*/ 408282 w 669101"/>
              <a:gd name="connsiteY122" fmla="*/ 289458 h 1204677"/>
              <a:gd name="connsiteX123" fmla="*/ 417488 w 669101"/>
              <a:gd name="connsiteY123" fmla="*/ 286389 h 1204677"/>
              <a:gd name="connsiteX124" fmla="*/ 423625 w 669101"/>
              <a:gd name="connsiteY124" fmla="*/ 277184 h 1204677"/>
              <a:gd name="connsiteX125" fmla="*/ 435898 w 669101"/>
              <a:gd name="connsiteY125" fmla="*/ 271047 h 1204677"/>
              <a:gd name="connsiteX126" fmla="*/ 445104 w 669101"/>
              <a:gd name="connsiteY126" fmla="*/ 264910 h 1204677"/>
              <a:gd name="connsiteX127" fmla="*/ 451241 w 669101"/>
              <a:gd name="connsiteY127" fmla="*/ 255705 h 1204677"/>
              <a:gd name="connsiteX128" fmla="*/ 460446 w 669101"/>
              <a:gd name="connsiteY128" fmla="*/ 246499 h 1204677"/>
              <a:gd name="connsiteX129" fmla="*/ 466583 w 669101"/>
              <a:gd name="connsiteY129" fmla="*/ 228089 h 1204677"/>
              <a:gd name="connsiteX130" fmla="*/ 472720 w 669101"/>
              <a:gd name="connsiteY130" fmla="*/ 206609 h 1204677"/>
              <a:gd name="connsiteX131" fmla="*/ 478857 w 669101"/>
              <a:gd name="connsiteY131" fmla="*/ 188199 h 1204677"/>
              <a:gd name="connsiteX132" fmla="*/ 491131 w 669101"/>
              <a:gd name="connsiteY132" fmla="*/ 169788 h 1204677"/>
              <a:gd name="connsiteX133" fmla="*/ 503404 w 669101"/>
              <a:gd name="connsiteY133" fmla="*/ 163651 h 1204677"/>
              <a:gd name="connsiteX134" fmla="*/ 506473 w 669101"/>
              <a:gd name="connsiteY134" fmla="*/ 154446 h 1204677"/>
              <a:gd name="connsiteX135" fmla="*/ 515678 w 669101"/>
              <a:gd name="connsiteY135" fmla="*/ 151377 h 1204677"/>
              <a:gd name="connsiteX136" fmla="*/ 534089 w 669101"/>
              <a:gd name="connsiteY136" fmla="*/ 142172 h 1204677"/>
              <a:gd name="connsiteX137" fmla="*/ 552500 w 669101"/>
              <a:gd name="connsiteY137" fmla="*/ 105350 h 1204677"/>
              <a:gd name="connsiteX138" fmla="*/ 555568 w 669101"/>
              <a:gd name="connsiteY138" fmla="*/ 96145 h 1204677"/>
              <a:gd name="connsiteX139" fmla="*/ 558637 w 669101"/>
              <a:gd name="connsiteY139" fmla="*/ 86940 h 1204677"/>
              <a:gd name="connsiteX140" fmla="*/ 561705 w 669101"/>
              <a:gd name="connsiteY140" fmla="*/ 56255 h 1204677"/>
              <a:gd name="connsiteX141" fmla="*/ 564774 w 669101"/>
              <a:gd name="connsiteY141" fmla="*/ 47050 h 1204677"/>
              <a:gd name="connsiteX142" fmla="*/ 573979 w 669101"/>
              <a:gd name="connsiteY142" fmla="*/ 37844 h 1204677"/>
              <a:gd name="connsiteX143" fmla="*/ 592390 w 669101"/>
              <a:gd name="connsiteY143" fmla="*/ 25570 h 1204677"/>
              <a:gd name="connsiteX144" fmla="*/ 601595 w 669101"/>
              <a:gd name="connsiteY144" fmla="*/ 19433 h 1204677"/>
              <a:gd name="connsiteX145" fmla="*/ 607732 w 669101"/>
              <a:gd name="connsiteY145" fmla="*/ 4091 h 1204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</a:cxnLst>
            <a:rect l="l" t="t" r="r" b="b"/>
            <a:pathLst>
              <a:path w="669101" h="1204677">
                <a:moveTo>
                  <a:pt x="607732" y="4091"/>
                </a:moveTo>
                <a:cubicBezTo>
                  <a:pt x="609266" y="8182"/>
                  <a:pt x="609146" y="30748"/>
                  <a:pt x="610800" y="43981"/>
                </a:cubicBezTo>
                <a:cubicBezTo>
                  <a:pt x="611201" y="47191"/>
                  <a:pt x="612075" y="50496"/>
                  <a:pt x="613869" y="53187"/>
                </a:cubicBezTo>
                <a:cubicBezTo>
                  <a:pt x="616276" y="56797"/>
                  <a:pt x="620006" y="59324"/>
                  <a:pt x="623074" y="62392"/>
                </a:cubicBezTo>
                <a:cubicBezTo>
                  <a:pt x="634270" y="95971"/>
                  <a:pt x="616413" y="45102"/>
                  <a:pt x="632280" y="80803"/>
                </a:cubicBezTo>
                <a:cubicBezTo>
                  <a:pt x="632288" y="80822"/>
                  <a:pt x="639948" y="103807"/>
                  <a:pt x="641485" y="108419"/>
                </a:cubicBezTo>
                <a:lnTo>
                  <a:pt x="644553" y="117624"/>
                </a:lnTo>
                <a:cubicBezTo>
                  <a:pt x="645576" y="120692"/>
                  <a:pt x="646838" y="123691"/>
                  <a:pt x="647622" y="126829"/>
                </a:cubicBezTo>
                <a:cubicBezTo>
                  <a:pt x="648645" y="130920"/>
                  <a:pt x="649531" y="135048"/>
                  <a:pt x="650690" y="139103"/>
                </a:cubicBezTo>
                <a:cubicBezTo>
                  <a:pt x="654771" y="153388"/>
                  <a:pt x="654152" y="144925"/>
                  <a:pt x="656827" y="163651"/>
                </a:cubicBezTo>
                <a:cubicBezTo>
                  <a:pt x="658137" y="172820"/>
                  <a:pt x="658079" y="182185"/>
                  <a:pt x="659896" y="191267"/>
                </a:cubicBezTo>
                <a:cubicBezTo>
                  <a:pt x="661165" y="197610"/>
                  <a:pt x="663987" y="203541"/>
                  <a:pt x="666033" y="209678"/>
                </a:cubicBezTo>
                <a:lnTo>
                  <a:pt x="669101" y="218883"/>
                </a:lnTo>
                <a:cubicBezTo>
                  <a:pt x="668078" y="256727"/>
                  <a:pt x="667924" y="294605"/>
                  <a:pt x="666033" y="332416"/>
                </a:cubicBezTo>
                <a:cubicBezTo>
                  <a:pt x="665871" y="335646"/>
                  <a:pt x="664535" y="338794"/>
                  <a:pt x="662964" y="341621"/>
                </a:cubicBezTo>
                <a:cubicBezTo>
                  <a:pt x="659382" y="348068"/>
                  <a:pt x="650690" y="360032"/>
                  <a:pt x="650690" y="360032"/>
                </a:cubicBezTo>
                <a:cubicBezTo>
                  <a:pt x="645576" y="359009"/>
                  <a:pt x="639876" y="359552"/>
                  <a:pt x="635348" y="356964"/>
                </a:cubicBezTo>
                <a:cubicBezTo>
                  <a:pt x="625816" y="351517"/>
                  <a:pt x="631781" y="345600"/>
                  <a:pt x="626143" y="338553"/>
                </a:cubicBezTo>
                <a:cubicBezTo>
                  <a:pt x="623839" y="335673"/>
                  <a:pt x="620006" y="334462"/>
                  <a:pt x="616937" y="332416"/>
                </a:cubicBezTo>
                <a:cubicBezTo>
                  <a:pt x="613869" y="333439"/>
                  <a:pt x="610019" y="333197"/>
                  <a:pt x="607732" y="335484"/>
                </a:cubicBezTo>
                <a:cubicBezTo>
                  <a:pt x="602517" y="340699"/>
                  <a:pt x="595458" y="353895"/>
                  <a:pt x="595458" y="353895"/>
                </a:cubicBezTo>
                <a:cubicBezTo>
                  <a:pt x="596481" y="359009"/>
                  <a:pt x="597262" y="364178"/>
                  <a:pt x="598527" y="369238"/>
                </a:cubicBezTo>
                <a:cubicBezTo>
                  <a:pt x="599311" y="372376"/>
                  <a:pt x="601595" y="375209"/>
                  <a:pt x="601595" y="378443"/>
                </a:cubicBezTo>
                <a:cubicBezTo>
                  <a:pt x="601595" y="389740"/>
                  <a:pt x="601438" y="401280"/>
                  <a:pt x="598527" y="412196"/>
                </a:cubicBezTo>
                <a:cubicBezTo>
                  <a:pt x="597209" y="417138"/>
                  <a:pt x="592294" y="420308"/>
                  <a:pt x="589321" y="424470"/>
                </a:cubicBezTo>
                <a:cubicBezTo>
                  <a:pt x="587177" y="427471"/>
                  <a:pt x="585230" y="430607"/>
                  <a:pt x="583184" y="433675"/>
                </a:cubicBezTo>
                <a:cubicBezTo>
                  <a:pt x="577784" y="449878"/>
                  <a:pt x="581910" y="440188"/>
                  <a:pt x="567842" y="461291"/>
                </a:cubicBezTo>
                <a:lnTo>
                  <a:pt x="561705" y="470497"/>
                </a:lnTo>
                <a:cubicBezTo>
                  <a:pt x="551667" y="500614"/>
                  <a:pt x="565313" y="456982"/>
                  <a:pt x="555568" y="534934"/>
                </a:cubicBezTo>
                <a:cubicBezTo>
                  <a:pt x="554766" y="541353"/>
                  <a:pt x="551477" y="547208"/>
                  <a:pt x="549431" y="553345"/>
                </a:cubicBezTo>
                <a:lnTo>
                  <a:pt x="537158" y="590166"/>
                </a:lnTo>
                <a:lnTo>
                  <a:pt x="518747" y="645399"/>
                </a:lnTo>
                <a:lnTo>
                  <a:pt x="512610" y="663809"/>
                </a:lnTo>
                <a:cubicBezTo>
                  <a:pt x="511587" y="666878"/>
                  <a:pt x="511335" y="670324"/>
                  <a:pt x="509541" y="673015"/>
                </a:cubicBezTo>
                <a:cubicBezTo>
                  <a:pt x="507495" y="676083"/>
                  <a:pt x="505234" y="679018"/>
                  <a:pt x="503404" y="682220"/>
                </a:cubicBezTo>
                <a:cubicBezTo>
                  <a:pt x="496946" y="693522"/>
                  <a:pt x="495006" y="702894"/>
                  <a:pt x="484994" y="712905"/>
                </a:cubicBezTo>
                <a:lnTo>
                  <a:pt x="475788" y="722110"/>
                </a:lnTo>
                <a:cubicBezTo>
                  <a:pt x="474765" y="725178"/>
                  <a:pt x="474291" y="728488"/>
                  <a:pt x="472720" y="731315"/>
                </a:cubicBezTo>
                <a:cubicBezTo>
                  <a:pt x="469138" y="737763"/>
                  <a:pt x="460446" y="749726"/>
                  <a:pt x="460446" y="749726"/>
                </a:cubicBezTo>
                <a:cubicBezTo>
                  <a:pt x="458400" y="755863"/>
                  <a:pt x="455878" y="761861"/>
                  <a:pt x="454309" y="768137"/>
                </a:cubicBezTo>
                <a:cubicBezTo>
                  <a:pt x="453286" y="772228"/>
                  <a:pt x="452453" y="776372"/>
                  <a:pt x="451241" y="780411"/>
                </a:cubicBezTo>
                <a:cubicBezTo>
                  <a:pt x="449382" y="786607"/>
                  <a:pt x="447150" y="792684"/>
                  <a:pt x="445104" y="798821"/>
                </a:cubicBezTo>
                <a:lnTo>
                  <a:pt x="438967" y="817232"/>
                </a:lnTo>
                <a:cubicBezTo>
                  <a:pt x="437944" y="820301"/>
                  <a:pt x="436682" y="823300"/>
                  <a:pt x="435898" y="826438"/>
                </a:cubicBezTo>
                <a:cubicBezTo>
                  <a:pt x="434183" y="833300"/>
                  <a:pt x="429682" y="852639"/>
                  <a:pt x="426693" y="857122"/>
                </a:cubicBezTo>
                <a:lnTo>
                  <a:pt x="420556" y="866327"/>
                </a:lnTo>
                <a:cubicBezTo>
                  <a:pt x="412131" y="900034"/>
                  <a:pt x="424900" y="857896"/>
                  <a:pt x="408282" y="887807"/>
                </a:cubicBezTo>
                <a:cubicBezTo>
                  <a:pt x="405140" y="893462"/>
                  <a:pt x="405733" y="900834"/>
                  <a:pt x="402145" y="906217"/>
                </a:cubicBezTo>
                <a:cubicBezTo>
                  <a:pt x="400100" y="909286"/>
                  <a:pt x="397658" y="912124"/>
                  <a:pt x="396009" y="915423"/>
                </a:cubicBezTo>
                <a:cubicBezTo>
                  <a:pt x="394563" y="918316"/>
                  <a:pt x="394511" y="921801"/>
                  <a:pt x="392940" y="924628"/>
                </a:cubicBezTo>
                <a:cubicBezTo>
                  <a:pt x="389358" y="931075"/>
                  <a:pt x="384757" y="936902"/>
                  <a:pt x="380666" y="943039"/>
                </a:cubicBezTo>
                <a:cubicBezTo>
                  <a:pt x="378620" y="946107"/>
                  <a:pt x="377136" y="949636"/>
                  <a:pt x="374529" y="952244"/>
                </a:cubicBezTo>
                <a:lnTo>
                  <a:pt x="365324" y="961450"/>
                </a:lnTo>
                <a:cubicBezTo>
                  <a:pt x="364301" y="964518"/>
                  <a:pt x="363826" y="967828"/>
                  <a:pt x="362255" y="970655"/>
                </a:cubicBezTo>
                <a:cubicBezTo>
                  <a:pt x="358673" y="977102"/>
                  <a:pt x="352314" y="982069"/>
                  <a:pt x="349982" y="989066"/>
                </a:cubicBezTo>
                <a:lnTo>
                  <a:pt x="343845" y="1007476"/>
                </a:lnTo>
                <a:lnTo>
                  <a:pt x="316229" y="1090325"/>
                </a:lnTo>
                <a:lnTo>
                  <a:pt x="310092" y="1108736"/>
                </a:lnTo>
                <a:cubicBezTo>
                  <a:pt x="309069" y="1111804"/>
                  <a:pt x="308817" y="1115250"/>
                  <a:pt x="307023" y="1117941"/>
                </a:cubicBezTo>
                <a:lnTo>
                  <a:pt x="294749" y="1136352"/>
                </a:lnTo>
                <a:cubicBezTo>
                  <a:pt x="289292" y="1144538"/>
                  <a:pt x="287589" y="1148399"/>
                  <a:pt x="279407" y="1154762"/>
                </a:cubicBezTo>
                <a:cubicBezTo>
                  <a:pt x="231916" y="1191698"/>
                  <a:pt x="279565" y="1154675"/>
                  <a:pt x="251791" y="1170105"/>
                </a:cubicBezTo>
                <a:cubicBezTo>
                  <a:pt x="245344" y="1173687"/>
                  <a:pt x="240377" y="1180046"/>
                  <a:pt x="233380" y="1182378"/>
                </a:cubicBezTo>
                <a:cubicBezTo>
                  <a:pt x="228432" y="1184027"/>
                  <a:pt x="209860" y="1190741"/>
                  <a:pt x="202696" y="1191584"/>
                </a:cubicBezTo>
                <a:cubicBezTo>
                  <a:pt x="189451" y="1193142"/>
                  <a:pt x="176103" y="1193629"/>
                  <a:pt x="162806" y="1194652"/>
                </a:cubicBezTo>
                <a:cubicBezTo>
                  <a:pt x="159737" y="1195675"/>
                  <a:pt x="156493" y="1196274"/>
                  <a:pt x="153600" y="1197721"/>
                </a:cubicBezTo>
                <a:cubicBezTo>
                  <a:pt x="150302" y="1199370"/>
                  <a:pt x="148075" y="1203613"/>
                  <a:pt x="144395" y="1203858"/>
                </a:cubicBezTo>
                <a:cubicBezTo>
                  <a:pt x="132106" y="1204677"/>
                  <a:pt x="119848" y="1201812"/>
                  <a:pt x="107574" y="1200789"/>
                </a:cubicBezTo>
                <a:cubicBezTo>
                  <a:pt x="102460" y="1199766"/>
                  <a:pt x="97263" y="1199093"/>
                  <a:pt x="92231" y="1197721"/>
                </a:cubicBezTo>
                <a:cubicBezTo>
                  <a:pt x="85990" y="1196019"/>
                  <a:pt x="73821" y="1191584"/>
                  <a:pt x="73821" y="1191584"/>
                </a:cubicBezTo>
                <a:cubicBezTo>
                  <a:pt x="67036" y="1184799"/>
                  <a:pt x="62749" y="1181716"/>
                  <a:pt x="58478" y="1173173"/>
                </a:cubicBezTo>
                <a:cubicBezTo>
                  <a:pt x="49596" y="1155409"/>
                  <a:pt x="63657" y="1172215"/>
                  <a:pt x="46204" y="1154762"/>
                </a:cubicBezTo>
                <a:cubicBezTo>
                  <a:pt x="39659" y="1135124"/>
                  <a:pt x="48659" y="1153944"/>
                  <a:pt x="33931" y="1142489"/>
                </a:cubicBezTo>
                <a:cubicBezTo>
                  <a:pt x="27080" y="1137161"/>
                  <a:pt x="15520" y="1124078"/>
                  <a:pt x="15520" y="1124078"/>
                </a:cubicBezTo>
                <a:cubicBezTo>
                  <a:pt x="8266" y="1102319"/>
                  <a:pt x="10643" y="1113367"/>
                  <a:pt x="15520" y="1071914"/>
                </a:cubicBezTo>
                <a:cubicBezTo>
                  <a:pt x="15898" y="1068702"/>
                  <a:pt x="17142" y="1065602"/>
                  <a:pt x="18588" y="1062709"/>
                </a:cubicBezTo>
                <a:cubicBezTo>
                  <a:pt x="20237" y="1059410"/>
                  <a:pt x="23227" y="1056873"/>
                  <a:pt x="24725" y="1053503"/>
                </a:cubicBezTo>
                <a:cubicBezTo>
                  <a:pt x="27352" y="1047592"/>
                  <a:pt x="30862" y="1035093"/>
                  <a:pt x="30862" y="1035093"/>
                </a:cubicBezTo>
                <a:cubicBezTo>
                  <a:pt x="26526" y="1013408"/>
                  <a:pt x="29443" y="1024697"/>
                  <a:pt x="21657" y="1001340"/>
                </a:cubicBezTo>
                <a:lnTo>
                  <a:pt x="18588" y="992134"/>
                </a:lnTo>
                <a:cubicBezTo>
                  <a:pt x="17565" y="989066"/>
                  <a:pt x="17314" y="985620"/>
                  <a:pt x="15520" y="982929"/>
                </a:cubicBezTo>
                <a:lnTo>
                  <a:pt x="9383" y="973723"/>
                </a:lnTo>
                <a:cubicBezTo>
                  <a:pt x="0" y="945572"/>
                  <a:pt x="2939" y="958080"/>
                  <a:pt x="9383" y="900080"/>
                </a:cubicBezTo>
                <a:cubicBezTo>
                  <a:pt x="10097" y="893651"/>
                  <a:pt x="13474" y="887807"/>
                  <a:pt x="15520" y="881670"/>
                </a:cubicBezTo>
                <a:cubicBezTo>
                  <a:pt x="19755" y="868963"/>
                  <a:pt x="16792" y="875158"/>
                  <a:pt x="24725" y="863259"/>
                </a:cubicBezTo>
                <a:cubicBezTo>
                  <a:pt x="25446" y="860374"/>
                  <a:pt x="28863" y="845379"/>
                  <a:pt x="30862" y="841780"/>
                </a:cubicBezTo>
                <a:cubicBezTo>
                  <a:pt x="34444" y="835332"/>
                  <a:pt x="43136" y="823369"/>
                  <a:pt x="43136" y="823369"/>
                </a:cubicBezTo>
                <a:cubicBezTo>
                  <a:pt x="49109" y="805448"/>
                  <a:pt x="41530" y="821907"/>
                  <a:pt x="55410" y="808027"/>
                </a:cubicBezTo>
                <a:cubicBezTo>
                  <a:pt x="75870" y="787567"/>
                  <a:pt x="46202" y="809051"/>
                  <a:pt x="70752" y="792684"/>
                </a:cubicBezTo>
                <a:cubicBezTo>
                  <a:pt x="85993" y="769824"/>
                  <a:pt x="66402" y="797906"/>
                  <a:pt x="86094" y="774274"/>
                </a:cubicBezTo>
                <a:cubicBezTo>
                  <a:pt x="88455" y="771441"/>
                  <a:pt x="89870" y="767901"/>
                  <a:pt x="92231" y="765068"/>
                </a:cubicBezTo>
                <a:cubicBezTo>
                  <a:pt x="95009" y="761734"/>
                  <a:pt x="98773" y="759288"/>
                  <a:pt x="101437" y="755863"/>
                </a:cubicBezTo>
                <a:cubicBezTo>
                  <a:pt x="101451" y="755845"/>
                  <a:pt x="116772" y="732860"/>
                  <a:pt x="119847" y="728247"/>
                </a:cubicBezTo>
                <a:cubicBezTo>
                  <a:pt x="129574" y="713657"/>
                  <a:pt x="124816" y="722545"/>
                  <a:pt x="132121" y="700631"/>
                </a:cubicBezTo>
                <a:lnTo>
                  <a:pt x="135190" y="691425"/>
                </a:lnTo>
                <a:cubicBezTo>
                  <a:pt x="134167" y="664832"/>
                  <a:pt x="133891" y="638200"/>
                  <a:pt x="132121" y="611646"/>
                </a:cubicBezTo>
                <a:cubicBezTo>
                  <a:pt x="131139" y="596909"/>
                  <a:pt x="128786" y="601906"/>
                  <a:pt x="122916" y="590166"/>
                </a:cubicBezTo>
                <a:cubicBezTo>
                  <a:pt x="121469" y="587273"/>
                  <a:pt x="120698" y="584081"/>
                  <a:pt x="119847" y="580961"/>
                </a:cubicBezTo>
                <a:cubicBezTo>
                  <a:pt x="109465" y="542894"/>
                  <a:pt x="117706" y="568395"/>
                  <a:pt x="110642" y="547208"/>
                </a:cubicBezTo>
                <a:cubicBezTo>
                  <a:pt x="111665" y="535957"/>
                  <a:pt x="112113" y="524639"/>
                  <a:pt x="113711" y="513455"/>
                </a:cubicBezTo>
                <a:cubicBezTo>
                  <a:pt x="114168" y="510253"/>
                  <a:pt x="114985" y="506941"/>
                  <a:pt x="116779" y="504250"/>
                </a:cubicBezTo>
                <a:cubicBezTo>
                  <a:pt x="119186" y="500639"/>
                  <a:pt x="122916" y="498113"/>
                  <a:pt x="125984" y="495044"/>
                </a:cubicBezTo>
                <a:cubicBezTo>
                  <a:pt x="137180" y="461465"/>
                  <a:pt x="119323" y="512334"/>
                  <a:pt x="135190" y="476633"/>
                </a:cubicBezTo>
                <a:cubicBezTo>
                  <a:pt x="137817" y="470722"/>
                  <a:pt x="139281" y="464360"/>
                  <a:pt x="141327" y="458223"/>
                </a:cubicBezTo>
                <a:lnTo>
                  <a:pt x="147464" y="439812"/>
                </a:lnTo>
                <a:cubicBezTo>
                  <a:pt x="148487" y="436744"/>
                  <a:pt x="148245" y="432894"/>
                  <a:pt x="150532" y="430607"/>
                </a:cubicBezTo>
                <a:cubicBezTo>
                  <a:pt x="153600" y="427538"/>
                  <a:pt x="157073" y="424826"/>
                  <a:pt x="159737" y="421401"/>
                </a:cubicBezTo>
                <a:cubicBezTo>
                  <a:pt x="164265" y="415579"/>
                  <a:pt x="165014" y="405324"/>
                  <a:pt x="172011" y="402991"/>
                </a:cubicBezTo>
                <a:cubicBezTo>
                  <a:pt x="175080" y="401968"/>
                  <a:pt x="178389" y="401493"/>
                  <a:pt x="181217" y="399922"/>
                </a:cubicBezTo>
                <a:cubicBezTo>
                  <a:pt x="187664" y="396340"/>
                  <a:pt x="192630" y="389980"/>
                  <a:pt x="199627" y="387648"/>
                </a:cubicBezTo>
                <a:lnTo>
                  <a:pt x="218038" y="381511"/>
                </a:lnTo>
                <a:cubicBezTo>
                  <a:pt x="221106" y="380488"/>
                  <a:pt x="224105" y="379227"/>
                  <a:pt x="227243" y="378443"/>
                </a:cubicBezTo>
                <a:cubicBezTo>
                  <a:pt x="235426" y="376397"/>
                  <a:pt x="243789" y="374973"/>
                  <a:pt x="251791" y="372306"/>
                </a:cubicBezTo>
                <a:lnTo>
                  <a:pt x="270202" y="366169"/>
                </a:lnTo>
                <a:lnTo>
                  <a:pt x="279407" y="363101"/>
                </a:lnTo>
                <a:lnTo>
                  <a:pt x="297818" y="350827"/>
                </a:lnTo>
                <a:cubicBezTo>
                  <a:pt x="300886" y="348781"/>
                  <a:pt x="304073" y="346903"/>
                  <a:pt x="307023" y="344690"/>
                </a:cubicBezTo>
                <a:cubicBezTo>
                  <a:pt x="321884" y="333543"/>
                  <a:pt x="314445" y="337101"/>
                  <a:pt x="328502" y="332416"/>
                </a:cubicBezTo>
                <a:lnTo>
                  <a:pt x="365324" y="307868"/>
                </a:lnTo>
                <a:cubicBezTo>
                  <a:pt x="368392" y="305822"/>
                  <a:pt x="370951" y="302625"/>
                  <a:pt x="374529" y="301731"/>
                </a:cubicBezTo>
                <a:lnTo>
                  <a:pt x="386803" y="298663"/>
                </a:lnTo>
                <a:cubicBezTo>
                  <a:pt x="389872" y="296617"/>
                  <a:pt x="392619" y="293979"/>
                  <a:pt x="396009" y="292526"/>
                </a:cubicBezTo>
                <a:cubicBezTo>
                  <a:pt x="399885" y="290865"/>
                  <a:pt x="404227" y="290616"/>
                  <a:pt x="408282" y="289458"/>
                </a:cubicBezTo>
                <a:cubicBezTo>
                  <a:pt x="411392" y="288569"/>
                  <a:pt x="414419" y="287412"/>
                  <a:pt x="417488" y="286389"/>
                </a:cubicBezTo>
                <a:cubicBezTo>
                  <a:pt x="419534" y="283321"/>
                  <a:pt x="420792" y="279545"/>
                  <a:pt x="423625" y="277184"/>
                </a:cubicBezTo>
                <a:cubicBezTo>
                  <a:pt x="427139" y="274256"/>
                  <a:pt x="431927" y="273316"/>
                  <a:pt x="435898" y="271047"/>
                </a:cubicBezTo>
                <a:cubicBezTo>
                  <a:pt x="439100" y="269217"/>
                  <a:pt x="442035" y="266956"/>
                  <a:pt x="445104" y="264910"/>
                </a:cubicBezTo>
                <a:cubicBezTo>
                  <a:pt x="447150" y="261842"/>
                  <a:pt x="448880" y="258538"/>
                  <a:pt x="451241" y="255705"/>
                </a:cubicBezTo>
                <a:cubicBezTo>
                  <a:pt x="454019" y="252371"/>
                  <a:pt x="458339" y="250292"/>
                  <a:pt x="460446" y="246499"/>
                </a:cubicBezTo>
                <a:cubicBezTo>
                  <a:pt x="463587" y="240844"/>
                  <a:pt x="464537" y="234226"/>
                  <a:pt x="466583" y="228089"/>
                </a:cubicBezTo>
                <a:cubicBezTo>
                  <a:pt x="476892" y="197160"/>
                  <a:pt x="461163" y="245127"/>
                  <a:pt x="472720" y="206609"/>
                </a:cubicBezTo>
                <a:cubicBezTo>
                  <a:pt x="474579" y="200413"/>
                  <a:pt x="475269" y="193581"/>
                  <a:pt x="478857" y="188199"/>
                </a:cubicBezTo>
                <a:cubicBezTo>
                  <a:pt x="482948" y="182062"/>
                  <a:pt x="484534" y="173087"/>
                  <a:pt x="491131" y="169788"/>
                </a:cubicBezTo>
                <a:lnTo>
                  <a:pt x="503404" y="163651"/>
                </a:lnTo>
                <a:cubicBezTo>
                  <a:pt x="504427" y="160583"/>
                  <a:pt x="504186" y="156733"/>
                  <a:pt x="506473" y="154446"/>
                </a:cubicBezTo>
                <a:cubicBezTo>
                  <a:pt x="508760" y="152159"/>
                  <a:pt x="512785" y="152824"/>
                  <a:pt x="515678" y="151377"/>
                </a:cubicBezTo>
                <a:cubicBezTo>
                  <a:pt x="539463" y="139484"/>
                  <a:pt x="510960" y="149881"/>
                  <a:pt x="534089" y="142172"/>
                </a:cubicBezTo>
                <a:cubicBezTo>
                  <a:pt x="549951" y="118380"/>
                  <a:pt x="544031" y="130757"/>
                  <a:pt x="552500" y="105350"/>
                </a:cubicBezTo>
                <a:lnTo>
                  <a:pt x="555568" y="96145"/>
                </a:lnTo>
                <a:lnTo>
                  <a:pt x="558637" y="86940"/>
                </a:lnTo>
                <a:cubicBezTo>
                  <a:pt x="559660" y="76712"/>
                  <a:pt x="560142" y="66415"/>
                  <a:pt x="561705" y="56255"/>
                </a:cubicBezTo>
                <a:cubicBezTo>
                  <a:pt x="562197" y="53058"/>
                  <a:pt x="562980" y="49741"/>
                  <a:pt x="564774" y="47050"/>
                </a:cubicBezTo>
                <a:cubicBezTo>
                  <a:pt x="567181" y="43439"/>
                  <a:pt x="570554" y="40508"/>
                  <a:pt x="573979" y="37844"/>
                </a:cubicBezTo>
                <a:cubicBezTo>
                  <a:pt x="579801" y="33316"/>
                  <a:pt x="586253" y="29661"/>
                  <a:pt x="592390" y="25570"/>
                </a:cubicBezTo>
                <a:lnTo>
                  <a:pt x="601595" y="19433"/>
                </a:lnTo>
                <a:cubicBezTo>
                  <a:pt x="612005" y="12493"/>
                  <a:pt x="606198" y="0"/>
                  <a:pt x="607732" y="4091"/>
                </a:cubicBezTo>
                <a:close/>
              </a:path>
            </a:pathLst>
          </a:custGeom>
          <a:solidFill>
            <a:srgbClr val="9F7DD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7" name="Freeform 116"/>
          <p:cNvSpPr/>
          <p:nvPr/>
        </p:nvSpPr>
        <p:spPr>
          <a:xfrm>
            <a:off x="6051550" y="2072221"/>
            <a:ext cx="565150" cy="491067"/>
          </a:xfrm>
          <a:custGeom>
            <a:avLst/>
            <a:gdLst>
              <a:gd name="connsiteX0" fmla="*/ 519248 w 564968"/>
              <a:gd name="connsiteY0" fmla="*/ 486591 h 489857"/>
              <a:gd name="connsiteX1" fmla="*/ 551905 w 564968"/>
              <a:gd name="connsiteY1" fmla="*/ 483325 h 489857"/>
              <a:gd name="connsiteX2" fmla="*/ 561702 w 564968"/>
              <a:gd name="connsiteY2" fmla="*/ 480060 h 489857"/>
              <a:gd name="connsiteX3" fmla="*/ 564968 w 564968"/>
              <a:gd name="connsiteY3" fmla="*/ 470262 h 489857"/>
              <a:gd name="connsiteX4" fmla="*/ 545374 w 564968"/>
              <a:gd name="connsiteY4" fmla="*/ 457200 h 489857"/>
              <a:gd name="connsiteX5" fmla="*/ 525780 w 564968"/>
              <a:gd name="connsiteY5" fmla="*/ 450668 h 489857"/>
              <a:gd name="connsiteX6" fmla="*/ 519248 w 564968"/>
              <a:gd name="connsiteY6" fmla="*/ 444137 h 489857"/>
              <a:gd name="connsiteX7" fmla="*/ 512717 w 564968"/>
              <a:gd name="connsiteY7" fmla="*/ 401682 h 489857"/>
              <a:gd name="connsiteX8" fmla="*/ 486591 w 564968"/>
              <a:gd name="connsiteY8" fmla="*/ 385354 h 489857"/>
              <a:gd name="connsiteX9" fmla="*/ 476794 w 564968"/>
              <a:gd name="connsiteY9" fmla="*/ 382088 h 489857"/>
              <a:gd name="connsiteX10" fmla="*/ 466997 w 564968"/>
              <a:gd name="connsiteY10" fmla="*/ 378822 h 489857"/>
              <a:gd name="connsiteX11" fmla="*/ 453934 w 564968"/>
              <a:gd name="connsiteY11" fmla="*/ 375557 h 489857"/>
              <a:gd name="connsiteX12" fmla="*/ 447402 w 564968"/>
              <a:gd name="connsiteY12" fmla="*/ 369025 h 489857"/>
              <a:gd name="connsiteX13" fmla="*/ 434340 w 564968"/>
              <a:gd name="connsiteY13" fmla="*/ 349431 h 489857"/>
              <a:gd name="connsiteX14" fmla="*/ 421277 w 564968"/>
              <a:gd name="connsiteY14" fmla="*/ 336368 h 489857"/>
              <a:gd name="connsiteX15" fmla="*/ 414745 w 564968"/>
              <a:gd name="connsiteY15" fmla="*/ 329837 h 489857"/>
              <a:gd name="connsiteX16" fmla="*/ 408214 w 564968"/>
              <a:gd name="connsiteY16" fmla="*/ 320040 h 489857"/>
              <a:gd name="connsiteX17" fmla="*/ 391885 w 564968"/>
              <a:gd name="connsiteY17" fmla="*/ 306977 h 489857"/>
              <a:gd name="connsiteX18" fmla="*/ 382088 w 564968"/>
              <a:gd name="connsiteY18" fmla="*/ 303711 h 489857"/>
              <a:gd name="connsiteX19" fmla="*/ 362494 w 564968"/>
              <a:gd name="connsiteY19" fmla="*/ 293914 h 489857"/>
              <a:gd name="connsiteX20" fmla="*/ 346165 w 564968"/>
              <a:gd name="connsiteY20" fmla="*/ 290648 h 489857"/>
              <a:gd name="connsiteX21" fmla="*/ 326571 w 564968"/>
              <a:gd name="connsiteY21" fmla="*/ 284117 h 489857"/>
              <a:gd name="connsiteX22" fmla="*/ 310242 w 564968"/>
              <a:gd name="connsiteY22" fmla="*/ 271054 h 489857"/>
              <a:gd name="connsiteX23" fmla="*/ 300445 w 564968"/>
              <a:gd name="connsiteY23" fmla="*/ 254725 h 489857"/>
              <a:gd name="connsiteX24" fmla="*/ 280851 w 564968"/>
              <a:gd name="connsiteY24" fmla="*/ 248194 h 489857"/>
              <a:gd name="connsiteX25" fmla="*/ 271054 w 564968"/>
              <a:gd name="connsiteY25" fmla="*/ 244928 h 489857"/>
              <a:gd name="connsiteX26" fmla="*/ 257991 w 564968"/>
              <a:gd name="connsiteY26" fmla="*/ 231865 h 489857"/>
              <a:gd name="connsiteX27" fmla="*/ 244928 w 564968"/>
              <a:gd name="connsiteY27" fmla="*/ 192677 h 489857"/>
              <a:gd name="connsiteX28" fmla="*/ 241662 w 564968"/>
              <a:gd name="connsiteY28" fmla="*/ 182880 h 489857"/>
              <a:gd name="connsiteX29" fmla="*/ 228600 w 564968"/>
              <a:gd name="connsiteY29" fmla="*/ 163285 h 489857"/>
              <a:gd name="connsiteX30" fmla="*/ 225334 w 564968"/>
              <a:gd name="connsiteY30" fmla="*/ 153488 h 489857"/>
              <a:gd name="connsiteX31" fmla="*/ 212271 w 564968"/>
              <a:gd name="connsiteY31" fmla="*/ 133894 h 489857"/>
              <a:gd name="connsiteX32" fmla="*/ 199208 w 564968"/>
              <a:gd name="connsiteY32" fmla="*/ 26125 h 489857"/>
              <a:gd name="connsiteX33" fmla="*/ 186145 w 564968"/>
              <a:gd name="connsiteY33" fmla="*/ 0 h 489857"/>
              <a:gd name="connsiteX34" fmla="*/ 166551 w 564968"/>
              <a:gd name="connsiteY34" fmla="*/ 3265 h 489857"/>
              <a:gd name="connsiteX35" fmla="*/ 143691 w 564968"/>
              <a:gd name="connsiteY35" fmla="*/ 29391 h 489857"/>
              <a:gd name="connsiteX36" fmla="*/ 133894 w 564968"/>
              <a:gd name="connsiteY36" fmla="*/ 35922 h 489857"/>
              <a:gd name="connsiteX37" fmla="*/ 124097 w 564968"/>
              <a:gd name="connsiteY37" fmla="*/ 55517 h 489857"/>
              <a:gd name="connsiteX38" fmla="*/ 120831 w 564968"/>
              <a:gd name="connsiteY38" fmla="*/ 65314 h 489857"/>
              <a:gd name="connsiteX39" fmla="*/ 107768 w 564968"/>
              <a:gd name="connsiteY39" fmla="*/ 81642 h 489857"/>
              <a:gd name="connsiteX40" fmla="*/ 97971 w 564968"/>
              <a:gd name="connsiteY40" fmla="*/ 84908 h 489857"/>
              <a:gd name="connsiteX41" fmla="*/ 81642 w 564968"/>
              <a:gd name="connsiteY41" fmla="*/ 97971 h 489857"/>
              <a:gd name="connsiteX42" fmla="*/ 71845 w 564968"/>
              <a:gd name="connsiteY42" fmla="*/ 101237 h 489857"/>
              <a:gd name="connsiteX43" fmla="*/ 62048 w 564968"/>
              <a:gd name="connsiteY43" fmla="*/ 111034 h 489857"/>
              <a:gd name="connsiteX44" fmla="*/ 42454 w 564968"/>
              <a:gd name="connsiteY44" fmla="*/ 124097 h 489857"/>
              <a:gd name="connsiteX45" fmla="*/ 32657 w 564968"/>
              <a:gd name="connsiteY45" fmla="*/ 146957 h 489857"/>
              <a:gd name="connsiteX46" fmla="*/ 22860 w 564968"/>
              <a:gd name="connsiteY46" fmla="*/ 169817 h 489857"/>
              <a:gd name="connsiteX47" fmla="*/ 16328 w 564968"/>
              <a:gd name="connsiteY47" fmla="*/ 195942 h 489857"/>
              <a:gd name="connsiteX48" fmla="*/ 13062 w 564968"/>
              <a:gd name="connsiteY48" fmla="*/ 205740 h 489857"/>
              <a:gd name="connsiteX49" fmla="*/ 6531 w 564968"/>
              <a:gd name="connsiteY49" fmla="*/ 215537 h 489857"/>
              <a:gd name="connsiteX50" fmla="*/ 0 w 564968"/>
              <a:gd name="connsiteY50" fmla="*/ 244928 h 489857"/>
              <a:gd name="connsiteX51" fmla="*/ 3265 w 564968"/>
              <a:gd name="connsiteY51" fmla="*/ 300445 h 489857"/>
              <a:gd name="connsiteX52" fmla="*/ 6531 w 564968"/>
              <a:gd name="connsiteY52" fmla="*/ 339634 h 489857"/>
              <a:gd name="connsiteX53" fmla="*/ 9797 w 564968"/>
              <a:gd name="connsiteY53" fmla="*/ 349431 h 489857"/>
              <a:gd name="connsiteX54" fmla="*/ 19594 w 564968"/>
              <a:gd name="connsiteY54" fmla="*/ 352697 h 489857"/>
              <a:gd name="connsiteX55" fmla="*/ 104502 w 564968"/>
              <a:gd name="connsiteY55" fmla="*/ 349431 h 489857"/>
              <a:gd name="connsiteX56" fmla="*/ 107768 w 564968"/>
              <a:gd name="connsiteY56" fmla="*/ 339634 h 489857"/>
              <a:gd name="connsiteX57" fmla="*/ 114300 w 564968"/>
              <a:gd name="connsiteY57" fmla="*/ 333102 h 489857"/>
              <a:gd name="connsiteX58" fmla="*/ 120831 w 564968"/>
              <a:gd name="connsiteY58" fmla="*/ 313508 h 489857"/>
              <a:gd name="connsiteX59" fmla="*/ 124097 w 564968"/>
              <a:gd name="connsiteY59" fmla="*/ 303711 h 489857"/>
              <a:gd name="connsiteX60" fmla="*/ 133894 w 564968"/>
              <a:gd name="connsiteY60" fmla="*/ 300445 h 489857"/>
              <a:gd name="connsiteX61" fmla="*/ 150222 w 564968"/>
              <a:gd name="connsiteY61" fmla="*/ 303711 h 489857"/>
              <a:gd name="connsiteX62" fmla="*/ 153488 w 564968"/>
              <a:gd name="connsiteY62" fmla="*/ 313508 h 489857"/>
              <a:gd name="connsiteX63" fmla="*/ 156754 w 564968"/>
              <a:gd name="connsiteY63" fmla="*/ 326571 h 489857"/>
              <a:gd name="connsiteX64" fmla="*/ 166551 w 564968"/>
              <a:gd name="connsiteY64" fmla="*/ 329837 h 489857"/>
              <a:gd name="connsiteX65" fmla="*/ 202474 w 564968"/>
              <a:gd name="connsiteY65" fmla="*/ 323305 h 489857"/>
              <a:gd name="connsiteX66" fmla="*/ 222068 w 564968"/>
              <a:gd name="connsiteY66" fmla="*/ 310242 h 489857"/>
              <a:gd name="connsiteX67" fmla="*/ 244928 w 564968"/>
              <a:gd name="connsiteY67" fmla="*/ 313508 h 489857"/>
              <a:gd name="connsiteX68" fmla="*/ 251460 w 564968"/>
              <a:gd name="connsiteY68" fmla="*/ 320040 h 489857"/>
              <a:gd name="connsiteX69" fmla="*/ 271054 w 564968"/>
              <a:gd name="connsiteY69" fmla="*/ 329837 h 489857"/>
              <a:gd name="connsiteX70" fmla="*/ 310242 w 564968"/>
              <a:gd name="connsiteY70" fmla="*/ 326571 h 489857"/>
              <a:gd name="connsiteX71" fmla="*/ 320040 w 564968"/>
              <a:gd name="connsiteY71" fmla="*/ 323305 h 489857"/>
              <a:gd name="connsiteX72" fmla="*/ 355962 w 564968"/>
              <a:gd name="connsiteY72" fmla="*/ 326571 h 489857"/>
              <a:gd name="connsiteX73" fmla="*/ 369025 w 564968"/>
              <a:gd name="connsiteY73" fmla="*/ 339634 h 489857"/>
              <a:gd name="connsiteX74" fmla="*/ 372291 w 564968"/>
              <a:gd name="connsiteY74" fmla="*/ 349431 h 489857"/>
              <a:gd name="connsiteX75" fmla="*/ 391885 w 564968"/>
              <a:gd name="connsiteY75" fmla="*/ 362494 h 489857"/>
              <a:gd name="connsiteX76" fmla="*/ 404948 w 564968"/>
              <a:gd name="connsiteY76" fmla="*/ 375557 h 489857"/>
              <a:gd name="connsiteX77" fmla="*/ 411480 w 564968"/>
              <a:gd name="connsiteY77" fmla="*/ 382088 h 489857"/>
              <a:gd name="connsiteX78" fmla="*/ 414745 w 564968"/>
              <a:gd name="connsiteY78" fmla="*/ 391885 h 489857"/>
              <a:gd name="connsiteX79" fmla="*/ 431074 w 564968"/>
              <a:gd name="connsiteY79" fmla="*/ 404948 h 489857"/>
              <a:gd name="connsiteX80" fmla="*/ 447402 w 564968"/>
              <a:gd name="connsiteY80" fmla="*/ 414745 h 489857"/>
              <a:gd name="connsiteX81" fmla="*/ 460465 w 564968"/>
              <a:gd name="connsiteY81" fmla="*/ 431074 h 489857"/>
              <a:gd name="connsiteX82" fmla="*/ 466997 w 564968"/>
              <a:gd name="connsiteY82" fmla="*/ 437605 h 489857"/>
              <a:gd name="connsiteX83" fmla="*/ 480060 w 564968"/>
              <a:gd name="connsiteY83" fmla="*/ 450668 h 489857"/>
              <a:gd name="connsiteX84" fmla="*/ 493122 w 564968"/>
              <a:gd name="connsiteY84" fmla="*/ 466997 h 489857"/>
              <a:gd name="connsiteX85" fmla="*/ 502920 w 564968"/>
              <a:gd name="connsiteY85" fmla="*/ 470262 h 489857"/>
              <a:gd name="connsiteX86" fmla="*/ 509451 w 564968"/>
              <a:gd name="connsiteY86" fmla="*/ 489857 h 489857"/>
              <a:gd name="connsiteX87" fmla="*/ 519248 w 564968"/>
              <a:gd name="connsiteY87" fmla="*/ 486591 h 489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</a:cxnLst>
            <a:rect l="l" t="t" r="r" b="b"/>
            <a:pathLst>
              <a:path w="564968" h="489857">
                <a:moveTo>
                  <a:pt x="519248" y="486591"/>
                </a:moveTo>
                <a:cubicBezTo>
                  <a:pt x="530134" y="485502"/>
                  <a:pt x="541092" y="484988"/>
                  <a:pt x="551905" y="483325"/>
                </a:cubicBezTo>
                <a:cubicBezTo>
                  <a:pt x="555307" y="482802"/>
                  <a:pt x="559268" y="482494"/>
                  <a:pt x="561702" y="480060"/>
                </a:cubicBezTo>
                <a:cubicBezTo>
                  <a:pt x="564136" y="477626"/>
                  <a:pt x="563879" y="473528"/>
                  <a:pt x="564968" y="470262"/>
                </a:cubicBezTo>
                <a:cubicBezTo>
                  <a:pt x="558437" y="465908"/>
                  <a:pt x="552821" y="459682"/>
                  <a:pt x="545374" y="457200"/>
                </a:cubicBezTo>
                <a:lnTo>
                  <a:pt x="525780" y="450668"/>
                </a:lnTo>
                <a:cubicBezTo>
                  <a:pt x="523603" y="448491"/>
                  <a:pt x="520832" y="446777"/>
                  <a:pt x="519248" y="444137"/>
                </a:cubicBezTo>
                <a:cubicBezTo>
                  <a:pt x="513472" y="434511"/>
                  <a:pt x="513307" y="404237"/>
                  <a:pt x="512717" y="401682"/>
                </a:cubicBezTo>
                <a:cubicBezTo>
                  <a:pt x="509698" y="388601"/>
                  <a:pt x="497047" y="388839"/>
                  <a:pt x="486591" y="385354"/>
                </a:cubicBezTo>
                <a:lnTo>
                  <a:pt x="476794" y="382088"/>
                </a:lnTo>
                <a:cubicBezTo>
                  <a:pt x="473528" y="380999"/>
                  <a:pt x="470337" y="379657"/>
                  <a:pt x="466997" y="378822"/>
                </a:cubicBezTo>
                <a:lnTo>
                  <a:pt x="453934" y="375557"/>
                </a:lnTo>
                <a:cubicBezTo>
                  <a:pt x="451757" y="373380"/>
                  <a:pt x="449249" y="371488"/>
                  <a:pt x="447402" y="369025"/>
                </a:cubicBezTo>
                <a:cubicBezTo>
                  <a:pt x="442692" y="362745"/>
                  <a:pt x="439890" y="354981"/>
                  <a:pt x="434340" y="349431"/>
                </a:cubicBezTo>
                <a:lnTo>
                  <a:pt x="421277" y="336368"/>
                </a:lnTo>
                <a:cubicBezTo>
                  <a:pt x="419100" y="334191"/>
                  <a:pt x="416453" y="332399"/>
                  <a:pt x="414745" y="329837"/>
                </a:cubicBezTo>
                <a:cubicBezTo>
                  <a:pt x="412568" y="326571"/>
                  <a:pt x="410666" y="323105"/>
                  <a:pt x="408214" y="320040"/>
                </a:cubicBezTo>
                <a:cubicBezTo>
                  <a:pt x="404164" y="314977"/>
                  <a:pt x="397544" y="309806"/>
                  <a:pt x="391885" y="306977"/>
                </a:cubicBezTo>
                <a:cubicBezTo>
                  <a:pt x="388806" y="305438"/>
                  <a:pt x="385167" y="305250"/>
                  <a:pt x="382088" y="303711"/>
                </a:cubicBezTo>
                <a:cubicBezTo>
                  <a:pt x="366127" y="295730"/>
                  <a:pt x="378909" y="298018"/>
                  <a:pt x="362494" y="293914"/>
                </a:cubicBezTo>
                <a:cubicBezTo>
                  <a:pt x="357109" y="292568"/>
                  <a:pt x="351520" y="292108"/>
                  <a:pt x="346165" y="290648"/>
                </a:cubicBezTo>
                <a:cubicBezTo>
                  <a:pt x="339523" y="288837"/>
                  <a:pt x="326571" y="284117"/>
                  <a:pt x="326571" y="284117"/>
                </a:cubicBezTo>
                <a:cubicBezTo>
                  <a:pt x="322124" y="281152"/>
                  <a:pt x="313343" y="276222"/>
                  <a:pt x="310242" y="271054"/>
                </a:cubicBezTo>
                <a:cubicBezTo>
                  <a:pt x="305453" y="263072"/>
                  <a:pt x="309904" y="259454"/>
                  <a:pt x="300445" y="254725"/>
                </a:cubicBezTo>
                <a:cubicBezTo>
                  <a:pt x="294287" y="251646"/>
                  <a:pt x="287382" y="250371"/>
                  <a:pt x="280851" y="248194"/>
                </a:cubicBezTo>
                <a:lnTo>
                  <a:pt x="271054" y="244928"/>
                </a:lnTo>
                <a:cubicBezTo>
                  <a:pt x="266700" y="240574"/>
                  <a:pt x="259938" y="237707"/>
                  <a:pt x="257991" y="231865"/>
                </a:cubicBezTo>
                <a:lnTo>
                  <a:pt x="244928" y="192677"/>
                </a:lnTo>
                <a:cubicBezTo>
                  <a:pt x="243839" y="189411"/>
                  <a:pt x="243571" y="185744"/>
                  <a:pt x="241662" y="182880"/>
                </a:cubicBezTo>
                <a:cubicBezTo>
                  <a:pt x="237308" y="176348"/>
                  <a:pt x="231083" y="170732"/>
                  <a:pt x="228600" y="163285"/>
                </a:cubicBezTo>
                <a:cubicBezTo>
                  <a:pt x="227511" y="160019"/>
                  <a:pt x="227006" y="156497"/>
                  <a:pt x="225334" y="153488"/>
                </a:cubicBezTo>
                <a:cubicBezTo>
                  <a:pt x="221522" y="146626"/>
                  <a:pt x="212271" y="133894"/>
                  <a:pt x="212271" y="133894"/>
                </a:cubicBezTo>
                <a:cubicBezTo>
                  <a:pt x="210192" y="98557"/>
                  <a:pt x="210618" y="60357"/>
                  <a:pt x="199208" y="26125"/>
                </a:cubicBezTo>
                <a:cubicBezTo>
                  <a:pt x="191703" y="3610"/>
                  <a:pt x="197546" y="11399"/>
                  <a:pt x="186145" y="0"/>
                </a:cubicBezTo>
                <a:cubicBezTo>
                  <a:pt x="179614" y="1088"/>
                  <a:pt x="172833" y="1171"/>
                  <a:pt x="166551" y="3265"/>
                </a:cubicBezTo>
                <a:cubicBezTo>
                  <a:pt x="147503" y="9614"/>
                  <a:pt x="164370" y="15606"/>
                  <a:pt x="143691" y="29391"/>
                </a:cubicBezTo>
                <a:lnTo>
                  <a:pt x="133894" y="35922"/>
                </a:lnTo>
                <a:cubicBezTo>
                  <a:pt x="125686" y="60547"/>
                  <a:pt x="136757" y="30197"/>
                  <a:pt x="124097" y="55517"/>
                </a:cubicBezTo>
                <a:cubicBezTo>
                  <a:pt x="122558" y="58596"/>
                  <a:pt x="122370" y="62235"/>
                  <a:pt x="120831" y="65314"/>
                </a:cubicBezTo>
                <a:cubicBezTo>
                  <a:pt x="118923" y="69131"/>
                  <a:pt x="112109" y="79037"/>
                  <a:pt x="107768" y="81642"/>
                </a:cubicBezTo>
                <a:cubicBezTo>
                  <a:pt x="104816" y="83413"/>
                  <a:pt x="101237" y="83819"/>
                  <a:pt x="97971" y="84908"/>
                </a:cubicBezTo>
                <a:cubicBezTo>
                  <a:pt x="91894" y="90986"/>
                  <a:pt x="89885" y="93850"/>
                  <a:pt x="81642" y="97971"/>
                </a:cubicBezTo>
                <a:cubicBezTo>
                  <a:pt x="78563" y="99510"/>
                  <a:pt x="75111" y="100148"/>
                  <a:pt x="71845" y="101237"/>
                </a:cubicBezTo>
                <a:cubicBezTo>
                  <a:pt x="68579" y="104503"/>
                  <a:pt x="65693" y="108199"/>
                  <a:pt x="62048" y="111034"/>
                </a:cubicBezTo>
                <a:cubicBezTo>
                  <a:pt x="55852" y="115853"/>
                  <a:pt x="42454" y="124097"/>
                  <a:pt x="42454" y="124097"/>
                </a:cubicBezTo>
                <a:cubicBezTo>
                  <a:pt x="29216" y="143952"/>
                  <a:pt x="41695" y="122855"/>
                  <a:pt x="32657" y="146957"/>
                </a:cubicBezTo>
                <a:cubicBezTo>
                  <a:pt x="23728" y="170768"/>
                  <a:pt x="28271" y="149978"/>
                  <a:pt x="22860" y="169817"/>
                </a:cubicBezTo>
                <a:cubicBezTo>
                  <a:pt x="20498" y="178477"/>
                  <a:pt x="19167" y="187426"/>
                  <a:pt x="16328" y="195942"/>
                </a:cubicBezTo>
                <a:cubicBezTo>
                  <a:pt x="15239" y="199208"/>
                  <a:pt x="14602" y="202661"/>
                  <a:pt x="13062" y="205740"/>
                </a:cubicBezTo>
                <a:cubicBezTo>
                  <a:pt x="11307" y="209250"/>
                  <a:pt x="8708" y="212271"/>
                  <a:pt x="6531" y="215537"/>
                </a:cubicBezTo>
                <a:cubicBezTo>
                  <a:pt x="5271" y="220578"/>
                  <a:pt x="0" y="240778"/>
                  <a:pt x="0" y="244928"/>
                </a:cubicBezTo>
                <a:cubicBezTo>
                  <a:pt x="0" y="263466"/>
                  <a:pt x="1990" y="281951"/>
                  <a:pt x="3265" y="300445"/>
                </a:cubicBezTo>
                <a:cubicBezTo>
                  <a:pt x="4167" y="313522"/>
                  <a:pt x="4798" y="326641"/>
                  <a:pt x="6531" y="339634"/>
                </a:cubicBezTo>
                <a:cubicBezTo>
                  <a:pt x="6986" y="343046"/>
                  <a:pt x="7363" y="346997"/>
                  <a:pt x="9797" y="349431"/>
                </a:cubicBezTo>
                <a:cubicBezTo>
                  <a:pt x="12231" y="351865"/>
                  <a:pt x="16328" y="351608"/>
                  <a:pt x="19594" y="352697"/>
                </a:cubicBezTo>
                <a:cubicBezTo>
                  <a:pt x="47897" y="351608"/>
                  <a:pt x="76484" y="353582"/>
                  <a:pt x="104502" y="349431"/>
                </a:cubicBezTo>
                <a:cubicBezTo>
                  <a:pt x="107907" y="348927"/>
                  <a:pt x="105997" y="342586"/>
                  <a:pt x="107768" y="339634"/>
                </a:cubicBezTo>
                <a:cubicBezTo>
                  <a:pt x="109352" y="336994"/>
                  <a:pt x="112123" y="335279"/>
                  <a:pt x="114300" y="333102"/>
                </a:cubicBezTo>
                <a:lnTo>
                  <a:pt x="120831" y="313508"/>
                </a:lnTo>
                <a:cubicBezTo>
                  <a:pt x="121920" y="310242"/>
                  <a:pt x="120831" y="304800"/>
                  <a:pt x="124097" y="303711"/>
                </a:cubicBezTo>
                <a:lnTo>
                  <a:pt x="133894" y="300445"/>
                </a:lnTo>
                <a:cubicBezTo>
                  <a:pt x="139337" y="301534"/>
                  <a:pt x="145604" y="300632"/>
                  <a:pt x="150222" y="303711"/>
                </a:cubicBezTo>
                <a:cubicBezTo>
                  <a:pt x="153086" y="305621"/>
                  <a:pt x="152542" y="310198"/>
                  <a:pt x="153488" y="313508"/>
                </a:cubicBezTo>
                <a:cubicBezTo>
                  <a:pt x="154721" y="317824"/>
                  <a:pt x="153950" y="323066"/>
                  <a:pt x="156754" y="326571"/>
                </a:cubicBezTo>
                <a:cubicBezTo>
                  <a:pt x="158904" y="329259"/>
                  <a:pt x="163285" y="328748"/>
                  <a:pt x="166551" y="329837"/>
                </a:cubicBezTo>
                <a:cubicBezTo>
                  <a:pt x="167448" y="329709"/>
                  <a:pt x="197341" y="326238"/>
                  <a:pt x="202474" y="323305"/>
                </a:cubicBezTo>
                <a:cubicBezTo>
                  <a:pt x="236723" y="303734"/>
                  <a:pt x="191478" y="320440"/>
                  <a:pt x="222068" y="310242"/>
                </a:cubicBezTo>
                <a:cubicBezTo>
                  <a:pt x="229688" y="311331"/>
                  <a:pt x="237626" y="311074"/>
                  <a:pt x="244928" y="313508"/>
                </a:cubicBezTo>
                <a:cubicBezTo>
                  <a:pt x="247849" y="314482"/>
                  <a:pt x="249056" y="318116"/>
                  <a:pt x="251460" y="320040"/>
                </a:cubicBezTo>
                <a:cubicBezTo>
                  <a:pt x="260503" y="327274"/>
                  <a:pt x="260707" y="326388"/>
                  <a:pt x="271054" y="329837"/>
                </a:cubicBezTo>
                <a:cubicBezTo>
                  <a:pt x="284117" y="328748"/>
                  <a:pt x="297249" y="328304"/>
                  <a:pt x="310242" y="326571"/>
                </a:cubicBezTo>
                <a:cubicBezTo>
                  <a:pt x="313654" y="326116"/>
                  <a:pt x="316597" y="323305"/>
                  <a:pt x="320040" y="323305"/>
                </a:cubicBezTo>
                <a:cubicBezTo>
                  <a:pt x="332063" y="323305"/>
                  <a:pt x="343988" y="325482"/>
                  <a:pt x="355962" y="326571"/>
                </a:cubicBezTo>
                <a:cubicBezTo>
                  <a:pt x="360316" y="330925"/>
                  <a:pt x="367078" y="333792"/>
                  <a:pt x="369025" y="339634"/>
                </a:cubicBezTo>
                <a:cubicBezTo>
                  <a:pt x="370114" y="342900"/>
                  <a:pt x="370381" y="346567"/>
                  <a:pt x="372291" y="349431"/>
                </a:cubicBezTo>
                <a:cubicBezTo>
                  <a:pt x="379280" y="359915"/>
                  <a:pt x="381614" y="359070"/>
                  <a:pt x="391885" y="362494"/>
                </a:cubicBezTo>
                <a:lnTo>
                  <a:pt x="404948" y="375557"/>
                </a:lnTo>
                <a:lnTo>
                  <a:pt x="411480" y="382088"/>
                </a:lnTo>
                <a:cubicBezTo>
                  <a:pt x="412568" y="385354"/>
                  <a:pt x="412974" y="388933"/>
                  <a:pt x="414745" y="391885"/>
                </a:cubicBezTo>
                <a:cubicBezTo>
                  <a:pt x="418385" y="397952"/>
                  <a:pt x="425939" y="400839"/>
                  <a:pt x="431074" y="404948"/>
                </a:cubicBezTo>
                <a:cubicBezTo>
                  <a:pt x="443882" y="415195"/>
                  <a:pt x="430387" y="409075"/>
                  <a:pt x="447402" y="414745"/>
                </a:cubicBezTo>
                <a:cubicBezTo>
                  <a:pt x="463178" y="430521"/>
                  <a:pt x="443981" y="410470"/>
                  <a:pt x="460465" y="431074"/>
                </a:cubicBezTo>
                <a:cubicBezTo>
                  <a:pt x="462388" y="433478"/>
                  <a:pt x="464820" y="435428"/>
                  <a:pt x="466997" y="437605"/>
                </a:cubicBezTo>
                <a:cubicBezTo>
                  <a:pt x="472802" y="455023"/>
                  <a:pt x="465545" y="441958"/>
                  <a:pt x="480060" y="450668"/>
                </a:cubicBezTo>
                <a:cubicBezTo>
                  <a:pt x="493377" y="458659"/>
                  <a:pt x="479770" y="456316"/>
                  <a:pt x="493122" y="466997"/>
                </a:cubicBezTo>
                <a:cubicBezTo>
                  <a:pt x="495810" y="469147"/>
                  <a:pt x="499654" y="469174"/>
                  <a:pt x="502920" y="470262"/>
                </a:cubicBezTo>
                <a:cubicBezTo>
                  <a:pt x="505097" y="476794"/>
                  <a:pt x="503722" y="486038"/>
                  <a:pt x="509451" y="489857"/>
                </a:cubicBezTo>
                <a:lnTo>
                  <a:pt x="519248" y="486591"/>
                </a:lnTo>
                <a:close/>
              </a:path>
            </a:pathLst>
          </a:custGeom>
          <a:solidFill>
            <a:srgbClr val="FF33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8" name="Freeform 117"/>
          <p:cNvSpPr/>
          <p:nvPr/>
        </p:nvSpPr>
        <p:spPr>
          <a:xfrm>
            <a:off x="6508756" y="2535767"/>
            <a:ext cx="150813" cy="165100"/>
          </a:xfrm>
          <a:custGeom>
            <a:avLst/>
            <a:gdLst>
              <a:gd name="connsiteX0" fmla="*/ 111034 w 151354"/>
              <a:gd name="connsiteY0" fmla="*/ 1633 h 164829"/>
              <a:gd name="connsiteX1" fmla="*/ 127362 w 151354"/>
              <a:gd name="connsiteY1" fmla="*/ 8164 h 164829"/>
              <a:gd name="connsiteX2" fmla="*/ 133894 w 151354"/>
              <a:gd name="connsiteY2" fmla="*/ 14696 h 164829"/>
              <a:gd name="connsiteX3" fmla="*/ 143691 w 151354"/>
              <a:gd name="connsiteY3" fmla="*/ 21227 h 164829"/>
              <a:gd name="connsiteX4" fmla="*/ 150222 w 151354"/>
              <a:gd name="connsiteY4" fmla="*/ 40822 h 164829"/>
              <a:gd name="connsiteX5" fmla="*/ 146957 w 151354"/>
              <a:gd name="connsiteY5" fmla="*/ 60416 h 164829"/>
              <a:gd name="connsiteX6" fmla="*/ 124097 w 151354"/>
              <a:gd name="connsiteY6" fmla="*/ 80010 h 164829"/>
              <a:gd name="connsiteX7" fmla="*/ 114300 w 151354"/>
              <a:gd name="connsiteY7" fmla="*/ 83276 h 164829"/>
              <a:gd name="connsiteX8" fmla="*/ 107768 w 151354"/>
              <a:gd name="connsiteY8" fmla="*/ 93073 h 164829"/>
              <a:gd name="connsiteX9" fmla="*/ 97971 w 151354"/>
              <a:gd name="connsiteY9" fmla="*/ 99604 h 164829"/>
              <a:gd name="connsiteX10" fmla="*/ 91440 w 151354"/>
              <a:gd name="connsiteY10" fmla="*/ 106136 h 164829"/>
              <a:gd name="connsiteX11" fmla="*/ 111034 w 151354"/>
              <a:gd name="connsiteY11" fmla="*/ 119199 h 164829"/>
              <a:gd name="connsiteX12" fmla="*/ 130628 w 151354"/>
              <a:gd name="connsiteY12" fmla="*/ 125730 h 164829"/>
              <a:gd name="connsiteX13" fmla="*/ 133894 w 151354"/>
              <a:gd name="connsiteY13" fmla="*/ 135527 h 164829"/>
              <a:gd name="connsiteX14" fmla="*/ 124097 w 151354"/>
              <a:gd name="connsiteY14" fmla="*/ 138793 h 164829"/>
              <a:gd name="connsiteX15" fmla="*/ 71845 w 151354"/>
              <a:gd name="connsiteY15" fmla="*/ 142059 h 164829"/>
              <a:gd name="connsiteX16" fmla="*/ 52251 w 151354"/>
              <a:gd name="connsiteY16" fmla="*/ 148590 h 164829"/>
              <a:gd name="connsiteX17" fmla="*/ 35922 w 151354"/>
              <a:gd name="connsiteY17" fmla="*/ 158387 h 164829"/>
              <a:gd name="connsiteX18" fmla="*/ 0 w 151354"/>
              <a:gd name="connsiteY18" fmla="*/ 145324 h 164829"/>
              <a:gd name="connsiteX19" fmla="*/ 3265 w 151354"/>
              <a:gd name="connsiteY19" fmla="*/ 119199 h 164829"/>
              <a:gd name="connsiteX20" fmla="*/ 16328 w 151354"/>
              <a:gd name="connsiteY20" fmla="*/ 99604 h 164829"/>
              <a:gd name="connsiteX21" fmla="*/ 22860 w 151354"/>
              <a:gd name="connsiteY21" fmla="*/ 76744 h 164829"/>
              <a:gd name="connsiteX22" fmla="*/ 29391 w 151354"/>
              <a:gd name="connsiteY22" fmla="*/ 66947 h 164829"/>
              <a:gd name="connsiteX23" fmla="*/ 39188 w 151354"/>
              <a:gd name="connsiteY23" fmla="*/ 63682 h 164829"/>
              <a:gd name="connsiteX24" fmla="*/ 62048 w 151354"/>
              <a:gd name="connsiteY24" fmla="*/ 37556 h 164829"/>
              <a:gd name="connsiteX25" fmla="*/ 65314 w 151354"/>
              <a:gd name="connsiteY25" fmla="*/ 27759 h 164829"/>
              <a:gd name="connsiteX26" fmla="*/ 71845 w 151354"/>
              <a:gd name="connsiteY26" fmla="*/ 21227 h 164829"/>
              <a:gd name="connsiteX27" fmla="*/ 107768 w 151354"/>
              <a:gd name="connsiteY27" fmla="*/ 17962 h 164829"/>
              <a:gd name="connsiteX28" fmla="*/ 111034 w 151354"/>
              <a:gd name="connsiteY28" fmla="*/ 1633 h 1648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51354" h="164829">
                <a:moveTo>
                  <a:pt x="111034" y="1633"/>
                </a:moveTo>
                <a:cubicBezTo>
                  <a:pt x="114300" y="0"/>
                  <a:pt x="122272" y="5256"/>
                  <a:pt x="127362" y="8164"/>
                </a:cubicBezTo>
                <a:cubicBezTo>
                  <a:pt x="130035" y="9692"/>
                  <a:pt x="131490" y="12772"/>
                  <a:pt x="133894" y="14696"/>
                </a:cubicBezTo>
                <a:cubicBezTo>
                  <a:pt x="136959" y="17148"/>
                  <a:pt x="140425" y="19050"/>
                  <a:pt x="143691" y="21227"/>
                </a:cubicBezTo>
                <a:cubicBezTo>
                  <a:pt x="145868" y="27759"/>
                  <a:pt x="151354" y="34031"/>
                  <a:pt x="150222" y="40822"/>
                </a:cubicBezTo>
                <a:cubicBezTo>
                  <a:pt x="149134" y="47353"/>
                  <a:pt x="149918" y="54494"/>
                  <a:pt x="146957" y="60416"/>
                </a:cubicBezTo>
                <a:cubicBezTo>
                  <a:pt x="144278" y="65773"/>
                  <a:pt x="130631" y="76743"/>
                  <a:pt x="124097" y="80010"/>
                </a:cubicBezTo>
                <a:cubicBezTo>
                  <a:pt x="121018" y="81549"/>
                  <a:pt x="117566" y="82187"/>
                  <a:pt x="114300" y="83276"/>
                </a:cubicBezTo>
                <a:cubicBezTo>
                  <a:pt x="112123" y="86542"/>
                  <a:pt x="110543" y="90298"/>
                  <a:pt x="107768" y="93073"/>
                </a:cubicBezTo>
                <a:cubicBezTo>
                  <a:pt x="104993" y="95848"/>
                  <a:pt x="101036" y="97152"/>
                  <a:pt x="97971" y="99604"/>
                </a:cubicBezTo>
                <a:cubicBezTo>
                  <a:pt x="95567" y="101527"/>
                  <a:pt x="93617" y="103959"/>
                  <a:pt x="91440" y="106136"/>
                </a:cubicBezTo>
                <a:cubicBezTo>
                  <a:pt x="96786" y="122176"/>
                  <a:pt x="90804" y="113682"/>
                  <a:pt x="111034" y="119199"/>
                </a:cubicBezTo>
                <a:cubicBezTo>
                  <a:pt x="117676" y="121010"/>
                  <a:pt x="130628" y="125730"/>
                  <a:pt x="130628" y="125730"/>
                </a:cubicBezTo>
                <a:cubicBezTo>
                  <a:pt x="131717" y="128996"/>
                  <a:pt x="135433" y="132448"/>
                  <a:pt x="133894" y="135527"/>
                </a:cubicBezTo>
                <a:cubicBezTo>
                  <a:pt x="132355" y="138606"/>
                  <a:pt x="127520" y="138433"/>
                  <a:pt x="124097" y="138793"/>
                </a:cubicBezTo>
                <a:cubicBezTo>
                  <a:pt x="106742" y="140620"/>
                  <a:pt x="89262" y="140970"/>
                  <a:pt x="71845" y="142059"/>
                </a:cubicBezTo>
                <a:cubicBezTo>
                  <a:pt x="65314" y="144236"/>
                  <a:pt x="57119" y="143721"/>
                  <a:pt x="52251" y="148590"/>
                </a:cubicBezTo>
                <a:cubicBezTo>
                  <a:pt x="43286" y="157556"/>
                  <a:pt x="48641" y="154149"/>
                  <a:pt x="35922" y="158387"/>
                </a:cubicBezTo>
                <a:cubicBezTo>
                  <a:pt x="21206" y="156916"/>
                  <a:pt x="0" y="164829"/>
                  <a:pt x="0" y="145324"/>
                </a:cubicBezTo>
                <a:cubicBezTo>
                  <a:pt x="0" y="136548"/>
                  <a:pt x="313" y="127464"/>
                  <a:pt x="3265" y="119199"/>
                </a:cubicBezTo>
                <a:cubicBezTo>
                  <a:pt x="5905" y="111806"/>
                  <a:pt x="16328" y="99604"/>
                  <a:pt x="16328" y="99604"/>
                </a:cubicBezTo>
                <a:cubicBezTo>
                  <a:pt x="17374" y="95419"/>
                  <a:pt x="20518" y="81428"/>
                  <a:pt x="22860" y="76744"/>
                </a:cubicBezTo>
                <a:cubicBezTo>
                  <a:pt x="24615" y="73234"/>
                  <a:pt x="26326" y="69399"/>
                  <a:pt x="29391" y="66947"/>
                </a:cubicBezTo>
                <a:cubicBezTo>
                  <a:pt x="32079" y="64797"/>
                  <a:pt x="35922" y="64770"/>
                  <a:pt x="39188" y="63682"/>
                </a:cubicBezTo>
                <a:cubicBezTo>
                  <a:pt x="47702" y="55168"/>
                  <a:pt x="56647" y="48358"/>
                  <a:pt x="62048" y="37556"/>
                </a:cubicBezTo>
                <a:cubicBezTo>
                  <a:pt x="63587" y="34477"/>
                  <a:pt x="63543" y="30711"/>
                  <a:pt x="65314" y="27759"/>
                </a:cubicBezTo>
                <a:cubicBezTo>
                  <a:pt x="66898" y="25119"/>
                  <a:pt x="68845" y="21919"/>
                  <a:pt x="71845" y="21227"/>
                </a:cubicBezTo>
                <a:cubicBezTo>
                  <a:pt x="83561" y="18523"/>
                  <a:pt x="95794" y="19050"/>
                  <a:pt x="107768" y="17962"/>
                </a:cubicBezTo>
                <a:cubicBezTo>
                  <a:pt x="115070" y="10660"/>
                  <a:pt x="107768" y="3266"/>
                  <a:pt x="111034" y="1633"/>
                </a:cubicBezTo>
                <a:close/>
              </a:path>
            </a:pathLst>
          </a:cu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19" name="Freeform 118"/>
          <p:cNvSpPr/>
          <p:nvPr/>
        </p:nvSpPr>
        <p:spPr>
          <a:xfrm>
            <a:off x="5684844" y="3689351"/>
            <a:ext cx="249237" cy="256116"/>
          </a:xfrm>
          <a:custGeom>
            <a:avLst/>
            <a:gdLst>
              <a:gd name="connsiteX0" fmla="*/ 186145 w 248194"/>
              <a:gd name="connsiteY0" fmla="*/ 13738 h 255401"/>
              <a:gd name="connsiteX1" fmla="*/ 169817 w 248194"/>
              <a:gd name="connsiteY1" fmla="*/ 3941 h 255401"/>
              <a:gd name="connsiteX2" fmla="*/ 160020 w 248194"/>
              <a:gd name="connsiteY2" fmla="*/ 675 h 255401"/>
              <a:gd name="connsiteX3" fmla="*/ 153488 w 248194"/>
              <a:gd name="connsiteY3" fmla="*/ 7207 h 255401"/>
              <a:gd name="connsiteX4" fmla="*/ 143691 w 248194"/>
              <a:gd name="connsiteY4" fmla="*/ 13738 h 255401"/>
              <a:gd name="connsiteX5" fmla="*/ 120831 w 248194"/>
              <a:gd name="connsiteY5" fmla="*/ 10472 h 255401"/>
              <a:gd name="connsiteX6" fmla="*/ 97971 w 248194"/>
              <a:gd name="connsiteY6" fmla="*/ 20269 h 255401"/>
              <a:gd name="connsiteX7" fmla="*/ 75111 w 248194"/>
              <a:gd name="connsiteY7" fmla="*/ 26801 h 255401"/>
              <a:gd name="connsiteX8" fmla="*/ 68580 w 248194"/>
              <a:gd name="connsiteY8" fmla="*/ 36598 h 255401"/>
              <a:gd name="connsiteX9" fmla="*/ 39188 w 248194"/>
              <a:gd name="connsiteY9" fmla="*/ 43129 h 255401"/>
              <a:gd name="connsiteX10" fmla="*/ 32657 w 248194"/>
              <a:gd name="connsiteY10" fmla="*/ 49661 h 255401"/>
              <a:gd name="connsiteX11" fmla="*/ 0 w 248194"/>
              <a:gd name="connsiteY11" fmla="*/ 72521 h 255401"/>
              <a:gd name="connsiteX12" fmla="*/ 3265 w 248194"/>
              <a:gd name="connsiteY12" fmla="*/ 82318 h 255401"/>
              <a:gd name="connsiteX13" fmla="*/ 16328 w 248194"/>
              <a:gd name="connsiteY13" fmla="*/ 98647 h 255401"/>
              <a:gd name="connsiteX14" fmla="*/ 9797 w 248194"/>
              <a:gd name="connsiteY14" fmla="*/ 150898 h 255401"/>
              <a:gd name="connsiteX15" fmla="*/ 6531 w 248194"/>
              <a:gd name="connsiteY15" fmla="*/ 160695 h 255401"/>
              <a:gd name="connsiteX16" fmla="*/ 13062 w 248194"/>
              <a:gd name="connsiteY16" fmla="*/ 226009 h 255401"/>
              <a:gd name="connsiteX17" fmla="*/ 16328 w 248194"/>
              <a:gd name="connsiteY17" fmla="*/ 235807 h 255401"/>
              <a:gd name="connsiteX18" fmla="*/ 35922 w 248194"/>
              <a:gd name="connsiteY18" fmla="*/ 242338 h 255401"/>
              <a:gd name="connsiteX19" fmla="*/ 65314 w 248194"/>
              <a:gd name="connsiteY19" fmla="*/ 242338 h 255401"/>
              <a:gd name="connsiteX20" fmla="*/ 71845 w 248194"/>
              <a:gd name="connsiteY20" fmla="*/ 252135 h 255401"/>
              <a:gd name="connsiteX21" fmla="*/ 81642 w 248194"/>
              <a:gd name="connsiteY21" fmla="*/ 255401 h 255401"/>
              <a:gd name="connsiteX22" fmla="*/ 107768 w 248194"/>
              <a:gd name="connsiteY22" fmla="*/ 245604 h 255401"/>
              <a:gd name="connsiteX23" fmla="*/ 114300 w 248194"/>
              <a:gd name="connsiteY23" fmla="*/ 235807 h 255401"/>
              <a:gd name="connsiteX24" fmla="*/ 143691 w 248194"/>
              <a:gd name="connsiteY24" fmla="*/ 229275 h 255401"/>
              <a:gd name="connsiteX25" fmla="*/ 140425 w 248194"/>
              <a:gd name="connsiteY25" fmla="*/ 212947 h 255401"/>
              <a:gd name="connsiteX26" fmla="*/ 137160 w 248194"/>
              <a:gd name="connsiteY26" fmla="*/ 186821 h 255401"/>
              <a:gd name="connsiteX27" fmla="*/ 150222 w 248194"/>
              <a:gd name="connsiteY27" fmla="*/ 183555 h 255401"/>
              <a:gd name="connsiteX28" fmla="*/ 163285 w 248194"/>
              <a:gd name="connsiteY28" fmla="*/ 157429 h 255401"/>
              <a:gd name="connsiteX29" fmla="*/ 173082 w 248194"/>
              <a:gd name="connsiteY29" fmla="*/ 154164 h 255401"/>
              <a:gd name="connsiteX30" fmla="*/ 182880 w 248194"/>
              <a:gd name="connsiteY30" fmla="*/ 134569 h 255401"/>
              <a:gd name="connsiteX31" fmla="*/ 202474 w 248194"/>
              <a:gd name="connsiteY31" fmla="*/ 128038 h 255401"/>
              <a:gd name="connsiteX32" fmla="*/ 209005 w 248194"/>
              <a:gd name="connsiteY32" fmla="*/ 118241 h 255401"/>
              <a:gd name="connsiteX33" fmla="*/ 212271 w 248194"/>
              <a:gd name="connsiteY33" fmla="*/ 88849 h 255401"/>
              <a:gd name="connsiteX34" fmla="*/ 215537 w 248194"/>
              <a:gd name="connsiteY34" fmla="*/ 69255 h 255401"/>
              <a:gd name="connsiteX35" fmla="*/ 225334 w 248194"/>
              <a:gd name="connsiteY35" fmla="*/ 62724 h 255401"/>
              <a:gd name="connsiteX36" fmla="*/ 241662 w 248194"/>
              <a:gd name="connsiteY36" fmla="*/ 52927 h 255401"/>
              <a:gd name="connsiteX37" fmla="*/ 248194 w 248194"/>
              <a:gd name="connsiteY37" fmla="*/ 46395 h 255401"/>
              <a:gd name="connsiteX38" fmla="*/ 241662 w 248194"/>
              <a:gd name="connsiteY38" fmla="*/ 39864 h 255401"/>
              <a:gd name="connsiteX39" fmla="*/ 218802 w 248194"/>
              <a:gd name="connsiteY39" fmla="*/ 36598 h 255401"/>
              <a:gd name="connsiteX40" fmla="*/ 199208 w 248194"/>
              <a:gd name="connsiteY40" fmla="*/ 26801 h 255401"/>
              <a:gd name="connsiteX41" fmla="*/ 186145 w 248194"/>
              <a:gd name="connsiteY41" fmla="*/ 13738 h 255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248194" h="255401">
                <a:moveTo>
                  <a:pt x="186145" y="13738"/>
                </a:moveTo>
                <a:cubicBezTo>
                  <a:pt x="181246" y="9928"/>
                  <a:pt x="175494" y="6780"/>
                  <a:pt x="169817" y="3941"/>
                </a:cubicBezTo>
                <a:cubicBezTo>
                  <a:pt x="166738" y="2401"/>
                  <a:pt x="163395" y="0"/>
                  <a:pt x="160020" y="675"/>
                </a:cubicBezTo>
                <a:cubicBezTo>
                  <a:pt x="157001" y="1279"/>
                  <a:pt x="155892" y="5283"/>
                  <a:pt x="153488" y="7207"/>
                </a:cubicBezTo>
                <a:cubicBezTo>
                  <a:pt x="150423" y="9659"/>
                  <a:pt x="146957" y="11561"/>
                  <a:pt x="143691" y="13738"/>
                </a:cubicBezTo>
                <a:cubicBezTo>
                  <a:pt x="136071" y="12649"/>
                  <a:pt x="128528" y="10472"/>
                  <a:pt x="120831" y="10472"/>
                </a:cubicBezTo>
                <a:cubicBezTo>
                  <a:pt x="107239" y="10472"/>
                  <a:pt x="108636" y="14937"/>
                  <a:pt x="97971" y="20269"/>
                </a:cubicBezTo>
                <a:cubicBezTo>
                  <a:pt x="93285" y="22612"/>
                  <a:pt x="79298" y="25754"/>
                  <a:pt x="75111" y="26801"/>
                </a:cubicBezTo>
                <a:cubicBezTo>
                  <a:pt x="72934" y="30067"/>
                  <a:pt x="71645" y="34146"/>
                  <a:pt x="68580" y="36598"/>
                </a:cubicBezTo>
                <a:cubicBezTo>
                  <a:pt x="64348" y="39984"/>
                  <a:pt x="39391" y="43095"/>
                  <a:pt x="39188" y="43129"/>
                </a:cubicBezTo>
                <a:cubicBezTo>
                  <a:pt x="37011" y="45306"/>
                  <a:pt x="34034" y="46907"/>
                  <a:pt x="32657" y="49661"/>
                </a:cubicBezTo>
                <a:cubicBezTo>
                  <a:pt x="18387" y="78201"/>
                  <a:pt x="39282" y="67610"/>
                  <a:pt x="0" y="72521"/>
                </a:cubicBezTo>
                <a:cubicBezTo>
                  <a:pt x="1088" y="75787"/>
                  <a:pt x="1726" y="79239"/>
                  <a:pt x="3265" y="82318"/>
                </a:cubicBezTo>
                <a:cubicBezTo>
                  <a:pt x="7383" y="90554"/>
                  <a:pt x="10255" y="92573"/>
                  <a:pt x="16328" y="98647"/>
                </a:cubicBezTo>
                <a:cubicBezTo>
                  <a:pt x="14687" y="115060"/>
                  <a:pt x="13478" y="134332"/>
                  <a:pt x="9797" y="150898"/>
                </a:cubicBezTo>
                <a:cubicBezTo>
                  <a:pt x="9050" y="154258"/>
                  <a:pt x="7620" y="157429"/>
                  <a:pt x="6531" y="160695"/>
                </a:cubicBezTo>
                <a:cubicBezTo>
                  <a:pt x="8163" y="183537"/>
                  <a:pt x="8198" y="204121"/>
                  <a:pt x="13062" y="226009"/>
                </a:cubicBezTo>
                <a:cubicBezTo>
                  <a:pt x="13809" y="229370"/>
                  <a:pt x="13527" y="233806"/>
                  <a:pt x="16328" y="235807"/>
                </a:cubicBezTo>
                <a:cubicBezTo>
                  <a:pt x="21930" y="239809"/>
                  <a:pt x="35922" y="242338"/>
                  <a:pt x="35922" y="242338"/>
                </a:cubicBezTo>
                <a:cubicBezTo>
                  <a:pt x="46791" y="239621"/>
                  <a:pt x="53957" y="235848"/>
                  <a:pt x="65314" y="242338"/>
                </a:cubicBezTo>
                <a:cubicBezTo>
                  <a:pt x="68722" y="244285"/>
                  <a:pt x="68780" y="249683"/>
                  <a:pt x="71845" y="252135"/>
                </a:cubicBezTo>
                <a:cubicBezTo>
                  <a:pt x="74533" y="254285"/>
                  <a:pt x="78376" y="254312"/>
                  <a:pt x="81642" y="255401"/>
                </a:cubicBezTo>
                <a:cubicBezTo>
                  <a:pt x="93324" y="253064"/>
                  <a:pt x="99359" y="254013"/>
                  <a:pt x="107768" y="245604"/>
                </a:cubicBezTo>
                <a:cubicBezTo>
                  <a:pt x="110543" y="242829"/>
                  <a:pt x="111235" y="238259"/>
                  <a:pt x="114300" y="235807"/>
                </a:cubicBezTo>
                <a:cubicBezTo>
                  <a:pt x="118532" y="232422"/>
                  <a:pt x="143489" y="229309"/>
                  <a:pt x="143691" y="229275"/>
                </a:cubicBezTo>
                <a:cubicBezTo>
                  <a:pt x="142602" y="223832"/>
                  <a:pt x="142611" y="218049"/>
                  <a:pt x="140425" y="212947"/>
                </a:cubicBezTo>
                <a:cubicBezTo>
                  <a:pt x="135377" y="201169"/>
                  <a:pt x="120130" y="210664"/>
                  <a:pt x="137160" y="186821"/>
                </a:cubicBezTo>
                <a:cubicBezTo>
                  <a:pt x="139769" y="183169"/>
                  <a:pt x="145868" y="184644"/>
                  <a:pt x="150222" y="183555"/>
                </a:cubicBezTo>
                <a:cubicBezTo>
                  <a:pt x="153478" y="173789"/>
                  <a:pt x="153787" y="163128"/>
                  <a:pt x="163285" y="157429"/>
                </a:cubicBezTo>
                <a:cubicBezTo>
                  <a:pt x="166237" y="155658"/>
                  <a:pt x="169816" y="155252"/>
                  <a:pt x="173082" y="154164"/>
                </a:cubicBezTo>
                <a:cubicBezTo>
                  <a:pt x="174862" y="148826"/>
                  <a:pt x="177549" y="137901"/>
                  <a:pt x="182880" y="134569"/>
                </a:cubicBezTo>
                <a:cubicBezTo>
                  <a:pt x="188718" y="130920"/>
                  <a:pt x="202474" y="128038"/>
                  <a:pt x="202474" y="128038"/>
                </a:cubicBezTo>
                <a:cubicBezTo>
                  <a:pt x="204651" y="124772"/>
                  <a:pt x="208053" y="122049"/>
                  <a:pt x="209005" y="118241"/>
                </a:cubicBezTo>
                <a:cubicBezTo>
                  <a:pt x="211396" y="108678"/>
                  <a:pt x="210968" y="98620"/>
                  <a:pt x="212271" y="88849"/>
                </a:cubicBezTo>
                <a:cubicBezTo>
                  <a:pt x="213146" y="82286"/>
                  <a:pt x="212576" y="75177"/>
                  <a:pt x="215537" y="69255"/>
                </a:cubicBezTo>
                <a:cubicBezTo>
                  <a:pt x="217292" y="65745"/>
                  <a:pt x="222269" y="65176"/>
                  <a:pt x="225334" y="62724"/>
                </a:cubicBezTo>
                <a:cubicBezTo>
                  <a:pt x="238142" y="52477"/>
                  <a:pt x="224647" y="58597"/>
                  <a:pt x="241662" y="52927"/>
                </a:cubicBezTo>
                <a:cubicBezTo>
                  <a:pt x="243839" y="50750"/>
                  <a:pt x="248194" y="49474"/>
                  <a:pt x="248194" y="46395"/>
                </a:cubicBezTo>
                <a:cubicBezTo>
                  <a:pt x="248194" y="43316"/>
                  <a:pt x="244583" y="40838"/>
                  <a:pt x="241662" y="39864"/>
                </a:cubicBezTo>
                <a:cubicBezTo>
                  <a:pt x="234360" y="37430"/>
                  <a:pt x="226422" y="37687"/>
                  <a:pt x="218802" y="36598"/>
                </a:cubicBezTo>
                <a:cubicBezTo>
                  <a:pt x="212349" y="34447"/>
                  <a:pt x="203812" y="32555"/>
                  <a:pt x="199208" y="26801"/>
                </a:cubicBezTo>
                <a:cubicBezTo>
                  <a:pt x="195253" y="21858"/>
                  <a:pt x="191044" y="17548"/>
                  <a:pt x="186145" y="13738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20" name="Freeform 119"/>
          <p:cNvSpPr/>
          <p:nvPr/>
        </p:nvSpPr>
        <p:spPr>
          <a:xfrm>
            <a:off x="5446718" y="3814237"/>
            <a:ext cx="168275" cy="146051"/>
          </a:xfrm>
          <a:custGeom>
            <a:avLst/>
            <a:gdLst>
              <a:gd name="connsiteX0" fmla="*/ 124098 w 167505"/>
              <a:gd name="connsiteY0" fmla="*/ 3233 h 144914"/>
              <a:gd name="connsiteX1" fmla="*/ 114300 w 167505"/>
              <a:gd name="connsiteY1" fmla="*/ 19562 h 144914"/>
              <a:gd name="connsiteX2" fmla="*/ 104503 w 167505"/>
              <a:gd name="connsiteY2" fmla="*/ 22827 h 144914"/>
              <a:gd name="connsiteX3" fmla="*/ 94706 w 167505"/>
              <a:gd name="connsiteY3" fmla="*/ 29359 h 144914"/>
              <a:gd name="connsiteX4" fmla="*/ 48986 w 167505"/>
              <a:gd name="connsiteY4" fmla="*/ 39156 h 144914"/>
              <a:gd name="connsiteX5" fmla="*/ 39189 w 167505"/>
              <a:gd name="connsiteY5" fmla="*/ 42422 h 144914"/>
              <a:gd name="connsiteX6" fmla="*/ 32658 w 167505"/>
              <a:gd name="connsiteY6" fmla="*/ 52219 h 144914"/>
              <a:gd name="connsiteX7" fmla="*/ 26126 w 167505"/>
              <a:gd name="connsiteY7" fmla="*/ 58750 h 144914"/>
              <a:gd name="connsiteX8" fmla="*/ 13063 w 167505"/>
              <a:gd name="connsiteY8" fmla="*/ 88142 h 144914"/>
              <a:gd name="connsiteX9" fmla="*/ 3266 w 167505"/>
              <a:gd name="connsiteY9" fmla="*/ 117533 h 144914"/>
              <a:gd name="connsiteX10" fmla="*/ 0 w 167505"/>
              <a:gd name="connsiteY10" fmla="*/ 127330 h 144914"/>
              <a:gd name="connsiteX11" fmla="*/ 9798 w 167505"/>
              <a:gd name="connsiteY11" fmla="*/ 130596 h 144914"/>
              <a:gd name="connsiteX12" fmla="*/ 19595 w 167505"/>
              <a:gd name="connsiteY12" fmla="*/ 137127 h 144914"/>
              <a:gd name="connsiteX13" fmla="*/ 45720 w 167505"/>
              <a:gd name="connsiteY13" fmla="*/ 143659 h 144914"/>
              <a:gd name="connsiteX14" fmla="*/ 75112 w 167505"/>
              <a:gd name="connsiteY14" fmla="*/ 133862 h 144914"/>
              <a:gd name="connsiteX15" fmla="*/ 91440 w 167505"/>
              <a:gd name="connsiteY15" fmla="*/ 111002 h 144914"/>
              <a:gd name="connsiteX16" fmla="*/ 160020 w 167505"/>
              <a:gd name="connsiteY16" fmla="*/ 107736 h 144914"/>
              <a:gd name="connsiteX17" fmla="*/ 166552 w 167505"/>
              <a:gd name="connsiteY17" fmla="*/ 101204 h 144914"/>
              <a:gd name="connsiteX18" fmla="*/ 163286 w 167505"/>
              <a:gd name="connsiteY18" fmla="*/ 55484 h 144914"/>
              <a:gd name="connsiteX19" fmla="*/ 153489 w 167505"/>
              <a:gd name="connsiteY19" fmla="*/ 45687 h 144914"/>
              <a:gd name="connsiteX20" fmla="*/ 143692 w 167505"/>
              <a:gd name="connsiteY20" fmla="*/ 26093 h 144914"/>
              <a:gd name="connsiteX21" fmla="*/ 124098 w 167505"/>
              <a:gd name="connsiteY21" fmla="*/ 3233 h 14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7505" h="144914">
                <a:moveTo>
                  <a:pt x="124098" y="3233"/>
                </a:moveTo>
                <a:cubicBezTo>
                  <a:pt x="119199" y="2145"/>
                  <a:pt x="118789" y="15074"/>
                  <a:pt x="114300" y="19562"/>
                </a:cubicBezTo>
                <a:cubicBezTo>
                  <a:pt x="111866" y="21996"/>
                  <a:pt x="107582" y="21288"/>
                  <a:pt x="104503" y="22827"/>
                </a:cubicBezTo>
                <a:cubicBezTo>
                  <a:pt x="100992" y="24582"/>
                  <a:pt x="98293" y="27765"/>
                  <a:pt x="94706" y="29359"/>
                </a:cubicBezTo>
                <a:cubicBezTo>
                  <a:pt x="76500" y="37451"/>
                  <a:pt x="69560" y="36584"/>
                  <a:pt x="48986" y="39156"/>
                </a:cubicBezTo>
                <a:cubicBezTo>
                  <a:pt x="45720" y="40245"/>
                  <a:pt x="41877" y="40272"/>
                  <a:pt x="39189" y="42422"/>
                </a:cubicBezTo>
                <a:cubicBezTo>
                  <a:pt x="36124" y="44874"/>
                  <a:pt x="35110" y="49154"/>
                  <a:pt x="32658" y="52219"/>
                </a:cubicBezTo>
                <a:cubicBezTo>
                  <a:pt x="30735" y="54623"/>
                  <a:pt x="28303" y="56573"/>
                  <a:pt x="26126" y="58750"/>
                </a:cubicBezTo>
                <a:cubicBezTo>
                  <a:pt x="18354" y="82068"/>
                  <a:pt x="23414" y="72616"/>
                  <a:pt x="13063" y="88142"/>
                </a:cubicBezTo>
                <a:lnTo>
                  <a:pt x="3266" y="117533"/>
                </a:lnTo>
                <a:lnTo>
                  <a:pt x="0" y="127330"/>
                </a:lnTo>
                <a:cubicBezTo>
                  <a:pt x="3266" y="128419"/>
                  <a:pt x="6719" y="129056"/>
                  <a:pt x="9798" y="130596"/>
                </a:cubicBezTo>
                <a:cubicBezTo>
                  <a:pt x="13308" y="132351"/>
                  <a:pt x="15907" y="135786"/>
                  <a:pt x="19595" y="137127"/>
                </a:cubicBezTo>
                <a:cubicBezTo>
                  <a:pt x="28031" y="140195"/>
                  <a:pt x="45720" y="143659"/>
                  <a:pt x="45720" y="143659"/>
                </a:cubicBezTo>
                <a:cubicBezTo>
                  <a:pt x="55505" y="142261"/>
                  <a:pt x="69586" y="144914"/>
                  <a:pt x="75112" y="133862"/>
                </a:cubicBezTo>
                <a:cubicBezTo>
                  <a:pt x="82449" y="119188"/>
                  <a:pt x="75252" y="112351"/>
                  <a:pt x="91440" y="111002"/>
                </a:cubicBezTo>
                <a:cubicBezTo>
                  <a:pt x="114247" y="109102"/>
                  <a:pt x="137160" y="108825"/>
                  <a:pt x="160020" y="107736"/>
                </a:cubicBezTo>
                <a:cubicBezTo>
                  <a:pt x="162197" y="105559"/>
                  <a:pt x="166360" y="104277"/>
                  <a:pt x="166552" y="101204"/>
                </a:cubicBezTo>
                <a:cubicBezTo>
                  <a:pt x="167505" y="85955"/>
                  <a:pt x="166785" y="70357"/>
                  <a:pt x="163286" y="55484"/>
                </a:cubicBezTo>
                <a:cubicBezTo>
                  <a:pt x="162228" y="50988"/>
                  <a:pt x="156446" y="49235"/>
                  <a:pt x="153489" y="45687"/>
                </a:cubicBezTo>
                <a:cubicBezTo>
                  <a:pt x="146456" y="37247"/>
                  <a:pt x="146965" y="35911"/>
                  <a:pt x="143692" y="26093"/>
                </a:cubicBezTo>
                <a:cubicBezTo>
                  <a:pt x="139964" y="0"/>
                  <a:pt x="128997" y="4321"/>
                  <a:pt x="124098" y="3233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21" name="Freeform 120"/>
          <p:cNvSpPr/>
          <p:nvPr/>
        </p:nvSpPr>
        <p:spPr>
          <a:xfrm>
            <a:off x="5448305" y="3915837"/>
            <a:ext cx="155575" cy="196851"/>
          </a:xfrm>
          <a:custGeom>
            <a:avLst/>
            <a:gdLst>
              <a:gd name="connsiteX0" fmla="*/ 63980 w 155420"/>
              <a:gd name="connsiteY0" fmla="*/ 188502 h 196241"/>
              <a:gd name="connsiteX1" fmla="*/ 54183 w 155420"/>
              <a:gd name="connsiteY1" fmla="*/ 172173 h 196241"/>
              <a:gd name="connsiteX2" fmla="*/ 44385 w 155420"/>
              <a:gd name="connsiteY2" fmla="*/ 168908 h 196241"/>
              <a:gd name="connsiteX3" fmla="*/ 28057 w 155420"/>
              <a:gd name="connsiteY3" fmla="*/ 165642 h 196241"/>
              <a:gd name="connsiteX4" fmla="*/ 24791 w 155420"/>
              <a:gd name="connsiteY4" fmla="*/ 155845 h 196241"/>
              <a:gd name="connsiteX5" fmla="*/ 18260 w 155420"/>
              <a:gd name="connsiteY5" fmla="*/ 129719 h 196241"/>
              <a:gd name="connsiteX6" fmla="*/ 11728 w 155420"/>
              <a:gd name="connsiteY6" fmla="*/ 119922 h 196241"/>
              <a:gd name="connsiteX7" fmla="*/ 1931 w 155420"/>
              <a:gd name="connsiteY7" fmla="*/ 54608 h 196241"/>
              <a:gd name="connsiteX8" fmla="*/ 5197 w 155420"/>
              <a:gd name="connsiteY8" fmla="*/ 38279 h 196241"/>
              <a:gd name="connsiteX9" fmla="*/ 54183 w 155420"/>
              <a:gd name="connsiteY9" fmla="*/ 35013 h 196241"/>
              <a:gd name="connsiteX10" fmla="*/ 63980 w 155420"/>
              <a:gd name="connsiteY10" fmla="*/ 28482 h 196241"/>
              <a:gd name="connsiteX11" fmla="*/ 67245 w 155420"/>
              <a:gd name="connsiteY11" fmla="*/ 15419 h 196241"/>
              <a:gd name="connsiteX12" fmla="*/ 73777 w 155420"/>
              <a:gd name="connsiteY12" fmla="*/ 8888 h 196241"/>
              <a:gd name="connsiteX13" fmla="*/ 135825 w 155420"/>
              <a:gd name="connsiteY13" fmla="*/ 12153 h 196241"/>
              <a:gd name="connsiteX14" fmla="*/ 145623 w 155420"/>
              <a:gd name="connsiteY14" fmla="*/ 48076 h 196241"/>
              <a:gd name="connsiteX15" fmla="*/ 155420 w 155420"/>
              <a:gd name="connsiteY15" fmla="*/ 51342 h 196241"/>
              <a:gd name="connsiteX16" fmla="*/ 152154 w 155420"/>
              <a:gd name="connsiteY16" fmla="*/ 87265 h 196241"/>
              <a:gd name="connsiteX17" fmla="*/ 145623 w 155420"/>
              <a:gd name="connsiteY17" fmla="*/ 106859 h 196241"/>
              <a:gd name="connsiteX18" fmla="*/ 116231 w 155420"/>
              <a:gd name="connsiteY18" fmla="*/ 123188 h 196241"/>
              <a:gd name="connsiteX19" fmla="*/ 109700 w 155420"/>
              <a:gd name="connsiteY19" fmla="*/ 132985 h 196241"/>
              <a:gd name="connsiteX20" fmla="*/ 103168 w 155420"/>
              <a:gd name="connsiteY20" fmla="*/ 139516 h 196241"/>
              <a:gd name="connsiteX21" fmla="*/ 93371 w 155420"/>
              <a:gd name="connsiteY21" fmla="*/ 155845 h 196241"/>
              <a:gd name="connsiteX22" fmla="*/ 83574 w 155420"/>
              <a:gd name="connsiteY22" fmla="*/ 175439 h 196241"/>
              <a:gd name="connsiteX23" fmla="*/ 80308 w 155420"/>
              <a:gd name="connsiteY23" fmla="*/ 185236 h 196241"/>
              <a:gd name="connsiteX24" fmla="*/ 67245 w 155420"/>
              <a:gd name="connsiteY24" fmla="*/ 188502 h 196241"/>
              <a:gd name="connsiteX25" fmla="*/ 47651 w 155420"/>
              <a:gd name="connsiteY25" fmla="*/ 195033 h 196241"/>
              <a:gd name="connsiteX26" fmla="*/ 63980 w 155420"/>
              <a:gd name="connsiteY26" fmla="*/ 188502 h 196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55420" h="196241">
                <a:moveTo>
                  <a:pt x="63980" y="188502"/>
                </a:moveTo>
                <a:cubicBezTo>
                  <a:pt x="65069" y="184692"/>
                  <a:pt x="58671" y="176661"/>
                  <a:pt x="54183" y="172173"/>
                </a:cubicBezTo>
                <a:cubicBezTo>
                  <a:pt x="51749" y="169739"/>
                  <a:pt x="47725" y="169743"/>
                  <a:pt x="44385" y="168908"/>
                </a:cubicBezTo>
                <a:cubicBezTo>
                  <a:pt x="39000" y="167562"/>
                  <a:pt x="33500" y="166731"/>
                  <a:pt x="28057" y="165642"/>
                </a:cubicBezTo>
                <a:cubicBezTo>
                  <a:pt x="26968" y="162376"/>
                  <a:pt x="25697" y="159166"/>
                  <a:pt x="24791" y="155845"/>
                </a:cubicBezTo>
                <a:cubicBezTo>
                  <a:pt x="22429" y="147185"/>
                  <a:pt x="23240" y="137188"/>
                  <a:pt x="18260" y="129719"/>
                </a:cubicBezTo>
                <a:lnTo>
                  <a:pt x="11728" y="119922"/>
                </a:lnTo>
                <a:cubicBezTo>
                  <a:pt x="366" y="85833"/>
                  <a:pt x="5688" y="107195"/>
                  <a:pt x="1931" y="54608"/>
                </a:cubicBezTo>
                <a:cubicBezTo>
                  <a:pt x="3020" y="49165"/>
                  <a:pt x="0" y="40228"/>
                  <a:pt x="5197" y="38279"/>
                </a:cubicBezTo>
                <a:cubicBezTo>
                  <a:pt x="20520" y="32533"/>
                  <a:pt x="38041" y="37703"/>
                  <a:pt x="54183" y="35013"/>
                </a:cubicBezTo>
                <a:cubicBezTo>
                  <a:pt x="58054" y="34368"/>
                  <a:pt x="60714" y="30659"/>
                  <a:pt x="63980" y="28482"/>
                </a:cubicBezTo>
                <a:cubicBezTo>
                  <a:pt x="65068" y="24128"/>
                  <a:pt x="65238" y="19433"/>
                  <a:pt x="67245" y="15419"/>
                </a:cubicBezTo>
                <a:cubicBezTo>
                  <a:pt x="68622" y="12665"/>
                  <a:pt x="70702" y="9034"/>
                  <a:pt x="73777" y="8888"/>
                </a:cubicBezTo>
                <a:lnTo>
                  <a:pt x="135825" y="12153"/>
                </a:lnTo>
                <a:cubicBezTo>
                  <a:pt x="154208" y="30536"/>
                  <a:pt x="126392" y="0"/>
                  <a:pt x="145623" y="48076"/>
                </a:cubicBezTo>
                <a:cubicBezTo>
                  <a:pt x="146901" y="51272"/>
                  <a:pt x="152154" y="50253"/>
                  <a:pt x="155420" y="51342"/>
                </a:cubicBezTo>
                <a:cubicBezTo>
                  <a:pt x="154331" y="63316"/>
                  <a:pt x="154244" y="75424"/>
                  <a:pt x="152154" y="87265"/>
                </a:cubicBezTo>
                <a:cubicBezTo>
                  <a:pt x="150958" y="94045"/>
                  <a:pt x="151351" y="103040"/>
                  <a:pt x="145623" y="106859"/>
                </a:cubicBezTo>
                <a:cubicBezTo>
                  <a:pt x="123164" y="121831"/>
                  <a:pt x="133475" y="117439"/>
                  <a:pt x="116231" y="123188"/>
                </a:cubicBezTo>
                <a:cubicBezTo>
                  <a:pt x="114054" y="126454"/>
                  <a:pt x="112152" y="129920"/>
                  <a:pt x="109700" y="132985"/>
                </a:cubicBezTo>
                <a:cubicBezTo>
                  <a:pt x="107777" y="135389"/>
                  <a:pt x="104752" y="136876"/>
                  <a:pt x="103168" y="139516"/>
                </a:cubicBezTo>
                <a:cubicBezTo>
                  <a:pt x="90448" y="160716"/>
                  <a:pt x="109924" y="139292"/>
                  <a:pt x="93371" y="155845"/>
                </a:cubicBezTo>
                <a:cubicBezTo>
                  <a:pt x="85162" y="180470"/>
                  <a:pt x="96235" y="150116"/>
                  <a:pt x="83574" y="175439"/>
                </a:cubicBezTo>
                <a:cubicBezTo>
                  <a:pt x="82035" y="178518"/>
                  <a:pt x="82996" y="183086"/>
                  <a:pt x="80308" y="185236"/>
                </a:cubicBezTo>
                <a:cubicBezTo>
                  <a:pt x="76803" y="188040"/>
                  <a:pt x="71544" y="187212"/>
                  <a:pt x="67245" y="188502"/>
                </a:cubicBezTo>
                <a:cubicBezTo>
                  <a:pt x="60651" y="190480"/>
                  <a:pt x="53379" y="191214"/>
                  <a:pt x="47651" y="195033"/>
                </a:cubicBezTo>
                <a:cubicBezTo>
                  <a:pt x="45839" y="196241"/>
                  <a:pt x="62891" y="192312"/>
                  <a:pt x="63980" y="188502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22" name="Freeform 121"/>
          <p:cNvSpPr/>
          <p:nvPr/>
        </p:nvSpPr>
        <p:spPr>
          <a:xfrm>
            <a:off x="5457831" y="4044953"/>
            <a:ext cx="161925" cy="414867"/>
          </a:xfrm>
          <a:custGeom>
            <a:avLst/>
            <a:gdLst>
              <a:gd name="connsiteX0" fmla="*/ 2860 w 162880"/>
              <a:gd name="connsiteY0" fmla="*/ 24493 h 415044"/>
              <a:gd name="connsiteX1" fmla="*/ 19189 w 162880"/>
              <a:gd name="connsiteY1" fmla="*/ 34290 h 415044"/>
              <a:gd name="connsiteX2" fmla="*/ 22455 w 162880"/>
              <a:gd name="connsiteY2" fmla="*/ 44087 h 415044"/>
              <a:gd name="connsiteX3" fmla="*/ 32252 w 162880"/>
              <a:gd name="connsiteY3" fmla="*/ 47353 h 415044"/>
              <a:gd name="connsiteX4" fmla="*/ 51846 w 162880"/>
              <a:gd name="connsiteY4" fmla="*/ 50619 h 415044"/>
              <a:gd name="connsiteX5" fmla="*/ 55112 w 162880"/>
              <a:gd name="connsiteY5" fmla="*/ 109402 h 415044"/>
              <a:gd name="connsiteX6" fmla="*/ 61643 w 162880"/>
              <a:gd name="connsiteY6" fmla="*/ 119199 h 415044"/>
              <a:gd name="connsiteX7" fmla="*/ 71440 w 162880"/>
              <a:gd name="connsiteY7" fmla="*/ 138793 h 415044"/>
              <a:gd name="connsiteX8" fmla="*/ 68175 w 162880"/>
              <a:gd name="connsiteY8" fmla="*/ 171450 h 415044"/>
              <a:gd name="connsiteX9" fmla="*/ 64909 w 162880"/>
              <a:gd name="connsiteY9" fmla="*/ 181247 h 415044"/>
              <a:gd name="connsiteX10" fmla="*/ 61643 w 162880"/>
              <a:gd name="connsiteY10" fmla="*/ 194310 h 415044"/>
              <a:gd name="connsiteX11" fmla="*/ 64909 w 162880"/>
              <a:gd name="connsiteY11" fmla="*/ 226967 h 415044"/>
              <a:gd name="connsiteX12" fmla="*/ 71440 w 162880"/>
              <a:gd name="connsiteY12" fmla="*/ 233499 h 415044"/>
              <a:gd name="connsiteX13" fmla="*/ 100832 w 162880"/>
              <a:gd name="connsiteY13" fmla="*/ 249827 h 415044"/>
              <a:gd name="connsiteX14" fmla="*/ 104097 w 162880"/>
              <a:gd name="connsiteY14" fmla="*/ 259624 h 415044"/>
              <a:gd name="connsiteX15" fmla="*/ 110629 w 162880"/>
              <a:gd name="connsiteY15" fmla="*/ 266156 h 415044"/>
              <a:gd name="connsiteX16" fmla="*/ 123692 w 162880"/>
              <a:gd name="connsiteY16" fmla="*/ 292282 h 415044"/>
              <a:gd name="connsiteX17" fmla="*/ 130223 w 162880"/>
              <a:gd name="connsiteY17" fmla="*/ 315142 h 415044"/>
              <a:gd name="connsiteX18" fmla="*/ 136755 w 162880"/>
              <a:gd name="connsiteY18" fmla="*/ 334736 h 415044"/>
              <a:gd name="connsiteX19" fmla="*/ 146552 w 162880"/>
              <a:gd name="connsiteY19" fmla="*/ 364127 h 415044"/>
              <a:gd name="connsiteX20" fmla="*/ 153083 w 162880"/>
              <a:gd name="connsiteY20" fmla="*/ 383722 h 415044"/>
              <a:gd name="connsiteX21" fmla="*/ 156349 w 162880"/>
              <a:gd name="connsiteY21" fmla="*/ 393519 h 415044"/>
              <a:gd name="connsiteX22" fmla="*/ 162880 w 162880"/>
              <a:gd name="connsiteY22" fmla="*/ 403316 h 415044"/>
              <a:gd name="connsiteX23" fmla="*/ 159615 w 162880"/>
              <a:gd name="connsiteY23" fmla="*/ 413113 h 415044"/>
              <a:gd name="connsiteX24" fmla="*/ 140020 w 162880"/>
              <a:gd name="connsiteY24" fmla="*/ 403316 h 415044"/>
              <a:gd name="connsiteX25" fmla="*/ 136755 w 162880"/>
              <a:gd name="connsiteY25" fmla="*/ 393519 h 415044"/>
              <a:gd name="connsiteX26" fmla="*/ 123692 w 162880"/>
              <a:gd name="connsiteY26" fmla="*/ 390253 h 415044"/>
              <a:gd name="connsiteX27" fmla="*/ 113895 w 162880"/>
              <a:gd name="connsiteY27" fmla="*/ 386987 h 415044"/>
              <a:gd name="connsiteX28" fmla="*/ 104097 w 162880"/>
              <a:gd name="connsiteY28" fmla="*/ 370659 h 415044"/>
              <a:gd name="connsiteX29" fmla="*/ 97566 w 162880"/>
              <a:gd name="connsiteY29" fmla="*/ 347799 h 415044"/>
              <a:gd name="connsiteX30" fmla="*/ 87769 w 162880"/>
              <a:gd name="connsiteY30" fmla="*/ 341267 h 415044"/>
              <a:gd name="connsiteX31" fmla="*/ 81237 w 162880"/>
              <a:gd name="connsiteY31" fmla="*/ 334736 h 415044"/>
              <a:gd name="connsiteX32" fmla="*/ 68175 w 162880"/>
              <a:gd name="connsiteY32" fmla="*/ 305344 h 415044"/>
              <a:gd name="connsiteX33" fmla="*/ 61643 w 162880"/>
              <a:gd name="connsiteY33" fmla="*/ 298813 h 415044"/>
              <a:gd name="connsiteX34" fmla="*/ 42049 w 162880"/>
              <a:gd name="connsiteY34" fmla="*/ 289016 h 415044"/>
              <a:gd name="connsiteX35" fmla="*/ 25720 w 162880"/>
              <a:gd name="connsiteY35" fmla="*/ 275953 h 415044"/>
              <a:gd name="connsiteX36" fmla="*/ 22455 w 162880"/>
              <a:gd name="connsiteY36" fmla="*/ 200842 h 415044"/>
              <a:gd name="connsiteX37" fmla="*/ 19189 w 162880"/>
              <a:gd name="connsiteY37" fmla="*/ 187779 h 415044"/>
              <a:gd name="connsiteX38" fmla="*/ 12657 w 162880"/>
              <a:gd name="connsiteY38" fmla="*/ 181247 h 415044"/>
              <a:gd name="connsiteX39" fmla="*/ 2860 w 162880"/>
              <a:gd name="connsiteY39" fmla="*/ 24493 h 415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62880" h="415044">
                <a:moveTo>
                  <a:pt x="2860" y="24493"/>
                </a:moveTo>
                <a:cubicBezTo>
                  <a:pt x="3949" y="0"/>
                  <a:pt x="14701" y="29802"/>
                  <a:pt x="19189" y="34290"/>
                </a:cubicBezTo>
                <a:cubicBezTo>
                  <a:pt x="21623" y="36724"/>
                  <a:pt x="20021" y="41653"/>
                  <a:pt x="22455" y="44087"/>
                </a:cubicBezTo>
                <a:cubicBezTo>
                  <a:pt x="24889" y="46521"/>
                  <a:pt x="28892" y="46606"/>
                  <a:pt x="32252" y="47353"/>
                </a:cubicBezTo>
                <a:cubicBezTo>
                  <a:pt x="38716" y="48790"/>
                  <a:pt x="45315" y="49530"/>
                  <a:pt x="51846" y="50619"/>
                </a:cubicBezTo>
                <a:cubicBezTo>
                  <a:pt x="52935" y="70213"/>
                  <a:pt x="52337" y="89975"/>
                  <a:pt x="55112" y="109402"/>
                </a:cubicBezTo>
                <a:cubicBezTo>
                  <a:pt x="55667" y="113287"/>
                  <a:pt x="59888" y="115689"/>
                  <a:pt x="61643" y="119199"/>
                </a:cubicBezTo>
                <a:cubicBezTo>
                  <a:pt x="75163" y="146240"/>
                  <a:pt x="52723" y="110717"/>
                  <a:pt x="71440" y="138793"/>
                </a:cubicBezTo>
                <a:cubicBezTo>
                  <a:pt x="70352" y="149679"/>
                  <a:pt x="69838" y="160637"/>
                  <a:pt x="68175" y="171450"/>
                </a:cubicBezTo>
                <a:cubicBezTo>
                  <a:pt x="67652" y="174852"/>
                  <a:pt x="65855" y="177937"/>
                  <a:pt x="64909" y="181247"/>
                </a:cubicBezTo>
                <a:cubicBezTo>
                  <a:pt x="63676" y="185563"/>
                  <a:pt x="62732" y="189956"/>
                  <a:pt x="61643" y="194310"/>
                </a:cubicBezTo>
                <a:cubicBezTo>
                  <a:pt x="62732" y="205196"/>
                  <a:pt x="62256" y="216354"/>
                  <a:pt x="64909" y="226967"/>
                </a:cubicBezTo>
                <a:cubicBezTo>
                  <a:pt x="65656" y="229954"/>
                  <a:pt x="68977" y="231652"/>
                  <a:pt x="71440" y="233499"/>
                </a:cubicBezTo>
                <a:cubicBezTo>
                  <a:pt x="89406" y="246974"/>
                  <a:pt x="85558" y="244737"/>
                  <a:pt x="100832" y="249827"/>
                </a:cubicBezTo>
                <a:cubicBezTo>
                  <a:pt x="101920" y="253093"/>
                  <a:pt x="102326" y="256672"/>
                  <a:pt x="104097" y="259624"/>
                </a:cubicBezTo>
                <a:cubicBezTo>
                  <a:pt x="105681" y="262264"/>
                  <a:pt x="109252" y="263402"/>
                  <a:pt x="110629" y="266156"/>
                </a:cubicBezTo>
                <a:cubicBezTo>
                  <a:pt x="125640" y="296177"/>
                  <a:pt x="108935" y="277525"/>
                  <a:pt x="123692" y="292282"/>
                </a:cubicBezTo>
                <a:cubicBezTo>
                  <a:pt x="134684" y="325264"/>
                  <a:pt x="117898" y="274061"/>
                  <a:pt x="130223" y="315142"/>
                </a:cubicBezTo>
                <a:cubicBezTo>
                  <a:pt x="132201" y="321736"/>
                  <a:pt x="134578" y="328205"/>
                  <a:pt x="136755" y="334736"/>
                </a:cubicBezTo>
                <a:lnTo>
                  <a:pt x="146552" y="364127"/>
                </a:lnTo>
                <a:lnTo>
                  <a:pt x="153083" y="383722"/>
                </a:lnTo>
                <a:cubicBezTo>
                  <a:pt x="154172" y="386988"/>
                  <a:pt x="154440" y="390655"/>
                  <a:pt x="156349" y="393519"/>
                </a:cubicBezTo>
                <a:lnTo>
                  <a:pt x="162880" y="403316"/>
                </a:lnTo>
                <a:cubicBezTo>
                  <a:pt x="161792" y="406582"/>
                  <a:pt x="162694" y="411574"/>
                  <a:pt x="159615" y="413113"/>
                </a:cubicBezTo>
                <a:cubicBezTo>
                  <a:pt x="155752" y="415044"/>
                  <a:pt x="141671" y="404416"/>
                  <a:pt x="140020" y="403316"/>
                </a:cubicBezTo>
                <a:cubicBezTo>
                  <a:pt x="138932" y="400050"/>
                  <a:pt x="139443" y="395669"/>
                  <a:pt x="136755" y="393519"/>
                </a:cubicBezTo>
                <a:cubicBezTo>
                  <a:pt x="133250" y="390715"/>
                  <a:pt x="128008" y="391486"/>
                  <a:pt x="123692" y="390253"/>
                </a:cubicBezTo>
                <a:cubicBezTo>
                  <a:pt x="120382" y="389307"/>
                  <a:pt x="117161" y="388076"/>
                  <a:pt x="113895" y="386987"/>
                </a:cubicBezTo>
                <a:cubicBezTo>
                  <a:pt x="105688" y="378781"/>
                  <a:pt x="107488" y="382528"/>
                  <a:pt x="104097" y="370659"/>
                </a:cubicBezTo>
                <a:cubicBezTo>
                  <a:pt x="103835" y="369743"/>
                  <a:pt x="99308" y="349976"/>
                  <a:pt x="97566" y="347799"/>
                </a:cubicBezTo>
                <a:cubicBezTo>
                  <a:pt x="95114" y="344734"/>
                  <a:pt x="90834" y="343719"/>
                  <a:pt x="87769" y="341267"/>
                </a:cubicBezTo>
                <a:cubicBezTo>
                  <a:pt x="85365" y="339344"/>
                  <a:pt x="83414" y="336913"/>
                  <a:pt x="81237" y="334736"/>
                </a:cubicBezTo>
                <a:cubicBezTo>
                  <a:pt x="76060" y="319205"/>
                  <a:pt x="77045" y="316431"/>
                  <a:pt x="68175" y="305344"/>
                </a:cubicBezTo>
                <a:cubicBezTo>
                  <a:pt x="66252" y="302940"/>
                  <a:pt x="64047" y="300736"/>
                  <a:pt x="61643" y="298813"/>
                </a:cubicBezTo>
                <a:cubicBezTo>
                  <a:pt x="46041" y="286333"/>
                  <a:pt x="58148" y="297067"/>
                  <a:pt x="42049" y="289016"/>
                </a:cubicBezTo>
                <a:cubicBezTo>
                  <a:pt x="33812" y="284897"/>
                  <a:pt x="31794" y="282026"/>
                  <a:pt x="25720" y="275953"/>
                </a:cubicBezTo>
                <a:cubicBezTo>
                  <a:pt x="24632" y="250916"/>
                  <a:pt x="24306" y="225834"/>
                  <a:pt x="22455" y="200842"/>
                </a:cubicBezTo>
                <a:cubicBezTo>
                  <a:pt x="22123" y="196366"/>
                  <a:pt x="21196" y="191793"/>
                  <a:pt x="19189" y="187779"/>
                </a:cubicBezTo>
                <a:cubicBezTo>
                  <a:pt x="17812" y="185025"/>
                  <a:pt x="14834" y="183424"/>
                  <a:pt x="12657" y="181247"/>
                </a:cubicBezTo>
                <a:cubicBezTo>
                  <a:pt x="0" y="117951"/>
                  <a:pt x="1771" y="48986"/>
                  <a:pt x="2860" y="24493"/>
                </a:cubicBezTo>
                <a:close/>
              </a:path>
            </a:pathLst>
          </a:cu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23" name="Freeform 122"/>
          <p:cNvSpPr/>
          <p:nvPr/>
        </p:nvSpPr>
        <p:spPr>
          <a:xfrm>
            <a:off x="5854706" y="4559304"/>
            <a:ext cx="119063" cy="408517"/>
          </a:xfrm>
          <a:custGeom>
            <a:avLst/>
            <a:gdLst>
              <a:gd name="connsiteX0" fmla="*/ 0 w 117565"/>
              <a:gd name="connsiteY0" fmla="*/ 3266 h 408214"/>
              <a:gd name="connsiteX1" fmla="*/ 13063 w 117565"/>
              <a:gd name="connsiteY1" fmla="*/ 19594 h 408214"/>
              <a:gd name="connsiteX2" fmla="*/ 22860 w 117565"/>
              <a:gd name="connsiteY2" fmla="*/ 39189 h 408214"/>
              <a:gd name="connsiteX3" fmla="*/ 26125 w 117565"/>
              <a:gd name="connsiteY3" fmla="*/ 48986 h 408214"/>
              <a:gd name="connsiteX4" fmla="*/ 39188 w 117565"/>
              <a:gd name="connsiteY4" fmla="*/ 62049 h 408214"/>
              <a:gd name="connsiteX5" fmla="*/ 42454 w 117565"/>
              <a:gd name="connsiteY5" fmla="*/ 91440 h 408214"/>
              <a:gd name="connsiteX6" fmla="*/ 45720 w 117565"/>
              <a:gd name="connsiteY6" fmla="*/ 101237 h 408214"/>
              <a:gd name="connsiteX7" fmla="*/ 42454 w 117565"/>
              <a:gd name="connsiteY7" fmla="*/ 146957 h 408214"/>
              <a:gd name="connsiteX8" fmla="*/ 32657 w 117565"/>
              <a:gd name="connsiteY8" fmla="*/ 176349 h 408214"/>
              <a:gd name="connsiteX9" fmla="*/ 29391 w 117565"/>
              <a:gd name="connsiteY9" fmla="*/ 186146 h 408214"/>
              <a:gd name="connsiteX10" fmla="*/ 26125 w 117565"/>
              <a:gd name="connsiteY10" fmla="*/ 222069 h 408214"/>
              <a:gd name="connsiteX11" fmla="*/ 19594 w 117565"/>
              <a:gd name="connsiteY11" fmla="*/ 241663 h 408214"/>
              <a:gd name="connsiteX12" fmla="*/ 16328 w 117565"/>
              <a:gd name="connsiteY12" fmla="*/ 251460 h 408214"/>
              <a:gd name="connsiteX13" fmla="*/ 19594 w 117565"/>
              <a:gd name="connsiteY13" fmla="*/ 261257 h 408214"/>
              <a:gd name="connsiteX14" fmla="*/ 32657 w 117565"/>
              <a:gd name="connsiteY14" fmla="*/ 274320 h 408214"/>
              <a:gd name="connsiteX15" fmla="*/ 39188 w 117565"/>
              <a:gd name="connsiteY15" fmla="*/ 329837 h 408214"/>
              <a:gd name="connsiteX16" fmla="*/ 45720 w 117565"/>
              <a:gd name="connsiteY16" fmla="*/ 352697 h 408214"/>
              <a:gd name="connsiteX17" fmla="*/ 48985 w 117565"/>
              <a:gd name="connsiteY17" fmla="*/ 369026 h 408214"/>
              <a:gd name="connsiteX18" fmla="*/ 58783 w 117565"/>
              <a:gd name="connsiteY18" fmla="*/ 398417 h 408214"/>
              <a:gd name="connsiteX19" fmla="*/ 62048 w 117565"/>
              <a:gd name="connsiteY19" fmla="*/ 408214 h 408214"/>
              <a:gd name="connsiteX20" fmla="*/ 91440 w 117565"/>
              <a:gd name="connsiteY20" fmla="*/ 395152 h 408214"/>
              <a:gd name="connsiteX21" fmla="*/ 101237 w 117565"/>
              <a:gd name="connsiteY21" fmla="*/ 398417 h 408214"/>
              <a:gd name="connsiteX22" fmla="*/ 107768 w 117565"/>
              <a:gd name="connsiteY22" fmla="*/ 388620 h 408214"/>
              <a:gd name="connsiteX23" fmla="*/ 114300 w 117565"/>
              <a:gd name="connsiteY23" fmla="*/ 382089 h 408214"/>
              <a:gd name="connsiteX24" fmla="*/ 117565 w 117565"/>
              <a:gd name="connsiteY24" fmla="*/ 372292 h 408214"/>
              <a:gd name="connsiteX25" fmla="*/ 107768 w 117565"/>
              <a:gd name="connsiteY25" fmla="*/ 352697 h 408214"/>
              <a:gd name="connsiteX26" fmla="*/ 97971 w 117565"/>
              <a:gd name="connsiteY26" fmla="*/ 349432 h 408214"/>
              <a:gd name="connsiteX27" fmla="*/ 94705 w 117565"/>
              <a:gd name="connsiteY27" fmla="*/ 339634 h 408214"/>
              <a:gd name="connsiteX28" fmla="*/ 88174 w 117565"/>
              <a:gd name="connsiteY28" fmla="*/ 329837 h 408214"/>
              <a:gd name="connsiteX29" fmla="*/ 91440 w 117565"/>
              <a:gd name="connsiteY29" fmla="*/ 199209 h 408214"/>
              <a:gd name="connsiteX30" fmla="*/ 97971 w 117565"/>
              <a:gd name="connsiteY30" fmla="*/ 179614 h 408214"/>
              <a:gd name="connsiteX31" fmla="*/ 88174 w 117565"/>
              <a:gd name="connsiteY31" fmla="*/ 127363 h 408214"/>
              <a:gd name="connsiteX32" fmla="*/ 84908 w 117565"/>
              <a:gd name="connsiteY32" fmla="*/ 117566 h 408214"/>
              <a:gd name="connsiteX33" fmla="*/ 81643 w 117565"/>
              <a:gd name="connsiteY33" fmla="*/ 107769 h 408214"/>
              <a:gd name="connsiteX34" fmla="*/ 78377 w 117565"/>
              <a:gd name="connsiteY34" fmla="*/ 84909 h 408214"/>
              <a:gd name="connsiteX35" fmla="*/ 71845 w 117565"/>
              <a:gd name="connsiteY35" fmla="*/ 65314 h 408214"/>
              <a:gd name="connsiteX36" fmla="*/ 62048 w 117565"/>
              <a:gd name="connsiteY36" fmla="*/ 35923 h 408214"/>
              <a:gd name="connsiteX37" fmla="*/ 58783 w 117565"/>
              <a:gd name="connsiteY37" fmla="*/ 26126 h 408214"/>
              <a:gd name="connsiteX38" fmla="*/ 52251 w 117565"/>
              <a:gd name="connsiteY38" fmla="*/ 0 h 408214"/>
              <a:gd name="connsiteX39" fmla="*/ 0 w 117565"/>
              <a:gd name="connsiteY39" fmla="*/ 3266 h 408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17565" h="408214">
                <a:moveTo>
                  <a:pt x="0" y="3266"/>
                </a:moveTo>
                <a:cubicBezTo>
                  <a:pt x="4354" y="8709"/>
                  <a:pt x="9678" y="13501"/>
                  <a:pt x="13063" y="19594"/>
                </a:cubicBezTo>
                <a:cubicBezTo>
                  <a:pt x="28111" y="46680"/>
                  <a:pt x="5583" y="21912"/>
                  <a:pt x="22860" y="39189"/>
                </a:cubicBezTo>
                <a:cubicBezTo>
                  <a:pt x="23948" y="42455"/>
                  <a:pt x="24124" y="46185"/>
                  <a:pt x="26125" y="48986"/>
                </a:cubicBezTo>
                <a:cubicBezTo>
                  <a:pt x="29704" y="53997"/>
                  <a:pt x="39188" y="62049"/>
                  <a:pt x="39188" y="62049"/>
                </a:cubicBezTo>
                <a:cubicBezTo>
                  <a:pt x="40277" y="71846"/>
                  <a:pt x="40833" y="81717"/>
                  <a:pt x="42454" y="91440"/>
                </a:cubicBezTo>
                <a:cubicBezTo>
                  <a:pt x="43020" y="94836"/>
                  <a:pt x="45720" y="97795"/>
                  <a:pt x="45720" y="101237"/>
                </a:cubicBezTo>
                <a:cubicBezTo>
                  <a:pt x="45720" y="116516"/>
                  <a:pt x="44720" y="131847"/>
                  <a:pt x="42454" y="146957"/>
                </a:cubicBezTo>
                <a:cubicBezTo>
                  <a:pt x="42453" y="146965"/>
                  <a:pt x="34291" y="171446"/>
                  <a:pt x="32657" y="176349"/>
                </a:cubicBezTo>
                <a:lnTo>
                  <a:pt x="29391" y="186146"/>
                </a:lnTo>
                <a:cubicBezTo>
                  <a:pt x="28302" y="198120"/>
                  <a:pt x="28215" y="210228"/>
                  <a:pt x="26125" y="222069"/>
                </a:cubicBezTo>
                <a:cubicBezTo>
                  <a:pt x="24929" y="228849"/>
                  <a:pt x="21771" y="235132"/>
                  <a:pt x="19594" y="241663"/>
                </a:cubicBezTo>
                <a:lnTo>
                  <a:pt x="16328" y="251460"/>
                </a:lnTo>
                <a:cubicBezTo>
                  <a:pt x="17417" y="254726"/>
                  <a:pt x="17593" y="258456"/>
                  <a:pt x="19594" y="261257"/>
                </a:cubicBezTo>
                <a:cubicBezTo>
                  <a:pt x="23173" y="266268"/>
                  <a:pt x="32657" y="274320"/>
                  <a:pt x="32657" y="274320"/>
                </a:cubicBezTo>
                <a:cubicBezTo>
                  <a:pt x="40507" y="305719"/>
                  <a:pt x="31969" y="268468"/>
                  <a:pt x="39188" y="329837"/>
                </a:cubicBezTo>
                <a:cubicBezTo>
                  <a:pt x="40546" y="341379"/>
                  <a:pt x="43138" y="342370"/>
                  <a:pt x="45720" y="352697"/>
                </a:cubicBezTo>
                <a:cubicBezTo>
                  <a:pt x="47066" y="358082"/>
                  <a:pt x="47525" y="363671"/>
                  <a:pt x="48985" y="369026"/>
                </a:cubicBezTo>
                <a:cubicBezTo>
                  <a:pt x="48987" y="369034"/>
                  <a:pt x="57149" y="393514"/>
                  <a:pt x="58783" y="398417"/>
                </a:cubicBezTo>
                <a:lnTo>
                  <a:pt x="62048" y="408214"/>
                </a:lnTo>
                <a:cubicBezTo>
                  <a:pt x="85366" y="400442"/>
                  <a:pt x="75914" y="405502"/>
                  <a:pt x="91440" y="395152"/>
                </a:cubicBezTo>
                <a:cubicBezTo>
                  <a:pt x="94706" y="396240"/>
                  <a:pt x="98041" y="399696"/>
                  <a:pt x="101237" y="398417"/>
                </a:cubicBezTo>
                <a:cubicBezTo>
                  <a:pt x="104881" y="396959"/>
                  <a:pt x="105316" y="391685"/>
                  <a:pt x="107768" y="388620"/>
                </a:cubicBezTo>
                <a:cubicBezTo>
                  <a:pt x="109691" y="386216"/>
                  <a:pt x="112123" y="384266"/>
                  <a:pt x="114300" y="382089"/>
                </a:cubicBezTo>
                <a:cubicBezTo>
                  <a:pt x="115388" y="378823"/>
                  <a:pt x="117565" y="375734"/>
                  <a:pt x="117565" y="372292"/>
                </a:cubicBezTo>
                <a:cubicBezTo>
                  <a:pt x="117565" y="364308"/>
                  <a:pt x="114721" y="356869"/>
                  <a:pt x="107768" y="352697"/>
                </a:cubicBezTo>
                <a:cubicBezTo>
                  <a:pt x="104816" y="350926"/>
                  <a:pt x="101237" y="350520"/>
                  <a:pt x="97971" y="349432"/>
                </a:cubicBezTo>
                <a:cubicBezTo>
                  <a:pt x="96882" y="346166"/>
                  <a:pt x="96245" y="342713"/>
                  <a:pt x="94705" y="339634"/>
                </a:cubicBezTo>
                <a:cubicBezTo>
                  <a:pt x="92950" y="336124"/>
                  <a:pt x="88265" y="333761"/>
                  <a:pt x="88174" y="329837"/>
                </a:cubicBezTo>
                <a:cubicBezTo>
                  <a:pt x="87162" y="286292"/>
                  <a:pt x="88605" y="242673"/>
                  <a:pt x="91440" y="199209"/>
                </a:cubicBezTo>
                <a:cubicBezTo>
                  <a:pt x="91888" y="192339"/>
                  <a:pt x="97971" y="179614"/>
                  <a:pt x="97971" y="179614"/>
                </a:cubicBezTo>
                <a:cubicBezTo>
                  <a:pt x="94020" y="140110"/>
                  <a:pt x="98164" y="157333"/>
                  <a:pt x="88174" y="127363"/>
                </a:cubicBezTo>
                <a:lnTo>
                  <a:pt x="84908" y="117566"/>
                </a:lnTo>
                <a:lnTo>
                  <a:pt x="81643" y="107769"/>
                </a:lnTo>
                <a:cubicBezTo>
                  <a:pt x="80554" y="100149"/>
                  <a:pt x="80108" y="92409"/>
                  <a:pt x="78377" y="84909"/>
                </a:cubicBezTo>
                <a:cubicBezTo>
                  <a:pt x="76829" y="78200"/>
                  <a:pt x="74022" y="71846"/>
                  <a:pt x="71845" y="65314"/>
                </a:cubicBezTo>
                <a:lnTo>
                  <a:pt x="62048" y="35923"/>
                </a:lnTo>
                <a:cubicBezTo>
                  <a:pt x="60960" y="32657"/>
                  <a:pt x="59458" y="29501"/>
                  <a:pt x="58783" y="26126"/>
                </a:cubicBezTo>
                <a:cubicBezTo>
                  <a:pt x="54842" y="6422"/>
                  <a:pt x="57272" y="15063"/>
                  <a:pt x="52251" y="0"/>
                </a:cubicBezTo>
                <a:lnTo>
                  <a:pt x="0" y="3266"/>
                </a:lnTo>
                <a:close/>
              </a:path>
            </a:pathLst>
          </a:custGeom>
          <a:solidFill>
            <a:srgbClr val="CC33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24" name="Freeform 123"/>
          <p:cNvSpPr/>
          <p:nvPr/>
        </p:nvSpPr>
        <p:spPr>
          <a:xfrm>
            <a:off x="5748338" y="4552955"/>
            <a:ext cx="254000" cy="626533"/>
          </a:xfrm>
          <a:custGeom>
            <a:avLst/>
            <a:gdLst>
              <a:gd name="connsiteX0" fmla="*/ 2144 w 253604"/>
              <a:gd name="connsiteY0" fmla="*/ 352305 h 626625"/>
              <a:gd name="connsiteX1" fmla="*/ 5410 w 253604"/>
              <a:gd name="connsiteY1" fmla="*/ 335976 h 626625"/>
              <a:gd name="connsiteX2" fmla="*/ 25004 w 253604"/>
              <a:gd name="connsiteY2" fmla="*/ 319648 h 626625"/>
              <a:gd name="connsiteX3" fmla="*/ 28270 w 253604"/>
              <a:gd name="connsiteY3" fmla="*/ 309851 h 626625"/>
              <a:gd name="connsiteX4" fmla="*/ 31535 w 253604"/>
              <a:gd name="connsiteY4" fmla="*/ 293522 h 626625"/>
              <a:gd name="connsiteX5" fmla="*/ 51130 w 253604"/>
              <a:gd name="connsiteY5" fmla="*/ 286991 h 626625"/>
              <a:gd name="connsiteX6" fmla="*/ 57661 w 253604"/>
              <a:gd name="connsiteY6" fmla="*/ 277193 h 626625"/>
              <a:gd name="connsiteX7" fmla="*/ 64192 w 253604"/>
              <a:gd name="connsiteY7" fmla="*/ 254333 h 626625"/>
              <a:gd name="connsiteX8" fmla="*/ 70724 w 253604"/>
              <a:gd name="connsiteY8" fmla="*/ 234739 h 626625"/>
              <a:gd name="connsiteX9" fmla="*/ 70724 w 253604"/>
              <a:gd name="connsiteY9" fmla="*/ 149831 h 626625"/>
              <a:gd name="connsiteX10" fmla="*/ 77255 w 253604"/>
              <a:gd name="connsiteY10" fmla="*/ 113908 h 626625"/>
              <a:gd name="connsiteX11" fmla="*/ 83787 w 253604"/>
              <a:gd name="connsiteY11" fmla="*/ 107376 h 626625"/>
              <a:gd name="connsiteX12" fmla="*/ 77255 w 253604"/>
              <a:gd name="connsiteY12" fmla="*/ 55125 h 626625"/>
              <a:gd name="connsiteX13" fmla="*/ 73990 w 253604"/>
              <a:gd name="connsiteY13" fmla="*/ 45328 h 626625"/>
              <a:gd name="connsiteX14" fmla="*/ 67458 w 253604"/>
              <a:gd name="connsiteY14" fmla="*/ 35531 h 626625"/>
              <a:gd name="connsiteX15" fmla="*/ 64192 w 253604"/>
              <a:gd name="connsiteY15" fmla="*/ 6139 h 626625"/>
              <a:gd name="connsiteX16" fmla="*/ 126241 w 253604"/>
              <a:gd name="connsiteY16" fmla="*/ 15936 h 626625"/>
              <a:gd name="connsiteX17" fmla="*/ 132772 w 253604"/>
              <a:gd name="connsiteY17" fmla="*/ 22468 h 626625"/>
              <a:gd name="connsiteX18" fmla="*/ 136038 w 253604"/>
              <a:gd name="connsiteY18" fmla="*/ 32265 h 626625"/>
              <a:gd name="connsiteX19" fmla="*/ 139304 w 253604"/>
              <a:gd name="connsiteY19" fmla="*/ 68188 h 626625"/>
              <a:gd name="connsiteX20" fmla="*/ 152367 w 253604"/>
              <a:gd name="connsiteY20" fmla="*/ 84516 h 626625"/>
              <a:gd name="connsiteX21" fmla="*/ 155632 w 253604"/>
              <a:gd name="connsiteY21" fmla="*/ 94313 h 626625"/>
              <a:gd name="connsiteX22" fmla="*/ 152367 w 253604"/>
              <a:gd name="connsiteY22" fmla="*/ 117173 h 626625"/>
              <a:gd name="connsiteX23" fmla="*/ 145835 w 253604"/>
              <a:gd name="connsiteY23" fmla="*/ 140033 h 626625"/>
              <a:gd name="connsiteX24" fmla="*/ 142570 w 253604"/>
              <a:gd name="connsiteY24" fmla="*/ 205348 h 626625"/>
              <a:gd name="connsiteX25" fmla="*/ 136038 w 253604"/>
              <a:gd name="connsiteY25" fmla="*/ 224942 h 626625"/>
              <a:gd name="connsiteX26" fmla="*/ 132772 w 253604"/>
              <a:gd name="connsiteY26" fmla="*/ 247802 h 626625"/>
              <a:gd name="connsiteX27" fmla="*/ 126241 w 253604"/>
              <a:gd name="connsiteY27" fmla="*/ 267396 h 626625"/>
              <a:gd name="connsiteX28" fmla="*/ 132772 w 253604"/>
              <a:gd name="connsiteY28" fmla="*/ 290256 h 626625"/>
              <a:gd name="connsiteX29" fmla="*/ 136038 w 253604"/>
              <a:gd name="connsiteY29" fmla="*/ 303319 h 626625"/>
              <a:gd name="connsiteX30" fmla="*/ 142570 w 253604"/>
              <a:gd name="connsiteY30" fmla="*/ 322913 h 626625"/>
              <a:gd name="connsiteX31" fmla="*/ 145835 w 253604"/>
              <a:gd name="connsiteY31" fmla="*/ 332711 h 626625"/>
              <a:gd name="connsiteX32" fmla="*/ 152367 w 253604"/>
              <a:gd name="connsiteY32" fmla="*/ 378431 h 626625"/>
              <a:gd name="connsiteX33" fmla="*/ 158898 w 253604"/>
              <a:gd name="connsiteY33" fmla="*/ 398025 h 626625"/>
              <a:gd name="connsiteX34" fmla="*/ 165430 w 253604"/>
              <a:gd name="connsiteY34" fmla="*/ 404556 h 626625"/>
              <a:gd name="connsiteX35" fmla="*/ 168695 w 253604"/>
              <a:gd name="connsiteY35" fmla="*/ 414353 h 626625"/>
              <a:gd name="connsiteX36" fmla="*/ 188290 w 253604"/>
              <a:gd name="connsiteY36" fmla="*/ 420885 h 626625"/>
              <a:gd name="connsiteX37" fmla="*/ 201352 w 253604"/>
              <a:gd name="connsiteY37" fmla="*/ 404556 h 626625"/>
              <a:gd name="connsiteX38" fmla="*/ 211150 w 253604"/>
              <a:gd name="connsiteY38" fmla="*/ 401291 h 626625"/>
              <a:gd name="connsiteX39" fmla="*/ 220947 w 253604"/>
              <a:gd name="connsiteY39" fmla="*/ 420885 h 626625"/>
              <a:gd name="connsiteX40" fmla="*/ 224212 w 253604"/>
              <a:gd name="connsiteY40" fmla="*/ 443745 h 626625"/>
              <a:gd name="connsiteX41" fmla="*/ 243807 w 253604"/>
              <a:gd name="connsiteY41" fmla="*/ 450276 h 626625"/>
              <a:gd name="connsiteX42" fmla="*/ 250338 w 253604"/>
              <a:gd name="connsiteY42" fmla="*/ 456808 h 626625"/>
              <a:gd name="connsiteX43" fmla="*/ 253604 w 253604"/>
              <a:gd name="connsiteY43" fmla="*/ 466605 h 626625"/>
              <a:gd name="connsiteX44" fmla="*/ 250338 w 253604"/>
              <a:gd name="connsiteY44" fmla="*/ 522122 h 626625"/>
              <a:gd name="connsiteX45" fmla="*/ 247072 w 253604"/>
              <a:gd name="connsiteY45" fmla="*/ 558045 h 626625"/>
              <a:gd name="connsiteX46" fmla="*/ 237275 w 253604"/>
              <a:gd name="connsiteY46" fmla="*/ 564576 h 626625"/>
              <a:gd name="connsiteX47" fmla="*/ 217681 w 253604"/>
              <a:gd name="connsiteY47" fmla="*/ 571108 h 626625"/>
              <a:gd name="connsiteX48" fmla="*/ 198087 w 253604"/>
              <a:gd name="connsiteY48" fmla="*/ 584171 h 626625"/>
              <a:gd name="connsiteX49" fmla="*/ 194821 w 253604"/>
              <a:gd name="connsiteY49" fmla="*/ 597233 h 626625"/>
              <a:gd name="connsiteX50" fmla="*/ 188290 w 253604"/>
              <a:gd name="connsiteY50" fmla="*/ 603765 h 626625"/>
              <a:gd name="connsiteX51" fmla="*/ 185024 w 253604"/>
              <a:gd name="connsiteY51" fmla="*/ 626625 h 626625"/>
              <a:gd name="connsiteX52" fmla="*/ 175227 w 253604"/>
              <a:gd name="connsiteY52" fmla="*/ 620093 h 626625"/>
              <a:gd name="connsiteX53" fmla="*/ 171961 w 253604"/>
              <a:gd name="connsiteY53" fmla="*/ 610296 h 626625"/>
              <a:gd name="connsiteX54" fmla="*/ 165430 w 253604"/>
              <a:gd name="connsiteY54" fmla="*/ 600499 h 626625"/>
              <a:gd name="connsiteX55" fmla="*/ 152367 w 253604"/>
              <a:gd name="connsiteY55" fmla="*/ 587436 h 626625"/>
              <a:gd name="connsiteX56" fmla="*/ 149101 w 253604"/>
              <a:gd name="connsiteY56" fmla="*/ 574373 h 626625"/>
              <a:gd name="connsiteX57" fmla="*/ 145835 w 253604"/>
              <a:gd name="connsiteY57" fmla="*/ 469871 h 626625"/>
              <a:gd name="connsiteX58" fmla="*/ 132772 w 253604"/>
              <a:gd name="connsiteY58" fmla="*/ 453542 h 626625"/>
              <a:gd name="connsiteX59" fmla="*/ 126241 w 253604"/>
              <a:gd name="connsiteY59" fmla="*/ 443745 h 626625"/>
              <a:gd name="connsiteX60" fmla="*/ 119710 w 253604"/>
              <a:gd name="connsiteY60" fmla="*/ 437213 h 626625"/>
              <a:gd name="connsiteX61" fmla="*/ 73990 w 253604"/>
              <a:gd name="connsiteY61" fmla="*/ 433948 h 626625"/>
              <a:gd name="connsiteX62" fmla="*/ 70724 w 253604"/>
              <a:gd name="connsiteY62" fmla="*/ 424151 h 626625"/>
              <a:gd name="connsiteX63" fmla="*/ 64192 w 253604"/>
              <a:gd name="connsiteY63" fmla="*/ 417619 h 626625"/>
              <a:gd name="connsiteX64" fmla="*/ 57661 w 253604"/>
              <a:gd name="connsiteY64" fmla="*/ 407822 h 626625"/>
              <a:gd name="connsiteX65" fmla="*/ 41332 w 253604"/>
              <a:gd name="connsiteY65" fmla="*/ 384962 h 626625"/>
              <a:gd name="connsiteX66" fmla="*/ 31535 w 253604"/>
              <a:gd name="connsiteY66" fmla="*/ 375165 h 626625"/>
              <a:gd name="connsiteX67" fmla="*/ 2144 w 253604"/>
              <a:gd name="connsiteY67" fmla="*/ 362102 h 626625"/>
              <a:gd name="connsiteX68" fmla="*/ 2144 w 253604"/>
              <a:gd name="connsiteY68" fmla="*/ 352305 h 626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253604" h="626625">
                <a:moveTo>
                  <a:pt x="2144" y="352305"/>
                </a:moveTo>
                <a:cubicBezTo>
                  <a:pt x="2688" y="347951"/>
                  <a:pt x="2928" y="340941"/>
                  <a:pt x="5410" y="335976"/>
                </a:cubicBezTo>
                <a:cubicBezTo>
                  <a:pt x="8553" y="329689"/>
                  <a:pt x="19377" y="323399"/>
                  <a:pt x="25004" y="319648"/>
                </a:cubicBezTo>
                <a:cubicBezTo>
                  <a:pt x="26093" y="316382"/>
                  <a:pt x="27435" y="313191"/>
                  <a:pt x="28270" y="309851"/>
                </a:cubicBezTo>
                <a:cubicBezTo>
                  <a:pt x="29616" y="304466"/>
                  <a:pt x="27610" y="297447"/>
                  <a:pt x="31535" y="293522"/>
                </a:cubicBezTo>
                <a:cubicBezTo>
                  <a:pt x="36403" y="288654"/>
                  <a:pt x="51130" y="286991"/>
                  <a:pt x="51130" y="286991"/>
                </a:cubicBezTo>
                <a:cubicBezTo>
                  <a:pt x="53307" y="283725"/>
                  <a:pt x="55906" y="280704"/>
                  <a:pt x="57661" y="277193"/>
                </a:cubicBezTo>
                <a:cubicBezTo>
                  <a:pt x="60408" y="271699"/>
                  <a:pt x="62620" y="259574"/>
                  <a:pt x="64192" y="254333"/>
                </a:cubicBezTo>
                <a:cubicBezTo>
                  <a:pt x="66170" y="247739"/>
                  <a:pt x="70724" y="234739"/>
                  <a:pt x="70724" y="234739"/>
                </a:cubicBezTo>
                <a:cubicBezTo>
                  <a:pt x="67054" y="179690"/>
                  <a:pt x="65686" y="197691"/>
                  <a:pt x="70724" y="149831"/>
                </a:cubicBezTo>
                <a:cubicBezTo>
                  <a:pt x="71087" y="146380"/>
                  <a:pt x="72521" y="121798"/>
                  <a:pt x="77255" y="113908"/>
                </a:cubicBezTo>
                <a:cubicBezTo>
                  <a:pt x="78839" y="111268"/>
                  <a:pt x="81610" y="109553"/>
                  <a:pt x="83787" y="107376"/>
                </a:cubicBezTo>
                <a:cubicBezTo>
                  <a:pt x="81610" y="89959"/>
                  <a:pt x="82805" y="71777"/>
                  <a:pt x="77255" y="55125"/>
                </a:cubicBezTo>
                <a:cubicBezTo>
                  <a:pt x="76167" y="51859"/>
                  <a:pt x="75529" y="48407"/>
                  <a:pt x="73990" y="45328"/>
                </a:cubicBezTo>
                <a:cubicBezTo>
                  <a:pt x="72235" y="41817"/>
                  <a:pt x="69635" y="38797"/>
                  <a:pt x="67458" y="35531"/>
                </a:cubicBezTo>
                <a:cubicBezTo>
                  <a:pt x="59839" y="12670"/>
                  <a:pt x="58750" y="22468"/>
                  <a:pt x="64192" y="6139"/>
                </a:cubicBezTo>
                <a:cubicBezTo>
                  <a:pt x="100803" y="8427"/>
                  <a:pt x="106322" y="0"/>
                  <a:pt x="126241" y="15936"/>
                </a:cubicBezTo>
                <a:cubicBezTo>
                  <a:pt x="128645" y="17859"/>
                  <a:pt x="130595" y="20291"/>
                  <a:pt x="132772" y="22468"/>
                </a:cubicBezTo>
                <a:cubicBezTo>
                  <a:pt x="133861" y="25734"/>
                  <a:pt x="135551" y="28857"/>
                  <a:pt x="136038" y="32265"/>
                </a:cubicBezTo>
                <a:cubicBezTo>
                  <a:pt x="137739" y="44168"/>
                  <a:pt x="136785" y="56431"/>
                  <a:pt x="139304" y="68188"/>
                </a:cubicBezTo>
                <a:cubicBezTo>
                  <a:pt x="140428" y="73433"/>
                  <a:pt x="148641" y="80791"/>
                  <a:pt x="152367" y="84516"/>
                </a:cubicBezTo>
                <a:cubicBezTo>
                  <a:pt x="153455" y="87782"/>
                  <a:pt x="155632" y="90871"/>
                  <a:pt x="155632" y="94313"/>
                </a:cubicBezTo>
                <a:cubicBezTo>
                  <a:pt x="155632" y="102010"/>
                  <a:pt x="153744" y="109600"/>
                  <a:pt x="152367" y="117173"/>
                </a:cubicBezTo>
                <a:cubicBezTo>
                  <a:pt x="150727" y="126193"/>
                  <a:pt x="148633" y="131640"/>
                  <a:pt x="145835" y="140033"/>
                </a:cubicBezTo>
                <a:cubicBezTo>
                  <a:pt x="144747" y="161805"/>
                  <a:pt x="145069" y="183693"/>
                  <a:pt x="142570" y="205348"/>
                </a:cubicBezTo>
                <a:cubicBezTo>
                  <a:pt x="141781" y="212187"/>
                  <a:pt x="136038" y="224942"/>
                  <a:pt x="136038" y="224942"/>
                </a:cubicBezTo>
                <a:cubicBezTo>
                  <a:pt x="134949" y="232562"/>
                  <a:pt x="134503" y="240302"/>
                  <a:pt x="132772" y="247802"/>
                </a:cubicBezTo>
                <a:cubicBezTo>
                  <a:pt x="131224" y="254510"/>
                  <a:pt x="126241" y="267396"/>
                  <a:pt x="126241" y="267396"/>
                </a:cubicBezTo>
                <a:cubicBezTo>
                  <a:pt x="136451" y="308234"/>
                  <a:pt x="123402" y="257460"/>
                  <a:pt x="132772" y="290256"/>
                </a:cubicBezTo>
                <a:cubicBezTo>
                  <a:pt x="134005" y="294572"/>
                  <a:pt x="134748" y="299020"/>
                  <a:pt x="136038" y="303319"/>
                </a:cubicBezTo>
                <a:cubicBezTo>
                  <a:pt x="138016" y="309913"/>
                  <a:pt x="140393" y="316382"/>
                  <a:pt x="142570" y="322913"/>
                </a:cubicBezTo>
                <a:lnTo>
                  <a:pt x="145835" y="332711"/>
                </a:lnTo>
                <a:cubicBezTo>
                  <a:pt x="148105" y="355412"/>
                  <a:pt x="147039" y="360672"/>
                  <a:pt x="152367" y="378431"/>
                </a:cubicBezTo>
                <a:cubicBezTo>
                  <a:pt x="154345" y="385025"/>
                  <a:pt x="154029" y="393157"/>
                  <a:pt x="158898" y="398025"/>
                </a:cubicBezTo>
                <a:lnTo>
                  <a:pt x="165430" y="404556"/>
                </a:lnTo>
                <a:cubicBezTo>
                  <a:pt x="166518" y="407822"/>
                  <a:pt x="165894" y="412352"/>
                  <a:pt x="168695" y="414353"/>
                </a:cubicBezTo>
                <a:cubicBezTo>
                  <a:pt x="174298" y="418355"/>
                  <a:pt x="188290" y="420885"/>
                  <a:pt x="188290" y="420885"/>
                </a:cubicBezTo>
                <a:cubicBezTo>
                  <a:pt x="191255" y="416437"/>
                  <a:pt x="196183" y="407657"/>
                  <a:pt x="201352" y="404556"/>
                </a:cubicBezTo>
                <a:cubicBezTo>
                  <a:pt x="204304" y="402785"/>
                  <a:pt x="207884" y="402379"/>
                  <a:pt x="211150" y="401291"/>
                </a:cubicBezTo>
                <a:cubicBezTo>
                  <a:pt x="216653" y="409546"/>
                  <a:pt x="219016" y="411229"/>
                  <a:pt x="220947" y="420885"/>
                </a:cubicBezTo>
                <a:cubicBezTo>
                  <a:pt x="222456" y="428433"/>
                  <a:pt x="219486" y="437669"/>
                  <a:pt x="224212" y="443745"/>
                </a:cubicBezTo>
                <a:cubicBezTo>
                  <a:pt x="228439" y="449180"/>
                  <a:pt x="243807" y="450276"/>
                  <a:pt x="243807" y="450276"/>
                </a:cubicBezTo>
                <a:cubicBezTo>
                  <a:pt x="245984" y="452453"/>
                  <a:pt x="248754" y="454168"/>
                  <a:pt x="250338" y="456808"/>
                </a:cubicBezTo>
                <a:cubicBezTo>
                  <a:pt x="252109" y="459760"/>
                  <a:pt x="253604" y="463163"/>
                  <a:pt x="253604" y="466605"/>
                </a:cubicBezTo>
                <a:cubicBezTo>
                  <a:pt x="253604" y="485143"/>
                  <a:pt x="251659" y="503631"/>
                  <a:pt x="250338" y="522122"/>
                </a:cubicBezTo>
                <a:cubicBezTo>
                  <a:pt x="249481" y="534115"/>
                  <a:pt x="250608" y="546553"/>
                  <a:pt x="247072" y="558045"/>
                </a:cubicBezTo>
                <a:cubicBezTo>
                  <a:pt x="245918" y="561796"/>
                  <a:pt x="240861" y="562982"/>
                  <a:pt x="237275" y="564576"/>
                </a:cubicBezTo>
                <a:cubicBezTo>
                  <a:pt x="230984" y="567372"/>
                  <a:pt x="223409" y="567289"/>
                  <a:pt x="217681" y="571108"/>
                </a:cubicBezTo>
                <a:lnTo>
                  <a:pt x="198087" y="584171"/>
                </a:lnTo>
                <a:cubicBezTo>
                  <a:pt x="196998" y="588525"/>
                  <a:pt x="196828" y="593219"/>
                  <a:pt x="194821" y="597233"/>
                </a:cubicBezTo>
                <a:cubicBezTo>
                  <a:pt x="193444" y="599987"/>
                  <a:pt x="189264" y="600844"/>
                  <a:pt x="188290" y="603765"/>
                </a:cubicBezTo>
                <a:cubicBezTo>
                  <a:pt x="185856" y="611067"/>
                  <a:pt x="186113" y="619005"/>
                  <a:pt x="185024" y="626625"/>
                </a:cubicBezTo>
                <a:cubicBezTo>
                  <a:pt x="181758" y="624448"/>
                  <a:pt x="177679" y="623158"/>
                  <a:pt x="175227" y="620093"/>
                </a:cubicBezTo>
                <a:cubicBezTo>
                  <a:pt x="173077" y="617405"/>
                  <a:pt x="173500" y="613375"/>
                  <a:pt x="171961" y="610296"/>
                </a:cubicBezTo>
                <a:cubicBezTo>
                  <a:pt x="170206" y="606786"/>
                  <a:pt x="167984" y="603479"/>
                  <a:pt x="165430" y="600499"/>
                </a:cubicBezTo>
                <a:cubicBezTo>
                  <a:pt x="161422" y="595824"/>
                  <a:pt x="152367" y="587436"/>
                  <a:pt x="152367" y="587436"/>
                </a:cubicBezTo>
                <a:cubicBezTo>
                  <a:pt x="151278" y="583082"/>
                  <a:pt x="149350" y="578854"/>
                  <a:pt x="149101" y="574373"/>
                </a:cubicBezTo>
                <a:cubicBezTo>
                  <a:pt x="147168" y="539576"/>
                  <a:pt x="148811" y="504595"/>
                  <a:pt x="145835" y="469871"/>
                </a:cubicBezTo>
                <a:cubicBezTo>
                  <a:pt x="145352" y="464238"/>
                  <a:pt x="135996" y="457571"/>
                  <a:pt x="132772" y="453542"/>
                </a:cubicBezTo>
                <a:cubicBezTo>
                  <a:pt x="130320" y="450477"/>
                  <a:pt x="128693" y="446810"/>
                  <a:pt x="126241" y="443745"/>
                </a:cubicBezTo>
                <a:cubicBezTo>
                  <a:pt x="124318" y="441341"/>
                  <a:pt x="122736" y="437780"/>
                  <a:pt x="119710" y="437213"/>
                </a:cubicBezTo>
                <a:cubicBezTo>
                  <a:pt x="104693" y="434397"/>
                  <a:pt x="89230" y="435036"/>
                  <a:pt x="73990" y="433948"/>
                </a:cubicBezTo>
                <a:cubicBezTo>
                  <a:pt x="72901" y="430682"/>
                  <a:pt x="72495" y="427103"/>
                  <a:pt x="70724" y="424151"/>
                </a:cubicBezTo>
                <a:cubicBezTo>
                  <a:pt x="69140" y="421511"/>
                  <a:pt x="66116" y="420023"/>
                  <a:pt x="64192" y="417619"/>
                </a:cubicBezTo>
                <a:cubicBezTo>
                  <a:pt x="61740" y="414554"/>
                  <a:pt x="59416" y="411332"/>
                  <a:pt x="57661" y="407822"/>
                </a:cubicBezTo>
                <a:cubicBezTo>
                  <a:pt x="47236" y="386971"/>
                  <a:pt x="66153" y="409783"/>
                  <a:pt x="41332" y="384962"/>
                </a:cubicBezTo>
                <a:cubicBezTo>
                  <a:pt x="38066" y="381696"/>
                  <a:pt x="35916" y="376626"/>
                  <a:pt x="31535" y="375165"/>
                </a:cubicBezTo>
                <a:cubicBezTo>
                  <a:pt x="30914" y="374958"/>
                  <a:pt x="4731" y="368139"/>
                  <a:pt x="2144" y="362102"/>
                </a:cubicBezTo>
                <a:cubicBezTo>
                  <a:pt x="0" y="357099"/>
                  <a:pt x="1600" y="356659"/>
                  <a:pt x="2144" y="352305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26" name="Rectangle 1"/>
          <p:cNvSpPr>
            <a:spLocks noChangeArrowheads="1"/>
          </p:cNvSpPr>
          <p:nvPr/>
        </p:nvSpPr>
        <p:spPr bwMode="auto">
          <a:xfrm rot="3883631">
            <a:off x="-171792" y="3703167"/>
            <a:ext cx="299312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600" dirty="0" err="1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అట్లాంటిక్</a:t>
            </a:r>
            <a:r>
              <a:rPr lang="en-US" sz="1600" spc="600" dirty="0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 </a:t>
            </a:r>
            <a:r>
              <a:rPr lang="en-US" sz="1600" spc="600" dirty="0" err="1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మహా</a:t>
            </a:r>
            <a:r>
              <a:rPr lang="en-US" sz="1600" spc="600" dirty="0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 </a:t>
            </a:r>
            <a:r>
              <a:rPr lang="en-US" sz="1600" spc="600" dirty="0" err="1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సముద్రము</a:t>
            </a:r>
            <a:endParaRPr lang="en-US" sz="1600" spc="600" dirty="0">
              <a:solidFill>
                <a:srgbClr val="0000FF"/>
              </a:solidFill>
              <a:latin typeface="Sree Krushnadevaraya" pitchFamily="2" charset="0"/>
              <a:cs typeface="Sree Krushnadevaraya" pitchFamily="2" charset="0"/>
            </a:endParaRPr>
          </a:p>
        </p:txBody>
      </p:sp>
      <p:sp>
        <p:nvSpPr>
          <p:cNvPr id="127" name="Rectangle 1"/>
          <p:cNvSpPr>
            <a:spLocks noChangeArrowheads="1"/>
          </p:cNvSpPr>
          <p:nvPr/>
        </p:nvSpPr>
        <p:spPr bwMode="auto">
          <a:xfrm rot="16200000">
            <a:off x="6070869" y="3367675"/>
            <a:ext cx="489373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600" dirty="0" err="1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హిందూ</a:t>
            </a:r>
            <a:r>
              <a:rPr lang="en-US" sz="1600" spc="600" dirty="0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 </a:t>
            </a:r>
            <a:r>
              <a:rPr lang="en-US" sz="1600" spc="600" dirty="0" err="1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మహా</a:t>
            </a:r>
            <a:r>
              <a:rPr lang="en-US" sz="1600" spc="600" dirty="0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 </a:t>
            </a:r>
            <a:r>
              <a:rPr lang="en-US" sz="1600" spc="600" dirty="0" err="1">
                <a:solidFill>
                  <a:srgbClr val="0000FF"/>
                </a:solidFill>
                <a:latin typeface="Sree Krushnadevaraya" pitchFamily="2" charset="0"/>
                <a:cs typeface="Sree Krushnadevaraya" pitchFamily="2" charset="0"/>
              </a:rPr>
              <a:t>సముద్రము</a:t>
            </a:r>
            <a:endParaRPr lang="en-US" sz="1600" spc="600" dirty="0">
              <a:solidFill>
                <a:srgbClr val="0000FF"/>
              </a:solidFill>
              <a:latin typeface="Sree Krushnadevaraya" pitchFamily="2" charset="0"/>
              <a:cs typeface="Sree Krushnadevaraya" pitchFamily="2" charset="0"/>
            </a:endParaRPr>
          </a:p>
        </p:txBody>
      </p:sp>
      <p:sp>
        <p:nvSpPr>
          <p:cNvPr id="129" name="Rectangle 2"/>
          <p:cNvSpPr>
            <a:spLocks noChangeArrowheads="1"/>
          </p:cNvSpPr>
          <p:nvPr/>
        </p:nvSpPr>
        <p:spPr bwMode="auto">
          <a:xfrm rot="2689193">
            <a:off x="5292731" y="1049924"/>
            <a:ext cx="140176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600">
                <a:solidFill>
                  <a:srgbClr val="0000FF"/>
                </a:solidFill>
                <a:latin typeface="Gidugu" pitchFamily="2" charset="0"/>
                <a:cs typeface="Gidugu" pitchFamily="2" charset="0"/>
              </a:rPr>
              <a:t>సూయజ్ కాలువ</a:t>
            </a:r>
          </a:p>
        </p:txBody>
      </p:sp>
      <p:sp>
        <p:nvSpPr>
          <p:cNvPr id="131" name="Rectangle 3"/>
          <p:cNvSpPr>
            <a:spLocks noChangeArrowheads="1"/>
          </p:cNvSpPr>
          <p:nvPr/>
        </p:nvSpPr>
        <p:spPr bwMode="auto">
          <a:xfrm>
            <a:off x="76200" y="3670306"/>
            <a:ext cx="1143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200">
                <a:solidFill>
                  <a:srgbClr val="0000FF"/>
                </a:solidFill>
                <a:latin typeface="NTR" pitchFamily="2" charset="0"/>
                <a:ea typeface="Calibri" pitchFamily="34" charset="0"/>
                <a:cs typeface="NTR" pitchFamily="2" charset="0"/>
              </a:rPr>
              <a:t>0° అక్షాంశం భూమధ్య రేఖ</a:t>
            </a:r>
          </a:p>
        </p:txBody>
      </p:sp>
      <p:cxnSp>
        <p:nvCxnSpPr>
          <p:cNvPr id="132" name="Straight Connector 131"/>
          <p:cNvCxnSpPr/>
          <p:nvPr/>
        </p:nvCxnSpPr>
        <p:spPr>
          <a:xfrm flipV="1">
            <a:off x="-252413" y="3716867"/>
            <a:ext cx="10117138" cy="0"/>
          </a:xfrm>
          <a:prstGeom prst="line">
            <a:avLst/>
          </a:prstGeom>
          <a:ln w="28575">
            <a:solidFill>
              <a:srgbClr val="F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/>
        </p:nvCxnSpPr>
        <p:spPr>
          <a:xfrm flipV="1">
            <a:off x="-107949" y="1566336"/>
            <a:ext cx="9864725" cy="2117"/>
          </a:xfrm>
          <a:prstGeom prst="line">
            <a:avLst/>
          </a:prstGeom>
          <a:ln w="28575">
            <a:solidFill>
              <a:srgbClr val="F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3"/>
          <p:cNvSpPr>
            <a:spLocks noChangeArrowheads="1"/>
          </p:cNvSpPr>
          <p:nvPr/>
        </p:nvSpPr>
        <p:spPr bwMode="auto">
          <a:xfrm>
            <a:off x="152400" y="1557870"/>
            <a:ext cx="14684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200">
                <a:solidFill>
                  <a:srgbClr val="0000FF"/>
                </a:solidFill>
                <a:latin typeface="NTR" pitchFamily="2" charset="0"/>
                <a:ea typeface="Calibri" pitchFamily="34" charset="0"/>
                <a:cs typeface="NTR" pitchFamily="2" charset="0"/>
              </a:rPr>
              <a:t>23 ½° ఉత్తర అక్షాంశం</a:t>
            </a:r>
          </a:p>
          <a:p>
            <a:pPr eaLnBrk="0" hangingPunct="0"/>
            <a:r>
              <a:rPr lang="en-US" sz="1200">
                <a:solidFill>
                  <a:srgbClr val="0000FF"/>
                </a:solidFill>
                <a:latin typeface="NTR" pitchFamily="2" charset="0"/>
                <a:ea typeface="Calibri" pitchFamily="34" charset="0"/>
                <a:cs typeface="NTR" pitchFamily="2" charset="0"/>
              </a:rPr>
              <a:t>కర్కట రేఖ</a:t>
            </a:r>
          </a:p>
        </p:txBody>
      </p:sp>
      <p:cxnSp>
        <p:nvCxnSpPr>
          <p:cNvPr id="135" name="Straight Connector 134"/>
          <p:cNvCxnSpPr/>
          <p:nvPr/>
        </p:nvCxnSpPr>
        <p:spPr>
          <a:xfrm>
            <a:off x="-396875" y="5662090"/>
            <a:ext cx="10306050" cy="10583"/>
          </a:xfrm>
          <a:prstGeom prst="line">
            <a:avLst/>
          </a:prstGeom>
          <a:ln w="28575">
            <a:solidFill>
              <a:srgbClr val="F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3"/>
          <p:cNvSpPr>
            <a:spLocks noChangeArrowheads="1"/>
          </p:cNvSpPr>
          <p:nvPr/>
        </p:nvSpPr>
        <p:spPr bwMode="auto">
          <a:xfrm>
            <a:off x="187325" y="5662090"/>
            <a:ext cx="20081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200">
                <a:solidFill>
                  <a:srgbClr val="0000FF"/>
                </a:solidFill>
                <a:latin typeface="NTR" pitchFamily="2" charset="0"/>
                <a:ea typeface="Calibri" pitchFamily="34" charset="0"/>
                <a:cs typeface="NTR" pitchFamily="2" charset="0"/>
              </a:rPr>
              <a:t>23 ½° దక్షిణ అక్షాంశం మకరరేఖ</a:t>
            </a:r>
          </a:p>
        </p:txBody>
      </p:sp>
      <p:cxnSp>
        <p:nvCxnSpPr>
          <p:cNvPr id="137" name="Straight Connector 136"/>
          <p:cNvCxnSpPr/>
          <p:nvPr/>
        </p:nvCxnSpPr>
        <p:spPr>
          <a:xfrm>
            <a:off x="2916238" y="0"/>
            <a:ext cx="0" cy="6858000"/>
          </a:xfrm>
          <a:prstGeom prst="line">
            <a:avLst/>
          </a:prstGeom>
          <a:ln w="28575">
            <a:solidFill>
              <a:srgbClr val="FF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 3"/>
          <p:cNvSpPr>
            <a:spLocks noChangeArrowheads="1"/>
          </p:cNvSpPr>
          <p:nvPr/>
        </p:nvSpPr>
        <p:spPr bwMode="auto">
          <a:xfrm rot="-5400000">
            <a:off x="1525594" y="5234092"/>
            <a:ext cx="25844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400">
                <a:solidFill>
                  <a:srgbClr val="0000FF"/>
                </a:solidFill>
                <a:latin typeface="NTR" pitchFamily="2" charset="0"/>
                <a:ea typeface="Calibri" pitchFamily="34" charset="0"/>
                <a:cs typeface="NTR" pitchFamily="2" charset="0"/>
              </a:rPr>
              <a:t>0° రేఖాంశం గ్రీనిచ్ రేఖ</a:t>
            </a:r>
          </a:p>
        </p:txBody>
      </p:sp>
      <p:sp>
        <p:nvSpPr>
          <p:cNvPr id="61" name="Subtitle 2"/>
          <p:cNvSpPr>
            <a:spLocks noGrp="1"/>
          </p:cNvSpPr>
          <p:nvPr>
            <p:ph type="subTitle" idx="1"/>
          </p:nvPr>
        </p:nvSpPr>
        <p:spPr>
          <a:xfrm>
            <a:off x="4953006" y="1136655"/>
            <a:ext cx="792163" cy="361949"/>
          </a:xfrm>
        </p:spPr>
        <p:txBody>
          <a:bodyPr>
            <a:normAutofit fontScale="92500" lnSpcReduction="10000"/>
          </a:bodyPr>
          <a:lstStyle/>
          <a:p>
            <a:pPr eaLnBrk="1" hangingPunct="1"/>
            <a:r>
              <a:rPr lang="en-IN" sz="2000" smtClean="0">
                <a:solidFill>
                  <a:schemeClr val="tx1"/>
                </a:solidFill>
                <a:latin typeface="Ramabhadra" pitchFamily="2" charset="0"/>
                <a:cs typeface="Ramabhadra" pitchFamily="2" charset="0"/>
              </a:rPr>
              <a:t>ఈజిప్ట్</a:t>
            </a:r>
          </a:p>
        </p:txBody>
      </p:sp>
      <p:sp>
        <p:nvSpPr>
          <p:cNvPr id="65" name="Subtitle 2"/>
          <p:cNvSpPr txBox="1">
            <a:spLocks/>
          </p:cNvSpPr>
          <p:nvPr/>
        </p:nvSpPr>
        <p:spPr bwMode="auto">
          <a:xfrm>
            <a:off x="5076826" y="2059523"/>
            <a:ext cx="863600" cy="351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>
                <a:latin typeface="Ramabhadra" pitchFamily="2" charset="0"/>
                <a:cs typeface="Ramabhadra" pitchFamily="2" charset="0"/>
              </a:rPr>
              <a:t>సూడాన్</a:t>
            </a:r>
          </a:p>
        </p:txBody>
      </p:sp>
      <p:sp>
        <p:nvSpPr>
          <p:cNvPr id="67" name="TextBox 51"/>
          <p:cNvSpPr txBox="1">
            <a:spLocks noChangeArrowheads="1"/>
          </p:cNvSpPr>
          <p:nvPr/>
        </p:nvSpPr>
        <p:spPr bwMode="auto">
          <a:xfrm>
            <a:off x="5157788" y="2717801"/>
            <a:ext cx="78581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latin typeface="Ramabhadra" pitchFamily="2" charset="0"/>
                <a:cs typeface="Ramabhadra" pitchFamily="2" charset="0"/>
              </a:rPr>
              <a:t>దక్షిణ సూడాన్</a:t>
            </a:r>
          </a:p>
        </p:txBody>
      </p:sp>
      <p:sp>
        <p:nvSpPr>
          <p:cNvPr id="69" name="Subtitle 2"/>
          <p:cNvSpPr txBox="1">
            <a:spLocks/>
          </p:cNvSpPr>
          <p:nvPr/>
        </p:nvSpPr>
        <p:spPr bwMode="auto">
          <a:xfrm rot="207447">
            <a:off x="5872169" y="2819404"/>
            <a:ext cx="1228725" cy="256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400">
                <a:latin typeface="Ramabhadra" pitchFamily="2" charset="0"/>
                <a:cs typeface="Ramabhadra" pitchFamily="2" charset="0"/>
              </a:rPr>
              <a:t>ఇథియోపియా</a:t>
            </a:r>
          </a:p>
        </p:txBody>
      </p:sp>
      <p:sp>
        <p:nvSpPr>
          <p:cNvPr id="78" name="TextBox 49"/>
          <p:cNvSpPr txBox="1">
            <a:spLocks noChangeArrowheads="1"/>
          </p:cNvSpPr>
          <p:nvPr/>
        </p:nvSpPr>
        <p:spPr bwMode="auto">
          <a:xfrm rot="1844454">
            <a:off x="5472117" y="4246666"/>
            <a:ext cx="11191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Ramabhadra" pitchFamily="2" charset="0"/>
                <a:cs typeface="Ramabhadra" pitchFamily="2" charset="0"/>
              </a:rPr>
              <a:t>టాంజానియా</a:t>
            </a:r>
          </a:p>
        </p:txBody>
      </p:sp>
      <p:sp>
        <p:nvSpPr>
          <p:cNvPr id="80" name="Subtitle 2"/>
          <p:cNvSpPr txBox="1">
            <a:spLocks/>
          </p:cNvSpPr>
          <p:nvPr/>
        </p:nvSpPr>
        <p:spPr bwMode="auto">
          <a:xfrm rot="-1438553">
            <a:off x="5572126" y="5020738"/>
            <a:ext cx="1030288" cy="336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1400">
                <a:latin typeface="Ramabhadra" pitchFamily="2" charset="0"/>
                <a:cs typeface="Ramabhadra" pitchFamily="2" charset="0"/>
              </a:rPr>
              <a:t>మొజాంబిక్</a:t>
            </a:r>
            <a:endParaRPr lang="en-IN" sz="1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4" name="Subtitle 2"/>
          <p:cNvSpPr txBox="1">
            <a:spLocks/>
          </p:cNvSpPr>
          <p:nvPr/>
        </p:nvSpPr>
        <p:spPr bwMode="auto">
          <a:xfrm>
            <a:off x="4787906" y="4798488"/>
            <a:ext cx="936625" cy="285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600">
                <a:latin typeface="Ramabhadra" pitchFamily="2" charset="0"/>
                <a:cs typeface="Ramabhadra" pitchFamily="2" charset="0"/>
              </a:rPr>
              <a:t>జాంబియా</a:t>
            </a:r>
          </a:p>
        </p:txBody>
      </p:sp>
      <p:sp>
        <p:nvSpPr>
          <p:cNvPr id="35" name="Subtitle 2"/>
          <p:cNvSpPr txBox="1">
            <a:spLocks/>
          </p:cNvSpPr>
          <p:nvPr/>
        </p:nvSpPr>
        <p:spPr bwMode="auto">
          <a:xfrm rot="-1672027">
            <a:off x="4506919" y="5977471"/>
            <a:ext cx="1125537" cy="499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>
                <a:latin typeface="Ramabhadra" pitchFamily="2" charset="0"/>
                <a:cs typeface="Ramabhadra" pitchFamily="2" charset="0"/>
              </a:rPr>
              <a:t>దక్షిణాఫ్రికా</a:t>
            </a:r>
          </a:p>
        </p:txBody>
      </p:sp>
      <p:sp>
        <p:nvSpPr>
          <p:cNvPr id="38" name="Subtitle 2"/>
          <p:cNvSpPr txBox="1">
            <a:spLocks/>
          </p:cNvSpPr>
          <p:nvPr/>
        </p:nvSpPr>
        <p:spPr bwMode="auto">
          <a:xfrm rot="-2041379">
            <a:off x="3890969" y="4607984"/>
            <a:ext cx="979487" cy="42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>
                <a:latin typeface="Ramabhadra" pitchFamily="2" charset="0"/>
                <a:cs typeface="Ramabhadra" pitchFamily="2" charset="0"/>
              </a:rPr>
              <a:t>అంగోలా</a:t>
            </a: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1" name="Subtitle 2"/>
          <p:cNvSpPr txBox="1">
            <a:spLocks/>
          </p:cNvSpPr>
          <p:nvPr/>
        </p:nvSpPr>
        <p:spPr bwMode="auto">
          <a:xfrm>
            <a:off x="4500564" y="3714755"/>
            <a:ext cx="863600" cy="28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>
                <a:latin typeface="Ramabhadra" pitchFamily="2" charset="0"/>
                <a:cs typeface="Ramabhadra" pitchFamily="2" charset="0"/>
              </a:rPr>
              <a:t>జైరీ</a:t>
            </a:r>
          </a:p>
        </p:txBody>
      </p:sp>
      <p:sp>
        <p:nvSpPr>
          <p:cNvPr id="43" name="Subtitle 2"/>
          <p:cNvSpPr txBox="1">
            <a:spLocks/>
          </p:cNvSpPr>
          <p:nvPr/>
        </p:nvSpPr>
        <p:spPr bwMode="auto">
          <a:xfrm rot="-3355008">
            <a:off x="3952350" y="3615800"/>
            <a:ext cx="78528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400">
                <a:latin typeface="Ramabhadra" pitchFamily="2" charset="0"/>
                <a:cs typeface="Ramabhadra" pitchFamily="2" charset="0"/>
              </a:rPr>
              <a:t>కాంగో</a:t>
            </a:r>
          </a:p>
        </p:txBody>
      </p:sp>
      <p:sp>
        <p:nvSpPr>
          <p:cNvPr id="46" name="Subtitle 2"/>
          <p:cNvSpPr txBox="1">
            <a:spLocks/>
          </p:cNvSpPr>
          <p:nvPr/>
        </p:nvSpPr>
        <p:spPr bwMode="auto">
          <a:xfrm rot="-2854732">
            <a:off x="3559179" y="3031067"/>
            <a:ext cx="1149349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10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కామెరూన్</a:t>
            </a:r>
          </a:p>
        </p:txBody>
      </p:sp>
      <p:sp>
        <p:nvSpPr>
          <p:cNvPr id="49" name="TextBox 52"/>
          <p:cNvSpPr txBox="1">
            <a:spLocks noChangeArrowheads="1"/>
          </p:cNvSpPr>
          <p:nvPr/>
        </p:nvSpPr>
        <p:spPr bwMode="auto">
          <a:xfrm rot="20267194">
            <a:off x="4262438" y="2943968"/>
            <a:ext cx="81121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మధ్య</a:t>
            </a:r>
            <a:r>
              <a:rPr lang="en-US" sz="1050" dirty="0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050" dirty="0" err="1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ఆఫ్రికన్</a:t>
            </a:r>
            <a:r>
              <a:rPr lang="en-US" sz="1050" dirty="0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050" dirty="0" err="1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రిపబ్లిక్</a:t>
            </a:r>
            <a:endParaRPr lang="en-US" sz="1050" dirty="0">
              <a:solidFill>
                <a:schemeClr val="bg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1" name="TextBox 42"/>
          <p:cNvSpPr txBox="1">
            <a:spLocks noChangeArrowheads="1"/>
          </p:cNvSpPr>
          <p:nvPr/>
        </p:nvSpPr>
        <p:spPr bwMode="auto">
          <a:xfrm rot="-270715">
            <a:off x="4283075" y="2053711"/>
            <a:ext cx="10874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చాద్</a:t>
            </a:r>
          </a:p>
        </p:txBody>
      </p:sp>
      <p:sp>
        <p:nvSpPr>
          <p:cNvPr id="53" name="Subtitle 2"/>
          <p:cNvSpPr txBox="1">
            <a:spLocks/>
          </p:cNvSpPr>
          <p:nvPr/>
        </p:nvSpPr>
        <p:spPr bwMode="auto">
          <a:xfrm>
            <a:off x="3203581" y="2637369"/>
            <a:ext cx="936625" cy="28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600">
                <a:latin typeface="Ramabhadra" pitchFamily="2" charset="0"/>
                <a:cs typeface="Ramabhadra" pitchFamily="2" charset="0"/>
              </a:rPr>
              <a:t>నైజీరియా</a:t>
            </a:r>
          </a:p>
        </p:txBody>
      </p:sp>
      <p:sp>
        <p:nvSpPr>
          <p:cNvPr id="58" name="TextBox 43"/>
          <p:cNvSpPr txBox="1">
            <a:spLocks noChangeArrowheads="1"/>
          </p:cNvSpPr>
          <p:nvPr/>
        </p:nvSpPr>
        <p:spPr bwMode="auto">
          <a:xfrm>
            <a:off x="3276600" y="2021419"/>
            <a:ext cx="9350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latin typeface="Ramabhadra" pitchFamily="2" charset="0"/>
                <a:cs typeface="Ramabhadra" pitchFamily="2" charset="0"/>
              </a:rPr>
              <a:t>నైజర్</a:t>
            </a:r>
          </a:p>
        </p:txBody>
      </p:sp>
      <p:sp>
        <p:nvSpPr>
          <p:cNvPr id="89" name="Subtitle 2"/>
          <p:cNvSpPr txBox="1">
            <a:spLocks/>
          </p:cNvSpPr>
          <p:nvPr/>
        </p:nvSpPr>
        <p:spPr bwMode="auto">
          <a:xfrm rot="-5675605">
            <a:off x="2141279" y="3301212"/>
            <a:ext cx="1011767" cy="10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1400">
                <a:latin typeface="Ramabhadra" pitchFamily="2" charset="0"/>
                <a:cs typeface="Ramabhadra" pitchFamily="2" charset="0"/>
              </a:rPr>
              <a:t>ఘనా</a:t>
            </a:r>
          </a:p>
        </p:txBody>
      </p:sp>
      <p:sp>
        <p:nvSpPr>
          <p:cNvPr id="93" name="TextBox 48"/>
          <p:cNvSpPr txBox="1">
            <a:spLocks noChangeArrowheads="1"/>
          </p:cNvSpPr>
          <p:nvPr/>
        </p:nvSpPr>
        <p:spPr bwMode="auto">
          <a:xfrm rot="-5400000">
            <a:off x="1667940" y="3738666"/>
            <a:ext cx="150283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latin typeface="Ramabhadra" pitchFamily="2" charset="0"/>
                <a:cs typeface="Ramabhadra" pitchFamily="2" charset="0"/>
              </a:rPr>
              <a:t>ఐవరి కోస్ట్</a:t>
            </a:r>
          </a:p>
        </p:txBody>
      </p:sp>
      <p:sp>
        <p:nvSpPr>
          <p:cNvPr id="102" name="TextBox 46"/>
          <p:cNvSpPr txBox="1">
            <a:spLocks noChangeArrowheads="1"/>
          </p:cNvSpPr>
          <p:nvPr/>
        </p:nvSpPr>
        <p:spPr bwMode="auto">
          <a:xfrm>
            <a:off x="2484441" y="1915585"/>
            <a:ext cx="7191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మాలి</a:t>
            </a:r>
          </a:p>
        </p:txBody>
      </p:sp>
      <p:sp>
        <p:nvSpPr>
          <p:cNvPr id="104" name="TextBox 103"/>
          <p:cNvSpPr txBox="1">
            <a:spLocks noChangeArrowheads="1"/>
          </p:cNvSpPr>
          <p:nvPr/>
        </p:nvSpPr>
        <p:spPr bwMode="auto">
          <a:xfrm rot="-2559008">
            <a:off x="1555756" y="1581207"/>
            <a:ext cx="13239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latin typeface="Ramabhadra" pitchFamily="2" charset="0"/>
                <a:cs typeface="Ramabhadra" pitchFamily="2" charset="0"/>
              </a:rPr>
              <a:t>మారిటేనియా</a:t>
            </a:r>
          </a:p>
        </p:txBody>
      </p:sp>
      <p:sp>
        <p:nvSpPr>
          <p:cNvPr id="107" name="TextBox 50"/>
          <p:cNvSpPr txBox="1">
            <a:spLocks noChangeArrowheads="1"/>
          </p:cNvSpPr>
          <p:nvPr/>
        </p:nvSpPr>
        <p:spPr bwMode="auto">
          <a:xfrm>
            <a:off x="1276350" y="990601"/>
            <a:ext cx="8572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Ramabhadra" pitchFamily="2" charset="0"/>
                <a:cs typeface="Ramabhadra" pitchFamily="2" charset="0"/>
              </a:rPr>
              <a:t>పశ్చిమ సహారా</a:t>
            </a:r>
          </a:p>
        </p:txBody>
      </p:sp>
      <p:sp>
        <p:nvSpPr>
          <p:cNvPr id="112" name="Subtitle 2"/>
          <p:cNvSpPr txBox="1">
            <a:spLocks/>
          </p:cNvSpPr>
          <p:nvPr/>
        </p:nvSpPr>
        <p:spPr bwMode="auto">
          <a:xfrm>
            <a:off x="2555875" y="982137"/>
            <a:ext cx="1295400" cy="28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US">
                <a:latin typeface="Ramabhadra" pitchFamily="2" charset="0"/>
                <a:cs typeface="Ramabhadra" pitchFamily="2" charset="0"/>
              </a:rPr>
              <a:t>అల్జీరియా</a:t>
            </a: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8" name="Rectangle 2"/>
          <p:cNvSpPr>
            <a:spLocks noChangeArrowheads="1"/>
          </p:cNvSpPr>
          <p:nvPr/>
        </p:nvSpPr>
        <p:spPr bwMode="auto">
          <a:xfrm>
            <a:off x="1049339" y="234951"/>
            <a:ext cx="177006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1600">
                <a:solidFill>
                  <a:srgbClr val="0000FF"/>
                </a:solidFill>
                <a:latin typeface="Gidugu" pitchFamily="2" charset="0"/>
                <a:cs typeface="Gidugu" pitchFamily="2" charset="0"/>
              </a:rPr>
              <a:t>జీబ్రాల్టర్ జలసంధి</a:t>
            </a:r>
          </a:p>
        </p:txBody>
      </p:sp>
      <p:sp>
        <p:nvSpPr>
          <p:cNvPr id="130" name="Rectangle 1"/>
          <p:cNvSpPr>
            <a:spLocks noChangeArrowheads="1"/>
          </p:cNvSpPr>
          <p:nvPr/>
        </p:nvSpPr>
        <p:spPr bwMode="auto">
          <a:xfrm>
            <a:off x="3929063" y="436038"/>
            <a:ext cx="2360612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50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మధ్యధరా సముద్రము</a:t>
            </a:r>
          </a:p>
        </p:txBody>
      </p:sp>
      <p:sp>
        <p:nvSpPr>
          <p:cNvPr id="76" name="Subtitle 2"/>
          <p:cNvSpPr txBox="1">
            <a:spLocks/>
          </p:cNvSpPr>
          <p:nvPr/>
        </p:nvSpPr>
        <p:spPr bwMode="auto">
          <a:xfrm rot="-2081875">
            <a:off x="5503863" y="3378201"/>
            <a:ext cx="595312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 sz="1000">
                <a:latin typeface="Ramabhadra" pitchFamily="2" charset="0"/>
                <a:cs typeface="Ramabhadra" pitchFamily="2" charset="0"/>
              </a:rPr>
              <a:t>ఉగాండా</a:t>
            </a:r>
          </a:p>
        </p:txBody>
      </p:sp>
      <p:sp>
        <p:nvSpPr>
          <p:cNvPr id="84" name="TextBox 53"/>
          <p:cNvSpPr txBox="1">
            <a:spLocks noChangeArrowheads="1"/>
          </p:cNvSpPr>
          <p:nvPr/>
        </p:nvSpPr>
        <p:spPr bwMode="auto">
          <a:xfrm rot="-1694920">
            <a:off x="4497394" y="5540521"/>
            <a:ext cx="9286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latin typeface="Ramabhadra" pitchFamily="2" charset="0"/>
                <a:cs typeface="Ramabhadra" pitchFamily="2" charset="0"/>
              </a:rPr>
              <a:t>బోట్స్వానా</a:t>
            </a:r>
          </a:p>
        </p:txBody>
      </p:sp>
      <p:sp>
        <p:nvSpPr>
          <p:cNvPr id="36" name="Subtitle 2"/>
          <p:cNvSpPr txBox="1">
            <a:spLocks/>
          </p:cNvSpPr>
          <p:nvPr/>
        </p:nvSpPr>
        <p:spPr bwMode="auto">
          <a:xfrm>
            <a:off x="3886206" y="5266271"/>
            <a:ext cx="1120775" cy="601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 sz="1600">
                <a:latin typeface="Ramabhadra" pitchFamily="2" charset="0"/>
                <a:cs typeface="Ramabhadra" pitchFamily="2" charset="0"/>
              </a:rPr>
              <a:t>నమీబియా</a:t>
            </a:r>
          </a:p>
        </p:txBody>
      </p:sp>
      <p:sp>
        <p:nvSpPr>
          <p:cNvPr id="125" name="Subtitle 2"/>
          <p:cNvSpPr txBox="1">
            <a:spLocks/>
          </p:cNvSpPr>
          <p:nvPr/>
        </p:nvSpPr>
        <p:spPr bwMode="auto">
          <a:xfrm rot="-3887848">
            <a:off x="6264014" y="5177631"/>
            <a:ext cx="1424517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>
                <a:latin typeface="Ramabhadra" pitchFamily="2" charset="0"/>
                <a:cs typeface="Ramabhadra" pitchFamily="2" charset="0"/>
              </a:rPr>
              <a:t>మలగసి</a:t>
            </a:r>
          </a:p>
        </p:txBody>
      </p:sp>
      <p:sp>
        <p:nvSpPr>
          <p:cNvPr id="108" name="Rectangle 2"/>
          <p:cNvSpPr>
            <a:spLocks noChangeArrowheads="1"/>
          </p:cNvSpPr>
          <p:nvPr/>
        </p:nvSpPr>
        <p:spPr bwMode="auto">
          <a:xfrm rot="2594678">
            <a:off x="6135690" y="2156458"/>
            <a:ext cx="12922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40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ఎర్ర సముద్రము</a:t>
            </a:r>
          </a:p>
        </p:txBody>
      </p:sp>
      <p:sp>
        <p:nvSpPr>
          <p:cNvPr id="139" name="Rectangle 2"/>
          <p:cNvSpPr>
            <a:spLocks noChangeArrowheads="1"/>
          </p:cNvSpPr>
          <p:nvPr/>
        </p:nvSpPr>
        <p:spPr bwMode="auto">
          <a:xfrm>
            <a:off x="5410206" y="6477006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400" dirty="0" err="1">
                <a:latin typeface="Ramabhadra" pitchFamily="2" charset="0"/>
                <a:cs typeface="Ramabhadra" pitchFamily="2" charset="0"/>
              </a:rPr>
              <a:t>గుడ్</a:t>
            </a:r>
            <a:r>
              <a:rPr lang="en-US" sz="14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400" dirty="0" err="1">
                <a:latin typeface="Ramabhadra" pitchFamily="2" charset="0"/>
                <a:cs typeface="Ramabhadra" pitchFamily="2" charset="0"/>
              </a:rPr>
              <a:t>హోప్</a:t>
            </a:r>
            <a:r>
              <a:rPr lang="en-US" sz="14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400" dirty="0" err="1">
                <a:latin typeface="Ramabhadra" pitchFamily="2" charset="0"/>
                <a:cs typeface="Ramabhadra" pitchFamily="2" charset="0"/>
              </a:rPr>
              <a:t>అగ్రము</a:t>
            </a:r>
            <a:endParaRPr lang="en-US" sz="1400" dirty="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40" name="Straight Arrow Connector 139"/>
          <p:cNvCxnSpPr/>
          <p:nvPr/>
        </p:nvCxnSpPr>
        <p:spPr>
          <a:xfrm>
            <a:off x="4648200" y="6680204"/>
            <a:ext cx="838200" cy="211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2"/>
          <p:cNvSpPr>
            <a:spLocks noChangeArrowheads="1"/>
          </p:cNvSpPr>
          <p:nvPr/>
        </p:nvSpPr>
        <p:spPr bwMode="auto">
          <a:xfrm>
            <a:off x="3209931" y="173573"/>
            <a:ext cx="12922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te-IN" sz="1400" b="1">
                <a:latin typeface="Tw Cen MT" pitchFamily="34" charset="0"/>
              </a:rPr>
              <a:t>Tunisia</a:t>
            </a:r>
            <a:endParaRPr lang="en-US" sz="1400" b="1">
              <a:solidFill>
                <a:srgbClr val="0000FF"/>
              </a:solidFill>
              <a:latin typeface="Tw Cen MT" pitchFamily="34" charset="0"/>
            </a:endParaRPr>
          </a:p>
        </p:txBody>
      </p:sp>
      <p:sp>
        <p:nvSpPr>
          <p:cNvPr id="142" name="Rectangle 2"/>
          <p:cNvSpPr>
            <a:spLocks noChangeArrowheads="1"/>
          </p:cNvSpPr>
          <p:nvPr/>
        </p:nvSpPr>
        <p:spPr bwMode="auto">
          <a:xfrm rot="-201903">
            <a:off x="760418" y="2219472"/>
            <a:ext cx="8413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సెనెగల్</a:t>
            </a:r>
            <a:endParaRPr lang="en-US" sz="120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3" name="Rectangle 2"/>
          <p:cNvSpPr>
            <a:spLocks noChangeArrowheads="1"/>
          </p:cNvSpPr>
          <p:nvPr/>
        </p:nvSpPr>
        <p:spPr bwMode="auto">
          <a:xfrm rot="-201903">
            <a:off x="841381" y="2651553"/>
            <a:ext cx="91281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1100">
                <a:latin typeface="Ramabhadra" pitchFamily="2" charset="0"/>
                <a:cs typeface="Ramabhadra" pitchFamily="2" charset="0"/>
              </a:rPr>
              <a:t>గినియా</a:t>
            </a:r>
          </a:p>
        </p:txBody>
      </p:sp>
      <p:sp>
        <p:nvSpPr>
          <p:cNvPr id="144" name="Rectangle 2"/>
          <p:cNvSpPr>
            <a:spLocks noChangeArrowheads="1"/>
          </p:cNvSpPr>
          <p:nvPr/>
        </p:nvSpPr>
        <p:spPr bwMode="auto">
          <a:xfrm rot="-201903">
            <a:off x="6092828" y="2092753"/>
            <a:ext cx="108267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100">
                <a:latin typeface="Ramabhadra" pitchFamily="2" charset="0"/>
                <a:cs typeface="Ramabhadra" pitchFamily="2" charset="0"/>
              </a:rPr>
              <a:t>ఎరిత్రియా</a:t>
            </a:r>
            <a:endParaRPr lang="en-US" sz="110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5" name="Rectangle 2"/>
          <p:cNvSpPr>
            <a:spLocks noChangeArrowheads="1"/>
          </p:cNvSpPr>
          <p:nvPr/>
        </p:nvSpPr>
        <p:spPr bwMode="auto">
          <a:xfrm rot="-201903">
            <a:off x="3665538" y="3688720"/>
            <a:ext cx="60166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100">
                <a:latin typeface="Ramabhadra" pitchFamily="2" charset="0"/>
                <a:cs typeface="Ramabhadra" pitchFamily="2" charset="0"/>
              </a:rPr>
              <a:t>గబన్</a:t>
            </a:r>
            <a:endParaRPr lang="en-US" sz="110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6" name="Freeform 145"/>
          <p:cNvSpPr/>
          <p:nvPr/>
        </p:nvSpPr>
        <p:spPr>
          <a:xfrm>
            <a:off x="7548569" y="3839637"/>
            <a:ext cx="52387" cy="110067"/>
          </a:xfrm>
          <a:custGeom>
            <a:avLst/>
            <a:gdLst>
              <a:gd name="connsiteX0" fmla="*/ 2476 w 52006"/>
              <a:gd name="connsiteY0" fmla="*/ 27350 h 82738"/>
              <a:gd name="connsiteX1" fmla="*/ 6286 w 52006"/>
              <a:gd name="connsiteY1" fmla="*/ 4490 h 82738"/>
              <a:gd name="connsiteX2" fmla="*/ 29146 w 52006"/>
              <a:gd name="connsiteY2" fmla="*/ 8300 h 82738"/>
              <a:gd name="connsiteX3" fmla="*/ 32956 w 52006"/>
              <a:gd name="connsiteY3" fmla="*/ 19730 h 82738"/>
              <a:gd name="connsiteX4" fmla="*/ 40576 w 52006"/>
              <a:gd name="connsiteY4" fmla="*/ 38780 h 82738"/>
              <a:gd name="connsiteX5" fmla="*/ 52006 w 52006"/>
              <a:gd name="connsiteY5" fmla="*/ 50210 h 82738"/>
              <a:gd name="connsiteX6" fmla="*/ 48196 w 52006"/>
              <a:gd name="connsiteY6" fmla="*/ 69260 h 82738"/>
              <a:gd name="connsiteX7" fmla="*/ 44386 w 52006"/>
              <a:gd name="connsiteY7" fmla="*/ 80690 h 82738"/>
              <a:gd name="connsiteX8" fmla="*/ 25336 w 52006"/>
              <a:gd name="connsiteY8" fmla="*/ 76880 h 82738"/>
              <a:gd name="connsiteX9" fmla="*/ 10096 w 52006"/>
              <a:gd name="connsiteY9" fmla="*/ 34970 h 82738"/>
              <a:gd name="connsiteX10" fmla="*/ 2476 w 52006"/>
              <a:gd name="connsiteY10" fmla="*/ 27350 h 82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2006" h="82738">
                <a:moveTo>
                  <a:pt x="2476" y="27350"/>
                </a:moveTo>
                <a:cubicBezTo>
                  <a:pt x="1841" y="22270"/>
                  <a:pt x="0" y="8980"/>
                  <a:pt x="6286" y="4490"/>
                </a:cubicBezTo>
                <a:cubicBezTo>
                  <a:pt x="12572" y="0"/>
                  <a:pt x="22439" y="4467"/>
                  <a:pt x="29146" y="8300"/>
                </a:cubicBezTo>
                <a:cubicBezTo>
                  <a:pt x="32633" y="10293"/>
                  <a:pt x="31546" y="15970"/>
                  <a:pt x="32956" y="19730"/>
                </a:cubicBezTo>
                <a:cubicBezTo>
                  <a:pt x="35357" y="26134"/>
                  <a:pt x="36951" y="32980"/>
                  <a:pt x="40576" y="38780"/>
                </a:cubicBezTo>
                <a:cubicBezTo>
                  <a:pt x="43432" y="43349"/>
                  <a:pt x="48196" y="46400"/>
                  <a:pt x="52006" y="50210"/>
                </a:cubicBezTo>
                <a:cubicBezTo>
                  <a:pt x="50736" y="56560"/>
                  <a:pt x="49767" y="62978"/>
                  <a:pt x="48196" y="69260"/>
                </a:cubicBezTo>
                <a:cubicBezTo>
                  <a:pt x="47222" y="73156"/>
                  <a:pt x="48196" y="79420"/>
                  <a:pt x="44386" y="80690"/>
                </a:cubicBezTo>
                <a:cubicBezTo>
                  <a:pt x="38243" y="82738"/>
                  <a:pt x="31686" y="78150"/>
                  <a:pt x="25336" y="76880"/>
                </a:cubicBezTo>
                <a:cubicBezTo>
                  <a:pt x="24924" y="75231"/>
                  <a:pt x="19888" y="40566"/>
                  <a:pt x="10096" y="34970"/>
                </a:cubicBezTo>
                <a:cubicBezTo>
                  <a:pt x="4473" y="31757"/>
                  <a:pt x="3111" y="32430"/>
                  <a:pt x="2476" y="27350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47" name="Freeform 146"/>
          <p:cNvSpPr/>
          <p:nvPr/>
        </p:nvSpPr>
        <p:spPr>
          <a:xfrm>
            <a:off x="7654925" y="3898903"/>
            <a:ext cx="38100" cy="48684"/>
          </a:xfrm>
          <a:custGeom>
            <a:avLst/>
            <a:gdLst>
              <a:gd name="connsiteX0" fmla="*/ 22689 w 37929"/>
              <a:gd name="connsiteY0" fmla="*/ 5041 h 35521"/>
              <a:gd name="connsiteX1" fmla="*/ 15069 w 37929"/>
              <a:gd name="connsiteY1" fmla="*/ 27901 h 35521"/>
              <a:gd name="connsiteX2" fmla="*/ 37929 w 37929"/>
              <a:gd name="connsiteY2" fmla="*/ 35521 h 35521"/>
              <a:gd name="connsiteX3" fmla="*/ 22689 w 37929"/>
              <a:gd name="connsiteY3" fmla="*/ 5041 h 35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929" h="35521">
                <a:moveTo>
                  <a:pt x="22689" y="5041"/>
                </a:moveTo>
                <a:cubicBezTo>
                  <a:pt x="18879" y="3771"/>
                  <a:pt x="0" y="14984"/>
                  <a:pt x="15069" y="27901"/>
                </a:cubicBezTo>
                <a:cubicBezTo>
                  <a:pt x="21167" y="33128"/>
                  <a:pt x="37929" y="35521"/>
                  <a:pt x="37929" y="35521"/>
                </a:cubicBezTo>
                <a:cubicBezTo>
                  <a:pt x="33489" y="0"/>
                  <a:pt x="26499" y="6311"/>
                  <a:pt x="22689" y="5041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48" name="Freeform 147"/>
          <p:cNvSpPr/>
          <p:nvPr/>
        </p:nvSpPr>
        <p:spPr>
          <a:xfrm>
            <a:off x="7751763" y="3803650"/>
            <a:ext cx="31750" cy="33867"/>
          </a:xfrm>
          <a:custGeom>
            <a:avLst/>
            <a:gdLst>
              <a:gd name="connsiteX0" fmla="*/ 5606 w 32276"/>
              <a:gd name="connsiteY0" fmla="*/ 4613 h 24563"/>
              <a:gd name="connsiteX1" fmla="*/ 1796 w 32276"/>
              <a:gd name="connsiteY1" fmla="*/ 16043 h 24563"/>
              <a:gd name="connsiteX2" fmla="*/ 32276 w 32276"/>
              <a:gd name="connsiteY2" fmla="*/ 16043 h 24563"/>
              <a:gd name="connsiteX3" fmla="*/ 28466 w 32276"/>
              <a:gd name="connsiteY3" fmla="*/ 4613 h 24563"/>
              <a:gd name="connsiteX4" fmla="*/ 5606 w 32276"/>
              <a:gd name="connsiteY4" fmla="*/ 4613 h 24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276" h="24563">
                <a:moveTo>
                  <a:pt x="5606" y="4613"/>
                </a:moveTo>
                <a:cubicBezTo>
                  <a:pt x="1161" y="6518"/>
                  <a:pt x="0" y="12451"/>
                  <a:pt x="1796" y="16043"/>
                </a:cubicBezTo>
                <a:cubicBezTo>
                  <a:pt x="6056" y="24563"/>
                  <a:pt x="30755" y="16347"/>
                  <a:pt x="32276" y="16043"/>
                </a:cubicBezTo>
                <a:cubicBezTo>
                  <a:pt x="31006" y="12233"/>
                  <a:pt x="31306" y="7453"/>
                  <a:pt x="28466" y="4613"/>
                </a:cubicBezTo>
                <a:cubicBezTo>
                  <a:pt x="23853" y="0"/>
                  <a:pt x="10051" y="2708"/>
                  <a:pt x="5606" y="4613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49" name="Freeform 148"/>
          <p:cNvSpPr/>
          <p:nvPr/>
        </p:nvSpPr>
        <p:spPr>
          <a:xfrm>
            <a:off x="7812094" y="3450173"/>
            <a:ext cx="85725" cy="80433"/>
          </a:xfrm>
          <a:custGeom>
            <a:avLst/>
            <a:gdLst>
              <a:gd name="connsiteX0" fmla="*/ 6504 w 86514"/>
              <a:gd name="connsiteY0" fmla="*/ 19050 h 60960"/>
              <a:gd name="connsiteX1" fmla="*/ 10314 w 86514"/>
              <a:gd name="connsiteY1" fmla="*/ 30480 h 60960"/>
              <a:gd name="connsiteX2" fmla="*/ 36984 w 86514"/>
              <a:gd name="connsiteY2" fmla="*/ 49530 h 60960"/>
              <a:gd name="connsiteX3" fmla="*/ 48414 w 86514"/>
              <a:gd name="connsiteY3" fmla="*/ 60960 h 60960"/>
              <a:gd name="connsiteX4" fmla="*/ 63654 w 86514"/>
              <a:gd name="connsiteY4" fmla="*/ 49530 h 60960"/>
              <a:gd name="connsiteX5" fmla="*/ 75084 w 86514"/>
              <a:gd name="connsiteY5" fmla="*/ 41910 h 60960"/>
              <a:gd name="connsiteX6" fmla="*/ 86514 w 86514"/>
              <a:gd name="connsiteY6" fmla="*/ 19050 h 60960"/>
              <a:gd name="connsiteX7" fmla="*/ 63654 w 86514"/>
              <a:gd name="connsiteY7" fmla="*/ 11430 h 60960"/>
              <a:gd name="connsiteX8" fmla="*/ 14124 w 86514"/>
              <a:gd name="connsiteY8" fmla="*/ 0 h 60960"/>
              <a:gd name="connsiteX9" fmla="*/ 6504 w 86514"/>
              <a:gd name="connsiteY9" fmla="*/ 19050 h 60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6514" h="60960">
                <a:moveTo>
                  <a:pt x="6504" y="19050"/>
                </a:moveTo>
                <a:cubicBezTo>
                  <a:pt x="5869" y="24130"/>
                  <a:pt x="7743" y="27395"/>
                  <a:pt x="10314" y="30480"/>
                </a:cubicBezTo>
                <a:cubicBezTo>
                  <a:pt x="16553" y="37967"/>
                  <a:pt x="29403" y="43212"/>
                  <a:pt x="36984" y="49530"/>
                </a:cubicBezTo>
                <a:cubicBezTo>
                  <a:pt x="41123" y="52979"/>
                  <a:pt x="44604" y="57150"/>
                  <a:pt x="48414" y="60960"/>
                </a:cubicBezTo>
                <a:cubicBezTo>
                  <a:pt x="53494" y="57150"/>
                  <a:pt x="58487" y="53221"/>
                  <a:pt x="63654" y="49530"/>
                </a:cubicBezTo>
                <a:cubicBezTo>
                  <a:pt x="67380" y="46868"/>
                  <a:pt x="71846" y="45148"/>
                  <a:pt x="75084" y="41910"/>
                </a:cubicBezTo>
                <a:cubicBezTo>
                  <a:pt x="82470" y="34524"/>
                  <a:pt x="83415" y="28346"/>
                  <a:pt x="86514" y="19050"/>
                </a:cubicBezTo>
                <a:cubicBezTo>
                  <a:pt x="78894" y="16510"/>
                  <a:pt x="71495" y="13172"/>
                  <a:pt x="63654" y="11430"/>
                </a:cubicBezTo>
                <a:cubicBezTo>
                  <a:pt x="24252" y="2674"/>
                  <a:pt x="40723" y="6650"/>
                  <a:pt x="14124" y="0"/>
                </a:cubicBezTo>
                <a:cubicBezTo>
                  <a:pt x="0" y="4708"/>
                  <a:pt x="7139" y="13970"/>
                  <a:pt x="6504" y="19050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0" name="Freeform 149"/>
          <p:cNvSpPr/>
          <p:nvPr/>
        </p:nvSpPr>
        <p:spPr>
          <a:xfrm>
            <a:off x="7597776" y="4042833"/>
            <a:ext cx="90488" cy="101600"/>
          </a:xfrm>
          <a:custGeom>
            <a:avLst/>
            <a:gdLst>
              <a:gd name="connsiteX0" fmla="*/ 18665 w 90619"/>
              <a:gd name="connsiteY0" fmla="*/ 0 h 74793"/>
              <a:gd name="connsiteX1" fmla="*/ 7235 w 90619"/>
              <a:gd name="connsiteY1" fmla="*/ 11430 h 74793"/>
              <a:gd name="connsiteX2" fmla="*/ 7235 w 90619"/>
              <a:gd name="connsiteY2" fmla="*/ 45720 h 74793"/>
              <a:gd name="connsiteX3" fmla="*/ 22475 w 90619"/>
              <a:gd name="connsiteY3" fmla="*/ 68580 h 74793"/>
              <a:gd name="connsiteX4" fmla="*/ 33905 w 90619"/>
              <a:gd name="connsiteY4" fmla="*/ 72390 h 74793"/>
              <a:gd name="connsiteX5" fmla="*/ 83435 w 90619"/>
              <a:gd name="connsiteY5" fmla="*/ 64770 h 74793"/>
              <a:gd name="connsiteX6" fmla="*/ 79625 w 90619"/>
              <a:gd name="connsiteY6" fmla="*/ 38100 h 74793"/>
              <a:gd name="connsiteX7" fmla="*/ 41525 w 90619"/>
              <a:gd name="connsiteY7" fmla="*/ 26670 h 74793"/>
              <a:gd name="connsiteX8" fmla="*/ 30095 w 90619"/>
              <a:gd name="connsiteY8" fmla="*/ 22860 h 74793"/>
              <a:gd name="connsiteX9" fmla="*/ 22475 w 90619"/>
              <a:gd name="connsiteY9" fmla="*/ 11430 h 74793"/>
              <a:gd name="connsiteX10" fmla="*/ 18665 w 90619"/>
              <a:gd name="connsiteY10" fmla="*/ 0 h 74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0619" h="74793">
                <a:moveTo>
                  <a:pt x="18665" y="0"/>
                </a:moveTo>
                <a:cubicBezTo>
                  <a:pt x="16125" y="0"/>
                  <a:pt x="10224" y="6947"/>
                  <a:pt x="7235" y="11430"/>
                </a:cubicBezTo>
                <a:cubicBezTo>
                  <a:pt x="0" y="22283"/>
                  <a:pt x="4654" y="34106"/>
                  <a:pt x="7235" y="45720"/>
                </a:cubicBezTo>
                <a:cubicBezTo>
                  <a:pt x="9666" y="56661"/>
                  <a:pt x="12341" y="61824"/>
                  <a:pt x="22475" y="68580"/>
                </a:cubicBezTo>
                <a:cubicBezTo>
                  <a:pt x="25817" y="70808"/>
                  <a:pt x="30095" y="71120"/>
                  <a:pt x="33905" y="72390"/>
                </a:cubicBezTo>
                <a:cubicBezTo>
                  <a:pt x="50415" y="69850"/>
                  <a:pt x="70072" y="74793"/>
                  <a:pt x="83435" y="64770"/>
                </a:cubicBezTo>
                <a:cubicBezTo>
                  <a:pt x="90619" y="59382"/>
                  <a:pt x="85138" y="45189"/>
                  <a:pt x="79625" y="38100"/>
                </a:cubicBezTo>
                <a:cubicBezTo>
                  <a:pt x="77038" y="34774"/>
                  <a:pt x="48102" y="28549"/>
                  <a:pt x="41525" y="26670"/>
                </a:cubicBezTo>
                <a:cubicBezTo>
                  <a:pt x="37663" y="25567"/>
                  <a:pt x="33905" y="24130"/>
                  <a:pt x="30095" y="22860"/>
                </a:cubicBezTo>
                <a:cubicBezTo>
                  <a:pt x="27555" y="19050"/>
                  <a:pt x="25406" y="14948"/>
                  <a:pt x="22475" y="11430"/>
                </a:cubicBezTo>
                <a:cubicBezTo>
                  <a:pt x="19026" y="7291"/>
                  <a:pt x="21205" y="0"/>
                  <a:pt x="18665" y="0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1" name="Freeform 150"/>
          <p:cNvSpPr/>
          <p:nvPr/>
        </p:nvSpPr>
        <p:spPr>
          <a:xfrm>
            <a:off x="7951788" y="3494623"/>
            <a:ext cx="74612" cy="61383"/>
          </a:xfrm>
          <a:custGeom>
            <a:avLst/>
            <a:gdLst>
              <a:gd name="connsiteX0" fmla="*/ 18727 w 74525"/>
              <a:gd name="connsiteY0" fmla="*/ 11453 h 46511"/>
              <a:gd name="connsiteX1" fmla="*/ 30157 w 74525"/>
              <a:gd name="connsiteY1" fmla="*/ 41933 h 46511"/>
              <a:gd name="connsiteX2" fmla="*/ 45397 w 74525"/>
              <a:gd name="connsiteY2" fmla="*/ 45743 h 46511"/>
              <a:gd name="connsiteX3" fmla="*/ 60637 w 74525"/>
              <a:gd name="connsiteY3" fmla="*/ 15263 h 46511"/>
              <a:gd name="connsiteX4" fmla="*/ 49207 w 74525"/>
              <a:gd name="connsiteY4" fmla="*/ 7643 h 46511"/>
              <a:gd name="connsiteX5" fmla="*/ 26347 w 74525"/>
              <a:gd name="connsiteY5" fmla="*/ 23 h 46511"/>
              <a:gd name="connsiteX6" fmla="*/ 3487 w 74525"/>
              <a:gd name="connsiteY6" fmla="*/ 3833 h 46511"/>
              <a:gd name="connsiteX7" fmla="*/ 18727 w 74525"/>
              <a:gd name="connsiteY7" fmla="*/ 11453 h 46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525" h="46511">
                <a:moveTo>
                  <a:pt x="18727" y="11453"/>
                </a:moveTo>
                <a:cubicBezTo>
                  <a:pt x="23172" y="17803"/>
                  <a:pt x="21101" y="35896"/>
                  <a:pt x="30157" y="41933"/>
                </a:cubicBezTo>
                <a:cubicBezTo>
                  <a:pt x="34514" y="44838"/>
                  <a:pt x="40317" y="44473"/>
                  <a:pt x="45397" y="45743"/>
                </a:cubicBezTo>
                <a:cubicBezTo>
                  <a:pt x="66646" y="41493"/>
                  <a:pt x="74525" y="46511"/>
                  <a:pt x="60637" y="15263"/>
                </a:cubicBezTo>
                <a:cubicBezTo>
                  <a:pt x="58777" y="11079"/>
                  <a:pt x="53391" y="9503"/>
                  <a:pt x="49207" y="7643"/>
                </a:cubicBezTo>
                <a:cubicBezTo>
                  <a:pt x="41867" y="4381"/>
                  <a:pt x="26347" y="23"/>
                  <a:pt x="26347" y="23"/>
                </a:cubicBezTo>
                <a:cubicBezTo>
                  <a:pt x="18727" y="1293"/>
                  <a:pt x="10194" y="0"/>
                  <a:pt x="3487" y="3833"/>
                </a:cubicBezTo>
                <a:cubicBezTo>
                  <a:pt x="0" y="5826"/>
                  <a:pt x="14282" y="5103"/>
                  <a:pt x="18727" y="11453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2" name="Freeform 151"/>
          <p:cNvSpPr/>
          <p:nvPr/>
        </p:nvSpPr>
        <p:spPr>
          <a:xfrm>
            <a:off x="7969256" y="3422655"/>
            <a:ext cx="61913" cy="35983"/>
          </a:xfrm>
          <a:custGeom>
            <a:avLst/>
            <a:gdLst>
              <a:gd name="connsiteX0" fmla="*/ 8255 w 61488"/>
              <a:gd name="connsiteY0" fmla="*/ 8228 h 27278"/>
              <a:gd name="connsiteX1" fmla="*/ 4445 w 61488"/>
              <a:gd name="connsiteY1" fmla="*/ 19658 h 27278"/>
              <a:gd name="connsiteX2" fmla="*/ 19685 w 61488"/>
              <a:gd name="connsiteY2" fmla="*/ 23468 h 27278"/>
              <a:gd name="connsiteX3" fmla="*/ 31115 w 61488"/>
              <a:gd name="connsiteY3" fmla="*/ 27278 h 27278"/>
              <a:gd name="connsiteX4" fmla="*/ 57785 w 61488"/>
              <a:gd name="connsiteY4" fmla="*/ 19658 h 27278"/>
              <a:gd name="connsiteX5" fmla="*/ 53975 w 61488"/>
              <a:gd name="connsiteY5" fmla="*/ 4418 h 27278"/>
              <a:gd name="connsiteX6" fmla="*/ 8255 w 61488"/>
              <a:gd name="connsiteY6" fmla="*/ 8228 h 27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488" h="27278">
                <a:moveTo>
                  <a:pt x="8255" y="8228"/>
                </a:moveTo>
                <a:cubicBezTo>
                  <a:pt x="0" y="10768"/>
                  <a:pt x="2035" y="16445"/>
                  <a:pt x="4445" y="19658"/>
                </a:cubicBezTo>
                <a:cubicBezTo>
                  <a:pt x="7587" y="23847"/>
                  <a:pt x="14650" y="22029"/>
                  <a:pt x="19685" y="23468"/>
                </a:cubicBezTo>
                <a:cubicBezTo>
                  <a:pt x="23547" y="24571"/>
                  <a:pt x="27305" y="26008"/>
                  <a:pt x="31115" y="27278"/>
                </a:cubicBezTo>
                <a:cubicBezTo>
                  <a:pt x="40005" y="24738"/>
                  <a:pt x="51247" y="26196"/>
                  <a:pt x="57785" y="19658"/>
                </a:cubicBezTo>
                <a:cubicBezTo>
                  <a:pt x="61488" y="15955"/>
                  <a:pt x="58943" y="6074"/>
                  <a:pt x="53975" y="4418"/>
                </a:cubicBezTo>
                <a:cubicBezTo>
                  <a:pt x="40722" y="0"/>
                  <a:pt x="16510" y="5688"/>
                  <a:pt x="8255" y="8228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3" name="Freeform 152"/>
          <p:cNvSpPr/>
          <p:nvPr/>
        </p:nvSpPr>
        <p:spPr>
          <a:xfrm>
            <a:off x="7767644" y="3302006"/>
            <a:ext cx="53975" cy="40217"/>
          </a:xfrm>
          <a:custGeom>
            <a:avLst/>
            <a:gdLst>
              <a:gd name="connsiteX0" fmla="*/ 4445 w 53891"/>
              <a:gd name="connsiteY0" fmla="*/ 22158 h 29778"/>
              <a:gd name="connsiteX1" fmla="*/ 15875 w 53891"/>
              <a:gd name="connsiteY1" fmla="*/ 29778 h 29778"/>
              <a:gd name="connsiteX2" fmla="*/ 50165 w 53891"/>
              <a:gd name="connsiteY2" fmla="*/ 22158 h 29778"/>
              <a:gd name="connsiteX3" fmla="*/ 42545 w 53891"/>
              <a:gd name="connsiteY3" fmla="*/ 10728 h 29778"/>
              <a:gd name="connsiteX4" fmla="*/ 4445 w 53891"/>
              <a:gd name="connsiteY4" fmla="*/ 22158 h 29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891" h="29778">
                <a:moveTo>
                  <a:pt x="4445" y="22158"/>
                </a:moveTo>
                <a:cubicBezTo>
                  <a:pt x="0" y="25333"/>
                  <a:pt x="11296" y="29778"/>
                  <a:pt x="15875" y="29778"/>
                </a:cubicBezTo>
                <a:cubicBezTo>
                  <a:pt x="27584" y="29778"/>
                  <a:pt x="40637" y="28964"/>
                  <a:pt x="50165" y="22158"/>
                </a:cubicBezTo>
                <a:cubicBezTo>
                  <a:pt x="53891" y="19496"/>
                  <a:pt x="45783" y="13966"/>
                  <a:pt x="42545" y="10728"/>
                </a:cubicBezTo>
                <a:cubicBezTo>
                  <a:pt x="31817" y="0"/>
                  <a:pt x="8890" y="18983"/>
                  <a:pt x="4445" y="22158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4" name="Freeform 153"/>
          <p:cNvSpPr/>
          <p:nvPr/>
        </p:nvSpPr>
        <p:spPr>
          <a:xfrm>
            <a:off x="7726363" y="3625855"/>
            <a:ext cx="23812" cy="16933"/>
          </a:xfrm>
          <a:custGeom>
            <a:avLst/>
            <a:gdLst>
              <a:gd name="connsiteX0" fmla="*/ 0 w 22963"/>
              <a:gd name="connsiteY0" fmla="*/ 12508 h 12585"/>
              <a:gd name="connsiteX1" fmla="*/ 7620 w 22963"/>
              <a:gd name="connsiteY1" fmla="*/ 1078 h 12585"/>
              <a:gd name="connsiteX2" fmla="*/ 0 w 22963"/>
              <a:gd name="connsiteY2" fmla="*/ 12508 h 125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963" h="12585">
                <a:moveTo>
                  <a:pt x="0" y="12508"/>
                </a:moveTo>
                <a:cubicBezTo>
                  <a:pt x="0" y="12508"/>
                  <a:pt x="22963" y="12585"/>
                  <a:pt x="7620" y="1078"/>
                </a:cubicBezTo>
                <a:cubicBezTo>
                  <a:pt x="6183" y="0"/>
                  <a:pt x="0" y="12508"/>
                  <a:pt x="0" y="12508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5" name="Freeform 154"/>
          <p:cNvSpPr/>
          <p:nvPr/>
        </p:nvSpPr>
        <p:spPr>
          <a:xfrm>
            <a:off x="8054978" y="3856567"/>
            <a:ext cx="15875" cy="14817"/>
          </a:xfrm>
          <a:custGeom>
            <a:avLst/>
            <a:gdLst>
              <a:gd name="connsiteX0" fmla="*/ 0 w 16525"/>
              <a:gd name="connsiteY0" fmla="*/ 3832 h 10984"/>
              <a:gd name="connsiteX1" fmla="*/ 11430 w 16525"/>
              <a:gd name="connsiteY1" fmla="*/ 7642 h 10984"/>
              <a:gd name="connsiteX2" fmla="*/ 0 w 16525"/>
              <a:gd name="connsiteY2" fmla="*/ 3832 h 109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525" h="10984">
                <a:moveTo>
                  <a:pt x="0" y="3832"/>
                </a:moveTo>
                <a:cubicBezTo>
                  <a:pt x="0" y="3832"/>
                  <a:pt x="9202" y="10984"/>
                  <a:pt x="11430" y="7642"/>
                </a:cubicBezTo>
                <a:cubicBezTo>
                  <a:pt x="16525" y="0"/>
                  <a:pt x="0" y="3832"/>
                  <a:pt x="0" y="3832"/>
                </a:cubicBez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358" name="Rectangle 155"/>
          <p:cNvSpPr>
            <a:spLocks noChangeArrowheads="1"/>
          </p:cNvSpPr>
          <p:nvPr/>
        </p:nvSpPr>
        <p:spPr bwMode="auto">
          <a:xfrm>
            <a:off x="7077078" y="4076706"/>
            <a:ext cx="84696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e-IN" sz="1200" b="1" dirty="0">
                <a:latin typeface="Tw Cen MT" pitchFamily="34" charset="0"/>
              </a:rPr>
              <a:t>Seychelles</a:t>
            </a:r>
            <a:endParaRPr lang="en-US" sz="1200" b="1" dirty="0">
              <a:latin typeface="Tw Cen MT" pitchFamily="34" charset="0"/>
            </a:endParaRPr>
          </a:p>
        </p:txBody>
      </p:sp>
      <p:sp>
        <p:nvSpPr>
          <p:cNvPr id="74" name="Subtitle 2"/>
          <p:cNvSpPr txBox="1">
            <a:spLocks/>
          </p:cNvSpPr>
          <p:nvPr/>
        </p:nvSpPr>
        <p:spPr bwMode="auto">
          <a:xfrm>
            <a:off x="5943600" y="3429000"/>
            <a:ext cx="62865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>
                <a:latin typeface="Ramabhadra" pitchFamily="2" charset="0"/>
                <a:cs typeface="Ramabhadra" pitchFamily="2" charset="0"/>
              </a:rPr>
              <a:t>కెన్యా</a:t>
            </a:r>
          </a:p>
        </p:txBody>
      </p:sp>
      <p:sp>
        <p:nvSpPr>
          <p:cNvPr id="156" name="Slide Number Placeholder 15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6BDF2B9-9F83-424D-B891-AF2A19BD3CDA}" type="slidenum">
              <a:rPr lang="en-US" smtClean="0"/>
              <a:pPr>
                <a:defRPr/>
              </a:pPr>
              <a:t>45</a:t>
            </a:fld>
            <a:endParaRPr lang="en-US"/>
          </a:p>
        </p:txBody>
      </p:sp>
      <p:sp>
        <p:nvSpPr>
          <p:cNvPr id="157" name="Footer Placeholder 15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K. SURESH - SRIKALAHASTI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70" decel="100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770" decel="100000"/>
                                        <p:tgtEl>
                                          <p:spTgt spid="5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77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77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925" decel="1000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" dur="1925" decel="1000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6" dur="1925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8" dur="1925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70" decel="100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770" decel="100000"/>
                                        <p:tgtEl>
                                          <p:spTgt spid="6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7" dur="77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9" dur="77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925" decel="1000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6" dur="1925" decel="1000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8" dur="1925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0" dur="1925" fill="hold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6" dur="5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70" decel="100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2" dur="770" decel="100000"/>
                                        <p:tgtEl>
                                          <p:spTgt spid="6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4" dur="77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6" dur="77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2" dur="5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925" decel="1000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8" dur="1925" decel="100000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0" dur="1925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2" dur="1925" fill="hold"/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6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770" decel="100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9" dur="770" decel="100000"/>
                                        <p:tgtEl>
                                          <p:spTgt spid="11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1" dur="77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3" dur="77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770" decel="1000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0" dur="770" decel="100000"/>
                                        <p:tgtEl>
                                          <p:spTgt spid="11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2" dur="77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4" dur="77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0" dur="5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1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115" dur="2000"/>
                                        <p:tgtEl>
                                          <p:spTgt spid="7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0" dur="5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0" dur="5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5" dur="200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770" decel="100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1" dur="770" decel="100000"/>
                                        <p:tgtEl>
                                          <p:spTgt spid="11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4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43" dur="77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4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45" dur="77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4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770" decel="100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2" dur="770" decel="100000"/>
                                        <p:tgtEl>
                                          <p:spTgt spid="12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54" dur="77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5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56" dur="77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5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8" fill="hold">
                      <p:stCondLst>
                        <p:cond delay="indefinite"/>
                      </p:stCondLst>
                      <p:childTnLst>
                        <p:par>
                          <p:cTn id="159" fill="hold">
                            <p:stCondLst>
                              <p:cond delay="0"/>
                            </p:stCondLst>
                            <p:childTnLst>
                              <p:par>
                                <p:cTn id="16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770" decel="100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3" dur="770" decel="100000"/>
                                        <p:tgtEl>
                                          <p:spTgt spid="1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6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65" dur="77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6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67" dur="77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6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770" decel="100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4" dur="770" decel="100000"/>
                                        <p:tgtEl>
                                          <p:spTgt spid="12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7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76" dur="77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7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78" dur="77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7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0" fill="hold">
                      <p:stCondLst>
                        <p:cond delay="indefinite"/>
                      </p:stCondLst>
                      <p:childTnLst>
                        <p:par>
                          <p:cTn id="181" fill="hold">
                            <p:stCondLst>
                              <p:cond delay="0"/>
                            </p:stCondLst>
                            <p:childTnLst>
                              <p:par>
                                <p:cTn id="18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4" dur="1155" decel="100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5" dur="1155" decel="100000"/>
                                        <p:tgtEl>
                                          <p:spTgt spid="7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86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87" dur="1155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8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89" dur="1155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9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770" decel="100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6" dur="770" decel="100000"/>
                                        <p:tgtEl>
                                          <p:spTgt spid="7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98" dur="77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9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00" dur="77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0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2" fill="hold">
                      <p:stCondLst>
                        <p:cond delay="indefinite"/>
                      </p:stCondLst>
                      <p:childTnLst>
                        <p:par>
                          <p:cTn id="203" fill="hold">
                            <p:stCondLst>
                              <p:cond delay="0"/>
                            </p:stCondLst>
                            <p:childTnLst>
                              <p:par>
                                <p:cTn id="20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6" dur="770" decel="100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7" dur="770" decel="100000"/>
                                        <p:tgtEl>
                                          <p:spTgt spid="12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0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9" dur="77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11" dur="77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1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3" fill="hold">
                      <p:stCondLst>
                        <p:cond delay="indefinite"/>
                      </p:stCondLst>
                      <p:childTnLst>
                        <p:par>
                          <p:cTn id="214" fill="hold">
                            <p:stCondLst>
                              <p:cond delay="0"/>
                            </p:stCondLst>
                            <p:childTnLst>
                              <p:par>
                                <p:cTn id="21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770" decel="100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8" dur="770" decel="100000"/>
                                        <p:tgtEl>
                                          <p:spTgt spid="12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20" dur="77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2" dur="77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4" fill="hold">
                      <p:stCondLst>
                        <p:cond delay="indefinite"/>
                      </p:stCondLst>
                      <p:childTnLst>
                        <p:par>
                          <p:cTn id="225" fill="hold">
                            <p:stCondLst>
                              <p:cond delay="0"/>
                            </p:stCondLst>
                            <p:childTnLst>
                              <p:par>
                                <p:cTn id="226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228" dur="5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9" fill="hold">
                      <p:stCondLst>
                        <p:cond delay="indefinite"/>
                      </p:stCondLst>
                      <p:childTnLst>
                        <p:par>
                          <p:cTn id="230" fill="hold">
                            <p:stCondLst>
                              <p:cond delay="0"/>
                            </p:stCondLst>
                            <p:childTnLst>
                              <p:par>
                                <p:cTn id="23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3" dur="5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4" fill="hold">
                      <p:stCondLst>
                        <p:cond delay="indefinite"/>
                      </p:stCondLst>
                      <p:childTnLst>
                        <p:par>
                          <p:cTn id="235" fill="hold">
                            <p:stCondLst>
                              <p:cond delay="0"/>
                            </p:stCondLst>
                            <p:childTnLst>
                              <p:par>
                                <p:cTn id="23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8" dur="770" decel="100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9" dur="770" decel="100000"/>
                                        <p:tgtEl>
                                          <p:spTgt spid="11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4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41" dur="77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4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43" dur="77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4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5" fill="hold">
                      <p:stCondLst>
                        <p:cond delay="indefinite"/>
                      </p:stCondLst>
                      <p:childTnLst>
                        <p:par>
                          <p:cTn id="246" fill="hold">
                            <p:stCondLst>
                              <p:cond delay="0"/>
                            </p:stCondLst>
                            <p:childTnLst>
                              <p:par>
                                <p:cTn id="24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9" dur="770" decel="100000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0" dur="770" decel="100000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5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52" dur="770" fill="hold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54" dur="770" fill="hold"/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5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6" fill="hold">
                      <p:stCondLst>
                        <p:cond delay="indefinite"/>
                      </p:stCondLst>
                      <p:childTnLst>
                        <p:par>
                          <p:cTn id="257" fill="hold">
                            <p:stCondLst>
                              <p:cond delay="0"/>
                            </p:stCondLst>
                            <p:childTnLst>
                              <p:par>
                                <p:cTn id="258" presetID="39" presetClass="entr" presetSubtype="0" ac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0" dur="5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20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1" dur="5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5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3"/>
                                          </p:val>
                                        </p:tav>
                                        <p:tav tm="5000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5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4" fill="hold">
                      <p:stCondLst>
                        <p:cond delay="indefinite"/>
                      </p:stCondLst>
                      <p:childTnLst>
                        <p:par>
                          <p:cTn id="265" fill="hold">
                            <p:stCondLst>
                              <p:cond delay="0"/>
                            </p:stCondLst>
                            <p:childTnLst>
                              <p:par>
                                <p:cTn id="266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68" dur="8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69" dur="8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70" dur="8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1" fill="hold">
                      <p:stCondLst>
                        <p:cond delay="indefinite"/>
                      </p:stCondLst>
                      <p:childTnLst>
                        <p:par>
                          <p:cTn id="272" fill="hold">
                            <p:stCondLst>
                              <p:cond delay="0"/>
                            </p:stCondLst>
                            <p:childTnLst>
                              <p:par>
                                <p:cTn id="27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5" dur="5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6" fill="hold">
                      <p:stCondLst>
                        <p:cond delay="indefinite"/>
                      </p:stCondLst>
                      <p:childTnLst>
                        <p:par>
                          <p:cTn id="277" fill="hold">
                            <p:stCondLst>
                              <p:cond delay="0"/>
                            </p:stCondLst>
                            <p:childTnLst>
                              <p:par>
                                <p:cTn id="27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1" fill="hold">
                      <p:stCondLst>
                        <p:cond delay="indefinite"/>
                      </p:stCondLst>
                      <p:childTnLst>
                        <p:par>
                          <p:cTn id="282" fill="hold">
                            <p:stCondLst>
                              <p:cond delay="0"/>
                            </p:stCondLst>
                            <p:childTnLst>
                              <p:par>
                                <p:cTn id="28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5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6" fill="hold">
                      <p:stCondLst>
                        <p:cond delay="indefinite"/>
                      </p:stCondLst>
                      <p:childTnLst>
                        <p:par>
                          <p:cTn id="287" fill="hold">
                            <p:stCondLst>
                              <p:cond delay="0"/>
                            </p:stCondLst>
                            <p:childTnLst>
                              <p:par>
                                <p:cTn id="28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1" fill="hold">
                      <p:stCondLst>
                        <p:cond delay="indefinite"/>
                      </p:stCondLst>
                      <p:childTnLst>
                        <p:par>
                          <p:cTn id="292" fill="hold">
                            <p:stCondLst>
                              <p:cond delay="0"/>
                            </p:stCondLst>
                            <p:childTnLst>
                              <p:par>
                                <p:cTn id="29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6" fill="hold">
                      <p:stCondLst>
                        <p:cond delay="indefinite"/>
                      </p:stCondLst>
                      <p:childTnLst>
                        <p:par>
                          <p:cTn id="297" fill="hold">
                            <p:stCondLst>
                              <p:cond delay="0"/>
                            </p:stCondLst>
                            <p:childTnLst>
                              <p:par>
                                <p:cTn id="298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00" dur="8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01" dur="8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2" dur="8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3" fill="hold">
                      <p:stCondLst>
                        <p:cond delay="indefinite"/>
                      </p:stCondLst>
                      <p:childTnLst>
                        <p:par>
                          <p:cTn id="304" fill="hold">
                            <p:stCondLst>
                              <p:cond delay="0"/>
                            </p:stCondLst>
                            <p:childTnLst>
                              <p:par>
                                <p:cTn id="30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7" dur="3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8" fill="hold">
                      <p:stCondLst>
                        <p:cond delay="indefinite"/>
                      </p:stCondLst>
                      <p:childTnLst>
                        <p:par>
                          <p:cTn id="309" fill="hold">
                            <p:stCondLst>
                              <p:cond delay="0"/>
                            </p:stCondLst>
                            <p:childTnLst>
                              <p:par>
                                <p:cTn id="310" presetID="1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312" dur="2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3" fill="hold">
                      <p:stCondLst>
                        <p:cond delay="indefinite"/>
                      </p:stCondLst>
                      <p:childTnLst>
                        <p:par>
                          <p:cTn id="314" fill="hold">
                            <p:stCondLst>
                              <p:cond delay="0"/>
                            </p:stCondLst>
                            <p:childTnLst>
                              <p:par>
                                <p:cTn id="3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7" dur="3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8" fill="hold">
                      <p:stCondLst>
                        <p:cond delay="indefinite"/>
                      </p:stCondLst>
                      <p:childTnLst>
                        <p:par>
                          <p:cTn id="319" fill="hold">
                            <p:stCondLst>
                              <p:cond delay="0"/>
                            </p:stCondLst>
                            <p:childTnLst>
                              <p:par>
                                <p:cTn id="320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322" dur="20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323" dur="20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24" dur="20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5" fill="hold">
                      <p:stCondLst>
                        <p:cond delay="indefinite"/>
                      </p:stCondLst>
                      <p:childTnLst>
                        <p:par>
                          <p:cTn id="326" fill="hold">
                            <p:stCondLst>
                              <p:cond delay="0"/>
                            </p:stCondLst>
                            <p:childTnLst>
                              <p:par>
                                <p:cTn id="3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9" dur="3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0" fill="hold">
                      <p:stCondLst>
                        <p:cond delay="indefinite"/>
                      </p:stCondLst>
                      <p:childTnLst>
                        <p:par>
                          <p:cTn id="331" fill="hold">
                            <p:stCondLst>
                              <p:cond delay="0"/>
                            </p:stCondLst>
                            <p:childTnLst>
                              <p:par>
                                <p:cTn id="33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4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5" fill="hold">
                      <p:stCondLst>
                        <p:cond delay="indefinite"/>
                      </p:stCondLst>
                      <p:childTnLst>
                        <p:par>
                          <p:cTn id="336" fill="hold">
                            <p:stCondLst>
                              <p:cond delay="0"/>
                            </p:stCondLst>
                            <p:childTnLst>
                              <p:par>
                                <p:cTn id="3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9" dur="5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0" fill="hold">
                      <p:stCondLst>
                        <p:cond delay="indefinite"/>
                      </p:stCondLst>
                      <p:childTnLst>
                        <p:par>
                          <p:cTn id="341" fill="hold">
                            <p:stCondLst>
                              <p:cond delay="0"/>
                            </p:stCondLst>
                            <p:childTnLst>
                              <p:par>
                                <p:cTn id="3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4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5" fill="hold">
                      <p:stCondLst>
                        <p:cond delay="indefinite"/>
                      </p:stCondLst>
                      <p:childTnLst>
                        <p:par>
                          <p:cTn id="346" fill="hold">
                            <p:stCondLst>
                              <p:cond delay="0"/>
                            </p:stCondLst>
                            <p:childTnLst>
                              <p:par>
                                <p:cTn id="34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9" dur="3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0" fill="hold">
                      <p:stCondLst>
                        <p:cond delay="indefinite"/>
                      </p:stCondLst>
                      <p:childTnLst>
                        <p:par>
                          <p:cTn id="351" fill="hold">
                            <p:stCondLst>
                              <p:cond delay="0"/>
                            </p:stCondLst>
                            <p:childTnLst>
                              <p:par>
                                <p:cTn id="352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354" dur="20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5" fill="hold">
                      <p:stCondLst>
                        <p:cond delay="indefinite"/>
                      </p:stCondLst>
                      <p:childTnLst>
                        <p:par>
                          <p:cTn id="356" fill="hold">
                            <p:stCondLst>
                              <p:cond delay="0"/>
                            </p:stCondLst>
                            <p:childTnLst>
                              <p:par>
                                <p:cTn id="357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359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0" fill="hold">
                      <p:stCondLst>
                        <p:cond delay="indefinite"/>
                      </p:stCondLst>
                      <p:childTnLst>
                        <p:par>
                          <p:cTn id="361" fill="hold">
                            <p:stCondLst>
                              <p:cond delay="0"/>
                            </p:stCondLst>
                            <p:childTnLst>
                              <p:par>
                                <p:cTn id="362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4" dur="3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5" fill="hold">
                      <p:stCondLst>
                        <p:cond delay="indefinite"/>
                      </p:stCondLst>
                      <p:childTnLst>
                        <p:par>
                          <p:cTn id="366" fill="hold">
                            <p:stCondLst>
                              <p:cond delay="0"/>
                            </p:stCondLst>
                            <p:childTnLst>
                              <p:par>
                                <p:cTn id="367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9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0" fill="hold">
                      <p:stCondLst>
                        <p:cond delay="indefinite"/>
                      </p:stCondLst>
                      <p:childTnLst>
                        <p:par>
                          <p:cTn id="371" fill="hold">
                            <p:stCondLst>
                              <p:cond delay="0"/>
                            </p:stCondLst>
                            <p:childTnLst>
                              <p:par>
                                <p:cTn id="372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374" dur="3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5" fill="hold">
                      <p:stCondLst>
                        <p:cond delay="indefinite"/>
                      </p:stCondLst>
                      <p:childTnLst>
                        <p:par>
                          <p:cTn id="376" fill="hold">
                            <p:stCondLst>
                              <p:cond delay="0"/>
                            </p:stCondLst>
                            <p:childTnLst>
                              <p:par>
                                <p:cTn id="37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9" dur="770" decel="100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0" dur="770" decel="100000"/>
                                        <p:tgtEl>
                                          <p:spTgt spid="4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8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82" dur="77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8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84" dur="77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8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6" fill="hold">
                      <p:stCondLst>
                        <p:cond delay="indefinite"/>
                      </p:stCondLst>
                      <p:childTnLst>
                        <p:par>
                          <p:cTn id="387" fill="hold">
                            <p:stCondLst>
                              <p:cond delay="0"/>
                            </p:stCondLst>
                            <p:childTnLst>
                              <p:par>
                                <p:cTn id="388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390" dur="5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1" fill="hold">
                      <p:stCondLst>
                        <p:cond delay="indefinite"/>
                      </p:stCondLst>
                      <p:childTnLst>
                        <p:par>
                          <p:cTn id="392" fill="hold">
                            <p:stCondLst>
                              <p:cond delay="0"/>
                            </p:stCondLst>
                            <p:childTnLst>
                              <p:par>
                                <p:cTn id="393" presetID="1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395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6" fill="hold">
                      <p:stCondLst>
                        <p:cond delay="indefinite"/>
                      </p:stCondLst>
                      <p:childTnLst>
                        <p:par>
                          <p:cTn id="397" fill="hold">
                            <p:stCondLst>
                              <p:cond delay="0"/>
                            </p:stCondLst>
                            <p:childTnLst>
                              <p:par>
                                <p:cTn id="39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0" dur="5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1" fill="hold">
                      <p:stCondLst>
                        <p:cond delay="indefinite"/>
                      </p:stCondLst>
                      <p:childTnLst>
                        <p:par>
                          <p:cTn id="402" fill="hold">
                            <p:stCondLst>
                              <p:cond delay="0"/>
                            </p:stCondLst>
                            <p:childTnLst>
                              <p:par>
                                <p:cTn id="403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05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6" fill="hold">
                      <p:stCondLst>
                        <p:cond delay="indefinite"/>
                      </p:stCondLst>
                      <p:childTnLst>
                        <p:par>
                          <p:cTn id="407" fill="hold">
                            <p:stCondLst>
                              <p:cond delay="0"/>
                            </p:stCondLst>
                            <p:childTnLst>
                              <p:par>
                                <p:cTn id="408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0" dur="770" decel="100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1" dur="770" decel="100000"/>
                                        <p:tgtEl>
                                          <p:spTgt spid="5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1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13" dur="77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15" dur="77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1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7" fill="hold">
                      <p:stCondLst>
                        <p:cond delay="indefinite"/>
                      </p:stCondLst>
                      <p:childTnLst>
                        <p:par>
                          <p:cTn id="418" fill="hold">
                            <p:stCondLst>
                              <p:cond delay="0"/>
                            </p:stCondLst>
                            <p:childTnLst>
                              <p:par>
                                <p:cTn id="41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2" fill="hold">
                      <p:stCondLst>
                        <p:cond delay="indefinite"/>
                      </p:stCondLst>
                      <p:childTnLst>
                        <p:par>
                          <p:cTn id="423" fill="hold">
                            <p:stCondLst>
                              <p:cond delay="0"/>
                            </p:stCondLst>
                            <p:childTnLst>
                              <p:par>
                                <p:cTn id="42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6" dur="770" decel="100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7" dur="770" decel="100000"/>
                                        <p:tgtEl>
                                          <p:spTgt spid="8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2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29" dur="77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3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31" dur="77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3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3" fill="hold">
                      <p:stCondLst>
                        <p:cond delay="indefinite"/>
                      </p:stCondLst>
                      <p:childTnLst>
                        <p:par>
                          <p:cTn id="434" fill="hold">
                            <p:stCondLst>
                              <p:cond delay="0"/>
                            </p:stCondLst>
                            <p:childTnLst>
                              <p:par>
                                <p:cTn id="43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7" dur="770" decel="100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8" dur="770" decel="100000"/>
                                        <p:tgtEl>
                                          <p:spTgt spid="8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40" dur="77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42" dur="77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4" fill="hold">
                      <p:stCondLst>
                        <p:cond delay="indefinite"/>
                      </p:stCondLst>
                      <p:childTnLst>
                        <p:par>
                          <p:cTn id="445" fill="hold">
                            <p:stCondLst>
                              <p:cond delay="0"/>
                            </p:stCondLst>
                            <p:childTnLst>
                              <p:par>
                                <p:cTn id="44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8" dur="770" decel="100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9" dur="770" decel="100000"/>
                                        <p:tgtEl>
                                          <p:spTgt spid="8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5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51" dur="77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5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53" dur="77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5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5" fill="hold">
                      <p:stCondLst>
                        <p:cond delay="indefinite"/>
                      </p:stCondLst>
                      <p:childTnLst>
                        <p:par>
                          <p:cTn id="456" fill="hold">
                            <p:stCondLst>
                              <p:cond delay="0"/>
                            </p:stCondLst>
                            <p:childTnLst>
                              <p:par>
                                <p:cTn id="45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9" dur="770" decel="1000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60" dur="770" decel="1000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6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62" dur="770" fill="hold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6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64" dur="770" fill="hold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6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6" fill="hold">
                      <p:stCondLst>
                        <p:cond delay="indefinite"/>
                      </p:stCondLst>
                      <p:childTnLst>
                        <p:par>
                          <p:cTn id="467" fill="hold">
                            <p:stCondLst>
                              <p:cond delay="0"/>
                            </p:stCondLst>
                            <p:childTnLst>
                              <p:par>
                                <p:cTn id="46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>
                      <p:stCondLst>
                        <p:cond delay="indefinite"/>
                      </p:stCondLst>
                      <p:childTnLst>
                        <p:par>
                          <p:cTn id="472" fill="hold">
                            <p:stCondLst>
                              <p:cond delay="0"/>
                            </p:stCondLst>
                            <p:childTnLst>
                              <p:par>
                                <p:cTn id="47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5" dur="3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6" fill="hold">
                      <p:stCondLst>
                        <p:cond delay="indefinite"/>
                      </p:stCondLst>
                      <p:childTnLst>
                        <p:par>
                          <p:cTn id="477" fill="hold">
                            <p:stCondLst>
                              <p:cond delay="0"/>
                            </p:stCondLst>
                            <p:childTnLst>
                              <p:par>
                                <p:cTn id="478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0" dur="770" decel="100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1" dur="770" decel="100000"/>
                                        <p:tgtEl>
                                          <p:spTgt spid="9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8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83" dur="77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8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85" dur="77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8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7" fill="hold">
                      <p:stCondLst>
                        <p:cond delay="indefinite"/>
                      </p:stCondLst>
                      <p:childTnLst>
                        <p:par>
                          <p:cTn id="488" fill="hold">
                            <p:stCondLst>
                              <p:cond delay="0"/>
                            </p:stCondLst>
                            <p:childTnLst>
                              <p:par>
                                <p:cTn id="48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1" dur="770" decel="100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2" dur="770" decel="100000"/>
                                        <p:tgtEl>
                                          <p:spTgt spid="9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94" dur="77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9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96" dur="77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9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8" fill="hold">
                      <p:stCondLst>
                        <p:cond delay="indefinite"/>
                      </p:stCondLst>
                      <p:childTnLst>
                        <p:par>
                          <p:cTn id="499" fill="hold">
                            <p:stCondLst>
                              <p:cond delay="0"/>
                            </p:stCondLst>
                            <p:childTnLst>
                              <p:par>
                                <p:cTn id="500" presetID="21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502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3" fill="hold">
                      <p:stCondLst>
                        <p:cond delay="indefinite"/>
                      </p:stCondLst>
                      <p:childTnLst>
                        <p:par>
                          <p:cTn id="504" fill="hold">
                            <p:stCondLst>
                              <p:cond delay="0"/>
                            </p:stCondLst>
                            <p:childTnLst>
                              <p:par>
                                <p:cTn id="505" presetID="1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plus(in)">
                                      <p:cBhvr>
                                        <p:cTn id="507" dur="3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8" fill="hold">
                      <p:stCondLst>
                        <p:cond delay="indefinite"/>
                      </p:stCondLst>
                      <p:childTnLst>
                        <p:par>
                          <p:cTn id="509" fill="hold">
                            <p:stCondLst>
                              <p:cond delay="0"/>
                            </p:stCondLst>
                            <p:childTnLst>
                              <p:par>
                                <p:cTn id="5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2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3" fill="hold">
                      <p:stCondLst>
                        <p:cond delay="indefinite"/>
                      </p:stCondLst>
                      <p:childTnLst>
                        <p:par>
                          <p:cTn id="514" fill="hold">
                            <p:stCondLst>
                              <p:cond delay="0"/>
                            </p:stCondLst>
                            <p:childTnLst>
                              <p:par>
                                <p:cTn id="51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7" dur="1155" decel="100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8" dur="1155" decel="100000"/>
                                        <p:tgtEl>
                                          <p:spTgt spid="9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1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20" dur="1155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2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22" dur="1155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2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4" fill="hold">
                      <p:stCondLst>
                        <p:cond delay="indefinite"/>
                      </p:stCondLst>
                      <p:childTnLst>
                        <p:par>
                          <p:cTn id="525" fill="hold">
                            <p:stCondLst>
                              <p:cond delay="0"/>
                            </p:stCondLst>
                            <p:childTnLst>
                              <p:par>
                                <p:cTn id="52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8" dur="3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9" fill="hold">
                      <p:stCondLst>
                        <p:cond delay="indefinite"/>
                      </p:stCondLst>
                      <p:childTnLst>
                        <p:par>
                          <p:cTn id="530" fill="hold">
                            <p:stCondLst>
                              <p:cond delay="0"/>
                            </p:stCondLst>
                            <p:childTnLst>
                              <p:par>
                                <p:cTn id="53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3" dur="770" decel="100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34" dur="770" decel="100000"/>
                                        <p:tgtEl>
                                          <p:spTgt spid="10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3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36" dur="77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3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38" dur="77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0" fill="hold">
                      <p:stCondLst>
                        <p:cond delay="indefinite"/>
                      </p:stCondLst>
                      <p:childTnLst>
                        <p:par>
                          <p:cTn id="541" fill="hold">
                            <p:stCondLst>
                              <p:cond delay="0"/>
                            </p:stCondLst>
                            <p:childTnLst>
                              <p:par>
                                <p:cTn id="542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4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5" fill="hold">
                      <p:stCondLst>
                        <p:cond delay="indefinite"/>
                      </p:stCondLst>
                      <p:childTnLst>
                        <p:par>
                          <p:cTn id="546" fill="hold">
                            <p:stCondLst>
                              <p:cond delay="0"/>
                            </p:stCondLst>
                            <p:childTnLst>
                              <p:par>
                                <p:cTn id="54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9" dur="3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0" fill="hold">
                      <p:stCondLst>
                        <p:cond delay="indefinite"/>
                      </p:stCondLst>
                      <p:childTnLst>
                        <p:par>
                          <p:cTn id="551" fill="hold">
                            <p:stCondLst>
                              <p:cond delay="0"/>
                            </p:stCondLst>
                            <p:childTnLst>
                              <p:par>
                                <p:cTn id="552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55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5" fill="hold">
                      <p:stCondLst>
                        <p:cond delay="indefinite"/>
                      </p:stCondLst>
                      <p:childTnLst>
                        <p:par>
                          <p:cTn id="556" fill="hold">
                            <p:stCondLst>
                              <p:cond delay="0"/>
                            </p:stCondLst>
                            <p:childTnLst>
                              <p:par>
                                <p:cTn id="55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9" dur="3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0" fill="hold">
                      <p:stCondLst>
                        <p:cond delay="indefinite"/>
                      </p:stCondLst>
                      <p:childTnLst>
                        <p:par>
                          <p:cTn id="561" fill="hold">
                            <p:stCondLst>
                              <p:cond delay="0"/>
                            </p:stCondLst>
                            <p:childTnLst>
                              <p:par>
                                <p:cTn id="562" presetID="21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564" dur="2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5" fill="hold">
                      <p:stCondLst>
                        <p:cond delay="indefinite"/>
                      </p:stCondLst>
                      <p:childTnLst>
                        <p:par>
                          <p:cTn id="566" fill="hold">
                            <p:stCondLst>
                              <p:cond delay="0"/>
                            </p:stCondLst>
                            <p:childTnLst>
                              <p:par>
                                <p:cTn id="56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9" dur="3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0" fill="hold">
                      <p:stCondLst>
                        <p:cond delay="indefinite"/>
                      </p:stCondLst>
                      <p:childTnLst>
                        <p:par>
                          <p:cTn id="571" fill="hold">
                            <p:stCondLst>
                              <p:cond delay="0"/>
                            </p:stCondLst>
                            <p:childTnLst>
                              <p:par>
                                <p:cTn id="572" presetID="21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4)">
                                      <p:cBhvr>
                                        <p:cTn id="574" dur="2000"/>
                                        <p:tgtEl>
                                          <p:spTgt spid="1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5" fill="hold">
                      <p:stCondLst>
                        <p:cond delay="indefinite"/>
                      </p:stCondLst>
                      <p:childTnLst>
                        <p:par>
                          <p:cTn id="576" fill="hold">
                            <p:stCondLst>
                              <p:cond delay="0"/>
                            </p:stCondLst>
                            <p:childTnLst>
                              <p:par>
                                <p:cTn id="577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9" dur="770" decel="100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0" dur="770" decel="100000"/>
                                        <p:tgtEl>
                                          <p:spTgt spid="1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8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82" dur="77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8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84" dur="77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8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6" fill="hold">
                      <p:stCondLst>
                        <p:cond delay="indefinite"/>
                      </p:stCondLst>
                      <p:childTnLst>
                        <p:par>
                          <p:cTn id="587" fill="hold">
                            <p:stCondLst>
                              <p:cond delay="0"/>
                            </p:stCondLst>
                            <p:childTnLst>
                              <p:par>
                                <p:cTn id="588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5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590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591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92" dur="500"/>
                                        <p:tgtEl>
                                          <p:spTgt spid="1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3" fill="hold">
                      <p:stCondLst>
                        <p:cond delay="indefinite"/>
                      </p:stCondLst>
                      <p:childTnLst>
                        <p:par>
                          <p:cTn id="594" fill="hold">
                            <p:stCondLst>
                              <p:cond delay="0"/>
                            </p:stCondLst>
                            <p:childTnLst>
                              <p:par>
                                <p:cTn id="59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7" dur="5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8" fill="hold">
                      <p:stCondLst>
                        <p:cond delay="indefinite"/>
                      </p:stCondLst>
                      <p:childTnLst>
                        <p:par>
                          <p:cTn id="599" fill="hold">
                            <p:stCondLst>
                              <p:cond delay="0"/>
                            </p:stCondLst>
                            <p:childTnLst>
                              <p:par>
                                <p:cTn id="60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2" dur="3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3" fill="hold">
                      <p:stCondLst>
                        <p:cond delay="indefinite"/>
                      </p:stCondLst>
                      <p:childTnLst>
                        <p:par>
                          <p:cTn id="604" fill="hold">
                            <p:stCondLst>
                              <p:cond delay="0"/>
                            </p:stCondLst>
                            <p:childTnLst>
                              <p:par>
                                <p:cTn id="60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7" dur="770" decel="1000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08" dur="770" decel="100000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0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10" dur="770" fill="hold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12" dur="770" fill="hold"/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4" fill="hold">
                      <p:stCondLst>
                        <p:cond delay="indefinite"/>
                      </p:stCondLst>
                      <p:childTnLst>
                        <p:par>
                          <p:cTn id="615" fill="hold">
                            <p:stCondLst>
                              <p:cond delay="0"/>
                            </p:stCondLst>
                            <p:childTnLst>
                              <p:par>
                                <p:cTn id="61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18" dur="1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9" fill="hold">
                      <p:stCondLst>
                        <p:cond delay="indefinite"/>
                      </p:stCondLst>
                      <p:childTnLst>
                        <p:par>
                          <p:cTn id="620" fill="hold">
                            <p:stCondLst>
                              <p:cond delay="0"/>
                            </p:stCondLst>
                            <p:childTnLst>
                              <p:par>
                                <p:cTn id="621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23" dur="1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4" fill="hold">
                      <p:stCondLst>
                        <p:cond delay="indefinite"/>
                      </p:stCondLst>
                      <p:childTnLst>
                        <p:par>
                          <p:cTn id="625" fill="hold">
                            <p:stCondLst>
                              <p:cond delay="0"/>
                            </p:stCondLst>
                            <p:childTnLst>
                              <p:par>
                                <p:cTn id="62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28" dur="1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9" fill="hold">
                      <p:stCondLst>
                        <p:cond delay="indefinite"/>
                      </p:stCondLst>
                      <p:childTnLst>
                        <p:par>
                          <p:cTn id="630" fill="hold">
                            <p:stCondLst>
                              <p:cond delay="0"/>
                            </p:stCondLst>
                            <p:childTnLst>
                              <p:par>
                                <p:cTn id="631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33" dur="1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4" fill="hold">
                      <p:stCondLst>
                        <p:cond delay="indefinite"/>
                      </p:stCondLst>
                      <p:childTnLst>
                        <p:par>
                          <p:cTn id="635" fill="hold">
                            <p:stCondLst>
                              <p:cond delay="0"/>
                            </p:stCondLst>
                            <p:childTnLst>
                              <p:par>
                                <p:cTn id="63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38" dur="1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9" fill="hold">
                      <p:stCondLst>
                        <p:cond delay="indefinite"/>
                      </p:stCondLst>
                      <p:childTnLst>
                        <p:par>
                          <p:cTn id="640" fill="hold">
                            <p:stCondLst>
                              <p:cond delay="0"/>
                            </p:stCondLst>
                            <p:childTnLst>
                              <p:par>
                                <p:cTn id="6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3" dur="3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4" fill="hold">
                      <p:stCondLst>
                        <p:cond delay="indefinite"/>
                      </p:stCondLst>
                      <p:childTnLst>
                        <p:par>
                          <p:cTn id="645" fill="hold">
                            <p:stCondLst>
                              <p:cond delay="0"/>
                            </p:stCondLst>
                            <p:childTnLst>
                              <p:par>
                                <p:cTn id="64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48" dur="1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9" fill="hold">
                      <p:stCondLst>
                        <p:cond delay="indefinite"/>
                      </p:stCondLst>
                      <p:childTnLst>
                        <p:par>
                          <p:cTn id="650" fill="hold">
                            <p:stCondLst>
                              <p:cond delay="0"/>
                            </p:stCondLst>
                            <p:childTnLst>
                              <p:par>
                                <p:cTn id="6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3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4" fill="hold">
                      <p:stCondLst>
                        <p:cond delay="indefinite"/>
                      </p:stCondLst>
                      <p:childTnLst>
                        <p:par>
                          <p:cTn id="655" fill="hold">
                            <p:stCondLst>
                              <p:cond delay="0"/>
                            </p:stCondLst>
                            <p:childTnLst>
                              <p:par>
                                <p:cTn id="65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58" dur="1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9" fill="hold">
                      <p:stCondLst>
                        <p:cond delay="indefinite"/>
                      </p:stCondLst>
                      <p:childTnLst>
                        <p:par>
                          <p:cTn id="660" fill="hold">
                            <p:stCondLst>
                              <p:cond delay="0"/>
                            </p:stCondLst>
                            <p:childTnLst>
                              <p:par>
                                <p:cTn id="66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3" dur="3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4" fill="hold">
                      <p:stCondLst>
                        <p:cond delay="indefinite"/>
                      </p:stCondLst>
                      <p:childTnLst>
                        <p:par>
                          <p:cTn id="665" fill="hold">
                            <p:stCondLst>
                              <p:cond delay="0"/>
                            </p:stCondLst>
                            <p:childTnLst>
                              <p:par>
                                <p:cTn id="66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68" dur="1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9" fill="hold">
                      <p:stCondLst>
                        <p:cond delay="indefinite"/>
                      </p:stCondLst>
                      <p:childTnLst>
                        <p:par>
                          <p:cTn id="670" fill="hold">
                            <p:stCondLst>
                              <p:cond delay="0"/>
                            </p:stCondLst>
                            <p:childTnLst>
                              <p:par>
                                <p:cTn id="67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3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4" fill="hold">
                      <p:stCondLst>
                        <p:cond delay="indefinite"/>
                      </p:stCondLst>
                      <p:childTnLst>
                        <p:par>
                          <p:cTn id="675" fill="hold">
                            <p:stCondLst>
                              <p:cond delay="0"/>
                            </p:stCondLst>
                            <p:childTnLst>
                              <p:par>
                                <p:cTn id="67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78" dur="1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9" fill="hold">
                      <p:stCondLst>
                        <p:cond delay="indefinite"/>
                      </p:stCondLst>
                      <p:childTnLst>
                        <p:par>
                          <p:cTn id="680" fill="hold">
                            <p:stCondLst>
                              <p:cond delay="0"/>
                            </p:stCondLst>
                            <p:childTnLst>
                              <p:par>
                                <p:cTn id="681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83" dur="1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4" fill="hold">
                      <p:stCondLst>
                        <p:cond delay="indefinite"/>
                      </p:stCondLst>
                      <p:childTnLst>
                        <p:par>
                          <p:cTn id="685" fill="hold">
                            <p:stCondLst>
                              <p:cond delay="0"/>
                            </p:stCondLst>
                            <p:childTnLst>
                              <p:par>
                                <p:cTn id="68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8" dur="5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9" fill="hold">
                      <p:stCondLst>
                        <p:cond delay="indefinite"/>
                      </p:stCondLst>
                      <p:childTnLst>
                        <p:par>
                          <p:cTn id="690" fill="hold">
                            <p:stCondLst>
                              <p:cond delay="0"/>
                            </p:stCondLst>
                            <p:childTnLst>
                              <p:par>
                                <p:cTn id="691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93" dur="1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4" fill="hold">
                      <p:stCondLst>
                        <p:cond delay="indefinite"/>
                      </p:stCondLst>
                      <p:childTnLst>
                        <p:par>
                          <p:cTn id="695" fill="hold">
                            <p:stCondLst>
                              <p:cond delay="0"/>
                            </p:stCondLst>
                            <p:childTnLst>
                              <p:par>
                                <p:cTn id="69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98" dur="1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9" fill="hold">
                      <p:stCondLst>
                        <p:cond delay="indefinite"/>
                      </p:stCondLst>
                      <p:childTnLst>
                        <p:par>
                          <p:cTn id="700" fill="hold">
                            <p:stCondLst>
                              <p:cond delay="0"/>
                            </p:stCondLst>
                            <p:childTnLst>
                              <p:par>
                                <p:cTn id="701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03" dur="1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4" fill="hold">
                      <p:stCondLst>
                        <p:cond delay="indefinite"/>
                      </p:stCondLst>
                      <p:childTnLst>
                        <p:par>
                          <p:cTn id="705" fill="hold">
                            <p:stCondLst>
                              <p:cond delay="0"/>
                            </p:stCondLst>
                            <p:childTnLst>
                              <p:par>
                                <p:cTn id="70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08" dur="1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9" fill="hold">
                      <p:stCondLst>
                        <p:cond delay="indefinite"/>
                      </p:stCondLst>
                      <p:childTnLst>
                        <p:par>
                          <p:cTn id="710" fill="hold">
                            <p:stCondLst>
                              <p:cond delay="0"/>
                            </p:stCondLst>
                            <p:childTnLst>
                              <p:par>
                                <p:cTn id="711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13" dur="1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4" fill="hold">
                      <p:stCondLst>
                        <p:cond delay="indefinite"/>
                      </p:stCondLst>
                      <p:childTnLst>
                        <p:par>
                          <p:cTn id="715" fill="hold">
                            <p:stCondLst>
                              <p:cond delay="0"/>
                            </p:stCondLst>
                            <p:childTnLst>
                              <p:par>
                                <p:cTn id="716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18" dur="1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9" fill="hold">
                      <p:stCondLst>
                        <p:cond delay="indefinite"/>
                      </p:stCondLst>
                      <p:childTnLst>
                        <p:par>
                          <p:cTn id="720" fill="hold">
                            <p:stCondLst>
                              <p:cond delay="0"/>
                            </p:stCondLst>
                            <p:childTnLst>
                              <p:par>
                                <p:cTn id="72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7" fill="hold">
                      <p:stCondLst>
                        <p:cond delay="indefinite"/>
                      </p:stCondLst>
                      <p:childTnLst>
                        <p:par>
                          <p:cTn id="738" fill="hold">
                            <p:stCondLst>
                              <p:cond delay="0"/>
                            </p:stCondLst>
                            <p:childTnLst>
                              <p:par>
                                <p:cTn id="739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1" dur="87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2" dur="2733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3" dur="996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4" dur="996" tmFilter="0, 0; 0.125,0.2665; 0.25,0.4; 0.375,0.465; 0.5,0.5;  0.625,0.535; 0.75,0.6; 0.875,0.7335; 1,1">
                                          <p:stCondLst>
                                            <p:cond delay="996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5" dur="498" tmFilter="0, 0; 0.125,0.2665; 0.25,0.4; 0.375,0.465; 0.5,0.5;  0.625,0.535; 0.75,0.6; 0.875,0.7335; 1,1">
                                          <p:stCondLst>
                                            <p:cond delay="1986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6" dur="246" tmFilter="0, 0; 0.125,0.2665; 0.25,0.4; 0.375,0.465; 0.5,0.5;  0.625,0.535; 0.75,0.6; 0.875,0.7335; 1,1">
                                          <p:stCondLst>
                                            <p:cond delay="2484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47" dur="39">
                                          <p:stCondLst>
                                            <p:cond delay="975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48" dur="249" decel="50000">
                                          <p:stCondLst>
                                            <p:cond delay="1014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49" dur="39">
                                          <p:stCondLst>
                                            <p:cond delay="1968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50" dur="249" decel="50000">
                                          <p:stCondLst>
                                            <p:cond delay="2007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1" dur="39">
                                          <p:stCondLst>
                                            <p:cond delay="2463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52" dur="249" decel="50000">
                                          <p:stCondLst>
                                            <p:cond delay="2502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3" dur="39">
                                          <p:stCondLst>
                                            <p:cond delay="2712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54" dur="249" decel="50000">
                                          <p:stCondLst>
                                            <p:cond delay="2751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5" fill="hold">
                      <p:stCondLst>
                        <p:cond delay="indefinite"/>
                      </p:stCondLst>
                      <p:childTnLst>
                        <p:par>
                          <p:cTn id="756" fill="hold">
                            <p:stCondLst>
                              <p:cond delay="0"/>
                            </p:stCondLst>
                            <p:childTnLst>
                              <p:par>
                                <p:cTn id="75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6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6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6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6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7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7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3" fill="hold">
                      <p:stCondLst>
                        <p:cond delay="indefinite"/>
                      </p:stCondLst>
                      <p:childTnLst>
                        <p:par>
                          <p:cTn id="774" fill="hold">
                            <p:stCondLst>
                              <p:cond delay="0"/>
                            </p:stCondLst>
                            <p:childTnLst>
                              <p:par>
                                <p:cTn id="77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8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8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8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8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9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1" fill="hold">
                      <p:stCondLst>
                        <p:cond delay="indefinite"/>
                      </p:stCondLst>
                      <p:childTnLst>
                        <p:par>
                          <p:cTn id="792" fill="hold">
                            <p:stCondLst>
                              <p:cond delay="0"/>
                            </p:stCondLst>
                            <p:childTnLst>
                              <p:par>
                                <p:cTn id="79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5" dur="14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6" dur="4555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7" dur="166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8" dur="1660" tmFilter="0, 0; 0.125,0.2665; 0.25,0.4; 0.375,0.465; 0.5,0.5;  0.625,0.535; 0.75,0.6; 0.875,0.7335; 1,1">
                                          <p:stCondLst>
                                            <p:cond delay="166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9" dur="830" tmFilter="0, 0; 0.125,0.2665; 0.25,0.4; 0.375,0.465; 0.5,0.5;  0.625,0.535; 0.75,0.6; 0.875,0.7335; 1,1">
                                          <p:stCondLst>
                                            <p:cond delay="331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0" dur="410" tmFilter="0, 0; 0.125,0.2665; 0.25,0.4; 0.375,0.465; 0.5,0.5;  0.625,0.535; 0.75,0.6; 0.875,0.7335; 1,1">
                                          <p:stCondLst>
                                            <p:cond delay="414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01" dur="65">
                                          <p:stCondLst>
                                            <p:cond delay="1625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02" dur="415" decel="50000">
                                          <p:stCondLst>
                                            <p:cond delay="169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3" dur="65">
                                          <p:stCondLst>
                                            <p:cond delay="328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4" dur="415" decel="50000">
                                          <p:stCondLst>
                                            <p:cond delay="3345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5" dur="65">
                                          <p:stCondLst>
                                            <p:cond delay="4105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06" dur="415" decel="50000">
                                          <p:stCondLst>
                                            <p:cond delay="417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07" dur="65">
                                          <p:stCondLst>
                                            <p:cond delay="452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08" dur="415" decel="50000">
                                          <p:stCondLst>
                                            <p:cond delay="4585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9" fill="hold">
                      <p:stCondLst>
                        <p:cond delay="indefinite"/>
                      </p:stCondLst>
                      <p:childTnLst>
                        <p:par>
                          <p:cTn id="810" fill="hold">
                            <p:stCondLst>
                              <p:cond delay="0"/>
                            </p:stCondLst>
                            <p:childTnLst>
                              <p:par>
                                <p:cTn id="81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2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2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2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2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7" fill="hold">
                      <p:stCondLst>
                        <p:cond delay="indefinite"/>
                      </p:stCondLst>
                      <p:childTnLst>
                        <p:par>
                          <p:cTn id="828" fill="hold">
                            <p:stCondLst>
                              <p:cond delay="0"/>
                            </p:stCondLst>
                            <p:childTnLst>
                              <p:par>
                                <p:cTn id="829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3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3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4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4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4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4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4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5" fill="hold">
                      <p:stCondLst>
                        <p:cond delay="indefinite"/>
                      </p:stCondLst>
                      <p:childTnLst>
                        <p:par>
                          <p:cTn id="846" fill="hold">
                            <p:stCondLst>
                              <p:cond delay="0"/>
                            </p:stCondLst>
                            <p:childTnLst>
                              <p:par>
                                <p:cTn id="847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5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5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5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6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6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3" fill="hold">
                      <p:stCondLst>
                        <p:cond delay="indefinite"/>
                      </p:stCondLst>
                      <p:childTnLst>
                        <p:par>
                          <p:cTn id="864" fill="hold">
                            <p:stCondLst>
                              <p:cond delay="0"/>
                            </p:stCondLst>
                            <p:childTnLst>
                              <p:par>
                                <p:cTn id="86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7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8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9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0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1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2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73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74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5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76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7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78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9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0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1" fill="hold">
                      <p:stCondLst>
                        <p:cond delay="indefinite"/>
                      </p:stCondLst>
                      <p:childTnLst>
                        <p:par>
                          <p:cTn id="882" fill="hold">
                            <p:stCondLst>
                              <p:cond delay="0"/>
                            </p:stCondLst>
                            <p:childTnLst>
                              <p:par>
                                <p:cTn id="88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8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9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9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9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9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9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9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9" fill="hold">
                      <p:stCondLst>
                        <p:cond delay="indefinite"/>
                      </p:stCondLst>
                      <p:childTnLst>
                        <p:par>
                          <p:cTn id="900" fill="hold">
                            <p:stCondLst>
                              <p:cond delay="0"/>
                            </p:stCondLst>
                            <p:childTnLst>
                              <p:par>
                                <p:cTn id="901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3" dur="14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4" dur="4555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5" dur="166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6" dur="1660" tmFilter="0, 0; 0.125,0.2665; 0.25,0.4; 0.375,0.465; 0.5,0.5;  0.625,0.535; 0.75,0.6; 0.875,0.7335; 1,1">
                                          <p:stCondLst>
                                            <p:cond delay="166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7" dur="830" tmFilter="0, 0; 0.125,0.2665; 0.25,0.4; 0.375,0.465; 0.5,0.5;  0.625,0.535; 0.75,0.6; 0.875,0.7335; 1,1">
                                          <p:stCondLst>
                                            <p:cond delay="331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8" dur="410" tmFilter="0, 0; 0.125,0.2665; 0.25,0.4; 0.375,0.465; 0.5,0.5;  0.625,0.535; 0.75,0.6; 0.875,0.7335; 1,1">
                                          <p:stCondLst>
                                            <p:cond delay="414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09" dur="65">
                                          <p:stCondLst>
                                            <p:cond delay="1625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10" dur="415" decel="50000">
                                          <p:stCondLst>
                                            <p:cond delay="169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1" dur="65">
                                          <p:stCondLst>
                                            <p:cond delay="328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12" dur="415" decel="50000">
                                          <p:stCondLst>
                                            <p:cond delay="3345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3" dur="65">
                                          <p:stCondLst>
                                            <p:cond delay="4105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14" dur="415" decel="50000">
                                          <p:stCondLst>
                                            <p:cond delay="417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15" dur="65">
                                          <p:stCondLst>
                                            <p:cond delay="4520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916" dur="415" decel="50000">
                                          <p:stCondLst>
                                            <p:cond delay="4585"/>
                                          </p:stCondLst>
                                        </p:cTn>
                                        <p:tgtEl>
                                          <p:spTgt spid="1035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2" grpId="0" build="p"/>
      <p:bldP spid="82" grpId="0" build="p"/>
      <p:bldP spid="110" grpId="0" build="p"/>
      <p:bldP spid="115" grpId="0" build="p"/>
      <p:bldP spid="126" grpId="0"/>
      <p:bldP spid="127" grpId="0"/>
      <p:bldP spid="129" grpId="0"/>
      <p:bldP spid="131" grpId="0"/>
      <p:bldP spid="134" grpId="0"/>
      <p:bldP spid="136" grpId="0"/>
      <p:bldP spid="138" grpId="0"/>
      <p:bldP spid="61" grpId="0" build="p"/>
      <p:bldP spid="65" grpId="0" build="p"/>
      <p:bldP spid="67" grpId="0"/>
      <p:bldP spid="69" grpId="0" build="p"/>
      <p:bldP spid="78" grpId="0"/>
      <p:bldP spid="80" grpId="0" build="p"/>
      <p:bldP spid="34" grpId="0" build="p"/>
      <p:bldP spid="35" grpId="0" build="p"/>
      <p:bldP spid="38" grpId="0" build="p"/>
      <p:bldP spid="41" grpId="0" build="p"/>
      <p:bldP spid="43" grpId="0" build="p"/>
      <p:bldP spid="46" grpId="0" build="p"/>
      <p:bldP spid="49" grpId="0"/>
      <p:bldP spid="51" grpId="0"/>
      <p:bldP spid="53" grpId="0" build="p"/>
      <p:bldP spid="58" grpId="0"/>
      <p:bldP spid="89" grpId="0" build="p"/>
      <p:bldP spid="93" grpId="0"/>
      <p:bldP spid="102" grpId="0"/>
      <p:bldP spid="104" grpId="0"/>
      <p:bldP spid="107" grpId="0"/>
      <p:bldP spid="112" grpId="0" build="p"/>
      <p:bldP spid="128" grpId="0"/>
      <p:bldP spid="130" grpId="0"/>
      <p:bldP spid="76" grpId="0" build="p"/>
      <p:bldP spid="84" grpId="0"/>
      <p:bldP spid="36" grpId="0" build="p"/>
      <p:bldP spid="125" grpId="0" build="p"/>
      <p:bldP spid="108" grpId="0"/>
      <p:bldP spid="139" grpId="0"/>
      <p:bldP spid="141" grpId="0"/>
      <p:bldP spid="142" grpId="0"/>
      <p:bldP spid="143" grpId="0"/>
      <p:bldP spid="144" grpId="0"/>
      <p:bldP spid="145" grpId="0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  <p:bldP spid="152" grpId="0" animBg="1"/>
      <p:bldP spid="153" grpId="0" animBg="1"/>
      <p:bldP spid="154" grpId="0" animBg="1"/>
      <p:bldP spid="155" grpId="0" animBg="1"/>
      <p:bldP spid="10358" grpId="0"/>
      <p:bldP spid="74" grpId="0" build="p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 Placeholder 48"/>
          <p:cNvSpPr>
            <a:spLocks noGrp="1"/>
          </p:cNvSpPr>
          <p:nvPr>
            <p:ph type="body" idx="1"/>
          </p:nvPr>
        </p:nvSpPr>
        <p:spPr>
          <a:xfrm>
            <a:off x="285756" y="381004"/>
            <a:ext cx="1571625" cy="857251"/>
          </a:xfrm>
        </p:spPr>
        <p:txBody>
          <a:bodyPr/>
          <a:lstStyle/>
          <a:p>
            <a:pPr algn="ctr" eaLnBrk="1" hangingPunct="1"/>
            <a:r>
              <a:rPr lang="en-US" smtClean="0">
                <a:solidFill>
                  <a:schemeClr val="tx1"/>
                </a:solidFill>
                <a:latin typeface="Ponnala" pitchFamily="2" charset="0"/>
                <a:cs typeface="Ponnala" pitchFamily="2" charset="0"/>
              </a:rPr>
              <a:t>ఆసియాలోని ప్రధాన దేశాలు</a:t>
            </a:r>
          </a:p>
        </p:txBody>
      </p:sp>
      <p:sp>
        <p:nvSpPr>
          <p:cNvPr id="88" name="Freeform 87"/>
          <p:cNvSpPr/>
          <p:nvPr/>
        </p:nvSpPr>
        <p:spPr>
          <a:xfrm>
            <a:off x="1035050" y="660402"/>
            <a:ext cx="7816850" cy="2197100"/>
          </a:xfrm>
          <a:custGeom>
            <a:avLst/>
            <a:gdLst>
              <a:gd name="connsiteX0" fmla="*/ 0 w 7816850"/>
              <a:gd name="connsiteY0" fmla="*/ 1917700 h 2197100"/>
              <a:gd name="connsiteX1" fmla="*/ 38100 w 7816850"/>
              <a:gd name="connsiteY1" fmla="*/ 1911350 h 2197100"/>
              <a:gd name="connsiteX2" fmla="*/ 76200 w 7816850"/>
              <a:gd name="connsiteY2" fmla="*/ 1898650 h 2197100"/>
              <a:gd name="connsiteX3" fmla="*/ 88900 w 7816850"/>
              <a:gd name="connsiteY3" fmla="*/ 1879600 h 2197100"/>
              <a:gd name="connsiteX4" fmla="*/ 127000 w 7816850"/>
              <a:gd name="connsiteY4" fmla="*/ 1866900 h 2197100"/>
              <a:gd name="connsiteX5" fmla="*/ 107950 w 7816850"/>
              <a:gd name="connsiteY5" fmla="*/ 1854200 h 2197100"/>
              <a:gd name="connsiteX6" fmla="*/ 101600 w 7816850"/>
              <a:gd name="connsiteY6" fmla="*/ 1835150 h 2197100"/>
              <a:gd name="connsiteX7" fmla="*/ 158750 w 7816850"/>
              <a:gd name="connsiteY7" fmla="*/ 1828800 h 2197100"/>
              <a:gd name="connsiteX8" fmla="*/ 158750 w 7816850"/>
              <a:gd name="connsiteY8" fmla="*/ 1809750 h 2197100"/>
              <a:gd name="connsiteX9" fmla="*/ 152400 w 7816850"/>
              <a:gd name="connsiteY9" fmla="*/ 1790700 h 2197100"/>
              <a:gd name="connsiteX10" fmla="*/ 190500 w 7816850"/>
              <a:gd name="connsiteY10" fmla="*/ 1778000 h 2197100"/>
              <a:gd name="connsiteX11" fmla="*/ 209550 w 7816850"/>
              <a:gd name="connsiteY11" fmla="*/ 1771650 h 2197100"/>
              <a:gd name="connsiteX12" fmla="*/ 228600 w 7816850"/>
              <a:gd name="connsiteY12" fmla="*/ 1752600 h 2197100"/>
              <a:gd name="connsiteX13" fmla="*/ 266700 w 7816850"/>
              <a:gd name="connsiteY13" fmla="*/ 1739900 h 2197100"/>
              <a:gd name="connsiteX14" fmla="*/ 279400 w 7816850"/>
              <a:gd name="connsiteY14" fmla="*/ 1701800 h 2197100"/>
              <a:gd name="connsiteX15" fmla="*/ 285750 w 7816850"/>
              <a:gd name="connsiteY15" fmla="*/ 1682750 h 2197100"/>
              <a:gd name="connsiteX16" fmla="*/ 323850 w 7816850"/>
              <a:gd name="connsiteY16" fmla="*/ 1663700 h 2197100"/>
              <a:gd name="connsiteX17" fmla="*/ 330200 w 7816850"/>
              <a:gd name="connsiteY17" fmla="*/ 1644650 h 2197100"/>
              <a:gd name="connsiteX18" fmla="*/ 254000 w 7816850"/>
              <a:gd name="connsiteY18" fmla="*/ 1612900 h 2197100"/>
              <a:gd name="connsiteX19" fmla="*/ 247650 w 7816850"/>
              <a:gd name="connsiteY19" fmla="*/ 1593850 h 2197100"/>
              <a:gd name="connsiteX20" fmla="*/ 203200 w 7816850"/>
              <a:gd name="connsiteY20" fmla="*/ 1600200 h 2197100"/>
              <a:gd name="connsiteX21" fmla="*/ 152400 w 7816850"/>
              <a:gd name="connsiteY21" fmla="*/ 1593850 h 2197100"/>
              <a:gd name="connsiteX22" fmla="*/ 146050 w 7816850"/>
              <a:gd name="connsiteY22" fmla="*/ 1574800 h 2197100"/>
              <a:gd name="connsiteX23" fmla="*/ 139700 w 7816850"/>
              <a:gd name="connsiteY23" fmla="*/ 1536700 h 2197100"/>
              <a:gd name="connsiteX24" fmla="*/ 127000 w 7816850"/>
              <a:gd name="connsiteY24" fmla="*/ 1517650 h 2197100"/>
              <a:gd name="connsiteX25" fmla="*/ 133350 w 7816850"/>
              <a:gd name="connsiteY25" fmla="*/ 1498600 h 2197100"/>
              <a:gd name="connsiteX26" fmla="*/ 50800 w 7816850"/>
              <a:gd name="connsiteY26" fmla="*/ 1466850 h 2197100"/>
              <a:gd name="connsiteX27" fmla="*/ 38100 w 7816850"/>
              <a:gd name="connsiteY27" fmla="*/ 1447800 h 2197100"/>
              <a:gd name="connsiteX28" fmla="*/ 57150 w 7816850"/>
              <a:gd name="connsiteY28" fmla="*/ 1403350 h 2197100"/>
              <a:gd name="connsiteX29" fmla="*/ 114300 w 7816850"/>
              <a:gd name="connsiteY29" fmla="*/ 1397000 h 2197100"/>
              <a:gd name="connsiteX30" fmla="*/ 133350 w 7816850"/>
              <a:gd name="connsiteY30" fmla="*/ 1390650 h 2197100"/>
              <a:gd name="connsiteX31" fmla="*/ 114300 w 7816850"/>
              <a:gd name="connsiteY31" fmla="*/ 1352550 h 2197100"/>
              <a:gd name="connsiteX32" fmla="*/ 101600 w 7816850"/>
              <a:gd name="connsiteY32" fmla="*/ 1314450 h 2197100"/>
              <a:gd name="connsiteX33" fmla="*/ 107950 w 7816850"/>
              <a:gd name="connsiteY33" fmla="*/ 1289050 h 2197100"/>
              <a:gd name="connsiteX34" fmla="*/ 127000 w 7816850"/>
              <a:gd name="connsiteY34" fmla="*/ 1282700 h 2197100"/>
              <a:gd name="connsiteX35" fmla="*/ 133350 w 7816850"/>
              <a:gd name="connsiteY35" fmla="*/ 1263650 h 2197100"/>
              <a:gd name="connsiteX36" fmla="*/ 76200 w 7816850"/>
              <a:gd name="connsiteY36" fmla="*/ 1238250 h 2197100"/>
              <a:gd name="connsiteX37" fmla="*/ 38100 w 7816850"/>
              <a:gd name="connsiteY37" fmla="*/ 1206500 h 2197100"/>
              <a:gd name="connsiteX38" fmla="*/ 44450 w 7816850"/>
              <a:gd name="connsiteY38" fmla="*/ 1149350 h 2197100"/>
              <a:gd name="connsiteX39" fmla="*/ 50800 w 7816850"/>
              <a:gd name="connsiteY39" fmla="*/ 1130300 h 2197100"/>
              <a:gd name="connsiteX40" fmla="*/ 69850 w 7816850"/>
              <a:gd name="connsiteY40" fmla="*/ 1123950 h 2197100"/>
              <a:gd name="connsiteX41" fmla="*/ 107950 w 7816850"/>
              <a:gd name="connsiteY41" fmla="*/ 1098550 h 2197100"/>
              <a:gd name="connsiteX42" fmla="*/ 120650 w 7816850"/>
              <a:gd name="connsiteY42" fmla="*/ 1079500 h 2197100"/>
              <a:gd name="connsiteX43" fmla="*/ 139700 w 7816850"/>
              <a:gd name="connsiteY43" fmla="*/ 1041400 h 2197100"/>
              <a:gd name="connsiteX44" fmla="*/ 177800 w 7816850"/>
              <a:gd name="connsiteY44" fmla="*/ 1028700 h 2197100"/>
              <a:gd name="connsiteX45" fmla="*/ 234950 w 7816850"/>
              <a:gd name="connsiteY45" fmla="*/ 996950 h 2197100"/>
              <a:gd name="connsiteX46" fmla="*/ 298450 w 7816850"/>
              <a:gd name="connsiteY46" fmla="*/ 990600 h 2197100"/>
              <a:gd name="connsiteX47" fmla="*/ 298450 w 7816850"/>
              <a:gd name="connsiteY47" fmla="*/ 977900 h 2197100"/>
              <a:gd name="connsiteX48" fmla="*/ 279400 w 7816850"/>
              <a:gd name="connsiteY48" fmla="*/ 965200 h 2197100"/>
              <a:gd name="connsiteX49" fmla="*/ 266700 w 7816850"/>
              <a:gd name="connsiteY49" fmla="*/ 946150 h 2197100"/>
              <a:gd name="connsiteX50" fmla="*/ 285750 w 7816850"/>
              <a:gd name="connsiteY50" fmla="*/ 933450 h 2197100"/>
              <a:gd name="connsiteX51" fmla="*/ 349250 w 7816850"/>
              <a:gd name="connsiteY51" fmla="*/ 914400 h 2197100"/>
              <a:gd name="connsiteX52" fmla="*/ 387350 w 7816850"/>
              <a:gd name="connsiteY52" fmla="*/ 889000 h 2197100"/>
              <a:gd name="connsiteX53" fmla="*/ 406400 w 7816850"/>
              <a:gd name="connsiteY53" fmla="*/ 882650 h 2197100"/>
              <a:gd name="connsiteX54" fmla="*/ 425450 w 7816850"/>
              <a:gd name="connsiteY54" fmla="*/ 869950 h 2197100"/>
              <a:gd name="connsiteX55" fmla="*/ 444500 w 7816850"/>
              <a:gd name="connsiteY55" fmla="*/ 863600 h 2197100"/>
              <a:gd name="connsiteX56" fmla="*/ 482600 w 7816850"/>
              <a:gd name="connsiteY56" fmla="*/ 838200 h 2197100"/>
              <a:gd name="connsiteX57" fmla="*/ 501650 w 7816850"/>
              <a:gd name="connsiteY57" fmla="*/ 825500 h 2197100"/>
              <a:gd name="connsiteX58" fmla="*/ 539750 w 7816850"/>
              <a:gd name="connsiteY58" fmla="*/ 806450 h 2197100"/>
              <a:gd name="connsiteX59" fmla="*/ 546100 w 7816850"/>
              <a:gd name="connsiteY59" fmla="*/ 787400 h 2197100"/>
              <a:gd name="connsiteX60" fmla="*/ 539750 w 7816850"/>
              <a:gd name="connsiteY60" fmla="*/ 768350 h 2197100"/>
              <a:gd name="connsiteX61" fmla="*/ 558800 w 7816850"/>
              <a:gd name="connsiteY61" fmla="*/ 755650 h 2197100"/>
              <a:gd name="connsiteX62" fmla="*/ 571500 w 7816850"/>
              <a:gd name="connsiteY62" fmla="*/ 736600 h 2197100"/>
              <a:gd name="connsiteX63" fmla="*/ 590550 w 7816850"/>
              <a:gd name="connsiteY63" fmla="*/ 666750 h 2197100"/>
              <a:gd name="connsiteX64" fmla="*/ 609600 w 7816850"/>
              <a:gd name="connsiteY64" fmla="*/ 660400 h 2197100"/>
              <a:gd name="connsiteX65" fmla="*/ 647700 w 7816850"/>
              <a:gd name="connsiteY65" fmla="*/ 635000 h 2197100"/>
              <a:gd name="connsiteX66" fmla="*/ 692150 w 7816850"/>
              <a:gd name="connsiteY66" fmla="*/ 577850 h 2197100"/>
              <a:gd name="connsiteX67" fmla="*/ 711200 w 7816850"/>
              <a:gd name="connsiteY67" fmla="*/ 571500 h 2197100"/>
              <a:gd name="connsiteX68" fmla="*/ 742950 w 7816850"/>
              <a:gd name="connsiteY68" fmla="*/ 533400 h 2197100"/>
              <a:gd name="connsiteX69" fmla="*/ 749300 w 7816850"/>
              <a:gd name="connsiteY69" fmla="*/ 514350 h 2197100"/>
              <a:gd name="connsiteX70" fmla="*/ 742950 w 7816850"/>
              <a:gd name="connsiteY70" fmla="*/ 488950 h 2197100"/>
              <a:gd name="connsiteX71" fmla="*/ 736600 w 7816850"/>
              <a:gd name="connsiteY71" fmla="*/ 469900 h 2197100"/>
              <a:gd name="connsiteX72" fmla="*/ 749300 w 7816850"/>
              <a:gd name="connsiteY72" fmla="*/ 450850 h 2197100"/>
              <a:gd name="connsiteX73" fmla="*/ 768350 w 7816850"/>
              <a:gd name="connsiteY73" fmla="*/ 444500 h 2197100"/>
              <a:gd name="connsiteX74" fmla="*/ 825500 w 7816850"/>
              <a:gd name="connsiteY74" fmla="*/ 438150 h 2197100"/>
              <a:gd name="connsiteX75" fmla="*/ 863600 w 7816850"/>
              <a:gd name="connsiteY75" fmla="*/ 425450 h 2197100"/>
              <a:gd name="connsiteX76" fmla="*/ 882650 w 7816850"/>
              <a:gd name="connsiteY76" fmla="*/ 419100 h 2197100"/>
              <a:gd name="connsiteX77" fmla="*/ 996950 w 7816850"/>
              <a:gd name="connsiteY77" fmla="*/ 425450 h 2197100"/>
              <a:gd name="connsiteX78" fmla="*/ 1035050 w 7816850"/>
              <a:gd name="connsiteY78" fmla="*/ 438150 h 2197100"/>
              <a:gd name="connsiteX79" fmla="*/ 1079500 w 7816850"/>
              <a:gd name="connsiteY79" fmla="*/ 444500 h 2197100"/>
              <a:gd name="connsiteX80" fmla="*/ 1155700 w 7816850"/>
              <a:gd name="connsiteY80" fmla="*/ 469900 h 2197100"/>
              <a:gd name="connsiteX81" fmla="*/ 1174750 w 7816850"/>
              <a:gd name="connsiteY81" fmla="*/ 476250 h 2197100"/>
              <a:gd name="connsiteX82" fmla="*/ 1193800 w 7816850"/>
              <a:gd name="connsiteY82" fmla="*/ 482600 h 2197100"/>
              <a:gd name="connsiteX83" fmla="*/ 1212850 w 7816850"/>
              <a:gd name="connsiteY83" fmla="*/ 501650 h 2197100"/>
              <a:gd name="connsiteX84" fmla="*/ 1219200 w 7816850"/>
              <a:gd name="connsiteY84" fmla="*/ 520700 h 2197100"/>
              <a:gd name="connsiteX85" fmla="*/ 1231900 w 7816850"/>
              <a:gd name="connsiteY85" fmla="*/ 539750 h 2197100"/>
              <a:gd name="connsiteX86" fmla="*/ 1225550 w 7816850"/>
              <a:gd name="connsiteY86" fmla="*/ 558800 h 2197100"/>
              <a:gd name="connsiteX87" fmla="*/ 1181100 w 7816850"/>
              <a:gd name="connsiteY87" fmla="*/ 571500 h 2197100"/>
              <a:gd name="connsiteX88" fmla="*/ 1143000 w 7816850"/>
              <a:gd name="connsiteY88" fmla="*/ 584200 h 2197100"/>
              <a:gd name="connsiteX89" fmla="*/ 1123950 w 7816850"/>
              <a:gd name="connsiteY89" fmla="*/ 590550 h 2197100"/>
              <a:gd name="connsiteX90" fmla="*/ 1085850 w 7816850"/>
              <a:gd name="connsiteY90" fmla="*/ 596900 h 2197100"/>
              <a:gd name="connsiteX91" fmla="*/ 1041400 w 7816850"/>
              <a:gd name="connsiteY91" fmla="*/ 609600 h 2197100"/>
              <a:gd name="connsiteX92" fmla="*/ 952500 w 7816850"/>
              <a:gd name="connsiteY92" fmla="*/ 603250 h 2197100"/>
              <a:gd name="connsiteX93" fmla="*/ 914400 w 7816850"/>
              <a:gd name="connsiteY93" fmla="*/ 590550 h 2197100"/>
              <a:gd name="connsiteX94" fmla="*/ 895350 w 7816850"/>
              <a:gd name="connsiteY94" fmla="*/ 584200 h 2197100"/>
              <a:gd name="connsiteX95" fmla="*/ 876300 w 7816850"/>
              <a:gd name="connsiteY95" fmla="*/ 577850 h 2197100"/>
              <a:gd name="connsiteX96" fmla="*/ 850900 w 7816850"/>
              <a:gd name="connsiteY96" fmla="*/ 571500 h 2197100"/>
              <a:gd name="connsiteX97" fmla="*/ 819150 w 7816850"/>
              <a:gd name="connsiteY97" fmla="*/ 577850 h 2197100"/>
              <a:gd name="connsiteX98" fmla="*/ 844550 w 7816850"/>
              <a:gd name="connsiteY98" fmla="*/ 615950 h 2197100"/>
              <a:gd name="connsiteX99" fmla="*/ 831850 w 7816850"/>
              <a:gd name="connsiteY99" fmla="*/ 666750 h 2197100"/>
              <a:gd name="connsiteX100" fmla="*/ 812800 w 7816850"/>
              <a:gd name="connsiteY100" fmla="*/ 704850 h 2197100"/>
              <a:gd name="connsiteX101" fmla="*/ 838200 w 7816850"/>
              <a:gd name="connsiteY101" fmla="*/ 742950 h 2197100"/>
              <a:gd name="connsiteX102" fmla="*/ 876300 w 7816850"/>
              <a:gd name="connsiteY102" fmla="*/ 755650 h 2197100"/>
              <a:gd name="connsiteX103" fmla="*/ 920750 w 7816850"/>
              <a:gd name="connsiteY103" fmla="*/ 749300 h 2197100"/>
              <a:gd name="connsiteX104" fmla="*/ 908050 w 7816850"/>
              <a:gd name="connsiteY104" fmla="*/ 692150 h 2197100"/>
              <a:gd name="connsiteX105" fmla="*/ 914400 w 7816850"/>
              <a:gd name="connsiteY105" fmla="*/ 673100 h 2197100"/>
              <a:gd name="connsiteX106" fmla="*/ 965200 w 7816850"/>
              <a:gd name="connsiteY106" fmla="*/ 673100 h 2197100"/>
              <a:gd name="connsiteX107" fmla="*/ 977900 w 7816850"/>
              <a:gd name="connsiteY107" fmla="*/ 692150 h 2197100"/>
              <a:gd name="connsiteX108" fmla="*/ 1016000 w 7816850"/>
              <a:gd name="connsiteY108" fmla="*/ 711200 h 2197100"/>
              <a:gd name="connsiteX109" fmla="*/ 1035050 w 7816850"/>
              <a:gd name="connsiteY109" fmla="*/ 723900 h 2197100"/>
              <a:gd name="connsiteX110" fmla="*/ 1079500 w 7816850"/>
              <a:gd name="connsiteY110" fmla="*/ 673100 h 2197100"/>
              <a:gd name="connsiteX111" fmla="*/ 1123950 w 7816850"/>
              <a:gd name="connsiteY111" fmla="*/ 654050 h 2197100"/>
              <a:gd name="connsiteX112" fmla="*/ 1162050 w 7816850"/>
              <a:gd name="connsiteY112" fmla="*/ 641350 h 2197100"/>
              <a:gd name="connsiteX113" fmla="*/ 1174750 w 7816850"/>
              <a:gd name="connsiteY113" fmla="*/ 622300 h 2197100"/>
              <a:gd name="connsiteX114" fmla="*/ 1225550 w 7816850"/>
              <a:gd name="connsiteY114" fmla="*/ 609600 h 2197100"/>
              <a:gd name="connsiteX115" fmla="*/ 1244600 w 7816850"/>
              <a:gd name="connsiteY115" fmla="*/ 603250 h 2197100"/>
              <a:gd name="connsiteX116" fmla="*/ 1320800 w 7816850"/>
              <a:gd name="connsiteY116" fmla="*/ 603250 h 2197100"/>
              <a:gd name="connsiteX117" fmla="*/ 1358900 w 7816850"/>
              <a:gd name="connsiteY117" fmla="*/ 577850 h 2197100"/>
              <a:gd name="connsiteX118" fmla="*/ 1358900 w 7816850"/>
              <a:gd name="connsiteY118" fmla="*/ 539750 h 2197100"/>
              <a:gd name="connsiteX119" fmla="*/ 1333500 w 7816850"/>
              <a:gd name="connsiteY119" fmla="*/ 533400 h 2197100"/>
              <a:gd name="connsiteX120" fmla="*/ 1358900 w 7816850"/>
              <a:gd name="connsiteY120" fmla="*/ 527050 h 2197100"/>
              <a:gd name="connsiteX121" fmla="*/ 1390650 w 7816850"/>
              <a:gd name="connsiteY121" fmla="*/ 488950 h 2197100"/>
              <a:gd name="connsiteX122" fmla="*/ 1409700 w 7816850"/>
              <a:gd name="connsiteY122" fmla="*/ 482600 h 2197100"/>
              <a:gd name="connsiteX123" fmla="*/ 1447800 w 7816850"/>
              <a:gd name="connsiteY123" fmla="*/ 463550 h 2197100"/>
              <a:gd name="connsiteX124" fmla="*/ 1466850 w 7816850"/>
              <a:gd name="connsiteY124" fmla="*/ 476250 h 2197100"/>
              <a:gd name="connsiteX125" fmla="*/ 1504950 w 7816850"/>
              <a:gd name="connsiteY125" fmla="*/ 495300 h 2197100"/>
              <a:gd name="connsiteX126" fmla="*/ 1498600 w 7816850"/>
              <a:gd name="connsiteY126" fmla="*/ 514350 h 2197100"/>
              <a:gd name="connsiteX127" fmla="*/ 1479550 w 7816850"/>
              <a:gd name="connsiteY127" fmla="*/ 520700 h 2197100"/>
              <a:gd name="connsiteX128" fmla="*/ 1435100 w 7816850"/>
              <a:gd name="connsiteY128" fmla="*/ 533400 h 2197100"/>
              <a:gd name="connsiteX129" fmla="*/ 1422400 w 7816850"/>
              <a:gd name="connsiteY129" fmla="*/ 552450 h 2197100"/>
              <a:gd name="connsiteX130" fmla="*/ 1447800 w 7816850"/>
              <a:gd name="connsiteY130" fmla="*/ 584200 h 2197100"/>
              <a:gd name="connsiteX131" fmla="*/ 1504950 w 7816850"/>
              <a:gd name="connsiteY131" fmla="*/ 539750 h 2197100"/>
              <a:gd name="connsiteX132" fmla="*/ 1504950 w 7816850"/>
              <a:gd name="connsiteY132" fmla="*/ 539750 h 2197100"/>
              <a:gd name="connsiteX133" fmla="*/ 1581150 w 7816850"/>
              <a:gd name="connsiteY133" fmla="*/ 514350 h 2197100"/>
              <a:gd name="connsiteX134" fmla="*/ 1600200 w 7816850"/>
              <a:gd name="connsiteY134" fmla="*/ 508000 h 2197100"/>
              <a:gd name="connsiteX135" fmla="*/ 1619250 w 7816850"/>
              <a:gd name="connsiteY135" fmla="*/ 501650 h 2197100"/>
              <a:gd name="connsiteX136" fmla="*/ 1701800 w 7816850"/>
              <a:gd name="connsiteY136" fmla="*/ 495300 h 2197100"/>
              <a:gd name="connsiteX137" fmla="*/ 1765300 w 7816850"/>
              <a:gd name="connsiteY137" fmla="*/ 476250 h 2197100"/>
              <a:gd name="connsiteX138" fmla="*/ 1784350 w 7816850"/>
              <a:gd name="connsiteY138" fmla="*/ 469900 h 2197100"/>
              <a:gd name="connsiteX139" fmla="*/ 1854200 w 7816850"/>
              <a:gd name="connsiteY139" fmla="*/ 463550 h 2197100"/>
              <a:gd name="connsiteX140" fmla="*/ 1879600 w 7816850"/>
              <a:gd name="connsiteY140" fmla="*/ 488950 h 2197100"/>
              <a:gd name="connsiteX141" fmla="*/ 1905000 w 7816850"/>
              <a:gd name="connsiteY141" fmla="*/ 482600 h 2197100"/>
              <a:gd name="connsiteX142" fmla="*/ 1924050 w 7816850"/>
              <a:gd name="connsiteY142" fmla="*/ 469900 h 2197100"/>
              <a:gd name="connsiteX143" fmla="*/ 2012950 w 7816850"/>
              <a:gd name="connsiteY143" fmla="*/ 463550 h 2197100"/>
              <a:gd name="connsiteX144" fmla="*/ 2038350 w 7816850"/>
              <a:gd name="connsiteY144" fmla="*/ 457200 h 2197100"/>
              <a:gd name="connsiteX145" fmla="*/ 2089150 w 7816850"/>
              <a:gd name="connsiteY145" fmla="*/ 450850 h 2197100"/>
              <a:gd name="connsiteX146" fmla="*/ 2082800 w 7816850"/>
              <a:gd name="connsiteY146" fmla="*/ 482600 h 2197100"/>
              <a:gd name="connsiteX147" fmla="*/ 2120900 w 7816850"/>
              <a:gd name="connsiteY147" fmla="*/ 495300 h 2197100"/>
              <a:gd name="connsiteX148" fmla="*/ 2159000 w 7816850"/>
              <a:gd name="connsiteY148" fmla="*/ 482600 h 2197100"/>
              <a:gd name="connsiteX149" fmla="*/ 2171700 w 7816850"/>
              <a:gd name="connsiteY149" fmla="*/ 419100 h 2197100"/>
              <a:gd name="connsiteX150" fmla="*/ 2165350 w 7816850"/>
              <a:gd name="connsiteY150" fmla="*/ 393700 h 2197100"/>
              <a:gd name="connsiteX151" fmla="*/ 2203450 w 7816850"/>
              <a:gd name="connsiteY151" fmla="*/ 406400 h 2197100"/>
              <a:gd name="connsiteX152" fmla="*/ 2260600 w 7816850"/>
              <a:gd name="connsiteY152" fmla="*/ 412750 h 2197100"/>
              <a:gd name="connsiteX153" fmla="*/ 2292350 w 7816850"/>
              <a:gd name="connsiteY153" fmla="*/ 419100 h 2197100"/>
              <a:gd name="connsiteX154" fmla="*/ 2368550 w 7816850"/>
              <a:gd name="connsiteY154" fmla="*/ 425450 h 2197100"/>
              <a:gd name="connsiteX155" fmla="*/ 2400300 w 7816850"/>
              <a:gd name="connsiteY155" fmla="*/ 450850 h 2197100"/>
              <a:gd name="connsiteX156" fmla="*/ 2457450 w 7816850"/>
              <a:gd name="connsiteY156" fmla="*/ 482600 h 2197100"/>
              <a:gd name="connsiteX157" fmla="*/ 2501900 w 7816850"/>
              <a:gd name="connsiteY157" fmla="*/ 469900 h 2197100"/>
              <a:gd name="connsiteX158" fmla="*/ 2514600 w 7816850"/>
              <a:gd name="connsiteY158" fmla="*/ 450850 h 2197100"/>
              <a:gd name="connsiteX159" fmla="*/ 2508250 w 7816850"/>
              <a:gd name="connsiteY159" fmla="*/ 425450 h 2197100"/>
              <a:gd name="connsiteX160" fmla="*/ 2489200 w 7816850"/>
              <a:gd name="connsiteY160" fmla="*/ 419100 h 2197100"/>
              <a:gd name="connsiteX161" fmla="*/ 2476500 w 7816850"/>
              <a:gd name="connsiteY161" fmla="*/ 400050 h 2197100"/>
              <a:gd name="connsiteX162" fmla="*/ 2514600 w 7816850"/>
              <a:gd name="connsiteY162" fmla="*/ 374650 h 2197100"/>
              <a:gd name="connsiteX163" fmla="*/ 2527300 w 7816850"/>
              <a:gd name="connsiteY163" fmla="*/ 330200 h 2197100"/>
              <a:gd name="connsiteX164" fmla="*/ 2584450 w 7816850"/>
              <a:gd name="connsiteY164" fmla="*/ 304800 h 2197100"/>
              <a:gd name="connsiteX165" fmla="*/ 2603500 w 7816850"/>
              <a:gd name="connsiteY165" fmla="*/ 292100 h 2197100"/>
              <a:gd name="connsiteX166" fmla="*/ 2641600 w 7816850"/>
              <a:gd name="connsiteY166" fmla="*/ 279400 h 2197100"/>
              <a:gd name="connsiteX167" fmla="*/ 2660650 w 7816850"/>
              <a:gd name="connsiteY167" fmla="*/ 266700 h 2197100"/>
              <a:gd name="connsiteX168" fmla="*/ 2698750 w 7816850"/>
              <a:gd name="connsiteY168" fmla="*/ 254000 h 2197100"/>
              <a:gd name="connsiteX169" fmla="*/ 2730500 w 7816850"/>
              <a:gd name="connsiteY169" fmla="*/ 215900 h 2197100"/>
              <a:gd name="connsiteX170" fmla="*/ 2787650 w 7816850"/>
              <a:gd name="connsiteY170" fmla="*/ 222250 h 2197100"/>
              <a:gd name="connsiteX171" fmla="*/ 2819400 w 7816850"/>
              <a:gd name="connsiteY171" fmla="*/ 254000 h 2197100"/>
              <a:gd name="connsiteX172" fmla="*/ 2813050 w 7816850"/>
              <a:gd name="connsiteY172" fmla="*/ 279400 h 2197100"/>
              <a:gd name="connsiteX173" fmla="*/ 2774950 w 7816850"/>
              <a:gd name="connsiteY173" fmla="*/ 285750 h 2197100"/>
              <a:gd name="connsiteX174" fmla="*/ 2768600 w 7816850"/>
              <a:gd name="connsiteY174" fmla="*/ 304800 h 2197100"/>
              <a:gd name="connsiteX175" fmla="*/ 2762250 w 7816850"/>
              <a:gd name="connsiteY175" fmla="*/ 330200 h 2197100"/>
              <a:gd name="connsiteX176" fmla="*/ 2743200 w 7816850"/>
              <a:gd name="connsiteY176" fmla="*/ 342900 h 2197100"/>
              <a:gd name="connsiteX177" fmla="*/ 2724150 w 7816850"/>
              <a:gd name="connsiteY177" fmla="*/ 381000 h 2197100"/>
              <a:gd name="connsiteX178" fmla="*/ 2705100 w 7816850"/>
              <a:gd name="connsiteY178" fmla="*/ 419100 h 2197100"/>
              <a:gd name="connsiteX179" fmla="*/ 2692400 w 7816850"/>
              <a:gd name="connsiteY179" fmla="*/ 463550 h 2197100"/>
              <a:gd name="connsiteX180" fmla="*/ 2654300 w 7816850"/>
              <a:gd name="connsiteY180" fmla="*/ 482600 h 2197100"/>
              <a:gd name="connsiteX181" fmla="*/ 2641600 w 7816850"/>
              <a:gd name="connsiteY181" fmla="*/ 501650 h 2197100"/>
              <a:gd name="connsiteX182" fmla="*/ 2622550 w 7816850"/>
              <a:gd name="connsiteY182" fmla="*/ 514350 h 2197100"/>
              <a:gd name="connsiteX183" fmla="*/ 2552700 w 7816850"/>
              <a:gd name="connsiteY183" fmla="*/ 533400 h 2197100"/>
              <a:gd name="connsiteX184" fmla="*/ 2533650 w 7816850"/>
              <a:gd name="connsiteY184" fmla="*/ 546100 h 2197100"/>
              <a:gd name="connsiteX185" fmla="*/ 2482850 w 7816850"/>
              <a:gd name="connsiteY185" fmla="*/ 558800 h 2197100"/>
              <a:gd name="connsiteX186" fmla="*/ 2476500 w 7816850"/>
              <a:gd name="connsiteY186" fmla="*/ 577850 h 2197100"/>
              <a:gd name="connsiteX187" fmla="*/ 2546350 w 7816850"/>
              <a:gd name="connsiteY187" fmla="*/ 590550 h 2197100"/>
              <a:gd name="connsiteX188" fmla="*/ 2609850 w 7816850"/>
              <a:gd name="connsiteY188" fmla="*/ 571500 h 2197100"/>
              <a:gd name="connsiteX189" fmla="*/ 2647950 w 7816850"/>
              <a:gd name="connsiteY189" fmla="*/ 565150 h 2197100"/>
              <a:gd name="connsiteX190" fmla="*/ 2667000 w 7816850"/>
              <a:gd name="connsiteY190" fmla="*/ 552450 h 2197100"/>
              <a:gd name="connsiteX191" fmla="*/ 2692400 w 7816850"/>
              <a:gd name="connsiteY191" fmla="*/ 514350 h 2197100"/>
              <a:gd name="connsiteX192" fmla="*/ 2711450 w 7816850"/>
              <a:gd name="connsiteY192" fmla="*/ 508000 h 2197100"/>
              <a:gd name="connsiteX193" fmla="*/ 2749550 w 7816850"/>
              <a:gd name="connsiteY193" fmla="*/ 476250 h 2197100"/>
              <a:gd name="connsiteX194" fmla="*/ 2755900 w 7816850"/>
              <a:gd name="connsiteY194" fmla="*/ 450850 h 2197100"/>
              <a:gd name="connsiteX195" fmla="*/ 2819400 w 7816850"/>
              <a:gd name="connsiteY195" fmla="*/ 450850 h 2197100"/>
              <a:gd name="connsiteX196" fmla="*/ 2838450 w 7816850"/>
              <a:gd name="connsiteY196" fmla="*/ 463550 h 2197100"/>
              <a:gd name="connsiteX197" fmla="*/ 2851150 w 7816850"/>
              <a:gd name="connsiteY197" fmla="*/ 501650 h 2197100"/>
              <a:gd name="connsiteX198" fmla="*/ 2844800 w 7816850"/>
              <a:gd name="connsiteY198" fmla="*/ 450850 h 2197100"/>
              <a:gd name="connsiteX199" fmla="*/ 2825750 w 7816850"/>
              <a:gd name="connsiteY199" fmla="*/ 444500 h 2197100"/>
              <a:gd name="connsiteX200" fmla="*/ 2774950 w 7816850"/>
              <a:gd name="connsiteY200" fmla="*/ 438150 h 2197100"/>
              <a:gd name="connsiteX201" fmla="*/ 2781300 w 7816850"/>
              <a:gd name="connsiteY201" fmla="*/ 419100 h 2197100"/>
              <a:gd name="connsiteX202" fmla="*/ 2794000 w 7816850"/>
              <a:gd name="connsiteY202" fmla="*/ 400050 h 2197100"/>
              <a:gd name="connsiteX203" fmla="*/ 2800350 w 7816850"/>
              <a:gd name="connsiteY203" fmla="*/ 361950 h 2197100"/>
              <a:gd name="connsiteX204" fmla="*/ 2806700 w 7816850"/>
              <a:gd name="connsiteY204" fmla="*/ 342900 h 2197100"/>
              <a:gd name="connsiteX205" fmla="*/ 2813050 w 7816850"/>
              <a:gd name="connsiteY205" fmla="*/ 298450 h 2197100"/>
              <a:gd name="connsiteX206" fmla="*/ 2832100 w 7816850"/>
              <a:gd name="connsiteY206" fmla="*/ 285750 h 2197100"/>
              <a:gd name="connsiteX207" fmla="*/ 2901950 w 7816850"/>
              <a:gd name="connsiteY207" fmla="*/ 279400 h 2197100"/>
              <a:gd name="connsiteX208" fmla="*/ 2908300 w 7816850"/>
              <a:gd name="connsiteY208" fmla="*/ 298450 h 2197100"/>
              <a:gd name="connsiteX209" fmla="*/ 2921000 w 7816850"/>
              <a:gd name="connsiteY209" fmla="*/ 323850 h 2197100"/>
              <a:gd name="connsiteX210" fmla="*/ 3016250 w 7816850"/>
              <a:gd name="connsiteY210" fmla="*/ 279400 h 2197100"/>
              <a:gd name="connsiteX211" fmla="*/ 3054350 w 7816850"/>
              <a:gd name="connsiteY211" fmla="*/ 254000 h 2197100"/>
              <a:gd name="connsiteX212" fmla="*/ 3092450 w 7816850"/>
              <a:gd name="connsiteY212" fmla="*/ 260350 h 2197100"/>
              <a:gd name="connsiteX213" fmla="*/ 3117850 w 7816850"/>
              <a:gd name="connsiteY213" fmla="*/ 279400 h 2197100"/>
              <a:gd name="connsiteX214" fmla="*/ 3136900 w 7816850"/>
              <a:gd name="connsiteY214" fmla="*/ 285750 h 2197100"/>
              <a:gd name="connsiteX215" fmla="*/ 3149600 w 7816850"/>
              <a:gd name="connsiteY215" fmla="*/ 304800 h 2197100"/>
              <a:gd name="connsiteX216" fmla="*/ 3181350 w 7816850"/>
              <a:gd name="connsiteY216" fmla="*/ 311150 h 2197100"/>
              <a:gd name="connsiteX217" fmla="*/ 3155950 w 7816850"/>
              <a:gd name="connsiteY217" fmla="*/ 368300 h 2197100"/>
              <a:gd name="connsiteX218" fmla="*/ 3206750 w 7816850"/>
              <a:gd name="connsiteY218" fmla="*/ 368300 h 2197100"/>
              <a:gd name="connsiteX219" fmla="*/ 3219450 w 7816850"/>
              <a:gd name="connsiteY219" fmla="*/ 349250 h 2197100"/>
              <a:gd name="connsiteX220" fmla="*/ 3225800 w 7816850"/>
              <a:gd name="connsiteY220" fmla="*/ 304800 h 2197100"/>
              <a:gd name="connsiteX221" fmla="*/ 3244850 w 7816850"/>
              <a:gd name="connsiteY221" fmla="*/ 298450 h 2197100"/>
              <a:gd name="connsiteX222" fmla="*/ 3251200 w 7816850"/>
              <a:gd name="connsiteY222" fmla="*/ 279400 h 2197100"/>
              <a:gd name="connsiteX223" fmla="*/ 3244850 w 7816850"/>
              <a:gd name="connsiteY223" fmla="*/ 260350 h 2197100"/>
              <a:gd name="connsiteX224" fmla="*/ 3175000 w 7816850"/>
              <a:gd name="connsiteY224" fmla="*/ 241300 h 2197100"/>
              <a:gd name="connsiteX225" fmla="*/ 3181350 w 7816850"/>
              <a:gd name="connsiteY225" fmla="*/ 222250 h 2197100"/>
              <a:gd name="connsiteX226" fmla="*/ 3200400 w 7816850"/>
              <a:gd name="connsiteY226" fmla="*/ 215900 h 2197100"/>
              <a:gd name="connsiteX227" fmla="*/ 3270250 w 7816850"/>
              <a:gd name="connsiteY227" fmla="*/ 203200 h 2197100"/>
              <a:gd name="connsiteX228" fmla="*/ 3327400 w 7816850"/>
              <a:gd name="connsiteY228" fmla="*/ 190500 h 2197100"/>
              <a:gd name="connsiteX229" fmla="*/ 3346450 w 7816850"/>
              <a:gd name="connsiteY229" fmla="*/ 184150 h 2197100"/>
              <a:gd name="connsiteX230" fmla="*/ 3409950 w 7816850"/>
              <a:gd name="connsiteY230" fmla="*/ 177800 h 2197100"/>
              <a:gd name="connsiteX231" fmla="*/ 3441700 w 7816850"/>
              <a:gd name="connsiteY231" fmla="*/ 171450 h 2197100"/>
              <a:gd name="connsiteX232" fmla="*/ 3454400 w 7816850"/>
              <a:gd name="connsiteY232" fmla="*/ 152400 h 2197100"/>
              <a:gd name="connsiteX233" fmla="*/ 3460750 w 7816850"/>
              <a:gd name="connsiteY233" fmla="*/ 133350 h 2197100"/>
              <a:gd name="connsiteX234" fmla="*/ 3479800 w 7816850"/>
              <a:gd name="connsiteY234" fmla="*/ 120650 h 2197100"/>
              <a:gd name="connsiteX235" fmla="*/ 3587750 w 7816850"/>
              <a:gd name="connsiteY235" fmla="*/ 107950 h 2197100"/>
              <a:gd name="connsiteX236" fmla="*/ 3613150 w 7816850"/>
              <a:gd name="connsiteY236" fmla="*/ 95250 h 2197100"/>
              <a:gd name="connsiteX237" fmla="*/ 3670300 w 7816850"/>
              <a:gd name="connsiteY237" fmla="*/ 82550 h 2197100"/>
              <a:gd name="connsiteX238" fmla="*/ 3790950 w 7816850"/>
              <a:gd name="connsiteY238" fmla="*/ 69850 h 2197100"/>
              <a:gd name="connsiteX239" fmla="*/ 3860800 w 7816850"/>
              <a:gd name="connsiteY239" fmla="*/ 63500 h 2197100"/>
              <a:gd name="connsiteX240" fmla="*/ 4108450 w 7816850"/>
              <a:gd name="connsiteY240" fmla="*/ 50800 h 2197100"/>
              <a:gd name="connsiteX241" fmla="*/ 4165600 w 7816850"/>
              <a:gd name="connsiteY241" fmla="*/ 31750 h 2197100"/>
              <a:gd name="connsiteX242" fmla="*/ 4222750 w 7816850"/>
              <a:gd name="connsiteY242" fmla="*/ 12700 h 2197100"/>
              <a:gd name="connsiteX243" fmla="*/ 4241800 w 7816850"/>
              <a:gd name="connsiteY243" fmla="*/ 6350 h 2197100"/>
              <a:gd name="connsiteX244" fmla="*/ 4267200 w 7816850"/>
              <a:gd name="connsiteY244" fmla="*/ 0 h 2197100"/>
              <a:gd name="connsiteX245" fmla="*/ 4349750 w 7816850"/>
              <a:gd name="connsiteY245" fmla="*/ 12700 h 2197100"/>
              <a:gd name="connsiteX246" fmla="*/ 4387850 w 7816850"/>
              <a:gd name="connsiteY246" fmla="*/ 25400 h 2197100"/>
              <a:gd name="connsiteX247" fmla="*/ 4425950 w 7816850"/>
              <a:gd name="connsiteY247" fmla="*/ 38100 h 2197100"/>
              <a:gd name="connsiteX248" fmla="*/ 4445000 w 7816850"/>
              <a:gd name="connsiteY248" fmla="*/ 44450 h 2197100"/>
              <a:gd name="connsiteX249" fmla="*/ 4565650 w 7816850"/>
              <a:gd name="connsiteY249" fmla="*/ 50800 h 2197100"/>
              <a:gd name="connsiteX250" fmla="*/ 4565650 w 7816850"/>
              <a:gd name="connsiteY250" fmla="*/ 114300 h 2197100"/>
              <a:gd name="connsiteX251" fmla="*/ 4527550 w 7816850"/>
              <a:gd name="connsiteY251" fmla="*/ 127000 h 2197100"/>
              <a:gd name="connsiteX252" fmla="*/ 4508500 w 7816850"/>
              <a:gd name="connsiteY252" fmla="*/ 133350 h 2197100"/>
              <a:gd name="connsiteX253" fmla="*/ 4489450 w 7816850"/>
              <a:gd name="connsiteY253" fmla="*/ 139700 h 2197100"/>
              <a:gd name="connsiteX254" fmla="*/ 4451350 w 7816850"/>
              <a:gd name="connsiteY254" fmla="*/ 165100 h 2197100"/>
              <a:gd name="connsiteX255" fmla="*/ 4413250 w 7816850"/>
              <a:gd name="connsiteY255" fmla="*/ 177800 h 2197100"/>
              <a:gd name="connsiteX256" fmla="*/ 4394200 w 7816850"/>
              <a:gd name="connsiteY256" fmla="*/ 184150 h 2197100"/>
              <a:gd name="connsiteX257" fmla="*/ 4368800 w 7816850"/>
              <a:gd name="connsiteY257" fmla="*/ 190500 h 2197100"/>
              <a:gd name="connsiteX258" fmla="*/ 4311650 w 7816850"/>
              <a:gd name="connsiteY258" fmla="*/ 209550 h 2197100"/>
              <a:gd name="connsiteX259" fmla="*/ 4273550 w 7816850"/>
              <a:gd name="connsiteY259" fmla="*/ 222250 h 2197100"/>
              <a:gd name="connsiteX260" fmla="*/ 4254500 w 7816850"/>
              <a:gd name="connsiteY260" fmla="*/ 228600 h 2197100"/>
              <a:gd name="connsiteX261" fmla="*/ 4216400 w 7816850"/>
              <a:gd name="connsiteY261" fmla="*/ 234950 h 2197100"/>
              <a:gd name="connsiteX262" fmla="*/ 4197350 w 7816850"/>
              <a:gd name="connsiteY262" fmla="*/ 241300 h 2197100"/>
              <a:gd name="connsiteX263" fmla="*/ 4260850 w 7816850"/>
              <a:gd name="connsiteY263" fmla="*/ 222250 h 2197100"/>
              <a:gd name="connsiteX264" fmla="*/ 4330700 w 7816850"/>
              <a:gd name="connsiteY264" fmla="*/ 203200 h 2197100"/>
              <a:gd name="connsiteX265" fmla="*/ 4349750 w 7816850"/>
              <a:gd name="connsiteY265" fmla="*/ 196850 h 2197100"/>
              <a:gd name="connsiteX266" fmla="*/ 4368800 w 7816850"/>
              <a:gd name="connsiteY266" fmla="*/ 190500 h 2197100"/>
              <a:gd name="connsiteX267" fmla="*/ 4483100 w 7816850"/>
              <a:gd name="connsiteY267" fmla="*/ 203200 h 2197100"/>
              <a:gd name="connsiteX268" fmla="*/ 4533900 w 7816850"/>
              <a:gd name="connsiteY268" fmla="*/ 196850 h 2197100"/>
              <a:gd name="connsiteX269" fmla="*/ 4572000 w 7816850"/>
              <a:gd name="connsiteY269" fmla="*/ 184150 h 2197100"/>
              <a:gd name="connsiteX270" fmla="*/ 4591050 w 7816850"/>
              <a:gd name="connsiteY270" fmla="*/ 177800 h 2197100"/>
              <a:gd name="connsiteX271" fmla="*/ 4737100 w 7816850"/>
              <a:gd name="connsiteY271" fmla="*/ 184150 h 2197100"/>
              <a:gd name="connsiteX272" fmla="*/ 4749800 w 7816850"/>
              <a:gd name="connsiteY272" fmla="*/ 222250 h 2197100"/>
              <a:gd name="connsiteX273" fmla="*/ 4768850 w 7816850"/>
              <a:gd name="connsiteY273" fmla="*/ 228600 h 2197100"/>
              <a:gd name="connsiteX274" fmla="*/ 4914900 w 7816850"/>
              <a:gd name="connsiteY274" fmla="*/ 222250 h 2197100"/>
              <a:gd name="connsiteX275" fmla="*/ 4921250 w 7816850"/>
              <a:gd name="connsiteY275" fmla="*/ 190500 h 2197100"/>
              <a:gd name="connsiteX276" fmla="*/ 4997450 w 7816850"/>
              <a:gd name="connsiteY276" fmla="*/ 196850 h 2197100"/>
              <a:gd name="connsiteX277" fmla="*/ 5041900 w 7816850"/>
              <a:gd name="connsiteY277" fmla="*/ 209550 h 2197100"/>
              <a:gd name="connsiteX278" fmla="*/ 5099050 w 7816850"/>
              <a:gd name="connsiteY278" fmla="*/ 203200 h 2197100"/>
              <a:gd name="connsiteX279" fmla="*/ 5175250 w 7816850"/>
              <a:gd name="connsiteY279" fmla="*/ 260350 h 2197100"/>
              <a:gd name="connsiteX280" fmla="*/ 5168900 w 7816850"/>
              <a:gd name="connsiteY280" fmla="*/ 279400 h 2197100"/>
              <a:gd name="connsiteX281" fmla="*/ 5194300 w 7816850"/>
              <a:gd name="connsiteY281" fmla="*/ 330200 h 2197100"/>
              <a:gd name="connsiteX282" fmla="*/ 5232400 w 7816850"/>
              <a:gd name="connsiteY282" fmla="*/ 342900 h 2197100"/>
              <a:gd name="connsiteX283" fmla="*/ 5251450 w 7816850"/>
              <a:gd name="connsiteY283" fmla="*/ 349250 h 2197100"/>
              <a:gd name="connsiteX284" fmla="*/ 5270500 w 7816850"/>
              <a:gd name="connsiteY284" fmla="*/ 342900 h 2197100"/>
              <a:gd name="connsiteX285" fmla="*/ 5283200 w 7816850"/>
              <a:gd name="connsiteY285" fmla="*/ 304800 h 2197100"/>
              <a:gd name="connsiteX286" fmla="*/ 5314950 w 7816850"/>
              <a:gd name="connsiteY286" fmla="*/ 298450 h 2197100"/>
              <a:gd name="connsiteX287" fmla="*/ 5530850 w 7816850"/>
              <a:gd name="connsiteY287" fmla="*/ 311150 h 2197100"/>
              <a:gd name="connsiteX288" fmla="*/ 5613400 w 7816850"/>
              <a:gd name="connsiteY288" fmla="*/ 304800 h 2197100"/>
              <a:gd name="connsiteX289" fmla="*/ 5619750 w 7816850"/>
              <a:gd name="connsiteY289" fmla="*/ 285750 h 2197100"/>
              <a:gd name="connsiteX290" fmla="*/ 5613400 w 7816850"/>
              <a:gd name="connsiteY290" fmla="*/ 266700 h 2197100"/>
              <a:gd name="connsiteX291" fmla="*/ 5651500 w 7816850"/>
              <a:gd name="connsiteY291" fmla="*/ 247650 h 2197100"/>
              <a:gd name="connsiteX292" fmla="*/ 6032500 w 7816850"/>
              <a:gd name="connsiteY292" fmla="*/ 254000 h 2197100"/>
              <a:gd name="connsiteX293" fmla="*/ 6038850 w 7816850"/>
              <a:gd name="connsiteY293" fmla="*/ 273050 h 2197100"/>
              <a:gd name="connsiteX294" fmla="*/ 6019800 w 7816850"/>
              <a:gd name="connsiteY294" fmla="*/ 292100 h 2197100"/>
              <a:gd name="connsiteX295" fmla="*/ 6102350 w 7816850"/>
              <a:gd name="connsiteY295" fmla="*/ 304800 h 2197100"/>
              <a:gd name="connsiteX296" fmla="*/ 6159500 w 7816850"/>
              <a:gd name="connsiteY296" fmla="*/ 336550 h 2197100"/>
              <a:gd name="connsiteX297" fmla="*/ 6235700 w 7816850"/>
              <a:gd name="connsiteY297" fmla="*/ 330200 h 2197100"/>
              <a:gd name="connsiteX298" fmla="*/ 6286500 w 7816850"/>
              <a:gd name="connsiteY298" fmla="*/ 323850 h 2197100"/>
              <a:gd name="connsiteX299" fmla="*/ 6419850 w 7816850"/>
              <a:gd name="connsiteY299" fmla="*/ 330200 h 2197100"/>
              <a:gd name="connsiteX300" fmla="*/ 6445250 w 7816850"/>
              <a:gd name="connsiteY300" fmla="*/ 374650 h 2197100"/>
              <a:gd name="connsiteX301" fmla="*/ 6483350 w 7816850"/>
              <a:gd name="connsiteY301" fmla="*/ 400050 h 2197100"/>
              <a:gd name="connsiteX302" fmla="*/ 6794500 w 7816850"/>
              <a:gd name="connsiteY302" fmla="*/ 393700 h 2197100"/>
              <a:gd name="connsiteX303" fmla="*/ 6813550 w 7816850"/>
              <a:gd name="connsiteY303" fmla="*/ 387350 h 2197100"/>
              <a:gd name="connsiteX304" fmla="*/ 6819900 w 7816850"/>
              <a:gd name="connsiteY304" fmla="*/ 406400 h 2197100"/>
              <a:gd name="connsiteX305" fmla="*/ 6832600 w 7816850"/>
              <a:gd name="connsiteY305" fmla="*/ 425450 h 2197100"/>
              <a:gd name="connsiteX306" fmla="*/ 6889750 w 7816850"/>
              <a:gd name="connsiteY306" fmla="*/ 457200 h 2197100"/>
              <a:gd name="connsiteX307" fmla="*/ 6915150 w 7816850"/>
              <a:gd name="connsiteY307" fmla="*/ 463550 h 2197100"/>
              <a:gd name="connsiteX308" fmla="*/ 6927850 w 7816850"/>
              <a:gd name="connsiteY308" fmla="*/ 444500 h 2197100"/>
              <a:gd name="connsiteX309" fmla="*/ 6921500 w 7816850"/>
              <a:gd name="connsiteY309" fmla="*/ 425450 h 2197100"/>
              <a:gd name="connsiteX310" fmla="*/ 6940550 w 7816850"/>
              <a:gd name="connsiteY310" fmla="*/ 412750 h 2197100"/>
              <a:gd name="connsiteX311" fmla="*/ 6997700 w 7816850"/>
              <a:gd name="connsiteY311" fmla="*/ 406400 h 2197100"/>
              <a:gd name="connsiteX312" fmla="*/ 7016750 w 7816850"/>
              <a:gd name="connsiteY312" fmla="*/ 393700 h 2197100"/>
              <a:gd name="connsiteX313" fmla="*/ 7131050 w 7816850"/>
              <a:gd name="connsiteY313" fmla="*/ 381000 h 2197100"/>
              <a:gd name="connsiteX314" fmla="*/ 7181850 w 7816850"/>
              <a:gd name="connsiteY314" fmla="*/ 387350 h 2197100"/>
              <a:gd name="connsiteX315" fmla="*/ 7239000 w 7816850"/>
              <a:gd name="connsiteY315" fmla="*/ 393700 h 2197100"/>
              <a:gd name="connsiteX316" fmla="*/ 7277100 w 7816850"/>
              <a:gd name="connsiteY316" fmla="*/ 400050 h 2197100"/>
              <a:gd name="connsiteX317" fmla="*/ 7315200 w 7816850"/>
              <a:gd name="connsiteY317" fmla="*/ 412750 h 2197100"/>
              <a:gd name="connsiteX318" fmla="*/ 7334250 w 7816850"/>
              <a:gd name="connsiteY318" fmla="*/ 431800 h 2197100"/>
              <a:gd name="connsiteX319" fmla="*/ 7353300 w 7816850"/>
              <a:gd name="connsiteY319" fmla="*/ 438150 h 2197100"/>
              <a:gd name="connsiteX320" fmla="*/ 7410450 w 7816850"/>
              <a:gd name="connsiteY320" fmla="*/ 450850 h 2197100"/>
              <a:gd name="connsiteX321" fmla="*/ 7448550 w 7816850"/>
              <a:gd name="connsiteY321" fmla="*/ 463550 h 2197100"/>
              <a:gd name="connsiteX322" fmla="*/ 7473950 w 7816850"/>
              <a:gd name="connsiteY322" fmla="*/ 469900 h 2197100"/>
              <a:gd name="connsiteX323" fmla="*/ 7512050 w 7816850"/>
              <a:gd name="connsiteY323" fmla="*/ 482600 h 2197100"/>
              <a:gd name="connsiteX324" fmla="*/ 7569200 w 7816850"/>
              <a:gd name="connsiteY324" fmla="*/ 527050 h 2197100"/>
              <a:gd name="connsiteX325" fmla="*/ 7588250 w 7816850"/>
              <a:gd name="connsiteY325" fmla="*/ 539750 h 2197100"/>
              <a:gd name="connsiteX326" fmla="*/ 7613650 w 7816850"/>
              <a:gd name="connsiteY326" fmla="*/ 552450 h 2197100"/>
              <a:gd name="connsiteX327" fmla="*/ 7651750 w 7816850"/>
              <a:gd name="connsiteY327" fmla="*/ 565150 h 2197100"/>
              <a:gd name="connsiteX328" fmla="*/ 7791450 w 7816850"/>
              <a:gd name="connsiteY328" fmla="*/ 590550 h 2197100"/>
              <a:gd name="connsiteX329" fmla="*/ 7816850 w 7816850"/>
              <a:gd name="connsiteY329" fmla="*/ 628650 h 2197100"/>
              <a:gd name="connsiteX330" fmla="*/ 7797800 w 7816850"/>
              <a:gd name="connsiteY330" fmla="*/ 647700 h 2197100"/>
              <a:gd name="connsiteX331" fmla="*/ 7778750 w 7816850"/>
              <a:gd name="connsiteY331" fmla="*/ 654050 h 2197100"/>
              <a:gd name="connsiteX332" fmla="*/ 7759700 w 7816850"/>
              <a:gd name="connsiteY332" fmla="*/ 666750 h 2197100"/>
              <a:gd name="connsiteX333" fmla="*/ 7727950 w 7816850"/>
              <a:gd name="connsiteY333" fmla="*/ 704850 h 2197100"/>
              <a:gd name="connsiteX334" fmla="*/ 7708900 w 7816850"/>
              <a:gd name="connsiteY334" fmla="*/ 711200 h 2197100"/>
              <a:gd name="connsiteX335" fmla="*/ 7594600 w 7816850"/>
              <a:gd name="connsiteY335" fmla="*/ 704850 h 2197100"/>
              <a:gd name="connsiteX336" fmla="*/ 7575550 w 7816850"/>
              <a:gd name="connsiteY336" fmla="*/ 698500 h 2197100"/>
              <a:gd name="connsiteX337" fmla="*/ 7550150 w 7816850"/>
              <a:gd name="connsiteY337" fmla="*/ 660400 h 2197100"/>
              <a:gd name="connsiteX338" fmla="*/ 7467600 w 7816850"/>
              <a:gd name="connsiteY338" fmla="*/ 654050 h 2197100"/>
              <a:gd name="connsiteX339" fmla="*/ 7448550 w 7816850"/>
              <a:gd name="connsiteY339" fmla="*/ 615950 h 2197100"/>
              <a:gd name="connsiteX340" fmla="*/ 7429500 w 7816850"/>
              <a:gd name="connsiteY340" fmla="*/ 609600 h 2197100"/>
              <a:gd name="connsiteX341" fmla="*/ 7385050 w 7816850"/>
              <a:gd name="connsiteY341" fmla="*/ 673100 h 2197100"/>
              <a:gd name="connsiteX342" fmla="*/ 7366000 w 7816850"/>
              <a:gd name="connsiteY342" fmla="*/ 685800 h 2197100"/>
              <a:gd name="connsiteX343" fmla="*/ 7308850 w 7816850"/>
              <a:gd name="connsiteY343" fmla="*/ 692150 h 2197100"/>
              <a:gd name="connsiteX344" fmla="*/ 7321550 w 7816850"/>
              <a:gd name="connsiteY344" fmla="*/ 711200 h 2197100"/>
              <a:gd name="connsiteX345" fmla="*/ 7327900 w 7816850"/>
              <a:gd name="connsiteY345" fmla="*/ 730250 h 2197100"/>
              <a:gd name="connsiteX346" fmla="*/ 7346950 w 7816850"/>
              <a:gd name="connsiteY346" fmla="*/ 736600 h 2197100"/>
              <a:gd name="connsiteX347" fmla="*/ 7366000 w 7816850"/>
              <a:gd name="connsiteY347" fmla="*/ 774700 h 2197100"/>
              <a:gd name="connsiteX348" fmla="*/ 7372350 w 7816850"/>
              <a:gd name="connsiteY348" fmla="*/ 793750 h 2197100"/>
              <a:gd name="connsiteX349" fmla="*/ 7366000 w 7816850"/>
              <a:gd name="connsiteY349" fmla="*/ 838200 h 2197100"/>
              <a:gd name="connsiteX350" fmla="*/ 7289800 w 7816850"/>
              <a:gd name="connsiteY350" fmla="*/ 844550 h 2197100"/>
              <a:gd name="connsiteX351" fmla="*/ 7270750 w 7816850"/>
              <a:gd name="connsiteY351" fmla="*/ 850900 h 2197100"/>
              <a:gd name="connsiteX352" fmla="*/ 7239000 w 7816850"/>
              <a:gd name="connsiteY352" fmla="*/ 857250 h 2197100"/>
              <a:gd name="connsiteX353" fmla="*/ 7219950 w 7816850"/>
              <a:gd name="connsiteY353" fmla="*/ 869950 h 2197100"/>
              <a:gd name="connsiteX354" fmla="*/ 7194550 w 7816850"/>
              <a:gd name="connsiteY354" fmla="*/ 876300 h 2197100"/>
              <a:gd name="connsiteX355" fmla="*/ 7137400 w 7816850"/>
              <a:gd name="connsiteY355" fmla="*/ 895350 h 2197100"/>
              <a:gd name="connsiteX356" fmla="*/ 7118350 w 7816850"/>
              <a:gd name="connsiteY356" fmla="*/ 901700 h 2197100"/>
              <a:gd name="connsiteX357" fmla="*/ 7099300 w 7816850"/>
              <a:gd name="connsiteY357" fmla="*/ 908050 h 2197100"/>
              <a:gd name="connsiteX358" fmla="*/ 7042150 w 7816850"/>
              <a:gd name="connsiteY358" fmla="*/ 946150 h 2197100"/>
              <a:gd name="connsiteX359" fmla="*/ 7023100 w 7816850"/>
              <a:gd name="connsiteY359" fmla="*/ 958850 h 2197100"/>
              <a:gd name="connsiteX360" fmla="*/ 7004050 w 7816850"/>
              <a:gd name="connsiteY360" fmla="*/ 971550 h 2197100"/>
              <a:gd name="connsiteX361" fmla="*/ 6985000 w 7816850"/>
              <a:gd name="connsiteY361" fmla="*/ 977900 h 2197100"/>
              <a:gd name="connsiteX362" fmla="*/ 6838950 w 7816850"/>
              <a:gd name="connsiteY362" fmla="*/ 977900 h 2197100"/>
              <a:gd name="connsiteX363" fmla="*/ 6819900 w 7816850"/>
              <a:gd name="connsiteY363" fmla="*/ 984250 h 2197100"/>
              <a:gd name="connsiteX364" fmla="*/ 6800850 w 7816850"/>
              <a:gd name="connsiteY364" fmla="*/ 977900 h 2197100"/>
              <a:gd name="connsiteX365" fmla="*/ 6788150 w 7816850"/>
              <a:gd name="connsiteY365" fmla="*/ 958850 h 2197100"/>
              <a:gd name="connsiteX366" fmla="*/ 6756400 w 7816850"/>
              <a:gd name="connsiteY366" fmla="*/ 965200 h 2197100"/>
              <a:gd name="connsiteX367" fmla="*/ 6750050 w 7816850"/>
              <a:gd name="connsiteY367" fmla="*/ 984250 h 2197100"/>
              <a:gd name="connsiteX368" fmla="*/ 6731000 w 7816850"/>
              <a:gd name="connsiteY368" fmla="*/ 990600 h 2197100"/>
              <a:gd name="connsiteX369" fmla="*/ 6686550 w 7816850"/>
              <a:gd name="connsiteY369" fmla="*/ 996950 h 2197100"/>
              <a:gd name="connsiteX370" fmla="*/ 6648450 w 7816850"/>
              <a:gd name="connsiteY370" fmla="*/ 1022350 h 2197100"/>
              <a:gd name="connsiteX371" fmla="*/ 6642100 w 7816850"/>
              <a:gd name="connsiteY371" fmla="*/ 1047750 h 2197100"/>
              <a:gd name="connsiteX372" fmla="*/ 6623050 w 7816850"/>
              <a:gd name="connsiteY372" fmla="*/ 1085850 h 2197100"/>
              <a:gd name="connsiteX373" fmla="*/ 6629400 w 7816850"/>
              <a:gd name="connsiteY373" fmla="*/ 1104900 h 2197100"/>
              <a:gd name="connsiteX374" fmla="*/ 6661150 w 7816850"/>
              <a:gd name="connsiteY374" fmla="*/ 1130300 h 2197100"/>
              <a:gd name="connsiteX375" fmla="*/ 6667500 w 7816850"/>
              <a:gd name="connsiteY375" fmla="*/ 1174750 h 2197100"/>
              <a:gd name="connsiteX376" fmla="*/ 6673850 w 7816850"/>
              <a:gd name="connsiteY376" fmla="*/ 1238250 h 2197100"/>
              <a:gd name="connsiteX377" fmla="*/ 6635750 w 7816850"/>
              <a:gd name="connsiteY377" fmla="*/ 1244600 h 2197100"/>
              <a:gd name="connsiteX378" fmla="*/ 6629400 w 7816850"/>
              <a:gd name="connsiteY378" fmla="*/ 1301750 h 2197100"/>
              <a:gd name="connsiteX379" fmla="*/ 6591300 w 7816850"/>
              <a:gd name="connsiteY379" fmla="*/ 1314450 h 2197100"/>
              <a:gd name="connsiteX380" fmla="*/ 6572250 w 7816850"/>
              <a:gd name="connsiteY380" fmla="*/ 1320800 h 2197100"/>
              <a:gd name="connsiteX381" fmla="*/ 6546850 w 7816850"/>
              <a:gd name="connsiteY381" fmla="*/ 1358900 h 2197100"/>
              <a:gd name="connsiteX382" fmla="*/ 6534150 w 7816850"/>
              <a:gd name="connsiteY382" fmla="*/ 1397000 h 2197100"/>
              <a:gd name="connsiteX383" fmla="*/ 6483350 w 7816850"/>
              <a:gd name="connsiteY383" fmla="*/ 1403350 h 2197100"/>
              <a:gd name="connsiteX384" fmla="*/ 6464300 w 7816850"/>
              <a:gd name="connsiteY384" fmla="*/ 1441450 h 2197100"/>
              <a:gd name="connsiteX385" fmla="*/ 6457950 w 7816850"/>
              <a:gd name="connsiteY385" fmla="*/ 1460500 h 2197100"/>
              <a:gd name="connsiteX386" fmla="*/ 6438900 w 7816850"/>
              <a:gd name="connsiteY386" fmla="*/ 1473200 h 2197100"/>
              <a:gd name="connsiteX387" fmla="*/ 6426200 w 7816850"/>
              <a:gd name="connsiteY387" fmla="*/ 1492250 h 2197100"/>
              <a:gd name="connsiteX388" fmla="*/ 6388100 w 7816850"/>
              <a:gd name="connsiteY388" fmla="*/ 1511300 h 2197100"/>
              <a:gd name="connsiteX389" fmla="*/ 6343650 w 7816850"/>
              <a:gd name="connsiteY389" fmla="*/ 1530350 h 2197100"/>
              <a:gd name="connsiteX390" fmla="*/ 6356350 w 7816850"/>
              <a:gd name="connsiteY390" fmla="*/ 1511300 h 2197100"/>
              <a:gd name="connsiteX391" fmla="*/ 6343650 w 7816850"/>
              <a:gd name="connsiteY391" fmla="*/ 1422400 h 2197100"/>
              <a:gd name="connsiteX392" fmla="*/ 6337300 w 7816850"/>
              <a:gd name="connsiteY392" fmla="*/ 1403350 h 2197100"/>
              <a:gd name="connsiteX393" fmla="*/ 6330950 w 7816850"/>
              <a:gd name="connsiteY393" fmla="*/ 1377950 h 2197100"/>
              <a:gd name="connsiteX394" fmla="*/ 6318250 w 7816850"/>
              <a:gd name="connsiteY394" fmla="*/ 1339850 h 2197100"/>
              <a:gd name="connsiteX395" fmla="*/ 6311900 w 7816850"/>
              <a:gd name="connsiteY395" fmla="*/ 1320800 h 2197100"/>
              <a:gd name="connsiteX396" fmla="*/ 6318250 w 7816850"/>
              <a:gd name="connsiteY396" fmla="*/ 1193800 h 2197100"/>
              <a:gd name="connsiteX397" fmla="*/ 6337300 w 7816850"/>
              <a:gd name="connsiteY397" fmla="*/ 1187450 h 2197100"/>
              <a:gd name="connsiteX398" fmla="*/ 6350000 w 7816850"/>
              <a:gd name="connsiteY398" fmla="*/ 1149350 h 2197100"/>
              <a:gd name="connsiteX399" fmla="*/ 6356350 w 7816850"/>
              <a:gd name="connsiteY399" fmla="*/ 1130300 h 2197100"/>
              <a:gd name="connsiteX400" fmla="*/ 6407150 w 7816850"/>
              <a:gd name="connsiteY400" fmla="*/ 1111250 h 2197100"/>
              <a:gd name="connsiteX401" fmla="*/ 6445250 w 7816850"/>
              <a:gd name="connsiteY401" fmla="*/ 1098550 h 2197100"/>
              <a:gd name="connsiteX402" fmla="*/ 6470650 w 7816850"/>
              <a:gd name="connsiteY402" fmla="*/ 1060450 h 2197100"/>
              <a:gd name="connsiteX403" fmla="*/ 6477000 w 7816850"/>
              <a:gd name="connsiteY403" fmla="*/ 1041400 h 2197100"/>
              <a:gd name="connsiteX404" fmla="*/ 6496050 w 7816850"/>
              <a:gd name="connsiteY404" fmla="*/ 1035050 h 2197100"/>
              <a:gd name="connsiteX405" fmla="*/ 6515100 w 7816850"/>
              <a:gd name="connsiteY405" fmla="*/ 1016000 h 2197100"/>
              <a:gd name="connsiteX406" fmla="*/ 6553200 w 7816850"/>
              <a:gd name="connsiteY406" fmla="*/ 1003300 h 2197100"/>
              <a:gd name="connsiteX407" fmla="*/ 6572250 w 7816850"/>
              <a:gd name="connsiteY407" fmla="*/ 996950 h 2197100"/>
              <a:gd name="connsiteX408" fmla="*/ 6610350 w 7816850"/>
              <a:gd name="connsiteY408" fmla="*/ 971550 h 2197100"/>
              <a:gd name="connsiteX409" fmla="*/ 6642100 w 7816850"/>
              <a:gd name="connsiteY409" fmla="*/ 946150 h 2197100"/>
              <a:gd name="connsiteX410" fmla="*/ 6692900 w 7816850"/>
              <a:gd name="connsiteY410" fmla="*/ 889000 h 2197100"/>
              <a:gd name="connsiteX411" fmla="*/ 6699250 w 7816850"/>
              <a:gd name="connsiteY411" fmla="*/ 869950 h 2197100"/>
              <a:gd name="connsiteX412" fmla="*/ 6673850 w 7816850"/>
              <a:gd name="connsiteY412" fmla="*/ 825500 h 2197100"/>
              <a:gd name="connsiteX413" fmla="*/ 6654800 w 7816850"/>
              <a:gd name="connsiteY413" fmla="*/ 831850 h 2197100"/>
              <a:gd name="connsiteX414" fmla="*/ 6648450 w 7816850"/>
              <a:gd name="connsiteY414" fmla="*/ 850900 h 2197100"/>
              <a:gd name="connsiteX415" fmla="*/ 6642100 w 7816850"/>
              <a:gd name="connsiteY415" fmla="*/ 876300 h 2197100"/>
              <a:gd name="connsiteX416" fmla="*/ 6584950 w 7816850"/>
              <a:gd name="connsiteY416" fmla="*/ 908050 h 2197100"/>
              <a:gd name="connsiteX417" fmla="*/ 6559550 w 7816850"/>
              <a:gd name="connsiteY417" fmla="*/ 914400 h 2197100"/>
              <a:gd name="connsiteX418" fmla="*/ 6521450 w 7816850"/>
              <a:gd name="connsiteY418" fmla="*/ 927100 h 2197100"/>
              <a:gd name="connsiteX419" fmla="*/ 6515100 w 7816850"/>
              <a:gd name="connsiteY419" fmla="*/ 908050 h 2197100"/>
              <a:gd name="connsiteX420" fmla="*/ 6508750 w 7816850"/>
              <a:gd name="connsiteY420" fmla="*/ 876300 h 2197100"/>
              <a:gd name="connsiteX421" fmla="*/ 6470650 w 7816850"/>
              <a:gd name="connsiteY421" fmla="*/ 857250 h 2197100"/>
              <a:gd name="connsiteX422" fmla="*/ 6413500 w 7816850"/>
              <a:gd name="connsiteY422" fmla="*/ 863600 h 2197100"/>
              <a:gd name="connsiteX423" fmla="*/ 6375400 w 7816850"/>
              <a:gd name="connsiteY423" fmla="*/ 876300 h 2197100"/>
              <a:gd name="connsiteX424" fmla="*/ 6318250 w 7816850"/>
              <a:gd name="connsiteY424" fmla="*/ 908050 h 2197100"/>
              <a:gd name="connsiteX425" fmla="*/ 6280150 w 7816850"/>
              <a:gd name="connsiteY425" fmla="*/ 927100 h 2197100"/>
              <a:gd name="connsiteX426" fmla="*/ 6261100 w 7816850"/>
              <a:gd name="connsiteY426" fmla="*/ 946150 h 2197100"/>
              <a:gd name="connsiteX427" fmla="*/ 6254750 w 7816850"/>
              <a:gd name="connsiteY427" fmla="*/ 965200 h 2197100"/>
              <a:gd name="connsiteX428" fmla="*/ 6235700 w 7816850"/>
              <a:gd name="connsiteY428" fmla="*/ 977900 h 2197100"/>
              <a:gd name="connsiteX429" fmla="*/ 6242050 w 7816850"/>
              <a:gd name="connsiteY429" fmla="*/ 1009650 h 2197100"/>
              <a:gd name="connsiteX430" fmla="*/ 6248400 w 7816850"/>
              <a:gd name="connsiteY430" fmla="*/ 1028700 h 2197100"/>
              <a:gd name="connsiteX431" fmla="*/ 6210300 w 7816850"/>
              <a:gd name="connsiteY431" fmla="*/ 1041400 h 2197100"/>
              <a:gd name="connsiteX432" fmla="*/ 6102350 w 7816850"/>
              <a:gd name="connsiteY432" fmla="*/ 1028700 h 2197100"/>
              <a:gd name="connsiteX433" fmla="*/ 6064250 w 7816850"/>
              <a:gd name="connsiteY433" fmla="*/ 1016000 h 2197100"/>
              <a:gd name="connsiteX434" fmla="*/ 6045200 w 7816850"/>
              <a:gd name="connsiteY434" fmla="*/ 1009650 h 2197100"/>
              <a:gd name="connsiteX435" fmla="*/ 5994400 w 7816850"/>
              <a:gd name="connsiteY435" fmla="*/ 1016000 h 2197100"/>
              <a:gd name="connsiteX436" fmla="*/ 5975350 w 7816850"/>
              <a:gd name="connsiteY436" fmla="*/ 1022350 h 2197100"/>
              <a:gd name="connsiteX437" fmla="*/ 5822950 w 7816850"/>
              <a:gd name="connsiteY437" fmla="*/ 1028700 h 2197100"/>
              <a:gd name="connsiteX438" fmla="*/ 5721350 w 7816850"/>
              <a:gd name="connsiteY438" fmla="*/ 1035050 h 2197100"/>
              <a:gd name="connsiteX439" fmla="*/ 5683250 w 7816850"/>
              <a:gd name="connsiteY439" fmla="*/ 1047750 h 2197100"/>
              <a:gd name="connsiteX440" fmla="*/ 5664200 w 7816850"/>
              <a:gd name="connsiteY440" fmla="*/ 1054100 h 2197100"/>
              <a:gd name="connsiteX441" fmla="*/ 5594350 w 7816850"/>
              <a:gd name="connsiteY441" fmla="*/ 1073150 h 2197100"/>
              <a:gd name="connsiteX442" fmla="*/ 5568950 w 7816850"/>
              <a:gd name="connsiteY442" fmla="*/ 1098550 h 2197100"/>
              <a:gd name="connsiteX443" fmla="*/ 5556250 w 7816850"/>
              <a:gd name="connsiteY443" fmla="*/ 1117600 h 2197100"/>
              <a:gd name="connsiteX444" fmla="*/ 5537200 w 7816850"/>
              <a:gd name="connsiteY444" fmla="*/ 1136650 h 2197100"/>
              <a:gd name="connsiteX445" fmla="*/ 5505450 w 7816850"/>
              <a:gd name="connsiteY445" fmla="*/ 1168400 h 2197100"/>
              <a:gd name="connsiteX446" fmla="*/ 5473700 w 7816850"/>
              <a:gd name="connsiteY446" fmla="*/ 1193800 h 2197100"/>
              <a:gd name="connsiteX447" fmla="*/ 5454650 w 7816850"/>
              <a:gd name="connsiteY447" fmla="*/ 1206500 h 2197100"/>
              <a:gd name="connsiteX448" fmla="*/ 5372100 w 7816850"/>
              <a:gd name="connsiteY448" fmla="*/ 1225550 h 2197100"/>
              <a:gd name="connsiteX449" fmla="*/ 5346700 w 7816850"/>
              <a:gd name="connsiteY449" fmla="*/ 1257300 h 2197100"/>
              <a:gd name="connsiteX450" fmla="*/ 5327650 w 7816850"/>
              <a:gd name="connsiteY450" fmla="*/ 1270000 h 2197100"/>
              <a:gd name="connsiteX451" fmla="*/ 5321300 w 7816850"/>
              <a:gd name="connsiteY451" fmla="*/ 1289050 h 2197100"/>
              <a:gd name="connsiteX452" fmla="*/ 5340350 w 7816850"/>
              <a:gd name="connsiteY452" fmla="*/ 1346200 h 2197100"/>
              <a:gd name="connsiteX453" fmla="*/ 5346700 w 7816850"/>
              <a:gd name="connsiteY453" fmla="*/ 1390650 h 2197100"/>
              <a:gd name="connsiteX454" fmla="*/ 5372100 w 7816850"/>
              <a:gd name="connsiteY454" fmla="*/ 1384300 h 2197100"/>
              <a:gd name="connsiteX455" fmla="*/ 5410200 w 7816850"/>
              <a:gd name="connsiteY455" fmla="*/ 1358900 h 2197100"/>
              <a:gd name="connsiteX456" fmla="*/ 5461000 w 7816850"/>
              <a:gd name="connsiteY456" fmla="*/ 1352550 h 2197100"/>
              <a:gd name="connsiteX457" fmla="*/ 5480050 w 7816850"/>
              <a:gd name="connsiteY457" fmla="*/ 1346200 h 2197100"/>
              <a:gd name="connsiteX458" fmla="*/ 5499100 w 7816850"/>
              <a:gd name="connsiteY458" fmla="*/ 1333500 h 2197100"/>
              <a:gd name="connsiteX459" fmla="*/ 5518150 w 7816850"/>
              <a:gd name="connsiteY459" fmla="*/ 1346200 h 2197100"/>
              <a:gd name="connsiteX460" fmla="*/ 5524500 w 7816850"/>
              <a:gd name="connsiteY460" fmla="*/ 1365250 h 2197100"/>
              <a:gd name="connsiteX461" fmla="*/ 5556250 w 7816850"/>
              <a:gd name="connsiteY461" fmla="*/ 1403350 h 2197100"/>
              <a:gd name="connsiteX462" fmla="*/ 5568950 w 7816850"/>
              <a:gd name="connsiteY462" fmla="*/ 1422400 h 2197100"/>
              <a:gd name="connsiteX463" fmla="*/ 5562600 w 7816850"/>
              <a:gd name="connsiteY463" fmla="*/ 1543050 h 2197100"/>
              <a:gd name="connsiteX464" fmla="*/ 5543550 w 7816850"/>
              <a:gd name="connsiteY464" fmla="*/ 1581150 h 2197100"/>
              <a:gd name="connsiteX465" fmla="*/ 5530850 w 7816850"/>
              <a:gd name="connsiteY465" fmla="*/ 1619250 h 2197100"/>
              <a:gd name="connsiteX466" fmla="*/ 5524500 w 7816850"/>
              <a:gd name="connsiteY466" fmla="*/ 1663700 h 2197100"/>
              <a:gd name="connsiteX467" fmla="*/ 5511800 w 7816850"/>
              <a:gd name="connsiteY467" fmla="*/ 1701800 h 2197100"/>
              <a:gd name="connsiteX468" fmla="*/ 5505450 w 7816850"/>
              <a:gd name="connsiteY468" fmla="*/ 1720850 h 2197100"/>
              <a:gd name="connsiteX469" fmla="*/ 5499100 w 7816850"/>
              <a:gd name="connsiteY469" fmla="*/ 1739900 h 2197100"/>
              <a:gd name="connsiteX470" fmla="*/ 5492750 w 7816850"/>
              <a:gd name="connsiteY470" fmla="*/ 1758950 h 2197100"/>
              <a:gd name="connsiteX471" fmla="*/ 5467350 w 7816850"/>
              <a:gd name="connsiteY471" fmla="*/ 1797050 h 2197100"/>
              <a:gd name="connsiteX472" fmla="*/ 5461000 w 7816850"/>
              <a:gd name="connsiteY472" fmla="*/ 1816100 h 2197100"/>
              <a:gd name="connsiteX473" fmla="*/ 5441950 w 7816850"/>
              <a:gd name="connsiteY473" fmla="*/ 1835150 h 2197100"/>
              <a:gd name="connsiteX474" fmla="*/ 5403850 w 7816850"/>
              <a:gd name="connsiteY474" fmla="*/ 1892300 h 2197100"/>
              <a:gd name="connsiteX475" fmla="*/ 5391150 w 7816850"/>
              <a:gd name="connsiteY475" fmla="*/ 1911350 h 2197100"/>
              <a:gd name="connsiteX476" fmla="*/ 5353050 w 7816850"/>
              <a:gd name="connsiteY476" fmla="*/ 1943100 h 2197100"/>
              <a:gd name="connsiteX477" fmla="*/ 5334000 w 7816850"/>
              <a:gd name="connsiteY477" fmla="*/ 1949450 h 2197100"/>
              <a:gd name="connsiteX478" fmla="*/ 5321300 w 7816850"/>
              <a:gd name="connsiteY478" fmla="*/ 1968500 h 2197100"/>
              <a:gd name="connsiteX479" fmla="*/ 5283200 w 7816850"/>
              <a:gd name="connsiteY479" fmla="*/ 1981200 h 2197100"/>
              <a:gd name="connsiteX480" fmla="*/ 5257800 w 7816850"/>
              <a:gd name="connsiteY480" fmla="*/ 2019300 h 2197100"/>
              <a:gd name="connsiteX481" fmla="*/ 5232400 w 7816850"/>
              <a:gd name="connsiteY481" fmla="*/ 2057400 h 2197100"/>
              <a:gd name="connsiteX482" fmla="*/ 5213350 w 7816850"/>
              <a:gd name="connsiteY482" fmla="*/ 2063750 h 2197100"/>
              <a:gd name="connsiteX483" fmla="*/ 5175250 w 7816850"/>
              <a:gd name="connsiteY483" fmla="*/ 2089150 h 2197100"/>
              <a:gd name="connsiteX484" fmla="*/ 5156200 w 7816850"/>
              <a:gd name="connsiteY484" fmla="*/ 2095500 h 2197100"/>
              <a:gd name="connsiteX485" fmla="*/ 5067300 w 7816850"/>
              <a:gd name="connsiteY485" fmla="*/ 2089150 h 2197100"/>
              <a:gd name="connsiteX486" fmla="*/ 5029200 w 7816850"/>
              <a:gd name="connsiteY486" fmla="*/ 2076450 h 2197100"/>
              <a:gd name="connsiteX487" fmla="*/ 4997450 w 7816850"/>
              <a:gd name="connsiteY487" fmla="*/ 2101850 h 2197100"/>
              <a:gd name="connsiteX488" fmla="*/ 4991100 w 7816850"/>
              <a:gd name="connsiteY488" fmla="*/ 2082800 h 2197100"/>
              <a:gd name="connsiteX489" fmla="*/ 5010150 w 7816850"/>
              <a:gd name="connsiteY489" fmla="*/ 2070100 h 2197100"/>
              <a:gd name="connsiteX490" fmla="*/ 5016500 w 7816850"/>
              <a:gd name="connsiteY490" fmla="*/ 2000250 h 2197100"/>
              <a:gd name="connsiteX491" fmla="*/ 5029200 w 7816850"/>
              <a:gd name="connsiteY491" fmla="*/ 1981200 h 2197100"/>
              <a:gd name="connsiteX492" fmla="*/ 5035550 w 7816850"/>
              <a:gd name="connsiteY492" fmla="*/ 1962150 h 2197100"/>
              <a:gd name="connsiteX493" fmla="*/ 5105400 w 7816850"/>
              <a:gd name="connsiteY493" fmla="*/ 1943100 h 2197100"/>
              <a:gd name="connsiteX494" fmla="*/ 5149850 w 7816850"/>
              <a:gd name="connsiteY494" fmla="*/ 1930400 h 2197100"/>
              <a:gd name="connsiteX495" fmla="*/ 5168900 w 7816850"/>
              <a:gd name="connsiteY495" fmla="*/ 1892300 h 2197100"/>
              <a:gd name="connsiteX496" fmla="*/ 5175250 w 7816850"/>
              <a:gd name="connsiteY496" fmla="*/ 1873250 h 2197100"/>
              <a:gd name="connsiteX497" fmla="*/ 5200650 w 7816850"/>
              <a:gd name="connsiteY497" fmla="*/ 1835150 h 2197100"/>
              <a:gd name="connsiteX498" fmla="*/ 5213350 w 7816850"/>
              <a:gd name="connsiteY498" fmla="*/ 1816100 h 2197100"/>
              <a:gd name="connsiteX499" fmla="*/ 5232400 w 7816850"/>
              <a:gd name="connsiteY499" fmla="*/ 1778000 h 2197100"/>
              <a:gd name="connsiteX500" fmla="*/ 5219700 w 7816850"/>
              <a:gd name="connsiteY500" fmla="*/ 1720850 h 2197100"/>
              <a:gd name="connsiteX501" fmla="*/ 5181600 w 7816850"/>
              <a:gd name="connsiteY501" fmla="*/ 1733550 h 2197100"/>
              <a:gd name="connsiteX502" fmla="*/ 5143500 w 7816850"/>
              <a:gd name="connsiteY502" fmla="*/ 1746250 h 2197100"/>
              <a:gd name="connsiteX503" fmla="*/ 5124450 w 7816850"/>
              <a:gd name="connsiteY503" fmla="*/ 1752600 h 2197100"/>
              <a:gd name="connsiteX504" fmla="*/ 5105400 w 7816850"/>
              <a:gd name="connsiteY504" fmla="*/ 1758950 h 2197100"/>
              <a:gd name="connsiteX505" fmla="*/ 5048250 w 7816850"/>
              <a:gd name="connsiteY505" fmla="*/ 1752600 h 2197100"/>
              <a:gd name="connsiteX506" fmla="*/ 5041900 w 7816850"/>
              <a:gd name="connsiteY506" fmla="*/ 1733550 h 2197100"/>
              <a:gd name="connsiteX507" fmla="*/ 5016500 w 7816850"/>
              <a:gd name="connsiteY507" fmla="*/ 1695450 h 2197100"/>
              <a:gd name="connsiteX508" fmla="*/ 5016500 w 7816850"/>
              <a:gd name="connsiteY508" fmla="*/ 1695450 h 2197100"/>
              <a:gd name="connsiteX509" fmla="*/ 4997450 w 7816850"/>
              <a:gd name="connsiteY509" fmla="*/ 1689100 h 2197100"/>
              <a:gd name="connsiteX510" fmla="*/ 4946650 w 7816850"/>
              <a:gd name="connsiteY510" fmla="*/ 1676400 h 2197100"/>
              <a:gd name="connsiteX511" fmla="*/ 4902200 w 7816850"/>
              <a:gd name="connsiteY511" fmla="*/ 1663700 h 2197100"/>
              <a:gd name="connsiteX512" fmla="*/ 4883150 w 7816850"/>
              <a:gd name="connsiteY512" fmla="*/ 1657350 h 2197100"/>
              <a:gd name="connsiteX513" fmla="*/ 4870450 w 7816850"/>
              <a:gd name="connsiteY513" fmla="*/ 1581150 h 2197100"/>
              <a:gd name="connsiteX514" fmla="*/ 4851400 w 7816850"/>
              <a:gd name="connsiteY514" fmla="*/ 1511300 h 2197100"/>
              <a:gd name="connsiteX515" fmla="*/ 4838700 w 7816850"/>
              <a:gd name="connsiteY515" fmla="*/ 1466850 h 2197100"/>
              <a:gd name="connsiteX516" fmla="*/ 4826000 w 7816850"/>
              <a:gd name="connsiteY516" fmla="*/ 1447800 h 2197100"/>
              <a:gd name="connsiteX517" fmla="*/ 4749800 w 7816850"/>
              <a:gd name="connsiteY517" fmla="*/ 1409700 h 2197100"/>
              <a:gd name="connsiteX518" fmla="*/ 4660900 w 7816850"/>
              <a:gd name="connsiteY518" fmla="*/ 1403350 h 2197100"/>
              <a:gd name="connsiteX519" fmla="*/ 4533900 w 7816850"/>
              <a:gd name="connsiteY519" fmla="*/ 1416050 h 2197100"/>
              <a:gd name="connsiteX520" fmla="*/ 4514850 w 7816850"/>
              <a:gd name="connsiteY520" fmla="*/ 1428750 h 2197100"/>
              <a:gd name="connsiteX521" fmla="*/ 4521200 w 7816850"/>
              <a:gd name="connsiteY521" fmla="*/ 1473200 h 2197100"/>
              <a:gd name="connsiteX522" fmla="*/ 4533900 w 7816850"/>
              <a:gd name="connsiteY522" fmla="*/ 1492250 h 2197100"/>
              <a:gd name="connsiteX523" fmla="*/ 4514850 w 7816850"/>
              <a:gd name="connsiteY523" fmla="*/ 1504950 h 2197100"/>
              <a:gd name="connsiteX524" fmla="*/ 4476750 w 7816850"/>
              <a:gd name="connsiteY524" fmla="*/ 1517650 h 2197100"/>
              <a:gd name="connsiteX525" fmla="*/ 4464050 w 7816850"/>
              <a:gd name="connsiteY525" fmla="*/ 1536700 h 2197100"/>
              <a:gd name="connsiteX526" fmla="*/ 4438650 w 7816850"/>
              <a:gd name="connsiteY526" fmla="*/ 1593850 h 2197100"/>
              <a:gd name="connsiteX527" fmla="*/ 4400550 w 7816850"/>
              <a:gd name="connsiteY527" fmla="*/ 1606550 h 2197100"/>
              <a:gd name="connsiteX528" fmla="*/ 4267200 w 7816850"/>
              <a:gd name="connsiteY528" fmla="*/ 1619250 h 2197100"/>
              <a:gd name="connsiteX529" fmla="*/ 4229100 w 7816850"/>
              <a:gd name="connsiteY529" fmla="*/ 1612900 h 2197100"/>
              <a:gd name="connsiteX530" fmla="*/ 4197350 w 7816850"/>
              <a:gd name="connsiteY530" fmla="*/ 1606550 h 2197100"/>
              <a:gd name="connsiteX531" fmla="*/ 4127500 w 7816850"/>
              <a:gd name="connsiteY531" fmla="*/ 1612900 h 2197100"/>
              <a:gd name="connsiteX532" fmla="*/ 4089400 w 7816850"/>
              <a:gd name="connsiteY532" fmla="*/ 1638300 h 2197100"/>
              <a:gd name="connsiteX533" fmla="*/ 4051300 w 7816850"/>
              <a:gd name="connsiteY533" fmla="*/ 1651000 h 2197100"/>
              <a:gd name="connsiteX534" fmla="*/ 3835400 w 7816850"/>
              <a:gd name="connsiteY534" fmla="*/ 1644650 h 2197100"/>
              <a:gd name="connsiteX535" fmla="*/ 3810000 w 7816850"/>
              <a:gd name="connsiteY535" fmla="*/ 1638300 h 2197100"/>
              <a:gd name="connsiteX536" fmla="*/ 3765550 w 7816850"/>
              <a:gd name="connsiteY536" fmla="*/ 1619250 h 2197100"/>
              <a:gd name="connsiteX537" fmla="*/ 3746500 w 7816850"/>
              <a:gd name="connsiteY537" fmla="*/ 1612900 h 2197100"/>
              <a:gd name="connsiteX538" fmla="*/ 3727450 w 7816850"/>
              <a:gd name="connsiteY538" fmla="*/ 1600200 h 2197100"/>
              <a:gd name="connsiteX539" fmla="*/ 3594100 w 7816850"/>
              <a:gd name="connsiteY539" fmla="*/ 1581150 h 2197100"/>
              <a:gd name="connsiteX540" fmla="*/ 3568700 w 7816850"/>
              <a:gd name="connsiteY540" fmla="*/ 1549400 h 2197100"/>
              <a:gd name="connsiteX541" fmla="*/ 3530600 w 7816850"/>
              <a:gd name="connsiteY541" fmla="*/ 1517650 h 2197100"/>
              <a:gd name="connsiteX542" fmla="*/ 3492500 w 7816850"/>
              <a:gd name="connsiteY542" fmla="*/ 1492250 h 2197100"/>
              <a:gd name="connsiteX543" fmla="*/ 3429000 w 7816850"/>
              <a:gd name="connsiteY543" fmla="*/ 1498600 h 2197100"/>
              <a:gd name="connsiteX544" fmla="*/ 3390900 w 7816850"/>
              <a:gd name="connsiteY544" fmla="*/ 1511300 h 2197100"/>
              <a:gd name="connsiteX545" fmla="*/ 3371850 w 7816850"/>
              <a:gd name="connsiteY545" fmla="*/ 1517650 h 2197100"/>
              <a:gd name="connsiteX546" fmla="*/ 3359150 w 7816850"/>
              <a:gd name="connsiteY546" fmla="*/ 1555750 h 2197100"/>
              <a:gd name="connsiteX547" fmla="*/ 3352800 w 7816850"/>
              <a:gd name="connsiteY547" fmla="*/ 1574800 h 2197100"/>
              <a:gd name="connsiteX548" fmla="*/ 3314700 w 7816850"/>
              <a:gd name="connsiteY548" fmla="*/ 1600200 h 2197100"/>
              <a:gd name="connsiteX549" fmla="*/ 3276600 w 7816850"/>
              <a:gd name="connsiteY549" fmla="*/ 1619250 h 2197100"/>
              <a:gd name="connsiteX550" fmla="*/ 3181350 w 7816850"/>
              <a:gd name="connsiteY550" fmla="*/ 1612900 h 2197100"/>
              <a:gd name="connsiteX551" fmla="*/ 3143250 w 7816850"/>
              <a:gd name="connsiteY551" fmla="*/ 1593850 h 2197100"/>
              <a:gd name="connsiteX552" fmla="*/ 3124200 w 7816850"/>
              <a:gd name="connsiteY552" fmla="*/ 1587500 h 2197100"/>
              <a:gd name="connsiteX553" fmla="*/ 2927350 w 7816850"/>
              <a:gd name="connsiteY553" fmla="*/ 1606550 h 2197100"/>
              <a:gd name="connsiteX554" fmla="*/ 2870200 w 7816850"/>
              <a:gd name="connsiteY554" fmla="*/ 1625600 h 2197100"/>
              <a:gd name="connsiteX555" fmla="*/ 2851150 w 7816850"/>
              <a:gd name="connsiteY555" fmla="*/ 1631950 h 2197100"/>
              <a:gd name="connsiteX556" fmla="*/ 2832100 w 7816850"/>
              <a:gd name="connsiteY556" fmla="*/ 1651000 h 2197100"/>
              <a:gd name="connsiteX557" fmla="*/ 2813050 w 7816850"/>
              <a:gd name="connsiteY557" fmla="*/ 1657350 h 2197100"/>
              <a:gd name="connsiteX558" fmla="*/ 2768600 w 7816850"/>
              <a:gd name="connsiteY558" fmla="*/ 1670050 h 2197100"/>
              <a:gd name="connsiteX559" fmla="*/ 2755900 w 7816850"/>
              <a:gd name="connsiteY559" fmla="*/ 1651000 h 2197100"/>
              <a:gd name="connsiteX560" fmla="*/ 2686050 w 7816850"/>
              <a:gd name="connsiteY560" fmla="*/ 1625600 h 2197100"/>
              <a:gd name="connsiteX561" fmla="*/ 2667000 w 7816850"/>
              <a:gd name="connsiteY561" fmla="*/ 1606550 h 2197100"/>
              <a:gd name="connsiteX562" fmla="*/ 2647950 w 7816850"/>
              <a:gd name="connsiteY562" fmla="*/ 1593850 h 2197100"/>
              <a:gd name="connsiteX563" fmla="*/ 2641600 w 7816850"/>
              <a:gd name="connsiteY563" fmla="*/ 1574800 h 2197100"/>
              <a:gd name="connsiteX564" fmla="*/ 2508250 w 7816850"/>
              <a:gd name="connsiteY564" fmla="*/ 1555750 h 2197100"/>
              <a:gd name="connsiteX565" fmla="*/ 2489200 w 7816850"/>
              <a:gd name="connsiteY565" fmla="*/ 1543050 h 2197100"/>
              <a:gd name="connsiteX566" fmla="*/ 2444750 w 7816850"/>
              <a:gd name="connsiteY566" fmla="*/ 1562100 h 2197100"/>
              <a:gd name="connsiteX567" fmla="*/ 2419350 w 7816850"/>
              <a:gd name="connsiteY567" fmla="*/ 1473200 h 2197100"/>
              <a:gd name="connsiteX568" fmla="*/ 2400300 w 7816850"/>
              <a:gd name="connsiteY568" fmla="*/ 1460500 h 2197100"/>
              <a:gd name="connsiteX569" fmla="*/ 2368550 w 7816850"/>
              <a:gd name="connsiteY569" fmla="*/ 1403350 h 2197100"/>
              <a:gd name="connsiteX570" fmla="*/ 2355850 w 7816850"/>
              <a:gd name="connsiteY570" fmla="*/ 1384300 h 2197100"/>
              <a:gd name="connsiteX571" fmla="*/ 2349500 w 7816850"/>
              <a:gd name="connsiteY571" fmla="*/ 1339850 h 2197100"/>
              <a:gd name="connsiteX572" fmla="*/ 2279650 w 7816850"/>
              <a:gd name="connsiteY572" fmla="*/ 1358900 h 2197100"/>
              <a:gd name="connsiteX573" fmla="*/ 2241550 w 7816850"/>
              <a:gd name="connsiteY573" fmla="*/ 1371600 h 2197100"/>
              <a:gd name="connsiteX574" fmla="*/ 2222500 w 7816850"/>
              <a:gd name="connsiteY574" fmla="*/ 1377950 h 2197100"/>
              <a:gd name="connsiteX575" fmla="*/ 2203450 w 7816850"/>
              <a:gd name="connsiteY575" fmla="*/ 1384300 h 2197100"/>
              <a:gd name="connsiteX576" fmla="*/ 2197100 w 7816850"/>
              <a:gd name="connsiteY576" fmla="*/ 1365250 h 2197100"/>
              <a:gd name="connsiteX577" fmla="*/ 2178050 w 7816850"/>
              <a:gd name="connsiteY577" fmla="*/ 1352550 h 2197100"/>
              <a:gd name="connsiteX578" fmla="*/ 2095500 w 7816850"/>
              <a:gd name="connsiteY578" fmla="*/ 1339850 h 2197100"/>
              <a:gd name="connsiteX579" fmla="*/ 2089150 w 7816850"/>
              <a:gd name="connsiteY579" fmla="*/ 1320800 h 2197100"/>
              <a:gd name="connsiteX580" fmla="*/ 2082800 w 7816850"/>
              <a:gd name="connsiteY580" fmla="*/ 1282700 h 2197100"/>
              <a:gd name="connsiteX581" fmla="*/ 2044700 w 7816850"/>
              <a:gd name="connsiteY581" fmla="*/ 1263650 h 2197100"/>
              <a:gd name="connsiteX582" fmla="*/ 1993900 w 7816850"/>
              <a:gd name="connsiteY582" fmla="*/ 1276350 h 2197100"/>
              <a:gd name="connsiteX583" fmla="*/ 1936750 w 7816850"/>
              <a:gd name="connsiteY583" fmla="*/ 1301750 h 2197100"/>
              <a:gd name="connsiteX584" fmla="*/ 1739900 w 7816850"/>
              <a:gd name="connsiteY584" fmla="*/ 1314450 h 2197100"/>
              <a:gd name="connsiteX585" fmla="*/ 1720850 w 7816850"/>
              <a:gd name="connsiteY585" fmla="*/ 1320800 h 2197100"/>
              <a:gd name="connsiteX586" fmla="*/ 1663700 w 7816850"/>
              <a:gd name="connsiteY586" fmla="*/ 1346200 h 2197100"/>
              <a:gd name="connsiteX587" fmla="*/ 1581150 w 7816850"/>
              <a:gd name="connsiteY587" fmla="*/ 1352550 h 2197100"/>
              <a:gd name="connsiteX588" fmla="*/ 1574800 w 7816850"/>
              <a:gd name="connsiteY588" fmla="*/ 1371600 h 2197100"/>
              <a:gd name="connsiteX589" fmla="*/ 1581150 w 7816850"/>
              <a:gd name="connsiteY589" fmla="*/ 1403350 h 2197100"/>
              <a:gd name="connsiteX590" fmla="*/ 1562100 w 7816850"/>
              <a:gd name="connsiteY590" fmla="*/ 1409700 h 2197100"/>
              <a:gd name="connsiteX591" fmla="*/ 1536700 w 7816850"/>
              <a:gd name="connsiteY591" fmla="*/ 1416050 h 2197100"/>
              <a:gd name="connsiteX592" fmla="*/ 1517650 w 7816850"/>
              <a:gd name="connsiteY592" fmla="*/ 1435100 h 2197100"/>
              <a:gd name="connsiteX593" fmla="*/ 1498600 w 7816850"/>
              <a:gd name="connsiteY593" fmla="*/ 1447800 h 2197100"/>
              <a:gd name="connsiteX594" fmla="*/ 1473200 w 7816850"/>
              <a:gd name="connsiteY594" fmla="*/ 1479550 h 2197100"/>
              <a:gd name="connsiteX595" fmla="*/ 1492250 w 7816850"/>
              <a:gd name="connsiteY595" fmla="*/ 1517650 h 2197100"/>
              <a:gd name="connsiteX596" fmla="*/ 1504950 w 7816850"/>
              <a:gd name="connsiteY596" fmla="*/ 1536700 h 2197100"/>
              <a:gd name="connsiteX597" fmla="*/ 1485900 w 7816850"/>
              <a:gd name="connsiteY597" fmla="*/ 1549400 h 2197100"/>
              <a:gd name="connsiteX598" fmla="*/ 1447800 w 7816850"/>
              <a:gd name="connsiteY598" fmla="*/ 1562100 h 2197100"/>
              <a:gd name="connsiteX599" fmla="*/ 1339850 w 7816850"/>
              <a:gd name="connsiteY599" fmla="*/ 1555750 h 2197100"/>
              <a:gd name="connsiteX600" fmla="*/ 1301750 w 7816850"/>
              <a:gd name="connsiteY600" fmla="*/ 1536700 h 2197100"/>
              <a:gd name="connsiteX601" fmla="*/ 1244600 w 7816850"/>
              <a:gd name="connsiteY601" fmla="*/ 1530350 h 2197100"/>
              <a:gd name="connsiteX602" fmla="*/ 1206500 w 7816850"/>
              <a:gd name="connsiteY602" fmla="*/ 1536700 h 2197100"/>
              <a:gd name="connsiteX603" fmla="*/ 1187450 w 7816850"/>
              <a:gd name="connsiteY603" fmla="*/ 1549400 h 2197100"/>
              <a:gd name="connsiteX604" fmla="*/ 1168400 w 7816850"/>
              <a:gd name="connsiteY604" fmla="*/ 1555750 h 2197100"/>
              <a:gd name="connsiteX605" fmla="*/ 1111250 w 7816850"/>
              <a:gd name="connsiteY605" fmla="*/ 1549400 h 2197100"/>
              <a:gd name="connsiteX606" fmla="*/ 1098550 w 7816850"/>
              <a:gd name="connsiteY606" fmla="*/ 1530350 h 2197100"/>
              <a:gd name="connsiteX607" fmla="*/ 1060450 w 7816850"/>
              <a:gd name="connsiteY607" fmla="*/ 1517650 h 2197100"/>
              <a:gd name="connsiteX608" fmla="*/ 1041400 w 7816850"/>
              <a:gd name="connsiteY608" fmla="*/ 1511300 h 2197100"/>
              <a:gd name="connsiteX609" fmla="*/ 1022350 w 7816850"/>
              <a:gd name="connsiteY609" fmla="*/ 1504950 h 2197100"/>
              <a:gd name="connsiteX610" fmla="*/ 914400 w 7816850"/>
              <a:gd name="connsiteY610" fmla="*/ 1524000 h 2197100"/>
              <a:gd name="connsiteX611" fmla="*/ 857250 w 7816850"/>
              <a:gd name="connsiteY611" fmla="*/ 1555750 h 2197100"/>
              <a:gd name="connsiteX612" fmla="*/ 831850 w 7816850"/>
              <a:gd name="connsiteY612" fmla="*/ 1562100 h 2197100"/>
              <a:gd name="connsiteX613" fmla="*/ 806450 w 7816850"/>
              <a:gd name="connsiteY613" fmla="*/ 1600200 h 2197100"/>
              <a:gd name="connsiteX614" fmla="*/ 800100 w 7816850"/>
              <a:gd name="connsiteY614" fmla="*/ 1619250 h 2197100"/>
              <a:gd name="connsiteX615" fmla="*/ 781050 w 7816850"/>
              <a:gd name="connsiteY615" fmla="*/ 1625600 h 2197100"/>
              <a:gd name="connsiteX616" fmla="*/ 755650 w 7816850"/>
              <a:gd name="connsiteY616" fmla="*/ 1600200 h 2197100"/>
              <a:gd name="connsiteX617" fmla="*/ 736600 w 7816850"/>
              <a:gd name="connsiteY617" fmla="*/ 1593850 h 2197100"/>
              <a:gd name="connsiteX618" fmla="*/ 704850 w 7816850"/>
              <a:gd name="connsiteY618" fmla="*/ 1638300 h 2197100"/>
              <a:gd name="connsiteX619" fmla="*/ 685800 w 7816850"/>
              <a:gd name="connsiteY619" fmla="*/ 1657350 h 2197100"/>
              <a:gd name="connsiteX620" fmla="*/ 673100 w 7816850"/>
              <a:gd name="connsiteY620" fmla="*/ 1676400 h 2197100"/>
              <a:gd name="connsiteX621" fmla="*/ 654050 w 7816850"/>
              <a:gd name="connsiteY621" fmla="*/ 1689100 h 2197100"/>
              <a:gd name="connsiteX622" fmla="*/ 654050 w 7816850"/>
              <a:gd name="connsiteY622" fmla="*/ 1727200 h 2197100"/>
              <a:gd name="connsiteX623" fmla="*/ 673100 w 7816850"/>
              <a:gd name="connsiteY623" fmla="*/ 1733550 h 2197100"/>
              <a:gd name="connsiteX624" fmla="*/ 673100 w 7816850"/>
              <a:gd name="connsiteY624" fmla="*/ 1758950 h 2197100"/>
              <a:gd name="connsiteX625" fmla="*/ 685800 w 7816850"/>
              <a:gd name="connsiteY625" fmla="*/ 1778000 h 2197100"/>
              <a:gd name="connsiteX626" fmla="*/ 666750 w 7816850"/>
              <a:gd name="connsiteY626" fmla="*/ 1835150 h 2197100"/>
              <a:gd name="connsiteX627" fmla="*/ 647700 w 7816850"/>
              <a:gd name="connsiteY627" fmla="*/ 1847850 h 2197100"/>
              <a:gd name="connsiteX628" fmla="*/ 641350 w 7816850"/>
              <a:gd name="connsiteY628" fmla="*/ 1866900 h 2197100"/>
              <a:gd name="connsiteX629" fmla="*/ 622300 w 7816850"/>
              <a:gd name="connsiteY629" fmla="*/ 1873250 h 2197100"/>
              <a:gd name="connsiteX630" fmla="*/ 584200 w 7816850"/>
              <a:gd name="connsiteY630" fmla="*/ 1879600 h 2197100"/>
              <a:gd name="connsiteX631" fmla="*/ 565150 w 7816850"/>
              <a:gd name="connsiteY631" fmla="*/ 1917700 h 2197100"/>
              <a:gd name="connsiteX632" fmla="*/ 546100 w 7816850"/>
              <a:gd name="connsiteY632" fmla="*/ 1924050 h 2197100"/>
              <a:gd name="connsiteX633" fmla="*/ 520700 w 7816850"/>
              <a:gd name="connsiteY633" fmla="*/ 1962150 h 2197100"/>
              <a:gd name="connsiteX634" fmla="*/ 508000 w 7816850"/>
              <a:gd name="connsiteY634" fmla="*/ 2070100 h 2197100"/>
              <a:gd name="connsiteX635" fmla="*/ 501650 w 7816850"/>
              <a:gd name="connsiteY635" fmla="*/ 2139950 h 2197100"/>
              <a:gd name="connsiteX636" fmla="*/ 488950 w 7816850"/>
              <a:gd name="connsiteY636" fmla="*/ 2178050 h 2197100"/>
              <a:gd name="connsiteX637" fmla="*/ 450850 w 7816850"/>
              <a:gd name="connsiteY637" fmla="*/ 2197100 h 2197100"/>
              <a:gd name="connsiteX638" fmla="*/ 393700 w 7816850"/>
              <a:gd name="connsiteY638" fmla="*/ 2152650 h 2197100"/>
              <a:gd name="connsiteX639" fmla="*/ 381000 w 7816850"/>
              <a:gd name="connsiteY639" fmla="*/ 2114550 h 2197100"/>
              <a:gd name="connsiteX640" fmla="*/ 330200 w 7816850"/>
              <a:gd name="connsiteY640" fmla="*/ 2101850 h 2197100"/>
              <a:gd name="connsiteX641" fmla="*/ 292100 w 7816850"/>
              <a:gd name="connsiteY641" fmla="*/ 2089150 h 2197100"/>
              <a:gd name="connsiteX642" fmla="*/ 254000 w 7816850"/>
              <a:gd name="connsiteY642" fmla="*/ 2076450 h 2197100"/>
              <a:gd name="connsiteX643" fmla="*/ 234950 w 7816850"/>
              <a:gd name="connsiteY643" fmla="*/ 2070100 h 2197100"/>
              <a:gd name="connsiteX644" fmla="*/ 215900 w 7816850"/>
              <a:gd name="connsiteY644" fmla="*/ 2051050 h 2197100"/>
              <a:gd name="connsiteX645" fmla="*/ 177800 w 7816850"/>
              <a:gd name="connsiteY645" fmla="*/ 2038350 h 2197100"/>
              <a:gd name="connsiteX646" fmla="*/ 158750 w 7816850"/>
              <a:gd name="connsiteY646" fmla="*/ 2032000 h 2197100"/>
              <a:gd name="connsiteX647" fmla="*/ 114300 w 7816850"/>
              <a:gd name="connsiteY647" fmla="*/ 2019300 h 2197100"/>
              <a:gd name="connsiteX648" fmla="*/ 95250 w 7816850"/>
              <a:gd name="connsiteY648" fmla="*/ 2006600 h 2197100"/>
              <a:gd name="connsiteX649" fmla="*/ 38100 w 7816850"/>
              <a:gd name="connsiteY649" fmla="*/ 1981200 h 2197100"/>
              <a:gd name="connsiteX650" fmla="*/ 19050 w 7816850"/>
              <a:gd name="connsiteY650" fmla="*/ 1943100 h 2197100"/>
              <a:gd name="connsiteX651" fmla="*/ 0 w 7816850"/>
              <a:gd name="connsiteY651" fmla="*/ 1936750 h 2197100"/>
              <a:gd name="connsiteX652" fmla="*/ 0 w 7816850"/>
              <a:gd name="connsiteY652" fmla="*/ 1917700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</a:cxnLst>
            <a:rect l="l" t="t" r="r" b="b"/>
            <a:pathLst>
              <a:path w="7816850" h="2197100">
                <a:moveTo>
                  <a:pt x="0" y="1917700"/>
                </a:moveTo>
                <a:cubicBezTo>
                  <a:pt x="12700" y="1915583"/>
                  <a:pt x="25609" y="1914473"/>
                  <a:pt x="38100" y="1911350"/>
                </a:cubicBezTo>
                <a:cubicBezTo>
                  <a:pt x="51087" y="1908103"/>
                  <a:pt x="76200" y="1898650"/>
                  <a:pt x="76200" y="1898650"/>
                </a:cubicBezTo>
                <a:cubicBezTo>
                  <a:pt x="80433" y="1892300"/>
                  <a:pt x="82428" y="1883645"/>
                  <a:pt x="88900" y="1879600"/>
                </a:cubicBezTo>
                <a:cubicBezTo>
                  <a:pt x="100252" y="1872505"/>
                  <a:pt x="127000" y="1866900"/>
                  <a:pt x="127000" y="1866900"/>
                </a:cubicBezTo>
                <a:cubicBezTo>
                  <a:pt x="120650" y="1862667"/>
                  <a:pt x="112718" y="1860159"/>
                  <a:pt x="107950" y="1854200"/>
                </a:cubicBezTo>
                <a:cubicBezTo>
                  <a:pt x="103769" y="1848973"/>
                  <a:pt x="95613" y="1838143"/>
                  <a:pt x="101600" y="1835150"/>
                </a:cubicBezTo>
                <a:cubicBezTo>
                  <a:pt x="118744" y="1826578"/>
                  <a:pt x="139700" y="1830917"/>
                  <a:pt x="158750" y="1828800"/>
                </a:cubicBezTo>
                <a:cubicBezTo>
                  <a:pt x="195359" y="1804394"/>
                  <a:pt x="174524" y="1825524"/>
                  <a:pt x="158750" y="1809750"/>
                </a:cubicBezTo>
                <a:cubicBezTo>
                  <a:pt x="154017" y="1805017"/>
                  <a:pt x="154517" y="1797050"/>
                  <a:pt x="152400" y="1790700"/>
                </a:cubicBezTo>
                <a:lnTo>
                  <a:pt x="190500" y="1778000"/>
                </a:lnTo>
                <a:lnTo>
                  <a:pt x="209550" y="1771650"/>
                </a:lnTo>
                <a:cubicBezTo>
                  <a:pt x="215900" y="1765300"/>
                  <a:pt x="220750" y="1756961"/>
                  <a:pt x="228600" y="1752600"/>
                </a:cubicBezTo>
                <a:cubicBezTo>
                  <a:pt x="240302" y="1746099"/>
                  <a:pt x="266700" y="1739900"/>
                  <a:pt x="266700" y="1739900"/>
                </a:cubicBezTo>
                <a:lnTo>
                  <a:pt x="279400" y="1701800"/>
                </a:lnTo>
                <a:cubicBezTo>
                  <a:pt x="281517" y="1695450"/>
                  <a:pt x="279400" y="1684867"/>
                  <a:pt x="285750" y="1682750"/>
                </a:cubicBezTo>
                <a:cubicBezTo>
                  <a:pt x="312040" y="1673987"/>
                  <a:pt x="299231" y="1680113"/>
                  <a:pt x="323850" y="1663700"/>
                </a:cubicBezTo>
                <a:cubicBezTo>
                  <a:pt x="325967" y="1657350"/>
                  <a:pt x="331147" y="1651276"/>
                  <a:pt x="330200" y="1644650"/>
                </a:cubicBezTo>
                <a:cubicBezTo>
                  <a:pt x="324083" y="1601833"/>
                  <a:pt x="290747" y="1616575"/>
                  <a:pt x="254000" y="1612900"/>
                </a:cubicBezTo>
                <a:cubicBezTo>
                  <a:pt x="251883" y="1606550"/>
                  <a:pt x="254144" y="1595473"/>
                  <a:pt x="247650" y="1593850"/>
                </a:cubicBezTo>
                <a:cubicBezTo>
                  <a:pt x="233130" y="1590220"/>
                  <a:pt x="218167" y="1600200"/>
                  <a:pt x="203200" y="1600200"/>
                </a:cubicBezTo>
                <a:cubicBezTo>
                  <a:pt x="186135" y="1600200"/>
                  <a:pt x="169333" y="1595967"/>
                  <a:pt x="152400" y="1593850"/>
                </a:cubicBezTo>
                <a:cubicBezTo>
                  <a:pt x="150283" y="1587500"/>
                  <a:pt x="147502" y="1581334"/>
                  <a:pt x="146050" y="1574800"/>
                </a:cubicBezTo>
                <a:cubicBezTo>
                  <a:pt x="143257" y="1562231"/>
                  <a:pt x="143771" y="1548914"/>
                  <a:pt x="139700" y="1536700"/>
                </a:cubicBezTo>
                <a:cubicBezTo>
                  <a:pt x="137287" y="1529460"/>
                  <a:pt x="131233" y="1524000"/>
                  <a:pt x="127000" y="1517650"/>
                </a:cubicBezTo>
                <a:cubicBezTo>
                  <a:pt x="129117" y="1511300"/>
                  <a:pt x="133350" y="1505293"/>
                  <a:pt x="133350" y="1498600"/>
                </a:cubicBezTo>
                <a:cubicBezTo>
                  <a:pt x="133350" y="1449517"/>
                  <a:pt x="99098" y="1470875"/>
                  <a:pt x="50800" y="1466850"/>
                </a:cubicBezTo>
                <a:cubicBezTo>
                  <a:pt x="46567" y="1460500"/>
                  <a:pt x="39179" y="1455355"/>
                  <a:pt x="38100" y="1447800"/>
                </a:cubicBezTo>
                <a:cubicBezTo>
                  <a:pt x="37146" y="1441120"/>
                  <a:pt x="47615" y="1406817"/>
                  <a:pt x="57150" y="1403350"/>
                </a:cubicBezTo>
                <a:cubicBezTo>
                  <a:pt x="75163" y="1396800"/>
                  <a:pt x="95250" y="1399117"/>
                  <a:pt x="114300" y="1397000"/>
                </a:cubicBezTo>
                <a:cubicBezTo>
                  <a:pt x="120650" y="1394883"/>
                  <a:pt x="130357" y="1396637"/>
                  <a:pt x="133350" y="1390650"/>
                </a:cubicBezTo>
                <a:cubicBezTo>
                  <a:pt x="137437" y="1382476"/>
                  <a:pt x="116061" y="1356513"/>
                  <a:pt x="114300" y="1352550"/>
                </a:cubicBezTo>
                <a:cubicBezTo>
                  <a:pt x="108863" y="1340317"/>
                  <a:pt x="101600" y="1314450"/>
                  <a:pt x="101600" y="1314450"/>
                </a:cubicBezTo>
                <a:cubicBezTo>
                  <a:pt x="103717" y="1305983"/>
                  <a:pt x="102498" y="1295865"/>
                  <a:pt x="107950" y="1289050"/>
                </a:cubicBezTo>
                <a:cubicBezTo>
                  <a:pt x="112131" y="1283823"/>
                  <a:pt x="122267" y="1287433"/>
                  <a:pt x="127000" y="1282700"/>
                </a:cubicBezTo>
                <a:cubicBezTo>
                  <a:pt x="131733" y="1277967"/>
                  <a:pt x="131233" y="1270000"/>
                  <a:pt x="133350" y="1263650"/>
                </a:cubicBezTo>
                <a:cubicBezTo>
                  <a:pt x="120383" y="1224749"/>
                  <a:pt x="136753" y="1254765"/>
                  <a:pt x="76200" y="1238250"/>
                </a:cubicBezTo>
                <a:cubicBezTo>
                  <a:pt x="64044" y="1234935"/>
                  <a:pt x="45642" y="1214042"/>
                  <a:pt x="38100" y="1206500"/>
                </a:cubicBezTo>
                <a:cubicBezTo>
                  <a:pt x="40217" y="1187450"/>
                  <a:pt x="41299" y="1168256"/>
                  <a:pt x="44450" y="1149350"/>
                </a:cubicBezTo>
                <a:cubicBezTo>
                  <a:pt x="45550" y="1142748"/>
                  <a:pt x="46067" y="1135033"/>
                  <a:pt x="50800" y="1130300"/>
                </a:cubicBezTo>
                <a:cubicBezTo>
                  <a:pt x="55533" y="1125567"/>
                  <a:pt x="63999" y="1127201"/>
                  <a:pt x="69850" y="1123950"/>
                </a:cubicBezTo>
                <a:cubicBezTo>
                  <a:pt x="83193" y="1116537"/>
                  <a:pt x="107950" y="1098550"/>
                  <a:pt x="107950" y="1098550"/>
                </a:cubicBezTo>
                <a:cubicBezTo>
                  <a:pt x="112183" y="1092200"/>
                  <a:pt x="117237" y="1086326"/>
                  <a:pt x="120650" y="1079500"/>
                </a:cubicBezTo>
                <a:cubicBezTo>
                  <a:pt x="126626" y="1067548"/>
                  <a:pt x="126465" y="1049672"/>
                  <a:pt x="139700" y="1041400"/>
                </a:cubicBezTo>
                <a:cubicBezTo>
                  <a:pt x="151052" y="1034305"/>
                  <a:pt x="166661" y="1036126"/>
                  <a:pt x="177800" y="1028700"/>
                </a:cubicBezTo>
                <a:cubicBezTo>
                  <a:pt x="194708" y="1017428"/>
                  <a:pt x="213155" y="1000303"/>
                  <a:pt x="234950" y="996950"/>
                </a:cubicBezTo>
                <a:cubicBezTo>
                  <a:pt x="255975" y="993715"/>
                  <a:pt x="277283" y="992717"/>
                  <a:pt x="298450" y="990600"/>
                </a:cubicBezTo>
                <a:cubicBezTo>
                  <a:pt x="328930" y="980440"/>
                  <a:pt x="318770" y="988060"/>
                  <a:pt x="298450" y="977900"/>
                </a:cubicBezTo>
                <a:cubicBezTo>
                  <a:pt x="291624" y="974487"/>
                  <a:pt x="285750" y="969433"/>
                  <a:pt x="279400" y="965200"/>
                </a:cubicBezTo>
                <a:cubicBezTo>
                  <a:pt x="275167" y="958850"/>
                  <a:pt x="265203" y="953634"/>
                  <a:pt x="266700" y="946150"/>
                </a:cubicBezTo>
                <a:cubicBezTo>
                  <a:pt x="268197" y="938666"/>
                  <a:pt x="278735" y="936456"/>
                  <a:pt x="285750" y="933450"/>
                </a:cubicBezTo>
                <a:cubicBezTo>
                  <a:pt x="310598" y="922801"/>
                  <a:pt x="323639" y="931474"/>
                  <a:pt x="349250" y="914400"/>
                </a:cubicBezTo>
                <a:cubicBezTo>
                  <a:pt x="361950" y="905933"/>
                  <a:pt x="372870" y="893827"/>
                  <a:pt x="387350" y="889000"/>
                </a:cubicBezTo>
                <a:cubicBezTo>
                  <a:pt x="393700" y="886883"/>
                  <a:pt x="400413" y="885643"/>
                  <a:pt x="406400" y="882650"/>
                </a:cubicBezTo>
                <a:cubicBezTo>
                  <a:pt x="413226" y="879237"/>
                  <a:pt x="418624" y="873363"/>
                  <a:pt x="425450" y="869950"/>
                </a:cubicBezTo>
                <a:cubicBezTo>
                  <a:pt x="431437" y="866957"/>
                  <a:pt x="438649" y="866851"/>
                  <a:pt x="444500" y="863600"/>
                </a:cubicBezTo>
                <a:cubicBezTo>
                  <a:pt x="457843" y="856187"/>
                  <a:pt x="469900" y="846667"/>
                  <a:pt x="482600" y="838200"/>
                </a:cubicBezTo>
                <a:cubicBezTo>
                  <a:pt x="488950" y="833967"/>
                  <a:pt x="494410" y="827913"/>
                  <a:pt x="501650" y="825500"/>
                </a:cubicBezTo>
                <a:cubicBezTo>
                  <a:pt x="527940" y="816737"/>
                  <a:pt x="515131" y="822863"/>
                  <a:pt x="539750" y="806450"/>
                </a:cubicBezTo>
                <a:cubicBezTo>
                  <a:pt x="541867" y="800100"/>
                  <a:pt x="546100" y="794093"/>
                  <a:pt x="546100" y="787400"/>
                </a:cubicBezTo>
                <a:cubicBezTo>
                  <a:pt x="546100" y="780707"/>
                  <a:pt x="537264" y="774565"/>
                  <a:pt x="539750" y="768350"/>
                </a:cubicBezTo>
                <a:cubicBezTo>
                  <a:pt x="542584" y="761264"/>
                  <a:pt x="552450" y="759883"/>
                  <a:pt x="558800" y="755650"/>
                </a:cubicBezTo>
                <a:cubicBezTo>
                  <a:pt x="563033" y="749300"/>
                  <a:pt x="569492" y="743963"/>
                  <a:pt x="571500" y="736600"/>
                </a:cubicBezTo>
                <a:cubicBezTo>
                  <a:pt x="577723" y="713781"/>
                  <a:pt x="568864" y="684099"/>
                  <a:pt x="590550" y="666750"/>
                </a:cubicBezTo>
                <a:cubicBezTo>
                  <a:pt x="595777" y="662569"/>
                  <a:pt x="603749" y="663651"/>
                  <a:pt x="609600" y="660400"/>
                </a:cubicBezTo>
                <a:cubicBezTo>
                  <a:pt x="622943" y="652987"/>
                  <a:pt x="647700" y="635000"/>
                  <a:pt x="647700" y="635000"/>
                </a:cubicBezTo>
                <a:cubicBezTo>
                  <a:pt x="657792" y="619862"/>
                  <a:pt x="674244" y="589787"/>
                  <a:pt x="692150" y="577850"/>
                </a:cubicBezTo>
                <a:cubicBezTo>
                  <a:pt x="697719" y="574137"/>
                  <a:pt x="704850" y="573617"/>
                  <a:pt x="711200" y="571500"/>
                </a:cubicBezTo>
                <a:cubicBezTo>
                  <a:pt x="725244" y="557456"/>
                  <a:pt x="734109" y="551081"/>
                  <a:pt x="742950" y="533400"/>
                </a:cubicBezTo>
                <a:cubicBezTo>
                  <a:pt x="745943" y="527413"/>
                  <a:pt x="747183" y="520700"/>
                  <a:pt x="749300" y="514350"/>
                </a:cubicBezTo>
                <a:cubicBezTo>
                  <a:pt x="747183" y="505883"/>
                  <a:pt x="745348" y="497341"/>
                  <a:pt x="742950" y="488950"/>
                </a:cubicBezTo>
                <a:cubicBezTo>
                  <a:pt x="741111" y="482514"/>
                  <a:pt x="735500" y="476502"/>
                  <a:pt x="736600" y="469900"/>
                </a:cubicBezTo>
                <a:cubicBezTo>
                  <a:pt x="737855" y="462372"/>
                  <a:pt x="743341" y="455618"/>
                  <a:pt x="749300" y="450850"/>
                </a:cubicBezTo>
                <a:cubicBezTo>
                  <a:pt x="754527" y="446669"/>
                  <a:pt x="761748" y="445600"/>
                  <a:pt x="768350" y="444500"/>
                </a:cubicBezTo>
                <a:cubicBezTo>
                  <a:pt x="787256" y="441349"/>
                  <a:pt x="806450" y="440267"/>
                  <a:pt x="825500" y="438150"/>
                </a:cubicBezTo>
                <a:lnTo>
                  <a:pt x="863600" y="425450"/>
                </a:lnTo>
                <a:lnTo>
                  <a:pt x="882650" y="419100"/>
                </a:lnTo>
                <a:cubicBezTo>
                  <a:pt x="920750" y="421217"/>
                  <a:pt x="959086" y="420717"/>
                  <a:pt x="996950" y="425450"/>
                </a:cubicBezTo>
                <a:cubicBezTo>
                  <a:pt x="1010234" y="427110"/>
                  <a:pt x="1021798" y="436257"/>
                  <a:pt x="1035050" y="438150"/>
                </a:cubicBezTo>
                <a:lnTo>
                  <a:pt x="1079500" y="444500"/>
                </a:lnTo>
                <a:lnTo>
                  <a:pt x="1155700" y="469900"/>
                </a:lnTo>
                <a:lnTo>
                  <a:pt x="1174750" y="476250"/>
                </a:lnTo>
                <a:lnTo>
                  <a:pt x="1193800" y="482600"/>
                </a:lnTo>
                <a:cubicBezTo>
                  <a:pt x="1200150" y="488950"/>
                  <a:pt x="1207869" y="494178"/>
                  <a:pt x="1212850" y="501650"/>
                </a:cubicBezTo>
                <a:cubicBezTo>
                  <a:pt x="1216563" y="507219"/>
                  <a:pt x="1216207" y="514713"/>
                  <a:pt x="1219200" y="520700"/>
                </a:cubicBezTo>
                <a:cubicBezTo>
                  <a:pt x="1222613" y="527526"/>
                  <a:pt x="1227667" y="533400"/>
                  <a:pt x="1231900" y="539750"/>
                </a:cubicBezTo>
                <a:cubicBezTo>
                  <a:pt x="1229783" y="546100"/>
                  <a:pt x="1230283" y="554067"/>
                  <a:pt x="1225550" y="558800"/>
                </a:cubicBezTo>
                <a:cubicBezTo>
                  <a:pt x="1222501" y="561849"/>
                  <a:pt x="1181335" y="571429"/>
                  <a:pt x="1181100" y="571500"/>
                </a:cubicBezTo>
                <a:cubicBezTo>
                  <a:pt x="1168278" y="575347"/>
                  <a:pt x="1155700" y="579967"/>
                  <a:pt x="1143000" y="584200"/>
                </a:cubicBezTo>
                <a:cubicBezTo>
                  <a:pt x="1136650" y="586317"/>
                  <a:pt x="1130552" y="589450"/>
                  <a:pt x="1123950" y="590550"/>
                </a:cubicBezTo>
                <a:cubicBezTo>
                  <a:pt x="1111250" y="592667"/>
                  <a:pt x="1098475" y="594375"/>
                  <a:pt x="1085850" y="596900"/>
                </a:cubicBezTo>
                <a:cubicBezTo>
                  <a:pt x="1065916" y="600887"/>
                  <a:pt x="1059556" y="603548"/>
                  <a:pt x="1041400" y="609600"/>
                </a:cubicBezTo>
                <a:cubicBezTo>
                  <a:pt x="1011767" y="607483"/>
                  <a:pt x="981880" y="607657"/>
                  <a:pt x="952500" y="603250"/>
                </a:cubicBezTo>
                <a:cubicBezTo>
                  <a:pt x="939261" y="601264"/>
                  <a:pt x="927100" y="594783"/>
                  <a:pt x="914400" y="590550"/>
                </a:cubicBezTo>
                <a:lnTo>
                  <a:pt x="895350" y="584200"/>
                </a:lnTo>
                <a:cubicBezTo>
                  <a:pt x="889000" y="582083"/>
                  <a:pt x="882794" y="579473"/>
                  <a:pt x="876300" y="577850"/>
                </a:cubicBezTo>
                <a:lnTo>
                  <a:pt x="850900" y="571500"/>
                </a:lnTo>
                <a:cubicBezTo>
                  <a:pt x="840317" y="573617"/>
                  <a:pt x="820676" y="567166"/>
                  <a:pt x="819150" y="577850"/>
                </a:cubicBezTo>
                <a:cubicBezTo>
                  <a:pt x="816991" y="592960"/>
                  <a:pt x="844550" y="615950"/>
                  <a:pt x="844550" y="615950"/>
                </a:cubicBezTo>
                <a:cubicBezTo>
                  <a:pt x="842135" y="628026"/>
                  <a:pt x="838359" y="653733"/>
                  <a:pt x="831850" y="666750"/>
                </a:cubicBezTo>
                <a:cubicBezTo>
                  <a:pt x="807231" y="715989"/>
                  <a:pt x="828761" y="656967"/>
                  <a:pt x="812800" y="704850"/>
                </a:cubicBezTo>
                <a:cubicBezTo>
                  <a:pt x="818767" y="722750"/>
                  <a:pt x="818741" y="732140"/>
                  <a:pt x="838200" y="742950"/>
                </a:cubicBezTo>
                <a:cubicBezTo>
                  <a:pt x="849902" y="749451"/>
                  <a:pt x="876300" y="755650"/>
                  <a:pt x="876300" y="755650"/>
                </a:cubicBezTo>
                <a:lnTo>
                  <a:pt x="920750" y="749300"/>
                </a:lnTo>
                <a:cubicBezTo>
                  <a:pt x="926114" y="743042"/>
                  <a:pt x="911809" y="703428"/>
                  <a:pt x="908050" y="692150"/>
                </a:cubicBezTo>
                <a:cubicBezTo>
                  <a:pt x="910167" y="685800"/>
                  <a:pt x="909667" y="677833"/>
                  <a:pt x="914400" y="673100"/>
                </a:cubicBezTo>
                <a:cubicBezTo>
                  <a:pt x="927417" y="660083"/>
                  <a:pt x="953124" y="670685"/>
                  <a:pt x="965200" y="673100"/>
                </a:cubicBezTo>
                <a:cubicBezTo>
                  <a:pt x="969433" y="679450"/>
                  <a:pt x="972504" y="686754"/>
                  <a:pt x="977900" y="692150"/>
                </a:cubicBezTo>
                <a:cubicBezTo>
                  <a:pt x="996098" y="710348"/>
                  <a:pt x="995342" y="700871"/>
                  <a:pt x="1016000" y="711200"/>
                </a:cubicBezTo>
                <a:cubicBezTo>
                  <a:pt x="1022826" y="714613"/>
                  <a:pt x="1028700" y="719667"/>
                  <a:pt x="1035050" y="723900"/>
                </a:cubicBezTo>
                <a:cubicBezTo>
                  <a:pt x="1103939" y="712418"/>
                  <a:pt x="1052700" y="733401"/>
                  <a:pt x="1079500" y="673100"/>
                </a:cubicBezTo>
                <a:cubicBezTo>
                  <a:pt x="1085183" y="660313"/>
                  <a:pt x="1114736" y="656814"/>
                  <a:pt x="1123950" y="654050"/>
                </a:cubicBezTo>
                <a:cubicBezTo>
                  <a:pt x="1136772" y="650203"/>
                  <a:pt x="1162050" y="641350"/>
                  <a:pt x="1162050" y="641350"/>
                </a:cubicBezTo>
                <a:cubicBezTo>
                  <a:pt x="1166283" y="635000"/>
                  <a:pt x="1167924" y="625713"/>
                  <a:pt x="1174750" y="622300"/>
                </a:cubicBezTo>
                <a:cubicBezTo>
                  <a:pt x="1190362" y="614494"/>
                  <a:pt x="1208991" y="615120"/>
                  <a:pt x="1225550" y="609600"/>
                </a:cubicBezTo>
                <a:lnTo>
                  <a:pt x="1244600" y="603250"/>
                </a:lnTo>
                <a:cubicBezTo>
                  <a:pt x="1274407" y="613186"/>
                  <a:pt x="1278265" y="617428"/>
                  <a:pt x="1320800" y="603250"/>
                </a:cubicBezTo>
                <a:cubicBezTo>
                  <a:pt x="1335280" y="598423"/>
                  <a:pt x="1358900" y="577850"/>
                  <a:pt x="1358900" y="577850"/>
                </a:cubicBezTo>
                <a:cubicBezTo>
                  <a:pt x="1362465" y="567155"/>
                  <a:pt x="1372268" y="550445"/>
                  <a:pt x="1358900" y="539750"/>
                </a:cubicBezTo>
                <a:cubicBezTo>
                  <a:pt x="1352085" y="534298"/>
                  <a:pt x="1341967" y="535517"/>
                  <a:pt x="1333500" y="533400"/>
                </a:cubicBezTo>
                <a:cubicBezTo>
                  <a:pt x="1341967" y="531283"/>
                  <a:pt x="1351323" y="531380"/>
                  <a:pt x="1358900" y="527050"/>
                </a:cubicBezTo>
                <a:cubicBezTo>
                  <a:pt x="1401226" y="502863"/>
                  <a:pt x="1357774" y="515251"/>
                  <a:pt x="1390650" y="488950"/>
                </a:cubicBezTo>
                <a:cubicBezTo>
                  <a:pt x="1395877" y="484769"/>
                  <a:pt x="1403713" y="485593"/>
                  <a:pt x="1409700" y="482600"/>
                </a:cubicBezTo>
                <a:cubicBezTo>
                  <a:pt x="1458939" y="457981"/>
                  <a:pt x="1399917" y="479511"/>
                  <a:pt x="1447800" y="463550"/>
                </a:cubicBezTo>
                <a:cubicBezTo>
                  <a:pt x="1454150" y="467783"/>
                  <a:pt x="1460024" y="472837"/>
                  <a:pt x="1466850" y="476250"/>
                </a:cubicBezTo>
                <a:cubicBezTo>
                  <a:pt x="1519430" y="502540"/>
                  <a:pt x="1450355" y="458904"/>
                  <a:pt x="1504950" y="495300"/>
                </a:cubicBezTo>
                <a:cubicBezTo>
                  <a:pt x="1502833" y="501650"/>
                  <a:pt x="1503333" y="509617"/>
                  <a:pt x="1498600" y="514350"/>
                </a:cubicBezTo>
                <a:cubicBezTo>
                  <a:pt x="1493867" y="519083"/>
                  <a:pt x="1485986" y="518861"/>
                  <a:pt x="1479550" y="520700"/>
                </a:cubicBezTo>
                <a:cubicBezTo>
                  <a:pt x="1423736" y="536647"/>
                  <a:pt x="1480775" y="518175"/>
                  <a:pt x="1435100" y="533400"/>
                </a:cubicBezTo>
                <a:cubicBezTo>
                  <a:pt x="1430867" y="539750"/>
                  <a:pt x="1423655" y="544922"/>
                  <a:pt x="1422400" y="552450"/>
                </a:cubicBezTo>
                <a:cubicBezTo>
                  <a:pt x="1419333" y="570853"/>
                  <a:pt x="1436670" y="576780"/>
                  <a:pt x="1447800" y="584200"/>
                </a:cubicBezTo>
                <a:cubicBezTo>
                  <a:pt x="1494517" y="574857"/>
                  <a:pt x="1473563" y="586830"/>
                  <a:pt x="1504950" y="539750"/>
                </a:cubicBezTo>
                <a:lnTo>
                  <a:pt x="1504950" y="539750"/>
                </a:lnTo>
                <a:lnTo>
                  <a:pt x="1581150" y="514350"/>
                </a:lnTo>
                <a:lnTo>
                  <a:pt x="1600200" y="508000"/>
                </a:lnTo>
                <a:cubicBezTo>
                  <a:pt x="1606550" y="505883"/>
                  <a:pt x="1612576" y="502163"/>
                  <a:pt x="1619250" y="501650"/>
                </a:cubicBezTo>
                <a:lnTo>
                  <a:pt x="1701800" y="495300"/>
                </a:lnTo>
                <a:cubicBezTo>
                  <a:pt x="1792342" y="465119"/>
                  <a:pt x="1698122" y="495444"/>
                  <a:pt x="1765300" y="476250"/>
                </a:cubicBezTo>
                <a:cubicBezTo>
                  <a:pt x="1771736" y="474411"/>
                  <a:pt x="1777724" y="470847"/>
                  <a:pt x="1784350" y="469900"/>
                </a:cubicBezTo>
                <a:cubicBezTo>
                  <a:pt x="1807494" y="466594"/>
                  <a:pt x="1830917" y="465667"/>
                  <a:pt x="1854200" y="463550"/>
                </a:cubicBezTo>
                <a:cubicBezTo>
                  <a:pt x="1901100" y="447917"/>
                  <a:pt x="1843540" y="460102"/>
                  <a:pt x="1879600" y="488950"/>
                </a:cubicBezTo>
                <a:cubicBezTo>
                  <a:pt x="1886415" y="494402"/>
                  <a:pt x="1896533" y="484717"/>
                  <a:pt x="1905000" y="482600"/>
                </a:cubicBezTo>
                <a:cubicBezTo>
                  <a:pt x="1911350" y="478367"/>
                  <a:pt x="1916534" y="471226"/>
                  <a:pt x="1924050" y="469900"/>
                </a:cubicBezTo>
                <a:cubicBezTo>
                  <a:pt x="1953307" y="464737"/>
                  <a:pt x="1983423" y="466831"/>
                  <a:pt x="2012950" y="463550"/>
                </a:cubicBezTo>
                <a:cubicBezTo>
                  <a:pt x="2021624" y="462586"/>
                  <a:pt x="2029883" y="459317"/>
                  <a:pt x="2038350" y="457200"/>
                </a:cubicBezTo>
                <a:cubicBezTo>
                  <a:pt x="2049735" y="449610"/>
                  <a:pt x="2073457" y="427310"/>
                  <a:pt x="2089150" y="450850"/>
                </a:cubicBezTo>
                <a:cubicBezTo>
                  <a:pt x="2095137" y="459830"/>
                  <a:pt x="2084917" y="472017"/>
                  <a:pt x="2082800" y="482600"/>
                </a:cubicBezTo>
                <a:cubicBezTo>
                  <a:pt x="2092035" y="510305"/>
                  <a:pt x="2083438" y="505517"/>
                  <a:pt x="2120900" y="495300"/>
                </a:cubicBezTo>
                <a:cubicBezTo>
                  <a:pt x="2133815" y="491778"/>
                  <a:pt x="2159000" y="482600"/>
                  <a:pt x="2159000" y="482600"/>
                </a:cubicBezTo>
                <a:cubicBezTo>
                  <a:pt x="2166820" y="459140"/>
                  <a:pt x="2171700" y="448286"/>
                  <a:pt x="2171700" y="419100"/>
                </a:cubicBezTo>
                <a:cubicBezTo>
                  <a:pt x="2171700" y="410373"/>
                  <a:pt x="2167467" y="402167"/>
                  <a:pt x="2165350" y="393700"/>
                </a:cubicBezTo>
                <a:lnTo>
                  <a:pt x="2203450" y="406400"/>
                </a:lnTo>
                <a:cubicBezTo>
                  <a:pt x="2221634" y="412461"/>
                  <a:pt x="2241625" y="410039"/>
                  <a:pt x="2260600" y="412750"/>
                </a:cubicBezTo>
                <a:cubicBezTo>
                  <a:pt x="2271284" y="414276"/>
                  <a:pt x="2281631" y="417839"/>
                  <a:pt x="2292350" y="419100"/>
                </a:cubicBezTo>
                <a:cubicBezTo>
                  <a:pt x="2317663" y="422078"/>
                  <a:pt x="2343150" y="423333"/>
                  <a:pt x="2368550" y="425450"/>
                </a:cubicBezTo>
                <a:cubicBezTo>
                  <a:pt x="2411450" y="439750"/>
                  <a:pt x="2364949" y="419918"/>
                  <a:pt x="2400300" y="450850"/>
                </a:cubicBezTo>
                <a:cubicBezTo>
                  <a:pt x="2427173" y="474364"/>
                  <a:pt x="2431285" y="473878"/>
                  <a:pt x="2457450" y="482600"/>
                </a:cubicBezTo>
                <a:cubicBezTo>
                  <a:pt x="2459109" y="482185"/>
                  <a:pt x="2497759" y="473213"/>
                  <a:pt x="2501900" y="469900"/>
                </a:cubicBezTo>
                <a:cubicBezTo>
                  <a:pt x="2507859" y="465132"/>
                  <a:pt x="2510367" y="457200"/>
                  <a:pt x="2514600" y="450850"/>
                </a:cubicBezTo>
                <a:cubicBezTo>
                  <a:pt x="2512483" y="442383"/>
                  <a:pt x="2513702" y="432265"/>
                  <a:pt x="2508250" y="425450"/>
                </a:cubicBezTo>
                <a:cubicBezTo>
                  <a:pt x="2504069" y="420223"/>
                  <a:pt x="2494427" y="423281"/>
                  <a:pt x="2489200" y="419100"/>
                </a:cubicBezTo>
                <a:cubicBezTo>
                  <a:pt x="2483241" y="414332"/>
                  <a:pt x="2480733" y="406400"/>
                  <a:pt x="2476500" y="400050"/>
                </a:cubicBezTo>
                <a:cubicBezTo>
                  <a:pt x="2489200" y="391583"/>
                  <a:pt x="2510898" y="389458"/>
                  <a:pt x="2514600" y="374650"/>
                </a:cubicBezTo>
                <a:cubicBezTo>
                  <a:pt x="2515015" y="372991"/>
                  <a:pt x="2523987" y="334341"/>
                  <a:pt x="2527300" y="330200"/>
                </a:cubicBezTo>
                <a:cubicBezTo>
                  <a:pt x="2542070" y="311737"/>
                  <a:pt x="2566156" y="316996"/>
                  <a:pt x="2584450" y="304800"/>
                </a:cubicBezTo>
                <a:cubicBezTo>
                  <a:pt x="2590800" y="300567"/>
                  <a:pt x="2596526" y="295200"/>
                  <a:pt x="2603500" y="292100"/>
                </a:cubicBezTo>
                <a:cubicBezTo>
                  <a:pt x="2615733" y="286663"/>
                  <a:pt x="2630461" y="286826"/>
                  <a:pt x="2641600" y="279400"/>
                </a:cubicBezTo>
                <a:cubicBezTo>
                  <a:pt x="2647950" y="275167"/>
                  <a:pt x="2653676" y="269800"/>
                  <a:pt x="2660650" y="266700"/>
                </a:cubicBezTo>
                <a:cubicBezTo>
                  <a:pt x="2672883" y="261263"/>
                  <a:pt x="2698750" y="254000"/>
                  <a:pt x="2698750" y="254000"/>
                </a:cubicBezTo>
                <a:cubicBezTo>
                  <a:pt x="2703447" y="246955"/>
                  <a:pt x="2721333" y="217428"/>
                  <a:pt x="2730500" y="215900"/>
                </a:cubicBezTo>
                <a:cubicBezTo>
                  <a:pt x="2749406" y="212749"/>
                  <a:pt x="2768600" y="220133"/>
                  <a:pt x="2787650" y="222250"/>
                </a:cubicBezTo>
                <a:cubicBezTo>
                  <a:pt x="2798345" y="229380"/>
                  <a:pt x="2817172" y="238404"/>
                  <a:pt x="2819400" y="254000"/>
                </a:cubicBezTo>
                <a:cubicBezTo>
                  <a:pt x="2820634" y="262640"/>
                  <a:pt x="2820152" y="274327"/>
                  <a:pt x="2813050" y="279400"/>
                </a:cubicBezTo>
                <a:cubicBezTo>
                  <a:pt x="2802573" y="286884"/>
                  <a:pt x="2787650" y="283633"/>
                  <a:pt x="2774950" y="285750"/>
                </a:cubicBezTo>
                <a:cubicBezTo>
                  <a:pt x="2772833" y="292100"/>
                  <a:pt x="2770439" y="298364"/>
                  <a:pt x="2768600" y="304800"/>
                </a:cubicBezTo>
                <a:cubicBezTo>
                  <a:pt x="2766202" y="313191"/>
                  <a:pt x="2767091" y="322938"/>
                  <a:pt x="2762250" y="330200"/>
                </a:cubicBezTo>
                <a:cubicBezTo>
                  <a:pt x="2758017" y="336550"/>
                  <a:pt x="2749550" y="338667"/>
                  <a:pt x="2743200" y="342900"/>
                </a:cubicBezTo>
                <a:cubicBezTo>
                  <a:pt x="2706804" y="397495"/>
                  <a:pt x="2750440" y="328420"/>
                  <a:pt x="2724150" y="381000"/>
                </a:cubicBezTo>
                <a:cubicBezTo>
                  <a:pt x="2705597" y="418106"/>
                  <a:pt x="2715741" y="381858"/>
                  <a:pt x="2705100" y="419100"/>
                </a:cubicBezTo>
                <a:cubicBezTo>
                  <a:pt x="2704593" y="420875"/>
                  <a:pt x="2695783" y="459321"/>
                  <a:pt x="2692400" y="463550"/>
                </a:cubicBezTo>
                <a:cubicBezTo>
                  <a:pt x="2683448" y="474741"/>
                  <a:pt x="2666849" y="478417"/>
                  <a:pt x="2654300" y="482600"/>
                </a:cubicBezTo>
                <a:cubicBezTo>
                  <a:pt x="2650067" y="488950"/>
                  <a:pt x="2646996" y="496254"/>
                  <a:pt x="2641600" y="501650"/>
                </a:cubicBezTo>
                <a:cubicBezTo>
                  <a:pt x="2636204" y="507046"/>
                  <a:pt x="2629524" y="511250"/>
                  <a:pt x="2622550" y="514350"/>
                </a:cubicBezTo>
                <a:cubicBezTo>
                  <a:pt x="2596183" y="526069"/>
                  <a:pt x="2579862" y="527968"/>
                  <a:pt x="2552700" y="533400"/>
                </a:cubicBezTo>
                <a:cubicBezTo>
                  <a:pt x="2546350" y="537633"/>
                  <a:pt x="2540822" y="543492"/>
                  <a:pt x="2533650" y="546100"/>
                </a:cubicBezTo>
                <a:cubicBezTo>
                  <a:pt x="2517246" y="552065"/>
                  <a:pt x="2482850" y="558800"/>
                  <a:pt x="2482850" y="558800"/>
                </a:cubicBezTo>
                <a:cubicBezTo>
                  <a:pt x="2480733" y="565150"/>
                  <a:pt x="2475400" y="571248"/>
                  <a:pt x="2476500" y="577850"/>
                </a:cubicBezTo>
                <a:cubicBezTo>
                  <a:pt x="2482651" y="614757"/>
                  <a:pt x="2524765" y="592948"/>
                  <a:pt x="2546350" y="590550"/>
                </a:cubicBezTo>
                <a:cubicBezTo>
                  <a:pt x="2570648" y="582451"/>
                  <a:pt x="2585858" y="576298"/>
                  <a:pt x="2609850" y="571500"/>
                </a:cubicBezTo>
                <a:cubicBezTo>
                  <a:pt x="2622475" y="568975"/>
                  <a:pt x="2635250" y="567267"/>
                  <a:pt x="2647950" y="565150"/>
                </a:cubicBezTo>
                <a:cubicBezTo>
                  <a:pt x="2654300" y="560917"/>
                  <a:pt x="2661974" y="558193"/>
                  <a:pt x="2667000" y="552450"/>
                </a:cubicBezTo>
                <a:cubicBezTo>
                  <a:pt x="2677051" y="540963"/>
                  <a:pt x="2677920" y="519177"/>
                  <a:pt x="2692400" y="514350"/>
                </a:cubicBezTo>
                <a:cubicBezTo>
                  <a:pt x="2698750" y="512233"/>
                  <a:pt x="2705463" y="510993"/>
                  <a:pt x="2711450" y="508000"/>
                </a:cubicBezTo>
                <a:cubicBezTo>
                  <a:pt x="2729131" y="499159"/>
                  <a:pt x="2735506" y="490294"/>
                  <a:pt x="2749550" y="476250"/>
                </a:cubicBezTo>
                <a:cubicBezTo>
                  <a:pt x="2751667" y="467783"/>
                  <a:pt x="2749729" y="457021"/>
                  <a:pt x="2755900" y="450850"/>
                </a:cubicBezTo>
                <a:cubicBezTo>
                  <a:pt x="2769432" y="437318"/>
                  <a:pt x="2808627" y="449055"/>
                  <a:pt x="2819400" y="450850"/>
                </a:cubicBezTo>
                <a:cubicBezTo>
                  <a:pt x="2825750" y="455083"/>
                  <a:pt x="2834405" y="457078"/>
                  <a:pt x="2838450" y="463550"/>
                </a:cubicBezTo>
                <a:cubicBezTo>
                  <a:pt x="2845545" y="474902"/>
                  <a:pt x="2851150" y="501650"/>
                  <a:pt x="2851150" y="501650"/>
                </a:cubicBezTo>
                <a:cubicBezTo>
                  <a:pt x="2849033" y="484717"/>
                  <a:pt x="2851731" y="466444"/>
                  <a:pt x="2844800" y="450850"/>
                </a:cubicBezTo>
                <a:cubicBezTo>
                  <a:pt x="2842082" y="444733"/>
                  <a:pt x="2832336" y="445697"/>
                  <a:pt x="2825750" y="444500"/>
                </a:cubicBezTo>
                <a:cubicBezTo>
                  <a:pt x="2808960" y="441447"/>
                  <a:pt x="2791883" y="440267"/>
                  <a:pt x="2774950" y="438150"/>
                </a:cubicBezTo>
                <a:cubicBezTo>
                  <a:pt x="2777067" y="431800"/>
                  <a:pt x="2778307" y="425087"/>
                  <a:pt x="2781300" y="419100"/>
                </a:cubicBezTo>
                <a:cubicBezTo>
                  <a:pt x="2784713" y="412274"/>
                  <a:pt x="2791587" y="407290"/>
                  <a:pt x="2794000" y="400050"/>
                </a:cubicBezTo>
                <a:cubicBezTo>
                  <a:pt x="2798071" y="387836"/>
                  <a:pt x="2797557" y="374519"/>
                  <a:pt x="2800350" y="361950"/>
                </a:cubicBezTo>
                <a:cubicBezTo>
                  <a:pt x="2801802" y="355416"/>
                  <a:pt x="2804583" y="349250"/>
                  <a:pt x="2806700" y="342900"/>
                </a:cubicBezTo>
                <a:cubicBezTo>
                  <a:pt x="2808817" y="328083"/>
                  <a:pt x="2806971" y="312127"/>
                  <a:pt x="2813050" y="298450"/>
                </a:cubicBezTo>
                <a:cubicBezTo>
                  <a:pt x="2816150" y="291476"/>
                  <a:pt x="2824638" y="287349"/>
                  <a:pt x="2832100" y="285750"/>
                </a:cubicBezTo>
                <a:cubicBezTo>
                  <a:pt x="2854960" y="280851"/>
                  <a:pt x="2878667" y="281517"/>
                  <a:pt x="2901950" y="279400"/>
                </a:cubicBezTo>
                <a:cubicBezTo>
                  <a:pt x="2904067" y="285750"/>
                  <a:pt x="2908300" y="291757"/>
                  <a:pt x="2908300" y="298450"/>
                </a:cubicBezTo>
                <a:cubicBezTo>
                  <a:pt x="2908300" y="326672"/>
                  <a:pt x="2887133" y="312561"/>
                  <a:pt x="2921000" y="323850"/>
                </a:cubicBezTo>
                <a:cubicBezTo>
                  <a:pt x="3029075" y="311842"/>
                  <a:pt x="2933605" y="334497"/>
                  <a:pt x="3016250" y="279400"/>
                </a:cubicBezTo>
                <a:lnTo>
                  <a:pt x="3054350" y="254000"/>
                </a:lnTo>
                <a:cubicBezTo>
                  <a:pt x="3067050" y="256117"/>
                  <a:pt x="3080496" y="255568"/>
                  <a:pt x="3092450" y="260350"/>
                </a:cubicBezTo>
                <a:cubicBezTo>
                  <a:pt x="3102276" y="264281"/>
                  <a:pt x="3108661" y="274149"/>
                  <a:pt x="3117850" y="279400"/>
                </a:cubicBezTo>
                <a:cubicBezTo>
                  <a:pt x="3123662" y="282721"/>
                  <a:pt x="3130550" y="283633"/>
                  <a:pt x="3136900" y="285750"/>
                </a:cubicBezTo>
                <a:cubicBezTo>
                  <a:pt x="3141133" y="292100"/>
                  <a:pt x="3142974" y="301014"/>
                  <a:pt x="3149600" y="304800"/>
                </a:cubicBezTo>
                <a:cubicBezTo>
                  <a:pt x="3158971" y="310155"/>
                  <a:pt x="3177098" y="301230"/>
                  <a:pt x="3181350" y="311150"/>
                </a:cubicBezTo>
                <a:cubicBezTo>
                  <a:pt x="3187264" y="324949"/>
                  <a:pt x="3164088" y="356092"/>
                  <a:pt x="3155950" y="368300"/>
                </a:cubicBezTo>
                <a:cubicBezTo>
                  <a:pt x="3175485" y="374812"/>
                  <a:pt x="3184165" y="381206"/>
                  <a:pt x="3206750" y="368300"/>
                </a:cubicBezTo>
                <a:cubicBezTo>
                  <a:pt x="3213376" y="364514"/>
                  <a:pt x="3215217" y="355600"/>
                  <a:pt x="3219450" y="349250"/>
                </a:cubicBezTo>
                <a:cubicBezTo>
                  <a:pt x="3221567" y="334433"/>
                  <a:pt x="3219107" y="318187"/>
                  <a:pt x="3225800" y="304800"/>
                </a:cubicBezTo>
                <a:cubicBezTo>
                  <a:pt x="3228793" y="298813"/>
                  <a:pt x="3240117" y="303183"/>
                  <a:pt x="3244850" y="298450"/>
                </a:cubicBezTo>
                <a:cubicBezTo>
                  <a:pt x="3249583" y="293717"/>
                  <a:pt x="3249083" y="285750"/>
                  <a:pt x="3251200" y="279400"/>
                </a:cubicBezTo>
                <a:cubicBezTo>
                  <a:pt x="3249083" y="273050"/>
                  <a:pt x="3249031" y="265577"/>
                  <a:pt x="3244850" y="260350"/>
                </a:cubicBezTo>
                <a:cubicBezTo>
                  <a:pt x="3228841" y="240339"/>
                  <a:pt x="3194822" y="243778"/>
                  <a:pt x="3175000" y="241300"/>
                </a:cubicBezTo>
                <a:cubicBezTo>
                  <a:pt x="3177117" y="234950"/>
                  <a:pt x="3176617" y="226983"/>
                  <a:pt x="3181350" y="222250"/>
                </a:cubicBezTo>
                <a:cubicBezTo>
                  <a:pt x="3186083" y="217517"/>
                  <a:pt x="3193964" y="217739"/>
                  <a:pt x="3200400" y="215900"/>
                </a:cubicBezTo>
                <a:cubicBezTo>
                  <a:pt x="3230340" y="207346"/>
                  <a:pt x="3234276" y="208339"/>
                  <a:pt x="3270250" y="203200"/>
                </a:cubicBezTo>
                <a:cubicBezTo>
                  <a:pt x="3313134" y="188905"/>
                  <a:pt x="3260346" y="205401"/>
                  <a:pt x="3327400" y="190500"/>
                </a:cubicBezTo>
                <a:cubicBezTo>
                  <a:pt x="3333934" y="189048"/>
                  <a:pt x="3339834" y="185168"/>
                  <a:pt x="3346450" y="184150"/>
                </a:cubicBezTo>
                <a:cubicBezTo>
                  <a:pt x="3367475" y="180915"/>
                  <a:pt x="3388864" y="180611"/>
                  <a:pt x="3409950" y="177800"/>
                </a:cubicBezTo>
                <a:cubicBezTo>
                  <a:pt x="3420648" y="176374"/>
                  <a:pt x="3431117" y="173567"/>
                  <a:pt x="3441700" y="171450"/>
                </a:cubicBezTo>
                <a:cubicBezTo>
                  <a:pt x="3445933" y="165100"/>
                  <a:pt x="3450987" y="159226"/>
                  <a:pt x="3454400" y="152400"/>
                </a:cubicBezTo>
                <a:cubicBezTo>
                  <a:pt x="3457393" y="146413"/>
                  <a:pt x="3456569" y="138577"/>
                  <a:pt x="3460750" y="133350"/>
                </a:cubicBezTo>
                <a:cubicBezTo>
                  <a:pt x="3465518" y="127391"/>
                  <a:pt x="3472974" y="124063"/>
                  <a:pt x="3479800" y="120650"/>
                </a:cubicBezTo>
                <a:cubicBezTo>
                  <a:pt x="3508665" y="106217"/>
                  <a:pt x="3573703" y="108953"/>
                  <a:pt x="3587750" y="107950"/>
                </a:cubicBezTo>
                <a:cubicBezTo>
                  <a:pt x="3596217" y="103717"/>
                  <a:pt x="3604287" y="98574"/>
                  <a:pt x="3613150" y="95250"/>
                </a:cubicBezTo>
                <a:cubicBezTo>
                  <a:pt x="3624413" y="91026"/>
                  <a:pt x="3660425" y="84745"/>
                  <a:pt x="3670300" y="82550"/>
                </a:cubicBezTo>
                <a:cubicBezTo>
                  <a:pt x="3739341" y="67208"/>
                  <a:pt x="3640431" y="81428"/>
                  <a:pt x="3790950" y="69850"/>
                </a:cubicBezTo>
                <a:cubicBezTo>
                  <a:pt x="3814260" y="68057"/>
                  <a:pt x="3837517" y="65617"/>
                  <a:pt x="3860800" y="63500"/>
                </a:cubicBezTo>
                <a:cubicBezTo>
                  <a:pt x="3955611" y="31896"/>
                  <a:pt x="3833944" y="70408"/>
                  <a:pt x="4108450" y="50800"/>
                </a:cubicBezTo>
                <a:lnTo>
                  <a:pt x="4165600" y="31750"/>
                </a:lnTo>
                <a:lnTo>
                  <a:pt x="4222750" y="12700"/>
                </a:lnTo>
                <a:cubicBezTo>
                  <a:pt x="4229100" y="10583"/>
                  <a:pt x="4235306" y="7973"/>
                  <a:pt x="4241800" y="6350"/>
                </a:cubicBezTo>
                <a:lnTo>
                  <a:pt x="4267200" y="0"/>
                </a:lnTo>
                <a:cubicBezTo>
                  <a:pt x="4290970" y="2971"/>
                  <a:pt x="4325135" y="5987"/>
                  <a:pt x="4349750" y="12700"/>
                </a:cubicBezTo>
                <a:cubicBezTo>
                  <a:pt x="4362665" y="16222"/>
                  <a:pt x="4375150" y="21167"/>
                  <a:pt x="4387850" y="25400"/>
                </a:cubicBezTo>
                <a:lnTo>
                  <a:pt x="4425950" y="38100"/>
                </a:lnTo>
                <a:cubicBezTo>
                  <a:pt x="4432300" y="40217"/>
                  <a:pt x="4438316" y="44098"/>
                  <a:pt x="4445000" y="44450"/>
                </a:cubicBezTo>
                <a:lnTo>
                  <a:pt x="4565650" y="50800"/>
                </a:lnTo>
                <a:cubicBezTo>
                  <a:pt x="4572382" y="70996"/>
                  <a:pt x="4582675" y="92410"/>
                  <a:pt x="4565650" y="114300"/>
                </a:cubicBezTo>
                <a:cubicBezTo>
                  <a:pt x="4557431" y="124867"/>
                  <a:pt x="4540250" y="122767"/>
                  <a:pt x="4527550" y="127000"/>
                </a:cubicBezTo>
                <a:lnTo>
                  <a:pt x="4508500" y="133350"/>
                </a:lnTo>
                <a:cubicBezTo>
                  <a:pt x="4502150" y="135467"/>
                  <a:pt x="4495019" y="135987"/>
                  <a:pt x="4489450" y="139700"/>
                </a:cubicBezTo>
                <a:cubicBezTo>
                  <a:pt x="4476750" y="148167"/>
                  <a:pt x="4465830" y="160273"/>
                  <a:pt x="4451350" y="165100"/>
                </a:cubicBezTo>
                <a:lnTo>
                  <a:pt x="4413250" y="177800"/>
                </a:lnTo>
                <a:cubicBezTo>
                  <a:pt x="4406900" y="179917"/>
                  <a:pt x="4400694" y="182527"/>
                  <a:pt x="4394200" y="184150"/>
                </a:cubicBezTo>
                <a:cubicBezTo>
                  <a:pt x="4385733" y="186267"/>
                  <a:pt x="4377159" y="187992"/>
                  <a:pt x="4368800" y="190500"/>
                </a:cubicBezTo>
                <a:lnTo>
                  <a:pt x="4311650" y="209550"/>
                </a:lnTo>
                <a:lnTo>
                  <a:pt x="4273550" y="222250"/>
                </a:lnTo>
                <a:cubicBezTo>
                  <a:pt x="4267200" y="224367"/>
                  <a:pt x="4261102" y="227500"/>
                  <a:pt x="4254500" y="228600"/>
                </a:cubicBezTo>
                <a:cubicBezTo>
                  <a:pt x="4241800" y="230717"/>
                  <a:pt x="4228969" y="232157"/>
                  <a:pt x="4216400" y="234950"/>
                </a:cubicBezTo>
                <a:cubicBezTo>
                  <a:pt x="4209866" y="236402"/>
                  <a:pt x="4190657" y="241300"/>
                  <a:pt x="4197350" y="241300"/>
                </a:cubicBezTo>
                <a:cubicBezTo>
                  <a:pt x="4207910" y="241300"/>
                  <a:pt x="4257155" y="222989"/>
                  <a:pt x="4260850" y="222250"/>
                </a:cubicBezTo>
                <a:cubicBezTo>
                  <a:pt x="4305727" y="213275"/>
                  <a:pt x="4282361" y="219313"/>
                  <a:pt x="4330700" y="203200"/>
                </a:cubicBezTo>
                <a:lnTo>
                  <a:pt x="4349750" y="196850"/>
                </a:lnTo>
                <a:lnTo>
                  <a:pt x="4368800" y="190500"/>
                </a:lnTo>
                <a:cubicBezTo>
                  <a:pt x="4413577" y="199455"/>
                  <a:pt x="4425678" y="203200"/>
                  <a:pt x="4483100" y="203200"/>
                </a:cubicBezTo>
                <a:cubicBezTo>
                  <a:pt x="4500165" y="203200"/>
                  <a:pt x="4516967" y="198967"/>
                  <a:pt x="4533900" y="196850"/>
                </a:cubicBezTo>
                <a:lnTo>
                  <a:pt x="4572000" y="184150"/>
                </a:lnTo>
                <a:lnTo>
                  <a:pt x="4591050" y="177800"/>
                </a:lnTo>
                <a:cubicBezTo>
                  <a:pt x="4639733" y="179917"/>
                  <a:pt x="4690175" y="171011"/>
                  <a:pt x="4737100" y="184150"/>
                </a:cubicBezTo>
                <a:cubicBezTo>
                  <a:pt x="4749991" y="187760"/>
                  <a:pt x="4737100" y="218017"/>
                  <a:pt x="4749800" y="222250"/>
                </a:cubicBezTo>
                <a:lnTo>
                  <a:pt x="4768850" y="228600"/>
                </a:lnTo>
                <a:cubicBezTo>
                  <a:pt x="4817533" y="226483"/>
                  <a:pt x="4867626" y="234069"/>
                  <a:pt x="4914900" y="222250"/>
                </a:cubicBezTo>
                <a:cubicBezTo>
                  <a:pt x="4925371" y="219632"/>
                  <a:pt x="4910934" y="193674"/>
                  <a:pt x="4921250" y="190500"/>
                </a:cubicBezTo>
                <a:cubicBezTo>
                  <a:pt x="4945611" y="183004"/>
                  <a:pt x="4972050" y="194733"/>
                  <a:pt x="4997450" y="196850"/>
                </a:cubicBezTo>
                <a:cubicBezTo>
                  <a:pt x="5006433" y="199844"/>
                  <a:pt x="5033927" y="209550"/>
                  <a:pt x="5041900" y="209550"/>
                </a:cubicBezTo>
                <a:cubicBezTo>
                  <a:pt x="5061067" y="209550"/>
                  <a:pt x="5080000" y="205317"/>
                  <a:pt x="5099050" y="203200"/>
                </a:cubicBezTo>
                <a:cubicBezTo>
                  <a:pt x="5191530" y="210314"/>
                  <a:pt x="5189404" y="182502"/>
                  <a:pt x="5175250" y="260350"/>
                </a:cubicBezTo>
                <a:cubicBezTo>
                  <a:pt x="5174053" y="266936"/>
                  <a:pt x="5171017" y="273050"/>
                  <a:pt x="5168900" y="279400"/>
                </a:cubicBezTo>
                <a:cubicBezTo>
                  <a:pt x="5174496" y="312977"/>
                  <a:pt x="5165728" y="317501"/>
                  <a:pt x="5194300" y="330200"/>
                </a:cubicBezTo>
                <a:cubicBezTo>
                  <a:pt x="5206533" y="335637"/>
                  <a:pt x="5219700" y="338667"/>
                  <a:pt x="5232400" y="342900"/>
                </a:cubicBezTo>
                <a:lnTo>
                  <a:pt x="5251450" y="349250"/>
                </a:lnTo>
                <a:cubicBezTo>
                  <a:pt x="5257800" y="347133"/>
                  <a:pt x="5266609" y="348347"/>
                  <a:pt x="5270500" y="342900"/>
                </a:cubicBezTo>
                <a:cubicBezTo>
                  <a:pt x="5278281" y="332007"/>
                  <a:pt x="5270073" y="307425"/>
                  <a:pt x="5283200" y="304800"/>
                </a:cubicBezTo>
                <a:lnTo>
                  <a:pt x="5314950" y="298450"/>
                </a:lnTo>
                <a:cubicBezTo>
                  <a:pt x="5402677" y="313071"/>
                  <a:pt x="5381040" y="311150"/>
                  <a:pt x="5530850" y="311150"/>
                </a:cubicBezTo>
                <a:cubicBezTo>
                  <a:pt x="5558448" y="311150"/>
                  <a:pt x="5585883" y="306917"/>
                  <a:pt x="5613400" y="304800"/>
                </a:cubicBezTo>
                <a:cubicBezTo>
                  <a:pt x="5615517" y="298450"/>
                  <a:pt x="5619750" y="292443"/>
                  <a:pt x="5619750" y="285750"/>
                </a:cubicBezTo>
                <a:cubicBezTo>
                  <a:pt x="5619750" y="279057"/>
                  <a:pt x="5610914" y="272915"/>
                  <a:pt x="5613400" y="266700"/>
                </a:cubicBezTo>
                <a:cubicBezTo>
                  <a:pt x="5617188" y="257231"/>
                  <a:pt x="5643481" y="250323"/>
                  <a:pt x="5651500" y="247650"/>
                </a:cubicBezTo>
                <a:lnTo>
                  <a:pt x="6032500" y="254000"/>
                </a:lnTo>
                <a:cubicBezTo>
                  <a:pt x="6039179" y="254438"/>
                  <a:pt x="6040967" y="266700"/>
                  <a:pt x="6038850" y="273050"/>
                </a:cubicBezTo>
                <a:cubicBezTo>
                  <a:pt x="6036010" y="281569"/>
                  <a:pt x="6026150" y="285750"/>
                  <a:pt x="6019800" y="292100"/>
                </a:cubicBezTo>
                <a:cubicBezTo>
                  <a:pt x="6029142" y="293034"/>
                  <a:pt x="6082256" y="293637"/>
                  <a:pt x="6102350" y="304800"/>
                </a:cubicBezTo>
                <a:cubicBezTo>
                  <a:pt x="6167854" y="341191"/>
                  <a:pt x="6116395" y="322182"/>
                  <a:pt x="6159500" y="336550"/>
                </a:cubicBezTo>
                <a:lnTo>
                  <a:pt x="6235700" y="330200"/>
                </a:lnTo>
                <a:cubicBezTo>
                  <a:pt x="6252680" y="328502"/>
                  <a:pt x="6269435" y="323850"/>
                  <a:pt x="6286500" y="323850"/>
                </a:cubicBezTo>
                <a:cubicBezTo>
                  <a:pt x="6331000" y="323850"/>
                  <a:pt x="6375400" y="328083"/>
                  <a:pt x="6419850" y="330200"/>
                </a:cubicBezTo>
                <a:cubicBezTo>
                  <a:pt x="6481171" y="371081"/>
                  <a:pt x="6390323" y="304030"/>
                  <a:pt x="6445250" y="374650"/>
                </a:cubicBezTo>
                <a:cubicBezTo>
                  <a:pt x="6454621" y="386698"/>
                  <a:pt x="6483350" y="400050"/>
                  <a:pt x="6483350" y="400050"/>
                </a:cubicBezTo>
                <a:lnTo>
                  <a:pt x="6794500" y="393700"/>
                </a:lnTo>
                <a:cubicBezTo>
                  <a:pt x="6801189" y="393443"/>
                  <a:pt x="6807563" y="384357"/>
                  <a:pt x="6813550" y="387350"/>
                </a:cubicBezTo>
                <a:cubicBezTo>
                  <a:pt x="6819537" y="390343"/>
                  <a:pt x="6816907" y="400413"/>
                  <a:pt x="6819900" y="406400"/>
                </a:cubicBezTo>
                <a:cubicBezTo>
                  <a:pt x="6823313" y="413226"/>
                  <a:pt x="6826857" y="420424"/>
                  <a:pt x="6832600" y="425450"/>
                </a:cubicBezTo>
                <a:cubicBezTo>
                  <a:pt x="6854652" y="444746"/>
                  <a:pt x="6865700" y="450328"/>
                  <a:pt x="6889750" y="457200"/>
                </a:cubicBezTo>
                <a:cubicBezTo>
                  <a:pt x="6898141" y="459598"/>
                  <a:pt x="6906683" y="461433"/>
                  <a:pt x="6915150" y="463550"/>
                </a:cubicBezTo>
                <a:cubicBezTo>
                  <a:pt x="6919383" y="457200"/>
                  <a:pt x="6926595" y="452028"/>
                  <a:pt x="6927850" y="444500"/>
                </a:cubicBezTo>
                <a:cubicBezTo>
                  <a:pt x="6928950" y="437898"/>
                  <a:pt x="6919014" y="431665"/>
                  <a:pt x="6921500" y="425450"/>
                </a:cubicBezTo>
                <a:cubicBezTo>
                  <a:pt x="6924334" y="418364"/>
                  <a:pt x="6933146" y="414601"/>
                  <a:pt x="6940550" y="412750"/>
                </a:cubicBezTo>
                <a:cubicBezTo>
                  <a:pt x="6959145" y="408101"/>
                  <a:pt x="6978650" y="408517"/>
                  <a:pt x="6997700" y="406400"/>
                </a:cubicBezTo>
                <a:cubicBezTo>
                  <a:pt x="7004050" y="402167"/>
                  <a:pt x="7009222" y="394955"/>
                  <a:pt x="7016750" y="393700"/>
                </a:cubicBezTo>
                <a:cubicBezTo>
                  <a:pt x="7179836" y="366519"/>
                  <a:pt x="7068948" y="401701"/>
                  <a:pt x="7131050" y="381000"/>
                </a:cubicBezTo>
                <a:lnTo>
                  <a:pt x="7181850" y="387350"/>
                </a:lnTo>
                <a:cubicBezTo>
                  <a:pt x="7200886" y="389590"/>
                  <a:pt x="7220001" y="391167"/>
                  <a:pt x="7239000" y="393700"/>
                </a:cubicBezTo>
                <a:cubicBezTo>
                  <a:pt x="7251762" y="395402"/>
                  <a:pt x="7264609" y="396927"/>
                  <a:pt x="7277100" y="400050"/>
                </a:cubicBezTo>
                <a:cubicBezTo>
                  <a:pt x="7290087" y="403297"/>
                  <a:pt x="7315200" y="412750"/>
                  <a:pt x="7315200" y="412750"/>
                </a:cubicBezTo>
                <a:cubicBezTo>
                  <a:pt x="7321550" y="419100"/>
                  <a:pt x="7326778" y="426819"/>
                  <a:pt x="7334250" y="431800"/>
                </a:cubicBezTo>
                <a:cubicBezTo>
                  <a:pt x="7339819" y="435513"/>
                  <a:pt x="7346806" y="436527"/>
                  <a:pt x="7353300" y="438150"/>
                </a:cubicBezTo>
                <a:cubicBezTo>
                  <a:pt x="7389554" y="447214"/>
                  <a:pt x="7377857" y="441072"/>
                  <a:pt x="7410450" y="450850"/>
                </a:cubicBezTo>
                <a:cubicBezTo>
                  <a:pt x="7423272" y="454697"/>
                  <a:pt x="7435563" y="460303"/>
                  <a:pt x="7448550" y="463550"/>
                </a:cubicBezTo>
                <a:cubicBezTo>
                  <a:pt x="7457017" y="465667"/>
                  <a:pt x="7465591" y="467392"/>
                  <a:pt x="7473950" y="469900"/>
                </a:cubicBezTo>
                <a:cubicBezTo>
                  <a:pt x="7486772" y="473747"/>
                  <a:pt x="7512050" y="482600"/>
                  <a:pt x="7512050" y="482600"/>
                </a:cubicBezTo>
                <a:cubicBezTo>
                  <a:pt x="7541893" y="512443"/>
                  <a:pt x="7523628" y="496669"/>
                  <a:pt x="7569200" y="527050"/>
                </a:cubicBezTo>
                <a:cubicBezTo>
                  <a:pt x="7575550" y="531283"/>
                  <a:pt x="7581424" y="536337"/>
                  <a:pt x="7588250" y="539750"/>
                </a:cubicBezTo>
                <a:cubicBezTo>
                  <a:pt x="7596717" y="543983"/>
                  <a:pt x="7604861" y="548934"/>
                  <a:pt x="7613650" y="552450"/>
                </a:cubicBezTo>
                <a:cubicBezTo>
                  <a:pt x="7626079" y="557422"/>
                  <a:pt x="7651750" y="565150"/>
                  <a:pt x="7651750" y="565150"/>
                </a:cubicBezTo>
                <a:cubicBezTo>
                  <a:pt x="7673972" y="631815"/>
                  <a:pt x="7639450" y="547990"/>
                  <a:pt x="7791450" y="590550"/>
                </a:cubicBezTo>
                <a:cubicBezTo>
                  <a:pt x="7806148" y="594665"/>
                  <a:pt x="7816850" y="628650"/>
                  <a:pt x="7816850" y="628650"/>
                </a:cubicBezTo>
                <a:cubicBezTo>
                  <a:pt x="7810500" y="635000"/>
                  <a:pt x="7805272" y="642719"/>
                  <a:pt x="7797800" y="647700"/>
                </a:cubicBezTo>
                <a:cubicBezTo>
                  <a:pt x="7792231" y="651413"/>
                  <a:pt x="7784737" y="651057"/>
                  <a:pt x="7778750" y="654050"/>
                </a:cubicBezTo>
                <a:cubicBezTo>
                  <a:pt x="7771924" y="657463"/>
                  <a:pt x="7766050" y="662517"/>
                  <a:pt x="7759700" y="666750"/>
                </a:cubicBezTo>
                <a:cubicBezTo>
                  <a:pt x="7750329" y="680807"/>
                  <a:pt x="7742618" y="695071"/>
                  <a:pt x="7727950" y="704850"/>
                </a:cubicBezTo>
                <a:cubicBezTo>
                  <a:pt x="7722381" y="708563"/>
                  <a:pt x="7715250" y="709083"/>
                  <a:pt x="7708900" y="711200"/>
                </a:cubicBezTo>
                <a:cubicBezTo>
                  <a:pt x="7670800" y="709083"/>
                  <a:pt x="7632587" y="708468"/>
                  <a:pt x="7594600" y="704850"/>
                </a:cubicBezTo>
                <a:cubicBezTo>
                  <a:pt x="7587937" y="704215"/>
                  <a:pt x="7580283" y="703233"/>
                  <a:pt x="7575550" y="698500"/>
                </a:cubicBezTo>
                <a:cubicBezTo>
                  <a:pt x="7559581" y="682531"/>
                  <a:pt x="7583028" y="668620"/>
                  <a:pt x="7550150" y="660400"/>
                </a:cubicBezTo>
                <a:cubicBezTo>
                  <a:pt x="7523376" y="653707"/>
                  <a:pt x="7495117" y="656167"/>
                  <a:pt x="7467600" y="654050"/>
                </a:cubicBezTo>
                <a:cubicBezTo>
                  <a:pt x="7463417" y="641501"/>
                  <a:pt x="7459741" y="624902"/>
                  <a:pt x="7448550" y="615950"/>
                </a:cubicBezTo>
                <a:cubicBezTo>
                  <a:pt x="7443323" y="611769"/>
                  <a:pt x="7435850" y="611717"/>
                  <a:pt x="7429500" y="609600"/>
                </a:cubicBezTo>
                <a:cubicBezTo>
                  <a:pt x="7359259" y="633014"/>
                  <a:pt x="7413395" y="602238"/>
                  <a:pt x="7385050" y="673100"/>
                </a:cubicBezTo>
                <a:cubicBezTo>
                  <a:pt x="7382216" y="680186"/>
                  <a:pt x="7373404" y="683949"/>
                  <a:pt x="7366000" y="685800"/>
                </a:cubicBezTo>
                <a:cubicBezTo>
                  <a:pt x="7347405" y="690449"/>
                  <a:pt x="7327900" y="690033"/>
                  <a:pt x="7308850" y="692150"/>
                </a:cubicBezTo>
                <a:cubicBezTo>
                  <a:pt x="7313083" y="698500"/>
                  <a:pt x="7318137" y="704374"/>
                  <a:pt x="7321550" y="711200"/>
                </a:cubicBezTo>
                <a:cubicBezTo>
                  <a:pt x="7324543" y="717187"/>
                  <a:pt x="7323167" y="725517"/>
                  <a:pt x="7327900" y="730250"/>
                </a:cubicBezTo>
                <a:cubicBezTo>
                  <a:pt x="7332633" y="734983"/>
                  <a:pt x="7340600" y="734483"/>
                  <a:pt x="7346950" y="736600"/>
                </a:cubicBezTo>
                <a:cubicBezTo>
                  <a:pt x="7362911" y="784483"/>
                  <a:pt x="7341381" y="725461"/>
                  <a:pt x="7366000" y="774700"/>
                </a:cubicBezTo>
                <a:cubicBezTo>
                  <a:pt x="7368993" y="780687"/>
                  <a:pt x="7370233" y="787400"/>
                  <a:pt x="7372350" y="793750"/>
                </a:cubicBezTo>
                <a:cubicBezTo>
                  <a:pt x="7370233" y="808567"/>
                  <a:pt x="7378747" y="830356"/>
                  <a:pt x="7366000" y="838200"/>
                </a:cubicBezTo>
                <a:cubicBezTo>
                  <a:pt x="7344293" y="851558"/>
                  <a:pt x="7315064" y="841181"/>
                  <a:pt x="7289800" y="844550"/>
                </a:cubicBezTo>
                <a:cubicBezTo>
                  <a:pt x="7283165" y="845435"/>
                  <a:pt x="7277244" y="849277"/>
                  <a:pt x="7270750" y="850900"/>
                </a:cubicBezTo>
                <a:cubicBezTo>
                  <a:pt x="7260279" y="853518"/>
                  <a:pt x="7249583" y="855133"/>
                  <a:pt x="7239000" y="857250"/>
                </a:cubicBezTo>
                <a:cubicBezTo>
                  <a:pt x="7232650" y="861483"/>
                  <a:pt x="7226965" y="866944"/>
                  <a:pt x="7219950" y="869950"/>
                </a:cubicBezTo>
                <a:cubicBezTo>
                  <a:pt x="7211928" y="873388"/>
                  <a:pt x="7202909" y="873792"/>
                  <a:pt x="7194550" y="876300"/>
                </a:cubicBezTo>
                <a:lnTo>
                  <a:pt x="7137400" y="895350"/>
                </a:lnTo>
                <a:lnTo>
                  <a:pt x="7118350" y="901700"/>
                </a:lnTo>
                <a:cubicBezTo>
                  <a:pt x="7112000" y="903817"/>
                  <a:pt x="7104869" y="904337"/>
                  <a:pt x="7099300" y="908050"/>
                </a:cubicBezTo>
                <a:lnTo>
                  <a:pt x="7042150" y="946150"/>
                </a:lnTo>
                <a:lnTo>
                  <a:pt x="7023100" y="958850"/>
                </a:lnTo>
                <a:cubicBezTo>
                  <a:pt x="7016750" y="963083"/>
                  <a:pt x="7011290" y="969137"/>
                  <a:pt x="7004050" y="971550"/>
                </a:cubicBezTo>
                <a:lnTo>
                  <a:pt x="6985000" y="977900"/>
                </a:lnTo>
                <a:cubicBezTo>
                  <a:pt x="6911128" y="970513"/>
                  <a:pt x="6920539" y="967701"/>
                  <a:pt x="6838950" y="977900"/>
                </a:cubicBezTo>
                <a:cubicBezTo>
                  <a:pt x="6832308" y="978730"/>
                  <a:pt x="6826250" y="982133"/>
                  <a:pt x="6819900" y="984250"/>
                </a:cubicBezTo>
                <a:cubicBezTo>
                  <a:pt x="6813550" y="982133"/>
                  <a:pt x="6806077" y="982081"/>
                  <a:pt x="6800850" y="977900"/>
                </a:cubicBezTo>
                <a:cubicBezTo>
                  <a:pt x="6794891" y="973132"/>
                  <a:pt x="6795488" y="960947"/>
                  <a:pt x="6788150" y="958850"/>
                </a:cubicBezTo>
                <a:cubicBezTo>
                  <a:pt x="6777772" y="955885"/>
                  <a:pt x="6766983" y="963083"/>
                  <a:pt x="6756400" y="965200"/>
                </a:cubicBezTo>
                <a:cubicBezTo>
                  <a:pt x="6754283" y="971550"/>
                  <a:pt x="6754783" y="979517"/>
                  <a:pt x="6750050" y="984250"/>
                </a:cubicBezTo>
                <a:cubicBezTo>
                  <a:pt x="6745317" y="988983"/>
                  <a:pt x="6737564" y="989287"/>
                  <a:pt x="6731000" y="990600"/>
                </a:cubicBezTo>
                <a:cubicBezTo>
                  <a:pt x="6716324" y="993535"/>
                  <a:pt x="6701367" y="994833"/>
                  <a:pt x="6686550" y="996950"/>
                </a:cubicBezTo>
                <a:cubicBezTo>
                  <a:pt x="6668365" y="1003012"/>
                  <a:pt x="6659642" y="1002764"/>
                  <a:pt x="6648450" y="1022350"/>
                </a:cubicBezTo>
                <a:cubicBezTo>
                  <a:pt x="6644120" y="1029927"/>
                  <a:pt x="6644498" y="1039359"/>
                  <a:pt x="6642100" y="1047750"/>
                </a:cubicBezTo>
                <a:cubicBezTo>
                  <a:pt x="6635527" y="1070754"/>
                  <a:pt x="6636965" y="1064978"/>
                  <a:pt x="6623050" y="1085850"/>
                </a:cubicBezTo>
                <a:cubicBezTo>
                  <a:pt x="6625167" y="1092200"/>
                  <a:pt x="6624173" y="1100719"/>
                  <a:pt x="6629400" y="1104900"/>
                </a:cubicBezTo>
                <a:cubicBezTo>
                  <a:pt x="6669267" y="1136794"/>
                  <a:pt x="6645925" y="1084625"/>
                  <a:pt x="6661150" y="1130300"/>
                </a:cubicBezTo>
                <a:cubicBezTo>
                  <a:pt x="6646333" y="1174750"/>
                  <a:pt x="6635750" y="1164167"/>
                  <a:pt x="6667500" y="1174750"/>
                </a:cubicBezTo>
                <a:cubicBezTo>
                  <a:pt x="6680107" y="1193660"/>
                  <a:pt x="6697744" y="1210942"/>
                  <a:pt x="6673850" y="1238250"/>
                </a:cubicBezTo>
                <a:cubicBezTo>
                  <a:pt x="6665372" y="1247940"/>
                  <a:pt x="6648450" y="1242483"/>
                  <a:pt x="6635750" y="1244600"/>
                </a:cubicBezTo>
                <a:cubicBezTo>
                  <a:pt x="6633633" y="1263650"/>
                  <a:pt x="6639690" y="1285579"/>
                  <a:pt x="6629400" y="1301750"/>
                </a:cubicBezTo>
                <a:cubicBezTo>
                  <a:pt x="6622213" y="1313044"/>
                  <a:pt x="6604000" y="1310217"/>
                  <a:pt x="6591300" y="1314450"/>
                </a:cubicBezTo>
                <a:lnTo>
                  <a:pt x="6572250" y="1320800"/>
                </a:lnTo>
                <a:cubicBezTo>
                  <a:pt x="6563783" y="1333500"/>
                  <a:pt x="6551677" y="1344420"/>
                  <a:pt x="6546850" y="1358900"/>
                </a:cubicBezTo>
                <a:cubicBezTo>
                  <a:pt x="6542617" y="1371600"/>
                  <a:pt x="6547434" y="1395340"/>
                  <a:pt x="6534150" y="1397000"/>
                </a:cubicBezTo>
                <a:lnTo>
                  <a:pt x="6483350" y="1403350"/>
                </a:lnTo>
                <a:cubicBezTo>
                  <a:pt x="6467389" y="1451233"/>
                  <a:pt x="6488919" y="1392211"/>
                  <a:pt x="6464300" y="1441450"/>
                </a:cubicBezTo>
                <a:cubicBezTo>
                  <a:pt x="6461307" y="1447437"/>
                  <a:pt x="6462131" y="1455273"/>
                  <a:pt x="6457950" y="1460500"/>
                </a:cubicBezTo>
                <a:cubicBezTo>
                  <a:pt x="6453182" y="1466459"/>
                  <a:pt x="6445250" y="1468967"/>
                  <a:pt x="6438900" y="1473200"/>
                </a:cubicBezTo>
                <a:cubicBezTo>
                  <a:pt x="6434667" y="1479550"/>
                  <a:pt x="6431596" y="1486854"/>
                  <a:pt x="6426200" y="1492250"/>
                </a:cubicBezTo>
                <a:cubicBezTo>
                  <a:pt x="6413890" y="1504560"/>
                  <a:pt x="6403594" y="1506135"/>
                  <a:pt x="6388100" y="1511300"/>
                </a:cubicBezTo>
                <a:cubicBezTo>
                  <a:pt x="6345267" y="1554133"/>
                  <a:pt x="6355680" y="1566439"/>
                  <a:pt x="6343650" y="1530350"/>
                </a:cubicBezTo>
                <a:cubicBezTo>
                  <a:pt x="6347883" y="1524000"/>
                  <a:pt x="6355765" y="1518909"/>
                  <a:pt x="6356350" y="1511300"/>
                </a:cubicBezTo>
                <a:cubicBezTo>
                  <a:pt x="6358344" y="1485384"/>
                  <a:pt x="6351380" y="1449455"/>
                  <a:pt x="6343650" y="1422400"/>
                </a:cubicBezTo>
                <a:cubicBezTo>
                  <a:pt x="6341811" y="1415964"/>
                  <a:pt x="6339139" y="1409786"/>
                  <a:pt x="6337300" y="1403350"/>
                </a:cubicBezTo>
                <a:cubicBezTo>
                  <a:pt x="6334902" y="1394959"/>
                  <a:pt x="6333458" y="1386309"/>
                  <a:pt x="6330950" y="1377950"/>
                </a:cubicBezTo>
                <a:cubicBezTo>
                  <a:pt x="6327103" y="1365128"/>
                  <a:pt x="6322483" y="1352550"/>
                  <a:pt x="6318250" y="1339850"/>
                </a:cubicBezTo>
                <a:lnTo>
                  <a:pt x="6311900" y="1320800"/>
                </a:lnTo>
                <a:cubicBezTo>
                  <a:pt x="6314017" y="1278467"/>
                  <a:pt x="6310319" y="1235438"/>
                  <a:pt x="6318250" y="1193800"/>
                </a:cubicBezTo>
                <a:cubicBezTo>
                  <a:pt x="6319502" y="1187225"/>
                  <a:pt x="6333409" y="1192897"/>
                  <a:pt x="6337300" y="1187450"/>
                </a:cubicBezTo>
                <a:cubicBezTo>
                  <a:pt x="6345081" y="1176557"/>
                  <a:pt x="6345767" y="1162050"/>
                  <a:pt x="6350000" y="1149350"/>
                </a:cubicBezTo>
                <a:cubicBezTo>
                  <a:pt x="6352117" y="1143000"/>
                  <a:pt x="6350781" y="1134013"/>
                  <a:pt x="6356350" y="1130300"/>
                </a:cubicBezTo>
                <a:cubicBezTo>
                  <a:pt x="6389502" y="1108199"/>
                  <a:pt x="6360673" y="1123925"/>
                  <a:pt x="6407150" y="1111250"/>
                </a:cubicBezTo>
                <a:cubicBezTo>
                  <a:pt x="6420065" y="1107728"/>
                  <a:pt x="6445250" y="1098550"/>
                  <a:pt x="6445250" y="1098550"/>
                </a:cubicBezTo>
                <a:cubicBezTo>
                  <a:pt x="6453717" y="1085850"/>
                  <a:pt x="6465823" y="1074930"/>
                  <a:pt x="6470650" y="1060450"/>
                </a:cubicBezTo>
                <a:cubicBezTo>
                  <a:pt x="6472767" y="1054100"/>
                  <a:pt x="6472267" y="1046133"/>
                  <a:pt x="6477000" y="1041400"/>
                </a:cubicBezTo>
                <a:cubicBezTo>
                  <a:pt x="6481733" y="1036667"/>
                  <a:pt x="6489700" y="1037167"/>
                  <a:pt x="6496050" y="1035050"/>
                </a:cubicBezTo>
                <a:cubicBezTo>
                  <a:pt x="6502400" y="1028700"/>
                  <a:pt x="6507250" y="1020361"/>
                  <a:pt x="6515100" y="1016000"/>
                </a:cubicBezTo>
                <a:cubicBezTo>
                  <a:pt x="6526802" y="1009499"/>
                  <a:pt x="6540500" y="1007533"/>
                  <a:pt x="6553200" y="1003300"/>
                </a:cubicBezTo>
                <a:cubicBezTo>
                  <a:pt x="6559550" y="1001183"/>
                  <a:pt x="6566681" y="1000663"/>
                  <a:pt x="6572250" y="996950"/>
                </a:cubicBezTo>
                <a:lnTo>
                  <a:pt x="6610350" y="971550"/>
                </a:lnTo>
                <a:cubicBezTo>
                  <a:pt x="6645209" y="919261"/>
                  <a:pt x="6599631" y="979181"/>
                  <a:pt x="6642100" y="946150"/>
                </a:cubicBezTo>
                <a:cubicBezTo>
                  <a:pt x="6655869" y="935440"/>
                  <a:pt x="6682869" y="909062"/>
                  <a:pt x="6692900" y="889000"/>
                </a:cubicBezTo>
                <a:cubicBezTo>
                  <a:pt x="6695893" y="883013"/>
                  <a:pt x="6697133" y="876300"/>
                  <a:pt x="6699250" y="869950"/>
                </a:cubicBezTo>
                <a:cubicBezTo>
                  <a:pt x="6690515" y="791336"/>
                  <a:pt x="6709462" y="807694"/>
                  <a:pt x="6673850" y="825500"/>
                </a:cubicBezTo>
                <a:cubicBezTo>
                  <a:pt x="6667863" y="828493"/>
                  <a:pt x="6661150" y="829733"/>
                  <a:pt x="6654800" y="831850"/>
                </a:cubicBezTo>
                <a:cubicBezTo>
                  <a:pt x="6652683" y="838200"/>
                  <a:pt x="6650289" y="844464"/>
                  <a:pt x="6648450" y="850900"/>
                </a:cubicBezTo>
                <a:cubicBezTo>
                  <a:pt x="6646052" y="859291"/>
                  <a:pt x="6647847" y="869732"/>
                  <a:pt x="6642100" y="876300"/>
                </a:cubicBezTo>
                <a:cubicBezTo>
                  <a:pt x="6626939" y="893627"/>
                  <a:pt x="6605978" y="902042"/>
                  <a:pt x="6584950" y="908050"/>
                </a:cubicBezTo>
                <a:cubicBezTo>
                  <a:pt x="6576559" y="910448"/>
                  <a:pt x="6567909" y="911892"/>
                  <a:pt x="6559550" y="914400"/>
                </a:cubicBezTo>
                <a:cubicBezTo>
                  <a:pt x="6546728" y="918247"/>
                  <a:pt x="6521450" y="927100"/>
                  <a:pt x="6521450" y="927100"/>
                </a:cubicBezTo>
                <a:cubicBezTo>
                  <a:pt x="6519333" y="920750"/>
                  <a:pt x="6516723" y="914544"/>
                  <a:pt x="6515100" y="908050"/>
                </a:cubicBezTo>
                <a:cubicBezTo>
                  <a:pt x="6512482" y="897579"/>
                  <a:pt x="6514105" y="885671"/>
                  <a:pt x="6508750" y="876300"/>
                </a:cubicBezTo>
                <a:cubicBezTo>
                  <a:pt x="6502957" y="866163"/>
                  <a:pt x="6480428" y="860509"/>
                  <a:pt x="6470650" y="857250"/>
                </a:cubicBezTo>
                <a:cubicBezTo>
                  <a:pt x="6451600" y="859367"/>
                  <a:pt x="6432295" y="859841"/>
                  <a:pt x="6413500" y="863600"/>
                </a:cubicBezTo>
                <a:cubicBezTo>
                  <a:pt x="6400373" y="866225"/>
                  <a:pt x="6375400" y="876300"/>
                  <a:pt x="6375400" y="876300"/>
                </a:cubicBezTo>
                <a:cubicBezTo>
                  <a:pt x="6315611" y="936089"/>
                  <a:pt x="6411489" y="845891"/>
                  <a:pt x="6318250" y="908050"/>
                </a:cubicBezTo>
                <a:cubicBezTo>
                  <a:pt x="6293631" y="924463"/>
                  <a:pt x="6306440" y="918337"/>
                  <a:pt x="6280150" y="927100"/>
                </a:cubicBezTo>
                <a:cubicBezTo>
                  <a:pt x="6273800" y="933450"/>
                  <a:pt x="6266081" y="938678"/>
                  <a:pt x="6261100" y="946150"/>
                </a:cubicBezTo>
                <a:cubicBezTo>
                  <a:pt x="6257387" y="951719"/>
                  <a:pt x="6258931" y="959973"/>
                  <a:pt x="6254750" y="965200"/>
                </a:cubicBezTo>
                <a:cubicBezTo>
                  <a:pt x="6249982" y="971159"/>
                  <a:pt x="6242050" y="973667"/>
                  <a:pt x="6235700" y="977900"/>
                </a:cubicBezTo>
                <a:cubicBezTo>
                  <a:pt x="6237817" y="988483"/>
                  <a:pt x="6239432" y="999179"/>
                  <a:pt x="6242050" y="1009650"/>
                </a:cubicBezTo>
                <a:cubicBezTo>
                  <a:pt x="6243673" y="1016144"/>
                  <a:pt x="6253133" y="1023967"/>
                  <a:pt x="6248400" y="1028700"/>
                </a:cubicBezTo>
                <a:cubicBezTo>
                  <a:pt x="6238934" y="1038166"/>
                  <a:pt x="6210300" y="1041400"/>
                  <a:pt x="6210300" y="1041400"/>
                </a:cubicBezTo>
                <a:lnTo>
                  <a:pt x="6102350" y="1028700"/>
                </a:lnTo>
                <a:cubicBezTo>
                  <a:pt x="6089260" y="1025895"/>
                  <a:pt x="6076950" y="1020233"/>
                  <a:pt x="6064250" y="1016000"/>
                </a:cubicBezTo>
                <a:lnTo>
                  <a:pt x="6045200" y="1009650"/>
                </a:lnTo>
                <a:cubicBezTo>
                  <a:pt x="6028267" y="1011767"/>
                  <a:pt x="6011190" y="1012947"/>
                  <a:pt x="5994400" y="1016000"/>
                </a:cubicBezTo>
                <a:cubicBezTo>
                  <a:pt x="5987814" y="1017197"/>
                  <a:pt x="5982025" y="1021856"/>
                  <a:pt x="5975350" y="1022350"/>
                </a:cubicBezTo>
                <a:cubicBezTo>
                  <a:pt x="5924645" y="1026106"/>
                  <a:pt x="5873731" y="1026161"/>
                  <a:pt x="5822950" y="1028700"/>
                </a:cubicBezTo>
                <a:cubicBezTo>
                  <a:pt x="5789060" y="1030395"/>
                  <a:pt x="5755217" y="1032933"/>
                  <a:pt x="5721350" y="1035050"/>
                </a:cubicBezTo>
                <a:lnTo>
                  <a:pt x="5683250" y="1047750"/>
                </a:lnTo>
                <a:cubicBezTo>
                  <a:pt x="5676900" y="1049867"/>
                  <a:pt x="5670694" y="1052477"/>
                  <a:pt x="5664200" y="1054100"/>
                </a:cubicBezTo>
                <a:cubicBezTo>
                  <a:pt x="5606906" y="1068423"/>
                  <a:pt x="5629959" y="1061280"/>
                  <a:pt x="5594350" y="1073150"/>
                </a:cubicBezTo>
                <a:cubicBezTo>
                  <a:pt x="5580495" y="1114714"/>
                  <a:pt x="5599738" y="1073920"/>
                  <a:pt x="5568950" y="1098550"/>
                </a:cubicBezTo>
                <a:cubicBezTo>
                  <a:pt x="5562991" y="1103318"/>
                  <a:pt x="5561136" y="1111737"/>
                  <a:pt x="5556250" y="1117600"/>
                </a:cubicBezTo>
                <a:cubicBezTo>
                  <a:pt x="5550501" y="1124499"/>
                  <a:pt x="5542949" y="1129751"/>
                  <a:pt x="5537200" y="1136650"/>
                </a:cubicBezTo>
                <a:cubicBezTo>
                  <a:pt x="5510742" y="1168400"/>
                  <a:pt x="5540375" y="1145117"/>
                  <a:pt x="5505450" y="1168400"/>
                </a:cubicBezTo>
                <a:cubicBezTo>
                  <a:pt x="5484041" y="1200513"/>
                  <a:pt x="5504372" y="1178464"/>
                  <a:pt x="5473700" y="1193800"/>
                </a:cubicBezTo>
                <a:cubicBezTo>
                  <a:pt x="5466874" y="1197213"/>
                  <a:pt x="5461624" y="1203400"/>
                  <a:pt x="5454650" y="1206500"/>
                </a:cubicBezTo>
                <a:cubicBezTo>
                  <a:pt x="5421619" y="1221180"/>
                  <a:pt x="5408260" y="1220384"/>
                  <a:pt x="5372100" y="1225550"/>
                </a:cubicBezTo>
                <a:cubicBezTo>
                  <a:pt x="5317505" y="1261946"/>
                  <a:pt x="5381753" y="1213483"/>
                  <a:pt x="5346700" y="1257300"/>
                </a:cubicBezTo>
                <a:cubicBezTo>
                  <a:pt x="5341932" y="1263259"/>
                  <a:pt x="5334000" y="1265767"/>
                  <a:pt x="5327650" y="1270000"/>
                </a:cubicBezTo>
                <a:cubicBezTo>
                  <a:pt x="5325533" y="1276350"/>
                  <a:pt x="5321300" y="1282357"/>
                  <a:pt x="5321300" y="1289050"/>
                </a:cubicBezTo>
                <a:cubicBezTo>
                  <a:pt x="5321300" y="1323271"/>
                  <a:pt x="5325016" y="1323199"/>
                  <a:pt x="5340350" y="1346200"/>
                </a:cubicBezTo>
                <a:cubicBezTo>
                  <a:pt x="5342467" y="1361017"/>
                  <a:pt x="5337118" y="1379152"/>
                  <a:pt x="5346700" y="1390650"/>
                </a:cubicBezTo>
                <a:cubicBezTo>
                  <a:pt x="5352287" y="1397354"/>
                  <a:pt x="5364294" y="1388203"/>
                  <a:pt x="5372100" y="1384300"/>
                </a:cubicBezTo>
                <a:cubicBezTo>
                  <a:pt x="5385752" y="1377474"/>
                  <a:pt x="5395054" y="1360793"/>
                  <a:pt x="5410200" y="1358900"/>
                </a:cubicBezTo>
                <a:lnTo>
                  <a:pt x="5461000" y="1352550"/>
                </a:lnTo>
                <a:cubicBezTo>
                  <a:pt x="5467350" y="1350433"/>
                  <a:pt x="5474063" y="1349193"/>
                  <a:pt x="5480050" y="1346200"/>
                </a:cubicBezTo>
                <a:cubicBezTo>
                  <a:pt x="5486876" y="1342787"/>
                  <a:pt x="5491468" y="1333500"/>
                  <a:pt x="5499100" y="1333500"/>
                </a:cubicBezTo>
                <a:cubicBezTo>
                  <a:pt x="5506732" y="1333500"/>
                  <a:pt x="5511800" y="1341967"/>
                  <a:pt x="5518150" y="1346200"/>
                </a:cubicBezTo>
                <a:cubicBezTo>
                  <a:pt x="5520267" y="1352550"/>
                  <a:pt x="5521507" y="1359263"/>
                  <a:pt x="5524500" y="1365250"/>
                </a:cubicBezTo>
                <a:cubicBezTo>
                  <a:pt x="5536324" y="1388899"/>
                  <a:pt x="5538695" y="1382284"/>
                  <a:pt x="5556250" y="1403350"/>
                </a:cubicBezTo>
                <a:cubicBezTo>
                  <a:pt x="5561136" y="1409213"/>
                  <a:pt x="5564717" y="1416050"/>
                  <a:pt x="5568950" y="1422400"/>
                </a:cubicBezTo>
                <a:cubicBezTo>
                  <a:pt x="5566833" y="1462617"/>
                  <a:pt x="5566246" y="1502943"/>
                  <a:pt x="5562600" y="1543050"/>
                </a:cubicBezTo>
                <a:cubicBezTo>
                  <a:pt x="5560615" y="1564885"/>
                  <a:pt x="5552234" y="1561610"/>
                  <a:pt x="5543550" y="1581150"/>
                </a:cubicBezTo>
                <a:cubicBezTo>
                  <a:pt x="5538113" y="1593383"/>
                  <a:pt x="5530850" y="1619250"/>
                  <a:pt x="5530850" y="1619250"/>
                </a:cubicBezTo>
                <a:cubicBezTo>
                  <a:pt x="5528733" y="1634067"/>
                  <a:pt x="5527865" y="1649116"/>
                  <a:pt x="5524500" y="1663700"/>
                </a:cubicBezTo>
                <a:cubicBezTo>
                  <a:pt x="5521490" y="1676744"/>
                  <a:pt x="5516033" y="1689100"/>
                  <a:pt x="5511800" y="1701800"/>
                </a:cubicBezTo>
                <a:lnTo>
                  <a:pt x="5505450" y="1720850"/>
                </a:lnTo>
                <a:lnTo>
                  <a:pt x="5499100" y="1739900"/>
                </a:lnTo>
                <a:cubicBezTo>
                  <a:pt x="5496983" y="1746250"/>
                  <a:pt x="5496463" y="1753381"/>
                  <a:pt x="5492750" y="1758950"/>
                </a:cubicBezTo>
                <a:cubicBezTo>
                  <a:pt x="5484283" y="1771650"/>
                  <a:pt x="5472177" y="1782570"/>
                  <a:pt x="5467350" y="1797050"/>
                </a:cubicBezTo>
                <a:cubicBezTo>
                  <a:pt x="5465233" y="1803400"/>
                  <a:pt x="5464713" y="1810531"/>
                  <a:pt x="5461000" y="1816100"/>
                </a:cubicBezTo>
                <a:cubicBezTo>
                  <a:pt x="5456019" y="1823572"/>
                  <a:pt x="5447463" y="1828061"/>
                  <a:pt x="5441950" y="1835150"/>
                </a:cubicBezTo>
                <a:lnTo>
                  <a:pt x="5403850" y="1892300"/>
                </a:lnTo>
                <a:cubicBezTo>
                  <a:pt x="5399617" y="1898650"/>
                  <a:pt x="5396546" y="1905954"/>
                  <a:pt x="5391150" y="1911350"/>
                </a:cubicBezTo>
                <a:cubicBezTo>
                  <a:pt x="5377106" y="1925394"/>
                  <a:pt x="5370731" y="1934259"/>
                  <a:pt x="5353050" y="1943100"/>
                </a:cubicBezTo>
                <a:cubicBezTo>
                  <a:pt x="5347063" y="1946093"/>
                  <a:pt x="5340350" y="1947333"/>
                  <a:pt x="5334000" y="1949450"/>
                </a:cubicBezTo>
                <a:cubicBezTo>
                  <a:pt x="5329767" y="1955800"/>
                  <a:pt x="5327772" y="1964455"/>
                  <a:pt x="5321300" y="1968500"/>
                </a:cubicBezTo>
                <a:cubicBezTo>
                  <a:pt x="5309948" y="1975595"/>
                  <a:pt x="5283200" y="1981200"/>
                  <a:pt x="5283200" y="1981200"/>
                </a:cubicBezTo>
                <a:cubicBezTo>
                  <a:pt x="5271056" y="2017633"/>
                  <a:pt x="5285547" y="1983625"/>
                  <a:pt x="5257800" y="2019300"/>
                </a:cubicBezTo>
                <a:cubicBezTo>
                  <a:pt x="5248429" y="2031348"/>
                  <a:pt x="5246880" y="2052573"/>
                  <a:pt x="5232400" y="2057400"/>
                </a:cubicBezTo>
                <a:cubicBezTo>
                  <a:pt x="5226050" y="2059517"/>
                  <a:pt x="5219201" y="2060499"/>
                  <a:pt x="5213350" y="2063750"/>
                </a:cubicBezTo>
                <a:cubicBezTo>
                  <a:pt x="5200007" y="2071163"/>
                  <a:pt x="5189730" y="2084323"/>
                  <a:pt x="5175250" y="2089150"/>
                </a:cubicBezTo>
                <a:lnTo>
                  <a:pt x="5156200" y="2095500"/>
                </a:lnTo>
                <a:cubicBezTo>
                  <a:pt x="5126567" y="2093383"/>
                  <a:pt x="5096680" y="2093557"/>
                  <a:pt x="5067300" y="2089150"/>
                </a:cubicBezTo>
                <a:cubicBezTo>
                  <a:pt x="5054061" y="2087164"/>
                  <a:pt x="5029200" y="2076450"/>
                  <a:pt x="5029200" y="2076450"/>
                </a:cubicBezTo>
                <a:cubicBezTo>
                  <a:pt x="5025277" y="2082335"/>
                  <a:pt x="5012786" y="2109518"/>
                  <a:pt x="4997450" y="2101850"/>
                </a:cubicBezTo>
                <a:cubicBezTo>
                  <a:pt x="4991463" y="2098857"/>
                  <a:pt x="4993217" y="2089150"/>
                  <a:pt x="4991100" y="2082800"/>
                </a:cubicBezTo>
                <a:cubicBezTo>
                  <a:pt x="4997450" y="2078567"/>
                  <a:pt x="5007906" y="2077394"/>
                  <a:pt x="5010150" y="2070100"/>
                </a:cubicBezTo>
                <a:cubicBezTo>
                  <a:pt x="5017026" y="2047755"/>
                  <a:pt x="5011601" y="2023110"/>
                  <a:pt x="5016500" y="2000250"/>
                </a:cubicBezTo>
                <a:cubicBezTo>
                  <a:pt x="5018099" y="1992788"/>
                  <a:pt x="5025787" y="1988026"/>
                  <a:pt x="5029200" y="1981200"/>
                </a:cubicBezTo>
                <a:cubicBezTo>
                  <a:pt x="5032193" y="1975213"/>
                  <a:pt x="5031369" y="1967377"/>
                  <a:pt x="5035550" y="1962150"/>
                </a:cubicBezTo>
                <a:cubicBezTo>
                  <a:pt x="5051900" y="1941713"/>
                  <a:pt x="5084815" y="1946531"/>
                  <a:pt x="5105400" y="1943100"/>
                </a:cubicBezTo>
                <a:cubicBezTo>
                  <a:pt x="5121347" y="1940442"/>
                  <a:pt x="5134751" y="1935433"/>
                  <a:pt x="5149850" y="1930400"/>
                </a:cubicBezTo>
                <a:cubicBezTo>
                  <a:pt x="5165811" y="1882517"/>
                  <a:pt x="5144281" y="1941539"/>
                  <a:pt x="5168900" y="1892300"/>
                </a:cubicBezTo>
                <a:cubicBezTo>
                  <a:pt x="5171893" y="1886313"/>
                  <a:pt x="5171999" y="1879101"/>
                  <a:pt x="5175250" y="1873250"/>
                </a:cubicBezTo>
                <a:cubicBezTo>
                  <a:pt x="5182663" y="1859907"/>
                  <a:pt x="5192183" y="1847850"/>
                  <a:pt x="5200650" y="1835150"/>
                </a:cubicBezTo>
                <a:cubicBezTo>
                  <a:pt x="5204883" y="1828800"/>
                  <a:pt x="5210937" y="1823340"/>
                  <a:pt x="5213350" y="1816100"/>
                </a:cubicBezTo>
                <a:cubicBezTo>
                  <a:pt x="5222113" y="1789810"/>
                  <a:pt x="5215987" y="1802619"/>
                  <a:pt x="5232400" y="1778000"/>
                </a:cubicBezTo>
                <a:cubicBezTo>
                  <a:pt x="5234519" y="1761051"/>
                  <a:pt x="5256925" y="1716714"/>
                  <a:pt x="5219700" y="1720850"/>
                </a:cubicBezTo>
                <a:cubicBezTo>
                  <a:pt x="5206395" y="1722328"/>
                  <a:pt x="5194300" y="1729317"/>
                  <a:pt x="5181600" y="1733550"/>
                </a:cubicBezTo>
                <a:lnTo>
                  <a:pt x="5143500" y="1746250"/>
                </a:lnTo>
                <a:lnTo>
                  <a:pt x="5124450" y="1752600"/>
                </a:lnTo>
                <a:lnTo>
                  <a:pt x="5105400" y="1758950"/>
                </a:lnTo>
                <a:cubicBezTo>
                  <a:pt x="5086350" y="1756833"/>
                  <a:pt x="5066046" y="1759719"/>
                  <a:pt x="5048250" y="1752600"/>
                </a:cubicBezTo>
                <a:cubicBezTo>
                  <a:pt x="5042035" y="1750114"/>
                  <a:pt x="5045151" y="1739401"/>
                  <a:pt x="5041900" y="1733550"/>
                </a:cubicBezTo>
                <a:cubicBezTo>
                  <a:pt x="5034487" y="1720207"/>
                  <a:pt x="5024967" y="1708150"/>
                  <a:pt x="5016500" y="1695450"/>
                </a:cubicBezTo>
                <a:lnTo>
                  <a:pt x="5016500" y="1695450"/>
                </a:lnTo>
                <a:cubicBezTo>
                  <a:pt x="5010150" y="1693333"/>
                  <a:pt x="5003908" y="1690861"/>
                  <a:pt x="4997450" y="1689100"/>
                </a:cubicBezTo>
                <a:cubicBezTo>
                  <a:pt x="4980611" y="1684507"/>
                  <a:pt x="4963209" y="1681920"/>
                  <a:pt x="4946650" y="1676400"/>
                </a:cubicBezTo>
                <a:cubicBezTo>
                  <a:pt x="4900975" y="1661175"/>
                  <a:pt x="4958014" y="1679647"/>
                  <a:pt x="4902200" y="1663700"/>
                </a:cubicBezTo>
                <a:cubicBezTo>
                  <a:pt x="4895764" y="1661861"/>
                  <a:pt x="4889500" y="1659467"/>
                  <a:pt x="4883150" y="1657350"/>
                </a:cubicBezTo>
                <a:cubicBezTo>
                  <a:pt x="4867644" y="1610833"/>
                  <a:pt x="4886401" y="1671537"/>
                  <a:pt x="4870450" y="1581150"/>
                </a:cubicBezTo>
                <a:cubicBezTo>
                  <a:pt x="4860002" y="1521944"/>
                  <a:pt x="4861784" y="1547642"/>
                  <a:pt x="4851400" y="1511300"/>
                </a:cubicBezTo>
                <a:cubicBezTo>
                  <a:pt x="4848687" y="1501805"/>
                  <a:pt x="4843775" y="1477000"/>
                  <a:pt x="4838700" y="1466850"/>
                </a:cubicBezTo>
                <a:cubicBezTo>
                  <a:pt x="4835287" y="1460024"/>
                  <a:pt x="4831743" y="1452826"/>
                  <a:pt x="4826000" y="1447800"/>
                </a:cubicBezTo>
                <a:cubicBezTo>
                  <a:pt x="4809066" y="1432983"/>
                  <a:pt x="4774047" y="1411432"/>
                  <a:pt x="4749800" y="1409700"/>
                </a:cubicBezTo>
                <a:lnTo>
                  <a:pt x="4660900" y="1403350"/>
                </a:lnTo>
                <a:cubicBezTo>
                  <a:pt x="4654591" y="1403721"/>
                  <a:pt x="4567031" y="1399485"/>
                  <a:pt x="4533900" y="1416050"/>
                </a:cubicBezTo>
                <a:cubicBezTo>
                  <a:pt x="4527074" y="1419463"/>
                  <a:pt x="4521200" y="1424517"/>
                  <a:pt x="4514850" y="1428750"/>
                </a:cubicBezTo>
                <a:cubicBezTo>
                  <a:pt x="4516967" y="1443567"/>
                  <a:pt x="4516899" y="1458864"/>
                  <a:pt x="4521200" y="1473200"/>
                </a:cubicBezTo>
                <a:cubicBezTo>
                  <a:pt x="4523393" y="1480510"/>
                  <a:pt x="4535397" y="1484766"/>
                  <a:pt x="4533900" y="1492250"/>
                </a:cubicBezTo>
                <a:cubicBezTo>
                  <a:pt x="4532403" y="1499734"/>
                  <a:pt x="4521824" y="1501850"/>
                  <a:pt x="4514850" y="1504950"/>
                </a:cubicBezTo>
                <a:cubicBezTo>
                  <a:pt x="4502617" y="1510387"/>
                  <a:pt x="4476750" y="1517650"/>
                  <a:pt x="4476750" y="1517650"/>
                </a:cubicBezTo>
                <a:cubicBezTo>
                  <a:pt x="4472517" y="1524000"/>
                  <a:pt x="4467150" y="1529726"/>
                  <a:pt x="4464050" y="1536700"/>
                </a:cubicBezTo>
                <a:cubicBezTo>
                  <a:pt x="4460970" y="1543629"/>
                  <a:pt x="4451915" y="1585559"/>
                  <a:pt x="4438650" y="1593850"/>
                </a:cubicBezTo>
                <a:cubicBezTo>
                  <a:pt x="4427298" y="1600945"/>
                  <a:pt x="4413250" y="1602317"/>
                  <a:pt x="4400550" y="1606550"/>
                </a:cubicBezTo>
                <a:cubicBezTo>
                  <a:pt x="4345299" y="1624967"/>
                  <a:pt x="4388183" y="1612529"/>
                  <a:pt x="4267200" y="1619250"/>
                </a:cubicBezTo>
                <a:lnTo>
                  <a:pt x="4229100" y="1612900"/>
                </a:lnTo>
                <a:cubicBezTo>
                  <a:pt x="4218481" y="1610969"/>
                  <a:pt x="4208143" y="1606550"/>
                  <a:pt x="4197350" y="1606550"/>
                </a:cubicBezTo>
                <a:cubicBezTo>
                  <a:pt x="4173971" y="1606550"/>
                  <a:pt x="4150783" y="1610783"/>
                  <a:pt x="4127500" y="1612900"/>
                </a:cubicBezTo>
                <a:cubicBezTo>
                  <a:pt x="4114800" y="1621367"/>
                  <a:pt x="4103880" y="1633473"/>
                  <a:pt x="4089400" y="1638300"/>
                </a:cubicBezTo>
                <a:lnTo>
                  <a:pt x="4051300" y="1651000"/>
                </a:lnTo>
                <a:cubicBezTo>
                  <a:pt x="3979333" y="1648883"/>
                  <a:pt x="3907298" y="1648434"/>
                  <a:pt x="3835400" y="1644650"/>
                </a:cubicBezTo>
                <a:cubicBezTo>
                  <a:pt x="3826685" y="1644191"/>
                  <a:pt x="3818391" y="1640698"/>
                  <a:pt x="3810000" y="1638300"/>
                </a:cubicBezTo>
                <a:cubicBezTo>
                  <a:pt x="3780216" y="1629790"/>
                  <a:pt x="3799417" y="1633764"/>
                  <a:pt x="3765550" y="1619250"/>
                </a:cubicBezTo>
                <a:cubicBezTo>
                  <a:pt x="3759398" y="1616613"/>
                  <a:pt x="3752487" y="1615893"/>
                  <a:pt x="3746500" y="1612900"/>
                </a:cubicBezTo>
                <a:cubicBezTo>
                  <a:pt x="3739674" y="1609487"/>
                  <a:pt x="3734424" y="1603300"/>
                  <a:pt x="3727450" y="1600200"/>
                </a:cubicBezTo>
                <a:cubicBezTo>
                  <a:pt x="3679247" y="1578776"/>
                  <a:pt x="3654967" y="1585208"/>
                  <a:pt x="3594100" y="1581150"/>
                </a:cubicBezTo>
                <a:cubicBezTo>
                  <a:pt x="3551495" y="1552747"/>
                  <a:pt x="3593237" y="1586206"/>
                  <a:pt x="3568700" y="1549400"/>
                </a:cubicBezTo>
                <a:cubicBezTo>
                  <a:pt x="3554786" y="1528529"/>
                  <a:pt x="3548171" y="1532292"/>
                  <a:pt x="3530600" y="1517650"/>
                </a:cubicBezTo>
                <a:cubicBezTo>
                  <a:pt x="3498889" y="1491224"/>
                  <a:pt x="3525978" y="1503409"/>
                  <a:pt x="3492500" y="1492250"/>
                </a:cubicBezTo>
                <a:cubicBezTo>
                  <a:pt x="3471333" y="1494367"/>
                  <a:pt x="3449908" y="1494680"/>
                  <a:pt x="3429000" y="1498600"/>
                </a:cubicBezTo>
                <a:cubicBezTo>
                  <a:pt x="3415842" y="1501067"/>
                  <a:pt x="3403600" y="1507067"/>
                  <a:pt x="3390900" y="1511300"/>
                </a:cubicBezTo>
                <a:lnTo>
                  <a:pt x="3371850" y="1517650"/>
                </a:lnTo>
                <a:lnTo>
                  <a:pt x="3359150" y="1555750"/>
                </a:lnTo>
                <a:cubicBezTo>
                  <a:pt x="3357033" y="1562100"/>
                  <a:pt x="3358369" y="1571087"/>
                  <a:pt x="3352800" y="1574800"/>
                </a:cubicBezTo>
                <a:cubicBezTo>
                  <a:pt x="3340100" y="1583267"/>
                  <a:pt x="3329180" y="1595373"/>
                  <a:pt x="3314700" y="1600200"/>
                </a:cubicBezTo>
                <a:cubicBezTo>
                  <a:pt x="3288410" y="1608963"/>
                  <a:pt x="3301219" y="1602837"/>
                  <a:pt x="3276600" y="1619250"/>
                </a:cubicBezTo>
                <a:cubicBezTo>
                  <a:pt x="3244850" y="1617133"/>
                  <a:pt x="3212976" y="1616414"/>
                  <a:pt x="3181350" y="1612900"/>
                </a:cubicBezTo>
                <a:cubicBezTo>
                  <a:pt x="3160829" y="1610620"/>
                  <a:pt x="3161292" y="1602871"/>
                  <a:pt x="3143250" y="1593850"/>
                </a:cubicBezTo>
                <a:cubicBezTo>
                  <a:pt x="3137263" y="1590857"/>
                  <a:pt x="3130550" y="1589617"/>
                  <a:pt x="3124200" y="1587500"/>
                </a:cubicBezTo>
                <a:cubicBezTo>
                  <a:pt x="2952074" y="1594385"/>
                  <a:pt x="3015691" y="1577103"/>
                  <a:pt x="2927350" y="1606550"/>
                </a:cubicBezTo>
                <a:lnTo>
                  <a:pt x="2870200" y="1625600"/>
                </a:lnTo>
                <a:lnTo>
                  <a:pt x="2851150" y="1631950"/>
                </a:lnTo>
                <a:cubicBezTo>
                  <a:pt x="2844800" y="1638300"/>
                  <a:pt x="2839572" y="1646019"/>
                  <a:pt x="2832100" y="1651000"/>
                </a:cubicBezTo>
                <a:cubicBezTo>
                  <a:pt x="2826531" y="1654713"/>
                  <a:pt x="2819486" y="1655511"/>
                  <a:pt x="2813050" y="1657350"/>
                </a:cubicBezTo>
                <a:cubicBezTo>
                  <a:pt x="2757236" y="1673297"/>
                  <a:pt x="2814275" y="1654825"/>
                  <a:pt x="2768600" y="1670050"/>
                </a:cubicBezTo>
                <a:cubicBezTo>
                  <a:pt x="2764367" y="1663700"/>
                  <a:pt x="2761296" y="1656396"/>
                  <a:pt x="2755900" y="1651000"/>
                </a:cubicBezTo>
                <a:cubicBezTo>
                  <a:pt x="2737718" y="1632818"/>
                  <a:pt x="2709546" y="1630299"/>
                  <a:pt x="2686050" y="1625600"/>
                </a:cubicBezTo>
                <a:cubicBezTo>
                  <a:pt x="2679700" y="1619250"/>
                  <a:pt x="2673899" y="1612299"/>
                  <a:pt x="2667000" y="1606550"/>
                </a:cubicBezTo>
                <a:cubicBezTo>
                  <a:pt x="2661137" y="1601664"/>
                  <a:pt x="2652718" y="1599809"/>
                  <a:pt x="2647950" y="1593850"/>
                </a:cubicBezTo>
                <a:cubicBezTo>
                  <a:pt x="2643769" y="1588623"/>
                  <a:pt x="2647047" y="1578691"/>
                  <a:pt x="2641600" y="1574800"/>
                </a:cubicBezTo>
                <a:cubicBezTo>
                  <a:pt x="2613482" y="1554715"/>
                  <a:pt x="2521376" y="1556625"/>
                  <a:pt x="2508250" y="1555750"/>
                </a:cubicBezTo>
                <a:cubicBezTo>
                  <a:pt x="2501900" y="1551517"/>
                  <a:pt x="2496755" y="1544129"/>
                  <a:pt x="2489200" y="1543050"/>
                </a:cubicBezTo>
                <a:cubicBezTo>
                  <a:pt x="2472316" y="1540638"/>
                  <a:pt x="2457140" y="1553840"/>
                  <a:pt x="2444750" y="1562100"/>
                </a:cubicBezTo>
                <a:cubicBezTo>
                  <a:pt x="2441209" y="1533773"/>
                  <a:pt x="2442004" y="1495854"/>
                  <a:pt x="2419350" y="1473200"/>
                </a:cubicBezTo>
                <a:cubicBezTo>
                  <a:pt x="2413954" y="1467804"/>
                  <a:pt x="2406650" y="1464733"/>
                  <a:pt x="2400300" y="1460500"/>
                </a:cubicBezTo>
                <a:cubicBezTo>
                  <a:pt x="2389123" y="1426970"/>
                  <a:pt x="2397663" y="1447019"/>
                  <a:pt x="2368550" y="1403350"/>
                </a:cubicBezTo>
                <a:lnTo>
                  <a:pt x="2355850" y="1384300"/>
                </a:lnTo>
                <a:cubicBezTo>
                  <a:pt x="2353733" y="1369483"/>
                  <a:pt x="2361953" y="1348152"/>
                  <a:pt x="2349500" y="1339850"/>
                </a:cubicBezTo>
                <a:cubicBezTo>
                  <a:pt x="2317848" y="1318749"/>
                  <a:pt x="2300949" y="1349434"/>
                  <a:pt x="2279650" y="1358900"/>
                </a:cubicBezTo>
                <a:cubicBezTo>
                  <a:pt x="2267417" y="1364337"/>
                  <a:pt x="2254250" y="1367367"/>
                  <a:pt x="2241550" y="1371600"/>
                </a:cubicBezTo>
                <a:lnTo>
                  <a:pt x="2222500" y="1377950"/>
                </a:lnTo>
                <a:lnTo>
                  <a:pt x="2203450" y="1384300"/>
                </a:lnTo>
                <a:cubicBezTo>
                  <a:pt x="2201333" y="1377950"/>
                  <a:pt x="2201281" y="1370477"/>
                  <a:pt x="2197100" y="1365250"/>
                </a:cubicBezTo>
                <a:cubicBezTo>
                  <a:pt x="2192332" y="1359291"/>
                  <a:pt x="2185196" y="1355230"/>
                  <a:pt x="2178050" y="1352550"/>
                </a:cubicBezTo>
                <a:cubicBezTo>
                  <a:pt x="2163505" y="1347096"/>
                  <a:pt x="2103348" y="1340831"/>
                  <a:pt x="2095500" y="1339850"/>
                </a:cubicBezTo>
                <a:cubicBezTo>
                  <a:pt x="2093383" y="1333500"/>
                  <a:pt x="2090602" y="1327334"/>
                  <a:pt x="2089150" y="1320800"/>
                </a:cubicBezTo>
                <a:cubicBezTo>
                  <a:pt x="2086357" y="1308231"/>
                  <a:pt x="2088558" y="1294216"/>
                  <a:pt x="2082800" y="1282700"/>
                </a:cubicBezTo>
                <a:cubicBezTo>
                  <a:pt x="2077876" y="1272852"/>
                  <a:pt x="2053716" y="1266655"/>
                  <a:pt x="2044700" y="1263650"/>
                </a:cubicBezTo>
                <a:cubicBezTo>
                  <a:pt x="2032624" y="1266065"/>
                  <a:pt x="2006917" y="1269841"/>
                  <a:pt x="1993900" y="1276350"/>
                </a:cubicBezTo>
                <a:cubicBezTo>
                  <a:pt x="1967145" y="1289728"/>
                  <a:pt x="1976068" y="1298474"/>
                  <a:pt x="1936750" y="1301750"/>
                </a:cubicBezTo>
                <a:cubicBezTo>
                  <a:pt x="1820417" y="1311444"/>
                  <a:pt x="1886003" y="1306760"/>
                  <a:pt x="1739900" y="1314450"/>
                </a:cubicBezTo>
                <a:cubicBezTo>
                  <a:pt x="1733550" y="1316567"/>
                  <a:pt x="1726837" y="1317807"/>
                  <a:pt x="1720850" y="1320800"/>
                </a:cubicBezTo>
                <a:cubicBezTo>
                  <a:pt x="1694434" y="1334008"/>
                  <a:pt x="1702422" y="1343221"/>
                  <a:pt x="1663700" y="1346200"/>
                </a:cubicBezTo>
                <a:lnTo>
                  <a:pt x="1581150" y="1352550"/>
                </a:lnTo>
                <a:cubicBezTo>
                  <a:pt x="1579033" y="1358900"/>
                  <a:pt x="1574800" y="1364907"/>
                  <a:pt x="1574800" y="1371600"/>
                </a:cubicBezTo>
                <a:cubicBezTo>
                  <a:pt x="1574800" y="1382393"/>
                  <a:pt x="1584563" y="1393111"/>
                  <a:pt x="1581150" y="1403350"/>
                </a:cubicBezTo>
                <a:cubicBezTo>
                  <a:pt x="1579033" y="1409700"/>
                  <a:pt x="1568536" y="1407861"/>
                  <a:pt x="1562100" y="1409700"/>
                </a:cubicBezTo>
                <a:cubicBezTo>
                  <a:pt x="1553709" y="1412098"/>
                  <a:pt x="1545167" y="1413933"/>
                  <a:pt x="1536700" y="1416050"/>
                </a:cubicBezTo>
                <a:cubicBezTo>
                  <a:pt x="1530350" y="1422400"/>
                  <a:pt x="1524549" y="1429351"/>
                  <a:pt x="1517650" y="1435100"/>
                </a:cubicBezTo>
                <a:cubicBezTo>
                  <a:pt x="1511787" y="1439986"/>
                  <a:pt x="1502833" y="1441450"/>
                  <a:pt x="1498600" y="1447800"/>
                </a:cubicBezTo>
                <a:cubicBezTo>
                  <a:pt x="1473541" y="1485389"/>
                  <a:pt x="1513634" y="1466072"/>
                  <a:pt x="1473200" y="1479550"/>
                </a:cubicBezTo>
                <a:cubicBezTo>
                  <a:pt x="1509596" y="1534145"/>
                  <a:pt x="1465960" y="1465070"/>
                  <a:pt x="1492250" y="1517650"/>
                </a:cubicBezTo>
                <a:cubicBezTo>
                  <a:pt x="1495663" y="1524476"/>
                  <a:pt x="1500717" y="1530350"/>
                  <a:pt x="1504950" y="1536700"/>
                </a:cubicBezTo>
                <a:cubicBezTo>
                  <a:pt x="1498600" y="1540933"/>
                  <a:pt x="1492874" y="1546300"/>
                  <a:pt x="1485900" y="1549400"/>
                </a:cubicBezTo>
                <a:cubicBezTo>
                  <a:pt x="1473667" y="1554837"/>
                  <a:pt x="1447800" y="1562100"/>
                  <a:pt x="1447800" y="1562100"/>
                </a:cubicBezTo>
                <a:cubicBezTo>
                  <a:pt x="1411817" y="1559983"/>
                  <a:pt x="1375717" y="1559337"/>
                  <a:pt x="1339850" y="1555750"/>
                </a:cubicBezTo>
                <a:cubicBezTo>
                  <a:pt x="1294476" y="1551213"/>
                  <a:pt x="1348128" y="1548295"/>
                  <a:pt x="1301750" y="1536700"/>
                </a:cubicBezTo>
                <a:cubicBezTo>
                  <a:pt x="1283155" y="1532051"/>
                  <a:pt x="1263650" y="1532467"/>
                  <a:pt x="1244600" y="1530350"/>
                </a:cubicBezTo>
                <a:cubicBezTo>
                  <a:pt x="1231900" y="1532467"/>
                  <a:pt x="1218714" y="1532629"/>
                  <a:pt x="1206500" y="1536700"/>
                </a:cubicBezTo>
                <a:cubicBezTo>
                  <a:pt x="1199260" y="1539113"/>
                  <a:pt x="1194276" y="1545987"/>
                  <a:pt x="1187450" y="1549400"/>
                </a:cubicBezTo>
                <a:cubicBezTo>
                  <a:pt x="1181463" y="1552393"/>
                  <a:pt x="1174750" y="1553633"/>
                  <a:pt x="1168400" y="1555750"/>
                </a:cubicBezTo>
                <a:cubicBezTo>
                  <a:pt x="1149350" y="1553633"/>
                  <a:pt x="1129263" y="1555950"/>
                  <a:pt x="1111250" y="1549400"/>
                </a:cubicBezTo>
                <a:cubicBezTo>
                  <a:pt x="1104078" y="1546792"/>
                  <a:pt x="1105022" y="1534395"/>
                  <a:pt x="1098550" y="1530350"/>
                </a:cubicBezTo>
                <a:cubicBezTo>
                  <a:pt x="1087198" y="1523255"/>
                  <a:pt x="1073150" y="1521883"/>
                  <a:pt x="1060450" y="1517650"/>
                </a:cubicBezTo>
                <a:lnTo>
                  <a:pt x="1041400" y="1511300"/>
                </a:lnTo>
                <a:lnTo>
                  <a:pt x="1022350" y="1504950"/>
                </a:lnTo>
                <a:cubicBezTo>
                  <a:pt x="1000116" y="1506971"/>
                  <a:pt x="939781" y="1507079"/>
                  <a:pt x="914400" y="1524000"/>
                </a:cubicBezTo>
                <a:cubicBezTo>
                  <a:pt x="880288" y="1546741"/>
                  <a:pt x="886589" y="1547367"/>
                  <a:pt x="857250" y="1555750"/>
                </a:cubicBezTo>
                <a:cubicBezTo>
                  <a:pt x="848859" y="1558148"/>
                  <a:pt x="840317" y="1559983"/>
                  <a:pt x="831850" y="1562100"/>
                </a:cubicBezTo>
                <a:cubicBezTo>
                  <a:pt x="823383" y="1574800"/>
                  <a:pt x="811277" y="1585720"/>
                  <a:pt x="806450" y="1600200"/>
                </a:cubicBezTo>
                <a:cubicBezTo>
                  <a:pt x="804333" y="1606550"/>
                  <a:pt x="804833" y="1614517"/>
                  <a:pt x="800100" y="1619250"/>
                </a:cubicBezTo>
                <a:cubicBezTo>
                  <a:pt x="795367" y="1623983"/>
                  <a:pt x="787400" y="1623483"/>
                  <a:pt x="781050" y="1625600"/>
                </a:cubicBezTo>
                <a:cubicBezTo>
                  <a:pt x="730250" y="1608667"/>
                  <a:pt x="789517" y="1634067"/>
                  <a:pt x="755650" y="1600200"/>
                </a:cubicBezTo>
                <a:cubicBezTo>
                  <a:pt x="750917" y="1595467"/>
                  <a:pt x="742950" y="1595967"/>
                  <a:pt x="736600" y="1593850"/>
                </a:cubicBezTo>
                <a:cubicBezTo>
                  <a:pt x="721783" y="1638300"/>
                  <a:pt x="736600" y="1627717"/>
                  <a:pt x="704850" y="1638300"/>
                </a:cubicBezTo>
                <a:cubicBezTo>
                  <a:pt x="698500" y="1644650"/>
                  <a:pt x="691549" y="1650451"/>
                  <a:pt x="685800" y="1657350"/>
                </a:cubicBezTo>
                <a:cubicBezTo>
                  <a:pt x="680914" y="1663213"/>
                  <a:pt x="678496" y="1671004"/>
                  <a:pt x="673100" y="1676400"/>
                </a:cubicBezTo>
                <a:cubicBezTo>
                  <a:pt x="667704" y="1681796"/>
                  <a:pt x="660400" y="1684867"/>
                  <a:pt x="654050" y="1689100"/>
                </a:cubicBezTo>
                <a:cubicBezTo>
                  <a:pt x="649817" y="1701800"/>
                  <a:pt x="641350" y="1714500"/>
                  <a:pt x="654050" y="1727200"/>
                </a:cubicBezTo>
                <a:cubicBezTo>
                  <a:pt x="658783" y="1731933"/>
                  <a:pt x="666750" y="1731433"/>
                  <a:pt x="673100" y="1733550"/>
                </a:cubicBezTo>
                <a:cubicBezTo>
                  <a:pt x="642620" y="1753870"/>
                  <a:pt x="652780" y="1738630"/>
                  <a:pt x="673100" y="1758950"/>
                </a:cubicBezTo>
                <a:cubicBezTo>
                  <a:pt x="678496" y="1764346"/>
                  <a:pt x="681567" y="1771650"/>
                  <a:pt x="685800" y="1778000"/>
                </a:cubicBezTo>
                <a:cubicBezTo>
                  <a:pt x="681543" y="1803543"/>
                  <a:pt x="684608" y="1817292"/>
                  <a:pt x="666750" y="1835150"/>
                </a:cubicBezTo>
                <a:cubicBezTo>
                  <a:pt x="661354" y="1840546"/>
                  <a:pt x="654050" y="1843617"/>
                  <a:pt x="647700" y="1847850"/>
                </a:cubicBezTo>
                <a:cubicBezTo>
                  <a:pt x="645583" y="1854200"/>
                  <a:pt x="646083" y="1862167"/>
                  <a:pt x="641350" y="1866900"/>
                </a:cubicBezTo>
                <a:cubicBezTo>
                  <a:pt x="636617" y="1871633"/>
                  <a:pt x="628834" y="1871798"/>
                  <a:pt x="622300" y="1873250"/>
                </a:cubicBezTo>
                <a:cubicBezTo>
                  <a:pt x="609731" y="1876043"/>
                  <a:pt x="596900" y="1877483"/>
                  <a:pt x="584200" y="1879600"/>
                </a:cubicBezTo>
                <a:cubicBezTo>
                  <a:pt x="580017" y="1892149"/>
                  <a:pt x="576341" y="1908748"/>
                  <a:pt x="565150" y="1917700"/>
                </a:cubicBezTo>
                <a:cubicBezTo>
                  <a:pt x="559923" y="1921881"/>
                  <a:pt x="552450" y="1921933"/>
                  <a:pt x="546100" y="1924050"/>
                </a:cubicBezTo>
                <a:cubicBezTo>
                  <a:pt x="537633" y="1936750"/>
                  <a:pt x="521787" y="1946925"/>
                  <a:pt x="520700" y="1962150"/>
                </a:cubicBezTo>
                <a:cubicBezTo>
                  <a:pt x="513873" y="2057726"/>
                  <a:pt x="523745" y="2022866"/>
                  <a:pt x="508000" y="2070100"/>
                </a:cubicBezTo>
                <a:cubicBezTo>
                  <a:pt x="505883" y="2093383"/>
                  <a:pt x="505713" y="2116926"/>
                  <a:pt x="501650" y="2139950"/>
                </a:cubicBezTo>
                <a:cubicBezTo>
                  <a:pt x="499324" y="2153133"/>
                  <a:pt x="500089" y="2170624"/>
                  <a:pt x="488950" y="2178050"/>
                </a:cubicBezTo>
                <a:cubicBezTo>
                  <a:pt x="464331" y="2194463"/>
                  <a:pt x="477140" y="2188337"/>
                  <a:pt x="450850" y="2197100"/>
                </a:cubicBezTo>
                <a:cubicBezTo>
                  <a:pt x="416022" y="2190134"/>
                  <a:pt x="408272" y="2196367"/>
                  <a:pt x="393700" y="2152650"/>
                </a:cubicBezTo>
                <a:cubicBezTo>
                  <a:pt x="389467" y="2139950"/>
                  <a:pt x="393700" y="2118783"/>
                  <a:pt x="381000" y="2114550"/>
                </a:cubicBezTo>
                <a:cubicBezTo>
                  <a:pt x="323198" y="2095283"/>
                  <a:pt x="414490" y="2124838"/>
                  <a:pt x="330200" y="2101850"/>
                </a:cubicBezTo>
                <a:cubicBezTo>
                  <a:pt x="317285" y="2098328"/>
                  <a:pt x="304800" y="2093383"/>
                  <a:pt x="292100" y="2089150"/>
                </a:cubicBezTo>
                <a:lnTo>
                  <a:pt x="254000" y="2076450"/>
                </a:lnTo>
                <a:lnTo>
                  <a:pt x="234950" y="2070100"/>
                </a:lnTo>
                <a:cubicBezTo>
                  <a:pt x="228600" y="2063750"/>
                  <a:pt x="223750" y="2055411"/>
                  <a:pt x="215900" y="2051050"/>
                </a:cubicBezTo>
                <a:cubicBezTo>
                  <a:pt x="204198" y="2044549"/>
                  <a:pt x="190500" y="2042583"/>
                  <a:pt x="177800" y="2038350"/>
                </a:cubicBezTo>
                <a:cubicBezTo>
                  <a:pt x="171450" y="2036233"/>
                  <a:pt x="165244" y="2033623"/>
                  <a:pt x="158750" y="2032000"/>
                </a:cubicBezTo>
                <a:cubicBezTo>
                  <a:pt x="150612" y="2029965"/>
                  <a:pt x="123410" y="2023855"/>
                  <a:pt x="114300" y="2019300"/>
                </a:cubicBezTo>
                <a:cubicBezTo>
                  <a:pt x="107474" y="2015887"/>
                  <a:pt x="101600" y="2010833"/>
                  <a:pt x="95250" y="2006600"/>
                </a:cubicBezTo>
                <a:cubicBezTo>
                  <a:pt x="81121" y="1964212"/>
                  <a:pt x="101617" y="2006607"/>
                  <a:pt x="38100" y="1981200"/>
                </a:cubicBezTo>
                <a:cubicBezTo>
                  <a:pt x="18471" y="1973349"/>
                  <a:pt x="30634" y="1954684"/>
                  <a:pt x="19050" y="1943100"/>
                </a:cubicBezTo>
                <a:cubicBezTo>
                  <a:pt x="14317" y="1938367"/>
                  <a:pt x="6350" y="1938867"/>
                  <a:pt x="0" y="1936750"/>
                </a:cubicBezTo>
                <a:lnTo>
                  <a:pt x="0" y="1917700"/>
                </a:ln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0" name="Freeform 89"/>
          <p:cNvSpPr/>
          <p:nvPr/>
        </p:nvSpPr>
        <p:spPr>
          <a:xfrm>
            <a:off x="2932118" y="863606"/>
            <a:ext cx="276225" cy="182033"/>
          </a:xfrm>
          <a:custGeom>
            <a:avLst/>
            <a:gdLst>
              <a:gd name="connsiteX0" fmla="*/ 211667 w 276549"/>
              <a:gd name="connsiteY0" fmla="*/ 133350 h 182960"/>
              <a:gd name="connsiteX1" fmla="*/ 192617 w 276549"/>
              <a:gd name="connsiteY1" fmla="*/ 127000 h 182960"/>
              <a:gd name="connsiteX2" fmla="*/ 167217 w 276549"/>
              <a:gd name="connsiteY2" fmla="*/ 120650 h 182960"/>
              <a:gd name="connsiteX3" fmla="*/ 160867 w 276549"/>
              <a:gd name="connsiteY3" fmla="*/ 101600 h 182960"/>
              <a:gd name="connsiteX4" fmla="*/ 167217 w 276549"/>
              <a:gd name="connsiteY4" fmla="*/ 82550 h 182960"/>
              <a:gd name="connsiteX5" fmla="*/ 186267 w 276549"/>
              <a:gd name="connsiteY5" fmla="*/ 76200 h 182960"/>
              <a:gd name="connsiteX6" fmla="*/ 224367 w 276549"/>
              <a:gd name="connsiteY6" fmla="*/ 57150 h 182960"/>
              <a:gd name="connsiteX7" fmla="*/ 243417 w 276549"/>
              <a:gd name="connsiteY7" fmla="*/ 38100 h 182960"/>
              <a:gd name="connsiteX8" fmla="*/ 249767 w 276549"/>
              <a:gd name="connsiteY8" fmla="*/ 6350 h 182960"/>
              <a:gd name="connsiteX9" fmla="*/ 230717 w 276549"/>
              <a:gd name="connsiteY9" fmla="*/ 0 h 182960"/>
              <a:gd name="connsiteX10" fmla="*/ 173567 w 276549"/>
              <a:gd name="connsiteY10" fmla="*/ 12700 h 182960"/>
              <a:gd name="connsiteX11" fmla="*/ 116417 w 276549"/>
              <a:gd name="connsiteY11" fmla="*/ 50800 h 182960"/>
              <a:gd name="connsiteX12" fmla="*/ 97367 w 276549"/>
              <a:gd name="connsiteY12" fmla="*/ 63500 h 182960"/>
              <a:gd name="connsiteX13" fmla="*/ 40217 w 276549"/>
              <a:gd name="connsiteY13" fmla="*/ 82550 h 182960"/>
              <a:gd name="connsiteX14" fmla="*/ 21167 w 276549"/>
              <a:gd name="connsiteY14" fmla="*/ 88900 h 182960"/>
              <a:gd name="connsiteX15" fmla="*/ 2117 w 276549"/>
              <a:gd name="connsiteY15" fmla="*/ 107950 h 182960"/>
              <a:gd name="connsiteX16" fmla="*/ 8467 w 276549"/>
              <a:gd name="connsiteY16" fmla="*/ 127000 h 182960"/>
              <a:gd name="connsiteX17" fmla="*/ 71967 w 276549"/>
              <a:gd name="connsiteY17" fmla="*/ 133350 h 182960"/>
              <a:gd name="connsiteX18" fmla="*/ 78317 w 276549"/>
              <a:gd name="connsiteY18" fmla="*/ 152400 h 182960"/>
              <a:gd name="connsiteX19" fmla="*/ 186267 w 276549"/>
              <a:gd name="connsiteY19" fmla="*/ 158750 h 182960"/>
              <a:gd name="connsiteX20" fmla="*/ 211667 w 276549"/>
              <a:gd name="connsiteY20" fmla="*/ 133350 h 18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76549" h="182960">
                <a:moveTo>
                  <a:pt x="211667" y="133350"/>
                </a:moveTo>
                <a:cubicBezTo>
                  <a:pt x="212725" y="128059"/>
                  <a:pt x="199053" y="128839"/>
                  <a:pt x="192617" y="127000"/>
                </a:cubicBezTo>
                <a:cubicBezTo>
                  <a:pt x="184226" y="124602"/>
                  <a:pt x="174032" y="126102"/>
                  <a:pt x="167217" y="120650"/>
                </a:cubicBezTo>
                <a:cubicBezTo>
                  <a:pt x="161990" y="116469"/>
                  <a:pt x="162984" y="107950"/>
                  <a:pt x="160867" y="101600"/>
                </a:cubicBezTo>
                <a:cubicBezTo>
                  <a:pt x="162984" y="95250"/>
                  <a:pt x="162484" y="87283"/>
                  <a:pt x="167217" y="82550"/>
                </a:cubicBezTo>
                <a:cubicBezTo>
                  <a:pt x="171950" y="77817"/>
                  <a:pt x="180280" y="79193"/>
                  <a:pt x="186267" y="76200"/>
                </a:cubicBezTo>
                <a:cubicBezTo>
                  <a:pt x="235506" y="51581"/>
                  <a:pt x="176484" y="73111"/>
                  <a:pt x="224367" y="57150"/>
                </a:cubicBezTo>
                <a:cubicBezTo>
                  <a:pt x="230717" y="50800"/>
                  <a:pt x="236518" y="43849"/>
                  <a:pt x="243417" y="38100"/>
                </a:cubicBezTo>
                <a:cubicBezTo>
                  <a:pt x="258968" y="25141"/>
                  <a:pt x="276549" y="27776"/>
                  <a:pt x="249767" y="6350"/>
                </a:cubicBezTo>
                <a:cubicBezTo>
                  <a:pt x="244540" y="2169"/>
                  <a:pt x="237067" y="2117"/>
                  <a:pt x="230717" y="0"/>
                </a:cubicBezTo>
                <a:cubicBezTo>
                  <a:pt x="220379" y="1723"/>
                  <a:pt x="186966" y="5256"/>
                  <a:pt x="173567" y="12700"/>
                </a:cubicBezTo>
                <a:lnTo>
                  <a:pt x="116417" y="50800"/>
                </a:lnTo>
                <a:cubicBezTo>
                  <a:pt x="110067" y="55033"/>
                  <a:pt x="104607" y="61087"/>
                  <a:pt x="97367" y="63500"/>
                </a:cubicBezTo>
                <a:lnTo>
                  <a:pt x="40217" y="82550"/>
                </a:lnTo>
                <a:lnTo>
                  <a:pt x="21167" y="88900"/>
                </a:lnTo>
                <a:cubicBezTo>
                  <a:pt x="14817" y="95250"/>
                  <a:pt x="4957" y="99431"/>
                  <a:pt x="2117" y="107950"/>
                </a:cubicBezTo>
                <a:cubicBezTo>
                  <a:pt x="0" y="114300"/>
                  <a:pt x="2177" y="124713"/>
                  <a:pt x="8467" y="127000"/>
                </a:cubicBezTo>
                <a:cubicBezTo>
                  <a:pt x="28459" y="134270"/>
                  <a:pt x="50800" y="131233"/>
                  <a:pt x="71967" y="133350"/>
                </a:cubicBezTo>
                <a:cubicBezTo>
                  <a:pt x="74084" y="139700"/>
                  <a:pt x="74136" y="147173"/>
                  <a:pt x="78317" y="152400"/>
                </a:cubicBezTo>
                <a:cubicBezTo>
                  <a:pt x="102765" y="182960"/>
                  <a:pt x="164969" y="160271"/>
                  <a:pt x="186267" y="158750"/>
                </a:cubicBezTo>
                <a:cubicBezTo>
                  <a:pt x="209333" y="151061"/>
                  <a:pt x="210609" y="138641"/>
                  <a:pt x="211667" y="133350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3187706" y="715433"/>
            <a:ext cx="595313" cy="162984"/>
          </a:xfrm>
          <a:custGeom>
            <a:avLst/>
            <a:gdLst>
              <a:gd name="connsiteX0" fmla="*/ 571500 w 594783"/>
              <a:gd name="connsiteY0" fmla="*/ 1058 h 163407"/>
              <a:gd name="connsiteX1" fmla="*/ 400050 w 594783"/>
              <a:gd name="connsiteY1" fmla="*/ 7408 h 163407"/>
              <a:gd name="connsiteX2" fmla="*/ 374650 w 594783"/>
              <a:gd name="connsiteY2" fmla="*/ 13758 h 163407"/>
              <a:gd name="connsiteX3" fmla="*/ 317500 w 594783"/>
              <a:gd name="connsiteY3" fmla="*/ 32808 h 163407"/>
              <a:gd name="connsiteX4" fmla="*/ 298450 w 594783"/>
              <a:gd name="connsiteY4" fmla="*/ 39158 h 163407"/>
              <a:gd name="connsiteX5" fmla="*/ 146050 w 594783"/>
              <a:gd name="connsiteY5" fmla="*/ 51858 h 163407"/>
              <a:gd name="connsiteX6" fmla="*/ 107950 w 594783"/>
              <a:gd name="connsiteY6" fmla="*/ 64558 h 163407"/>
              <a:gd name="connsiteX7" fmla="*/ 88900 w 594783"/>
              <a:gd name="connsiteY7" fmla="*/ 70908 h 163407"/>
              <a:gd name="connsiteX8" fmla="*/ 50800 w 594783"/>
              <a:gd name="connsiteY8" fmla="*/ 96308 h 163407"/>
              <a:gd name="connsiteX9" fmla="*/ 12700 w 594783"/>
              <a:gd name="connsiteY9" fmla="*/ 128058 h 163407"/>
              <a:gd name="connsiteX10" fmla="*/ 0 w 594783"/>
              <a:gd name="connsiteY10" fmla="*/ 147108 h 163407"/>
              <a:gd name="connsiteX11" fmla="*/ 19050 w 594783"/>
              <a:gd name="connsiteY11" fmla="*/ 159808 h 163407"/>
              <a:gd name="connsiteX12" fmla="*/ 82550 w 594783"/>
              <a:gd name="connsiteY12" fmla="*/ 128058 h 163407"/>
              <a:gd name="connsiteX13" fmla="*/ 139700 w 594783"/>
              <a:gd name="connsiteY13" fmla="*/ 115358 h 163407"/>
              <a:gd name="connsiteX14" fmla="*/ 177800 w 594783"/>
              <a:gd name="connsiteY14" fmla="*/ 102658 h 163407"/>
              <a:gd name="connsiteX15" fmla="*/ 196850 w 594783"/>
              <a:gd name="connsiteY15" fmla="*/ 96308 h 163407"/>
              <a:gd name="connsiteX16" fmla="*/ 215900 w 594783"/>
              <a:gd name="connsiteY16" fmla="*/ 89958 h 163407"/>
              <a:gd name="connsiteX17" fmla="*/ 241300 w 594783"/>
              <a:gd name="connsiteY17" fmla="*/ 77258 h 163407"/>
              <a:gd name="connsiteX18" fmla="*/ 298450 w 594783"/>
              <a:gd name="connsiteY18" fmla="*/ 58208 h 163407"/>
              <a:gd name="connsiteX19" fmla="*/ 317500 w 594783"/>
              <a:gd name="connsiteY19" fmla="*/ 51858 h 163407"/>
              <a:gd name="connsiteX20" fmla="*/ 336550 w 594783"/>
              <a:gd name="connsiteY20" fmla="*/ 45508 h 163407"/>
              <a:gd name="connsiteX21" fmla="*/ 361950 w 594783"/>
              <a:gd name="connsiteY21" fmla="*/ 39158 h 163407"/>
              <a:gd name="connsiteX22" fmla="*/ 444500 w 594783"/>
              <a:gd name="connsiteY22" fmla="*/ 20108 h 163407"/>
              <a:gd name="connsiteX23" fmla="*/ 539750 w 594783"/>
              <a:gd name="connsiteY23" fmla="*/ 1058 h 163407"/>
              <a:gd name="connsiteX24" fmla="*/ 571500 w 594783"/>
              <a:gd name="connsiteY24" fmla="*/ 1058 h 163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94783" h="163407">
                <a:moveTo>
                  <a:pt x="571500" y="1058"/>
                </a:moveTo>
                <a:cubicBezTo>
                  <a:pt x="548217" y="2116"/>
                  <a:pt x="457121" y="3726"/>
                  <a:pt x="400050" y="7408"/>
                </a:cubicBezTo>
                <a:cubicBezTo>
                  <a:pt x="391341" y="7970"/>
                  <a:pt x="383009" y="11250"/>
                  <a:pt x="374650" y="13758"/>
                </a:cubicBezTo>
                <a:lnTo>
                  <a:pt x="317500" y="32808"/>
                </a:lnTo>
                <a:cubicBezTo>
                  <a:pt x="311150" y="34925"/>
                  <a:pt x="305130" y="38740"/>
                  <a:pt x="298450" y="39158"/>
                </a:cubicBezTo>
                <a:cubicBezTo>
                  <a:pt x="179818" y="46572"/>
                  <a:pt x="230521" y="41299"/>
                  <a:pt x="146050" y="51858"/>
                </a:cubicBezTo>
                <a:lnTo>
                  <a:pt x="107950" y="64558"/>
                </a:lnTo>
                <a:cubicBezTo>
                  <a:pt x="101600" y="66675"/>
                  <a:pt x="94469" y="67195"/>
                  <a:pt x="88900" y="70908"/>
                </a:cubicBezTo>
                <a:lnTo>
                  <a:pt x="50800" y="96308"/>
                </a:lnTo>
                <a:cubicBezTo>
                  <a:pt x="32069" y="108795"/>
                  <a:pt x="27979" y="109723"/>
                  <a:pt x="12700" y="128058"/>
                </a:cubicBezTo>
                <a:cubicBezTo>
                  <a:pt x="7814" y="133921"/>
                  <a:pt x="4233" y="140758"/>
                  <a:pt x="0" y="147108"/>
                </a:cubicBezTo>
                <a:cubicBezTo>
                  <a:pt x="6350" y="151341"/>
                  <a:pt x="11495" y="158729"/>
                  <a:pt x="19050" y="159808"/>
                </a:cubicBezTo>
                <a:cubicBezTo>
                  <a:pt x="44242" y="163407"/>
                  <a:pt x="63451" y="134424"/>
                  <a:pt x="82550" y="128058"/>
                </a:cubicBezTo>
                <a:cubicBezTo>
                  <a:pt x="137054" y="109890"/>
                  <a:pt x="50295" y="137709"/>
                  <a:pt x="139700" y="115358"/>
                </a:cubicBezTo>
                <a:cubicBezTo>
                  <a:pt x="152687" y="112111"/>
                  <a:pt x="165100" y="106891"/>
                  <a:pt x="177800" y="102658"/>
                </a:cubicBezTo>
                <a:lnTo>
                  <a:pt x="196850" y="96308"/>
                </a:lnTo>
                <a:cubicBezTo>
                  <a:pt x="203200" y="94191"/>
                  <a:pt x="209913" y="92951"/>
                  <a:pt x="215900" y="89958"/>
                </a:cubicBezTo>
                <a:cubicBezTo>
                  <a:pt x="224367" y="85725"/>
                  <a:pt x="232511" y="80774"/>
                  <a:pt x="241300" y="77258"/>
                </a:cubicBezTo>
                <a:lnTo>
                  <a:pt x="298450" y="58208"/>
                </a:lnTo>
                <a:lnTo>
                  <a:pt x="317500" y="51858"/>
                </a:lnTo>
                <a:cubicBezTo>
                  <a:pt x="323850" y="49741"/>
                  <a:pt x="330056" y="47131"/>
                  <a:pt x="336550" y="45508"/>
                </a:cubicBezTo>
                <a:cubicBezTo>
                  <a:pt x="345017" y="43391"/>
                  <a:pt x="353431" y="41051"/>
                  <a:pt x="361950" y="39158"/>
                </a:cubicBezTo>
                <a:cubicBezTo>
                  <a:pt x="392174" y="32442"/>
                  <a:pt x="413377" y="30482"/>
                  <a:pt x="444500" y="20108"/>
                </a:cubicBezTo>
                <a:cubicBezTo>
                  <a:pt x="498440" y="2128"/>
                  <a:pt x="472650" y="7768"/>
                  <a:pt x="539750" y="1058"/>
                </a:cubicBezTo>
                <a:cubicBezTo>
                  <a:pt x="541856" y="847"/>
                  <a:pt x="594783" y="0"/>
                  <a:pt x="571500" y="1058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6" name="Freeform 95"/>
          <p:cNvSpPr/>
          <p:nvPr/>
        </p:nvSpPr>
        <p:spPr>
          <a:xfrm>
            <a:off x="6643694" y="812806"/>
            <a:ext cx="153987" cy="80433"/>
          </a:xfrm>
          <a:custGeom>
            <a:avLst/>
            <a:gdLst>
              <a:gd name="connsiteX0" fmla="*/ 125437 w 154647"/>
              <a:gd name="connsiteY0" fmla="*/ 37319 h 80238"/>
              <a:gd name="connsiteX1" fmla="*/ 74637 w 154647"/>
              <a:gd name="connsiteY1" fmla="*/ 24619 h 80238"/>
              <a:gd name="connsiteX2" fmla="*/ 36537 w 154647"/>
              <a:gd name="connsiteY2" fmla="*/ 5569 h 80238"/>
              <a:gd name="connsiteX3" fmla="*/ 23837 w 154647"/>
              <a:gd name="connsiteY3" fmla="*/ 24619 h 80238"/>
              <a:gd name="connsiteX4" fmla="*/ 112737 w 154647"/>
              <a:gd name="connsiteY4" fmla="*/ 56369 h 80238"/>
              <a:gd name="connsiteX5" fmla="*/ 150837 w 154647"/>
              <a:gd name="connsiteY5" fmla="*/ 56369 h 80238"/>
              <a:gd name="connsiteX6" fmla="*/ 125437 w 154647"/>
              <a:gd name="connsiteY6" fmla="*/ 37319 h 80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4647" h="80238">
                <a:moveTo>
                  <a:pt x="125437" y="37319"/>
                </a:moveTo>
                <a:cubicBezTo>
                  <a:pt x="112737" y="32027"/>
                  <a:pt x="87654" y="31128"/>
                  <a:pt x="74637" y="24619"/>
                </a:cubicBezTo>
                <a:cubicBezTo>
                  <a:pt x="25398" y="0"/>
                  <a:pt x="84420" y="21530"/>
                  <a:pt x="36537" y="5569"/>
                </a:cubicBezTo>
                <a:cubicBezTo>
                  <a:pt x="32304" y="11919"/>
                  <a:pt x="26843" y="17604"/>
                  <a:pt x="23837" y="24619"/>
                </a:cubicBezTo>
                <a:cubicBezTo>
                  <a:pt x="0" y="80238"/>
                  <a:pt x="44399" y="51813"/>
                  <a:pt x="112737" y="56369"/>
                </a:cubicBezTo>
                <a:cubicBezTo>
                  <a:pt x="122897" y="59756"/>
                  <a:pt x="140677" y="69916"/>
                  <a:pt x="150837" y="56369"/>
                </a:cubicBezTo>
                <a:cubicBezTo>
                  <a:pt x="154647" y="51289"/>
                  <a:pt x="138137" y="42611"/>
                  <a:pt x="125437" y="37319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8" name="Freeform 97"/>
          <p:cNvSpPr/>
          <p:nvPr/>
        </p:nvSpPr>
        <p:spPr>
          <a:xfrm>
            <a:off x="6516693" y="702738"/>
            <a:ext cx="363537" cy="105833"/>
          </a:xfrm>
          <a:custGeom>
            <a:avLst/>
            <a:gdLst>
              <a:gd name="connsiteX0" fmla="*/ 24342 w 364313"/>
              <a:gd name="connsiteY0" fmla="*/ 39143 h 104904"/>
              <a:gd name="connsiteX1" fmla="*/ 62442 w 364313"/>
              <a:gd name="connsiteY1" fmla="*/ 32793 h 104904"/>
              <a:gd name="connsiteX2" fmla="*/ 81492 w 364313"/>
              <a:gd name="connsiteY2" fmla="*/ 26443 h 104904"/>
              <a:gd name="connsiteX3" fmla="*/ 202142 w 364313"/>
              <a:gd name="connsiteY3" fmla="*/ 20093 h 104904"/>
              <a:gd name="connsiteX4" fmla="*/ 310092 w 364313"/>
              <a:gd name="connsiteY4" fmla="*/ 13743 h 104904"/>
              <a:gd name="connsiteX5" fmla="*/ 354542 w 364313"/>
              <a:gd name="connsiteY5" fmla="*/ 26443 h 104904"/>
              <a:gd name="connsiteX6" fmla="*/ 360892 w 364313"/>
              <a:gd name="connsiteY6" fmla="*/ 45493 h 104904"/>
              <a:gd name="connsiteX7" fmla="*/ 252942 w 364313"/>
              <a:gd name="connsiteY7" fmla="*/ 77243 h 104904"/>
              <a:gd name="connsiteX8" fmla="*/ 208492 w 364313"/>
              <a:gd name="connsiteY8" fmla="*/ 89943 h 104904"/>
              <a:gd name="connsiteX9" fmla="*/ 24342 w 364313"/>
              <a:gd name="connsiteY9" fmla="*/ 39143 h 104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4313" h="104904">
                <a:moveTo>
                  <a:pt x="24342" y="39143"/>
                </a:moveTo>
                <a:cubicBezTo>
                  <a:pt x="0" y="29618"/>
                  <a:pt x="49873" y="35586"/>
                  <a:pt x="62442" y="32793"/>
                </a:cubicBezTo>
                <a:cubicBezTo>
                  <a:pt x="68976" y="31341"/>
                  <a:pt x="74826" y="27049"/>
                  <a:pt x="81492" y="26443"/>
                </a:cubicBezTo>
                <a:cubicBezTo>
                  <a:pt x="121599" y="22797"/>
                  <a:pt x="161925" y="22210"/>
                  <a:pt x="202142" y="20093"/>
                </a:cubicBezTo>
                <a:cubicBezTo>
                  <a:pt x="262422" y="0"/>
                  <a:pt x="226910" y="6181"/>
                  <a:pt x="310092" y="13743"/>
                </a:cubicBezTo>
                <a:cubicBezTo>
                  <a:pt x="310312" y="13798"/>
                  <a:pt x="351505" y="23406"/>
                  <a:pt x="354542" y="26443"/>
                </a:cubicBezTo>
                <a:cubicBezTo>
                  <a:pt x="359275" y="31176"/>
                  <a:pt x="358775" y="39143"/>
                  <a:pt x="360892" y="45493"/>
                </a:cubicBezTo>
                <a:cubicBezTo>
                  <a:pt x="346039" y="104904"/>
                  <a:pt x="364313" y="66106"/>
                  <a:pt x="252942" y="77243"/>
                </a:cubicBezTo>
                <a:cubicBezTo>
                  <a:pt x="241551" y="78382"/>
                  <a:pt x="220096" y="86075"/>
                  <a:pt x="208492" y="89943"/>
                </a:cubicBezTo>
                <a:cubicBezTo>
                  <a:pt x="147111" y="87751"/>
                  <a:pt x="48684" y="48668"/>
                  <a:pt x="24342" y="39143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0" name="Freeform 99"/>
          <p:cNvSpPr/>
          <p:nvPr/>
        </p:nvSpPr>
        <p:spPr>
          <a:xfrm>
            <a:off x="6919919" y="736600"/>
            <a:ext cx="185737" cy="61384"/>
          </a:xfrm>
          <a:custGeom>
            <a:avLst/>
            <a:gdLst>
              <a:gd name="connsiteX0" fmla="*/ 20108 w 185208"/>
              <a:gd name="connsiteY0" fmla="*/ 6350 h 62571"/>
              <a:gd name="connsiteX1" fmla="*/ 45508 w 185208"/>
              <a:gd name="connsiteY1" fmla="*/ 19050 h 62571"/>
              <a:gd name="connsiteX2" fmla="*/ 115358 w 185208"/>
              <a:gd name="connsiteY2" fmla="*/ 25400 h 62571"/>
              <a:gd name="connsiteX3" fmla="*/ 134408 w 185208"/>
              <a:gd name="connsiteY3" fmla="*/ 31750 h 62571"/>
              <a:gd name="connsiteX4" fmla="*/ 185208 w 185208"/>
              <a:gd name="connsiteY4" fmla="*/ 44450 h 62571"/>
              <a:gd name="connsiteX5" fmla="*/ 166158 w 185208"/>
              <a:gd name="connsiteY5" fmla="*/ 57150 h 62571"/>
              <a:gd name="connsiteX6" fmla="*/ 20108 w 185208"/>
              <a:gd name="connsiteY6" fmla="*/ 6350 h 6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85208" h="62571">
                <a:moveTo>
                  <a:pt x="20108" y="6350"/>
                </a:moveTo>
                <a:cubicBezTo>
                  <a:pt x="0" y="0"/>
                  <a:pt x="36226" y="17194"/>
                  <a:pt x="45508" y="19050"/>
                </a:cubicBezTo>
                <a:cubicBezTo>
                  <a:pt x="68433" y="23635"/>
                  <a:pt x="92214" y="22094"/>
                  <a:pt x="115358" y="25400"/>
                </a:cubicBezTo>
                <a:cubicBezTo>
                  <a:pt x="121984" y="26347"/>
                  <a:pt x="127950" y="29989"/>
                  <a:pt x="134408" y="31750"/>
                </a:cubicBezTo>
                <a:cubicBezTo>
                  <a:pt x="151247" y="36343"/>
                  <a:pt x="185208" y="44450"/>
                  <a:pt x="185208" y="44450"/>
                </a:cubicBezTo>
                <a:cubicBezTo>
                  <a:pt x="178858" y="48683"/>
                  <a:pt x="173785" y="56868"/>
                  <a:pt x="166158" y="57150"/>
                </a:cubicBezTo>
                <a:cubicBezTo>
                  <a:pt x="19796" y="62571"/>
                  <a:pt x="40216" y="12700"/>
                  <a:pt x="20108" y="6350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1" name="Freeform 100"/>
          <p:cNvSpPr/>
          <p:nvPr/>
        </p:nvSpPr>
        <p:spPr>
          <a:xfrm>
            <a:off x="8253419" y="967317"/>
            <a:ext cx="174625" cy="50800"/>
          </a:xfrm>
          <a:custGeom>
            <a:avLst/>
            <a:gdLst>
              <a:gd name="connsiteX0" fmla="*/ 33863 w 175414"/>
              <a:gd name="connsiteY0" fmla="*/ 22297 h 50944"/>
              <a:gd name="connsiteX1" fmla="*/ 52913 w 175414"/>
              <a:gd name="connsiteY1" fmla="*/ 15947 h 50944"/>
              <a:gd name="connsiteX2" fmla="*/ 97363 w 175414"/>
              <a:gd name="connsiteY2" fmla="*/ 3247 h 50944"/>
              <a:gd name="connsiteX3" fmla="*/ 160863 w 175414"/>
              <a:gd name="connsiteY3" fmla="*/ 9597 h 50944"/>
              <a:gd name="connsiteX4" fmla="*/ 173563 w 175414"/>
              <a:gd name="connsiteY4" fmla="*/ 28647 h 50944"/>
              <a:gd name="connsiteX5" fmla="*/ 154513 w 175414"/>
              <a:gd name="connsiteY5" fmla="*/ 34997 h 50944"/>
              <a:gd name="connsiteX6" fmla="*/ 110063 w 175414"/>
              <a:gd name="connsiteY6" fmla="*/ 47697 h 50944"/>
              <a:gd name="connsiteX7" fmla="*/ 33863 w 175414"/>
              <a:gd name="connsiteY7" fmla="*/ 22297 h 50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5414" h="50944">
                <a:moveTo>
                  <a:pt x="33863" y="22297"/>
                </a:moveTo>
                <a:cubicBezTo>
                  <a:pt x="24338" y="17005"/>
                  <a:pt x="46477" y="17786"/>
                  <a:pt x="52913" y="15947"/>
                </a:cubicBezTo>
                <a:cubicBezTo>
                  <a:pt x="108727" y="0"/>
                  <a:pt x="51688" y="18472"/>
                  <a:pt x="97363" y="3247"/>
                </a:cubicBezTo>
                <a:cubicBezTo>
                  <a:pt x="118530" y="5364"/>
                  <a:pt x="140682" y="2870"/>
                  <a:pt x="160863" y="9597"/>
                </a:cubicBezTo>
                <a:cubicBezTo>
                  <a:pt x="168103" y="12010"/>
                  <a:pt x="175414" y="21243"/>
                  <a:pt x="173563" y="28647"/>
                </a:cubicBezTo>
                <a:cubicBezTo>
                  <a:pt x="171940" y="35141"/>
                  <a:pt x="160949" y="33158"/>
                  <a:pt x="154513" y="34997"/>
                </a:cubicBezTo>
                <a:cubicBezTo>
                  <a:pt x="98699" y="50944"/>
                  <a:pt x="155738" y="32472"/>
                  <a:pt x="110063" y="47697"/>
                </a:cubicBezTo>
                <a:cubicBezTo>
                  <a:pt x="0" y="41223"/>
                  <a:pt x="43388" y="27589"/>
                  <a:pt x="33863" y="22297"/>
                </a:cubicBezTo>
                <a:close/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2" name="Freeform 101"/>
          <p:cNvSpPr/>
          <p:nvPr/>
        </p:nvSpPr>
        <p:spPr>
          <a:xfrm>
            <a:off x="2640016" y="1085851"/>
            <a:ext cx="111125" cy="50800"/>
          </a:xfrm>
          <a:custGeom>
            <a:avLst/>
            <a:gdLst>
              <a:gd name="connsiteX0" fmla="*/ 26534 w 110679"/>
              <a:gd name="connsiteY0" fmla="*/ 0 h 50167"/>
              <a:gd name="connsiteX1" fmla="*/ 102734 w 110679"/>
              <a:gd name="connsiteY1" fmla="*/ 6350 h 50167"/>
              <a:gd name="connsiteX2" fmla="*/ 96384 w 110679"/>
              <a:gd name="connsiteY2" fmla="*/ 31750 h 50167"/>
              <a:gd name="connsiteX3" fmla="*/ 58284 w 110679"/>
              <a:gd name="connsiteY3" fmla="*/ 44450 h 50167"/>
              <a:gd name="connsiteX4" fmla="*/ 7484 w 110679"/>
              <a:gd name="connsiteY4" fmla="*/ 38100 h 50167"/>
              <a:gd name="connsiteX5" fmla="*/ 32884 w 110679"/>
              <a:gd name="connsiteY5" fmla="*/ 19050 h 50167"/>
              <a:gd name="connsiteX6" fmla="*/ 77334 w 110679"/>
              <a:gd name="connsiteY6" fmla="*/ 12700 h 50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0679" h="50167">
                <a:moveTo>
                  <a:pt x="26534" y="0"/>
                </a:moveTo>
                <a:lnTo>
                  <a:pt x="102734" y="6350"/>
                </a:lnTo>
                <a:cubicBezTo>
                  <a:pt x="110679" y="9961"/>
                  <a:pt x="103010" y="26070"/>
                  <a:pt x="96384" y="31750"/>
                </a:cubicBezTo>
                <a:cubicBezTo>
                  <a:pt x="86220" y="40462"/>
                  <a:pt x="58284" y="44450"/>
                  <a:pt x="58284" y="44450"/>
                </a:cubicBezTo>
                <a:cubicBezTo>
                  <a:pt x="41351" y="42333"/>
                  <a:pt x="19551" y="50167"/>
                  <a:pt x="7484" y="38100"/>
                </a:cubicBezTo>
                <a:cubicBezTo>
                  <a:pt x="0" y="30616"/>
                  <a:pt x="23695" y="24301"/>
                  <a:pt x="32884" y="19050"/>
                </a:cubicBezTo>
                <a:cubicBezTo>
                  <a:pt x="48682" y="10023"/>
                  <a:pt x="59514" y="12700"/>
                  <a:pt x="77334" y="12700"/>
                </a:cubicBezTo>
              </a:path>
            </a:pathLst>
          </a:custGeom>
          <a:solidFill>
            <a:srgbClr val="FF00FF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4" name="Rectangle 4"/>
          <p:cNvSpPr>
            <a:spLocks noChangeArrowheads="1"/>
          </p:cNvSpPr>
          <p:nvPr/>
        </p:nvSpPr>
        <p:spPr bwMode="auto">
          <a:xfrm>
            <a:off x="3929068" y="1297523"/>
            <a:ext cx="219233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3200">
                <a:latin typeface="Ramabhadra" pitchFamily="2" charset="0"/>
                <a:cs typeface="Ramabhadra" pitchFamily="2" charset="0"/>
              </a:rPr>
              <a:t>రష్యా</a:t>
            </a:r>
          </a:p>
        </p:txBody>
      </p:sp>
      <p:sp>
        <p:nvSpPr>
          <p:cNvPr id="105" name="Oval 104"/>
          <p:cNvSpPr/>
          <p:nvPr/>
        </p:nvSpPr>
        <p:spPr>
          <a:xfrm>
            <a:off x="1643069" y="1712385"/>
            <a:ext cx="73025" cy="740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400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6" name="Rectangle 4"/>
          <p:cNvSpPr>
            <a:spLocks noChangeArrowheads="1"/>
          </p:cNvSpPr>
          <p:nvPr/>
        </p:nvSpPr>
        <p:spPr bwMode="auto">
          <a:xfrm>
            <a:off x="1835150" y="1540933"/>
            <a:ext cx="159385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2000">
                <a:latin typeface="Ramabhadra" pitchFamily="2" charset="0"/>
                <a:cs typeface="Ramabhadra" pitchFamily="2" charset="0"/>
              </a:rPr>
              <a:t>మాస్కో</a:t>
            </a:r>
          </a:p>
        </p:txBody>
      </p:sp>
      <p:sp>
        <p:nvSpPr>
          <p:cNvPr id="110" name="Freeform 109"/>
          <p:cNvSpPr/>
          <p:nvPr/>
        </p:nvSpPr>
        <p:spPr>
          <a:xfrm>
            <a:off x="3802063" y="2173821"/>
            <a:ext cx="1663700" cy="658283"/>
          </a:xfrm>
          <a:custGeom>
            <a:avLst/>
            <a:gdLst>
              <a:gd name="connsiteX0" fmla="*/ 0 w 1662894"/>
              <a:gd name="connsiteY0" fmla="*/ 162962 h 659132"/>
              <a:gd name="connsiteX1" fmla="*/ 13581 w 1662894"/>
              <a:gd name="connsiteY1" fmla="*/ 172016 h 659132"/>
              <a:gd name="connsiteX2" fmla="*/ 31688 w 1662894"/>
              <a:gd name="connsiteY2" fmla="*/ 199176 h 659132"/>
              <a:gd name="connsiteX3" fmla="*/ 36214 w 1662894"/>
              <a:gd name="connsiteY3" fmla="*/ 212756 h 659132"/>
              <a:gd name="connsiteX4" fmla="*/ 40741 w 1662894"/>
              <a:gd name="connsiteY4" fmla="*/ 239917 h 659132"/>
              <a:gd name="connsiteX5" fmla="*/ 81482 w 1662894"/>
              <a:gd name="connsiteY5" fmla="*/ 253497 h 659132"/>
              <a:gd name="connsiteX6" fmla="*/ 113169 w 1662894"/>
              <a:gd name="connsiteY6" fmla="*/ 262550 h 659132"/>
              <a:gd name="connsiteX7" fmla="*/ 122222 w 1662894"/>
              <a:gd name="connsiteY7" fmla="*/ 271604 h 659132"/>
              <a:gd name="connsiteX8" fmla="*/ 126749 w 1662894"/>
              <a:gd name="connsiteY8" fmla="*/ 285184 h 659132"/>
              <a:gd name="connsiteX9" fmla="*/ 122222 w 1662894"/>
              <a:gd name="connsiteY9" fmla="*/ 402879 h 659132"/>
              <a:gd name="connsiteX10" fmla="*/ 108642 w 1662894"/>
              <a:gd name="connsiteY10" fmla="*/ 407406 h 659132"/>
              <a:gd name="connsiteX11" fmla="*/ 104115 w 1662894"/>
              <a:gd name="connsiteY11" fmla="*/ 420986 h 659132"/>
              <a:gd name="connsiteX12" fmla="*/ 126749 w 1662894"/>
              <a:gd name="connsiteY12" fmla="*/ 434566 h 659132"/>
              <a:gd name="connsiteX13" fmla="*/ 140329 w 1662894"/>
              <a:gd name="connsiteY13" fmla="*/ 443619 h 659132"/>
              <a:gd name="connsiteX14" fmla="*/ 258024 w 1662894"/>
              <a:gd name="connsiteY14" fmla="*/ 443619 h 659132"/>
              <a:gd name="connsiteX15" fmla="*/ 298765 w 1662894"/>
              <a:gd name="connsiteY15" fmla="*/ 457200 h 659132"/>
              <a:gd name="connsiteX16" fmla="*/ 312345 w 1662894"/>
              <a:gd name="connsiteY16" fmla="*/ 461726 h 659132"/>
              <a:gd name="connsiteX17" fmla="*/ 330452 w 1662894"/>
              <a:gd name="connsiteY17" fmla="*/ 479833 h 659132"/>
              <a:gd name="connsiteX18" fmla="*/ 339505 w 1662894"/>
              <a:gd name="connsiteY18" fmla="*/ 488887 h 659132"/>
              <a:gd name="connsiteX19" fmla="*/ 348559 w 1662894"/>
              <a:gd name="connsiteY19" fmla="*/ 516047 h 659132"/>
              <a:gd name="connsiteX20" fmla="*/ 353086 w 1662894"/>
              <a:gd name="connsiteY20" fmla="*/ 529627 h 659132"/>
              <a:gd name="connsiteX21" fmla="*/ 357612 w 1662894"/>
              <a:gd name="connsiteY21" fmla="*/ 543208 h 659132"/>
              <a:gd name="connsiteX22" fmla="*/ 380246 w 1662894"/>
              <a:gd name="connsiteY22" fmla="*/ 574895 h 659132"/>
              <a:gd name="connsiteX23" fmla="*/ 393826 w 1662894"/>
              <a:gd name="connsiteY23" fmla="*/ 579421 h 659132"/>
              <a:gd name="connsiteX24" fmla="*/ 402880 w 1662894"/>
              <a:gd name="connsiteY24" fmla="*/ 588475 h 659132"/>
              <a:gd name="connsiteX25" fmla="*/ 452674 w 1662894"/>
              <a:gd name="connsiteY25" fmla="*/ 588475 h 659132"/>
              <a:gd name="connsiteX26" fmla="*/ 543208 w 1662894"/>
              <a:gd name="connsiteY26" fmla="*/ 583948 h 659132"/>
              <a:gd name="connsiteX27" fmla="*/ 638270 w 1662894"/>
              <a:gd name="connsiteY27" fmla="*/ 583948 h 659132"/>
              <a:gd name="connsiteX28" fmla="*/ 665430 w 1662894"/>
              <a:gd name="connsiteY28" fmla="*/ 593002 h 659132"/>
              <a:gd name="connsiteX29" fmla="*/ 679010 w 1662894"/>
              <a:gd name="connsiteY29" fmla="*/ 597528 h 659132"/>
              <a:gd name="connsiteX30" fmla="*/ 692591 w 1662894"/>
              <a:gd name="connsiteY30" fmla="*/ 606582 h 659132"/>
              <a:gd name="connsiteX31" fmla="*/ 710697 w 1662894"/>
              <a:gd name="connsiteY31" fmla="*/ 611109 h 659132"/>
              <a:gd name="connsiteX32" fmla="*/ 724278 w 1662894"/>
              <a:gd name="connsiteY32" fmla="*/ 615635 h 659132"/>
              <a:gd name="connsiteX33" fmla="*/ 746911 w 1662894"/>
              <a:gd name="connsiteY33" fmla="*/ 629216 h 659132"/>
              <a:gd name="connsiteX34" fmla="*/ 769545 w 1662894"/>
              <a:gd name="connsiteY34" fmla="*/ 647322 h 659132"/>
              <a:gd name="connsiteX35" fmla="*/ 796705 w 1662894"/>
              <a:gd name="connsiteY35" fmla="*/ 656376 h 659132"/>
              <a:gd name="connsiteX36" fmla="*/ 887240 w 1662894"/>
              <a:gd name="connsiteY36" fmla="*/ 647322 h 659132"/>
              <a:gd name="connsiteX37" fmla="*/ 900820 w 1662894"/>
              <a:gd name="connsiteY37" fmla="*/ 638269 h 659132"/>
              <a:gd name="connsiteX38" fmla="*/ 909874 w 1662894"/>
              <a:gd name="connsiteY38" fmla="*/ 629216 h 659132"/>
              <a:gd name="connsiteX39" fmla="*/ 937034 w 1662894"/>
              <a:gd name="connsiteY39" fmla="*/ 620162 h 659132"/>
              <a:gd name="connsiteX40" fmla="*/ 950614 w 1662894"/>
              <a:gd name="connsiteY40" fmla="*/ 615635 h 659132"/>
              <a:gd name="connsiteX41" fmla="*/ 964195 w 1662894"/>
              <a:gd name="connsiteY41" fmla="*/ 611109 h 659132"/>
              <a:gd name="connsiteX42" fmla="*/ 1090943 w 1662894"/>
              <a:gd name="connsiteY42" fmla="*/ 606582 h 659132"/>
              <a:gd name="connsiteX43" fmla="*/ 1118103 w 1662894"/>
              <a:gd name="connsiteY43" fmla="*/ 597528 h 659132"/>
              <a:gd name="connsiteX44" fmla="*/ 1127157 w 1662894"/>
              <a:gd name="connsiteY44" fmla="*/ 588475 h 659132"/>
              <a:gd name="connsiteX45" fmla="*/ 1154317 w 1662894"/>
              <a:gd name="connsiteY45" fmla="*/ 579421 h 659132"/>
              <a:gd name="connsiteX46" fmla="*/ 1163371 w 1662894"/>
              <a:gd name="connsiteY46" fmla="*/ 570368 h 659132"/>
              <a:gd name="connsiteX47" fmla="*/ 1172424 w 1662894"/>
              <a:gd name="connsiteY47" fmla="*/ 556788 h 659132"/>
              <a:gd name="connsiteX48" fmla="*/ 1186004 w 1662894"/>
              <a:gd name="connsiteY48" fmla="*/ 552261 h 659132"/>
              <a:gd name="connsiteX49" fmla="*/ 1204111 w 1662894"/>
              <a:gd name="connsiteY49" fmla="*/ 534154 h 659132"/>
              <a:gd name="connsiteX50" fmla="*/ 1213165 w 1662894"/>
              <a:gd name="connsiteY50" fmla="*/ 525101 h 659132"/>
              <a:gd name="connsiteX51" fmla="*/ 1217692 w 1662894"/>
              <a:gd name="connsiteY51" fmla="*/ 511520 h 659132"/>
              <a:gd name="connsiteX52" fmla="*/ 1204111 w 1662894"/>
              <a:gd name="connsiteY52" fmla="*/ 488887 h 659132"/>
              <a:gd name="connsiteX53" fmla="*/ 1208638 w 1662894"/>
              <a:gd name="connsiteY53" fmla="*/ 461726 h 659132"/>
              <a:gd name="connsiteX54" fmla="*/ 1235798 w 1662894"/>
              <a:gd name="connsiteY54" fmla="*/ 452673 h 659132"/>
              <a:gd name="connsiteX55" fmla="*/ 1299173 w 1662894"/>
              <a:gd name="connsiteY55" fmla="*/ 448146 h 659132"/>
              <a:gd name="connsiteX56" fmla="*/ 1312753 w 1662894"/>
              <a:gd name="connsiteY56" fmla="*/ 439093 h 659132"/>
              <a:gd name="connsiteX57" fmla="*/ 1321806 w 1662894"/>
              <a:gd name="connsiteY57" fmla="*/ 430039 h 659132"/>
              <a:gd name="connsiteX58" fmla="*/ 1367074 w 1662894"/>
              <a:gd name="connsiteY58" fmla="*/ 416459 h 659132"/>
              <a:gd name="connsiteX59" fmla="*/ 1394234 w 1662894"/>
              <a:gd name="connsiteY59" fmla="*/ 398352 h 659132"/>
              <a:gd name="connsiteX60" fmla="*/ 1434975 w 1662894"/>
              <a:gd name="connsiteY60" fmla="*/ 384772 h 659132"/>
              <a:gd name="connsiteX61" fmla="*/ 1448555 w 1662894"/>
              <a:gd name="connsiteY61" fmla="*/ 380245 h 659132"/>
              <a:gd name="connsiteX62" fmla="*/ 1462135 w 1662894"/>
              <a:gd name="connsiteY62" fmla="*/ 375718 h 659132"/>
              <a:gd name="connsiteX63" fmla="*/ 1471189 w 1662894"/>
              <a:gd name="connsiteY63" fmla="*/ 366665 h 659132"/>
              <a:gd name="connsiteX64" fmla="*/ 1498349 w 1662894"/>
              <a:gd name="connsiteY64" fmla="*/ 357612 h 659132"/>
              <a:gd name="connsiteX65" fmla="*/ 1525509 w 1662894"/>
              <a:gd name="connsiteY65" fmla="*/ 344031 h 659132"/>
              <a:gd name="connsiteX66" fmla="*/ 1539090 w 1662894"/>
              <a:gd name="connsiteY66" fmla="*/ 334978 h 659132"/>
              <a:gd name="connsiteX67" fmla="*/ 1647731 w 1662894"/>
              <a:gd name="connsiteY67" fmla="*/ 325924 h 659132"/>
              <a:gd name="connsiteX68" fmla="*/ 1661311 w 1662894"/>
              <a:gd name="connsiteY68" fmla="*/ 321398 h 659132"/>
              <a:gd name="connsiteX69" fmla="*/ 1634151 w 1662894"/>
              <a:gd name="connsiteY69" fmla="*/ 276130 h 659132"/>
              <a:gd name="connsiteX70" fmla="*/ 1616044 w 1662894"/>
              <a:gd name="connsiteY70" fmla="*/ 271604 h 659132"/>
              <a:gd name="connsiteX71" fmla="*/ 1606991 w 1662894"/>
              <a:gd name="connsiteY71" fmla="*/ 262550 h 659132"/>
              <a:gd name="connsiteX72" fmla="*/ 1593410 w 1662894"/>
              <a:gd name="connsiteY72" fmla="*/ 258023 h 659132"/>
              <a:gd name="connsiteX73" fmla="*/ 1493822 w 1662894"/>
              <a:gd name="connsiteY73" fmla="*/ 253497 h 659132"/>
              <a:gd name="connsiteX74" fmla="*/ 1471189 w 1662894"/>
              <a:gd name="connsiteY74" fmla="*/ 248970 h 659132"/>
              <a:gd name="connsiteX75" fmla="*/ 1462135 w 1662894"/>
              <a:gd name="connsiteY75" fmla="*/ 239917 h 659132"/>
              <a:gd name="connsiteX76" fmla="*/ 1480242 w 1662894"/>
              <a:gd name="connsiteY76" fmla="*/ 212756 h 659132"/>
              <a:gd name="connsiteX77" fmla="*/ 1484769 w 1662894"/>
              <a:gd name="connsiteY77" fmla="*/ 158435 h 659132"/>
              <a:gd name="connsiteX78" fmla="*/ 1489295 w 1662894"/>
              <a:gd name="connsiteY78" fmla="*/ 131275 h 659132"/>
              <a:gd name="connsiteX79" fmla="*/ 1498349 w 1662894"/>
              <a:gd name="connsiteY79" fmla="*/ 122221 h 659132"/>
              <a:gd name="connsiteX80" fmla="*/ 1525509 w 1662894"/>
              <a:gd name="connsiteY80" fmla="*/ 108641 h 659132"/>
              <a:gd name="connsiteX81" fmla="*/ 1358020 w 1662894"/>
              <a:gd name="connsiteY81" fmla="*/ 104115 h 659132"/>
              <a:gd name="connsiteX82" fmla="*/ 1330860 w 1662894"/>
              <a:gd name="connsiteY82" fmla="*/ 113168 h 659132"/>
              <a:gd name="connsiteX83" fmla="*/ 1317280 w 1662894"/>
              <a:gd name="connsiteY83" fmla="*/ 117695 h 659132"/>
              <a:gd name="connsiteX84" fmla="*/ 1303699 w 1662894"/>
              <a:gd name="connsiteY84" fmla="*/ 126748 h 659132"/>
              <a:gd name="connsiteX85" fmla="*/ 1281066 w 1662894"/>
              <a:gd name="connsiteY85" fmla="*/ 131275 h 659132"/>
              <a:gd name="connsiteX86" fmla="*/ 1253905 w 1662894"/>
              <a:gd name="connsiteY86" fmla="*/ 140328 h 659132"/>
              <a:gd name="connsiteX87" fmla="*/ 1240325 w 1662894"/>
              <a:gd name="connsiteY87" fmla="*/ 144855 h 659132"/>
              <a:gd name="connsiteX88" fmla="*/ 1226745 w 1662894"/>
              <a:gd name="connsiteY88" fmla="*/ 153909 h 659132"/>
              <a:gd name="connsiteX89" fmla="*/ 1090943 w 1662894"/>
              <a:gd name="connsiteY89" fmla="*/ 149382 h 659132"/>
              <a:gd name="connsiteX90" fmla="*/ 1068309 w 1662894"/>
              <a:gd name="connsiteY90" fmla="*/ 135802 h 659132"/>
              <a:gd name="connsiteX91" fmla="*/ 1041149 w 1662894"/>
              <a:gd name="connsiteY91" fmla="*/ 126748 h 659132"/>
              <a:gd name="connsiteX92" fmla="*/ 1013989 w 1662894"/>
              <a:gd name="connsiteY92" fmla="*/ 113168 h 659132"/>
              <a:gd name="connsiteX93" fmla="*/ 1004935 w 1662894"/>
              <a:gd name="connsiteY93" fmla="*/ 104115 h 659132"/>
              <a:gd name="connsiteX94" fmla="*/ 986828 w 1662894"/>
              <a:gd name="connsiteY94" fmla="*/ 99588 h 659132"/>
              <a:gd name="connsiteX95" fmla="*/ 973248 w 1662894"/>
              <a:gd name="connsiteY95" fmla="*/ 95061 h 659132"/>
              <a:gd name="connsiteX96" fmla="*/ 955141 w 1662894"/>
              <a:gd name="connsiteY96" fmla="*/ 90534 h 659132"/>
              <a:gd name="connsiteX97" fmla="*/ 927981 w 1662894"/>
              <a:gd name="connsiteY97" fmla="*/ 81481 h 659132"/>
              <a:gd name="connsiteX98" fmla="*/ 900820 w 1662894"/>
              <a:gd name="connsiteY98" fmla="*/ 72427 h 659132"/>
              <a:gd name="connsiteX99" fmla="*/ 887240 w 1662894"/>
              <a:gd name="connsiteY99" fmla="*/ 67901 h 659132"/>
              <a:gd name="connsiteX100" fmla="*/ 810286 w 1662894"/>
              <a:gd name="connsiteY100" fmla="*/ 63374 h 659132"/>
              <a:gd name="connsiteX101" fmla="*/ 792179 w 1662894"/>
              <a:gd name="connsiteY101" fmla="*/ 40740 h 659132"/>
              <a:gd name="connsiteX102" fmla="*/ 760492 w 1662894"/>
              <a:gd name="connsiteY102" fmla="*/ 13580 h 659132"/>
              <a:gd name="connsiteX103" fmla="*/ 728804 w 1662894"/>
              <a:gd name="connsiteY103" fmla="*/ 4526 h 659132"/>
              <a:gd name="connsiteX104" fmla="*/ 715224 w 1662894"/>
              <a:gd name="connsiteY104" fmla="*/ 0 h 659132"/>
              <a:gd name="connsiteX105" fmla="*/ 633743 w 1662894"/>
              <a:gd name="connsiteY105" fmla="*/ 4526 h 659132"/>
              <a:gd name="connsiteX106" fmla="*/ 606583 w 1662894"/>
              <a:gd name="connsiteY106" fmla="*/ 13580 h 659132"/>
              <a:gd name="connsiteX107" fmla="*/ 588476 w 1662894"/>
              <a:gd name="connsiteY107" fmla="*/ 49794 h 659132"/>
              <a:gd name="connsiteX108" fmla="*/ 583949 w 1662894"/>
              <a:gd name="connsiteY108" fmla="*/ 63374 h 659132"/>
              <a:gd name="connsiteX109" fmla="*/ 552262 w 1662894"/>
              <a:gd name="connsiteY109" fmla="*/ 86008 h 659132"/>
              <a:gd name="connsiteX110" fmla="*/ 516048 w 1662894"/>
              <a:gd name="connsiteY110" fmla="*/ 104115 h 659132"/>
              <a:gd name="connsiteX111" fmla="*/ 502468 w 1662894"/>
              <a:gd name="connsiteY111" fmla="*/ 108641 h 659132"/>
              <a:gd name="connsiteX112" fmla="*/ 488888 w 1662894"/>
              <a:gd name="connsiteY112" fmla="*/ 113168 h 659132"/>
              <a:gd name="connsiteX113" fmla="*/ 362139 w 1662894"/>
              <a:gd name="connsiteY113" fmla="*/ 108641 h 659132"/>
              <a:gd name="connsiteX114" fmla="*/ 334979 w 1662894"/>
              <a:gd name="connsiteY114" fmla="*/ 99588 h 659132"/>
              <a:gd name="connsiteX115" fmla="*/ 194650 w 1662894"/>
              <a:gd name="connsiteY115" fmla="*/ 95061 h 659132"/>
              <a:gd name="connsiteX116" fmla="*/ 158436 w 1662894"/>
              <a:gd name="connsiteY116" fmla="*/ 104115 h 659132"/>
              <a:gd name="connsiteX117" fmla="*/ 117695 w 1662894"/>
              <a:gd name="connsiteY117" fmla="*/ 117695 h 659132"/>
              <a:gd name="connsiteX118" fmla="*/ 63375 w 1662894"/>
              <a:gd name="connsiteY118" fmla="*/ 135802 h 659132"/>
              <a:gd name="connsiteX119" fmla="*/ 49795 w 1662894"/>
              <a:gd name="connsiteY119" fmla="*/ 140328 h 659132"/>
              <a:gd name="connsiteX120" fmla="*/ 36214 w 1662894"/>
              <a:gd name="connsiteY120" fmla="*/ 144855 h 659132"/>
              <a:gd name="connsiteX121" fmla="*/ 18107 w 1662894"/>
              <a:gd name="connsiteY121" fmla="*/ 162962 h 659132"/>
              <a:gd name="connsiteX122" fmla="*/ 0 w 1662894"/>
              <a:gd name="connsiteY122" fmla="*/ 162962 h 659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1662894" h="659132">
                <a:moveTo>
                  <a:pt x="0" y="162962"/>
                </a:moveTo>
                <a:cubicBezTo>
                  <a:pt x="4527" y="165980"/>
                  <a:pt x="10882" y="167292"/>
                  <a:pt x="13581" y="172016"/>
                </a:cubicBezTo>
                <a:cubicBezTo>
                  <a:pt x="31575" y="203506"/>
                  <a:pt x="3035" y="189625"/>
                  <a:pt x="31688" y="199176"/>
                </a:cubicBezTo>
                <a:cubicBezTo>
                  <a:pt x="33197" y="203703"/>
                  <a:pt x="35179" y="208098"/>
                  <a:pt x="36214" y="212756"/>
                </a:cubicBezTo>
                <a:cubicBezTo>
                  <a:pt x="38205" y="221716"/>
                  <a:pt x="37518" y="231323"/>
                  <a:pt x="40741" y="239917"/>
                </a:cubicBezTo>
                <a:cubicBezTo>
                  <a:pt x="46431" y="255090"/>
                  <a:pt x="72842" y="251926"/>
                  <a:pt x="81482" y="253497"/>
                </a:cubicBezTo>
                <a:cubicBezTo>
                  <a:pt x="93994" y="255772"/>
                  <a:pt x="101528" y="258670"/>
                  <a:pt x="113169" y="262550"/>
                </a:cubicBezTo>
                <a:cubicBezTo>
                  <a:pt x="116187" y="265568"/>
                  <a:pt x="120026" y="267944"/>
                  <a:pt x="122222" y="271604"/>
                </a:cubicBezTo>
                <a:cubicBezTo>
                  <a:pt x="124677" y="275696"/>
                  <a:pt x="126749" y="280412"/>
                  <a:pt x="126749" y="285184"/>
                </a:cubicBezTo>
                <a:cubicBezTo>
                  <a:pt x="126749" y="324445"/>
                  <a:pt x="127976" y="364042"/>
                  <a:pt x="122222" y="402879"/>
                </a:cubicBezTo>
                <a:cubicBezTo>
                  <a:pt x="121523" y="407599"/>
                  <a:pt x="113169" y="405897"/>
                  <a:pt x="108642" y="407406"/>
                </a:cubicBezTo>
                <a:cubicBezTo>
                  <a:pt x="107133" y="411933"/>
                  <a:pt x="103179" y="416307"/>
                  <a:pt x="104115" y="420986"/>
                </a:cubicBezTo>
                <a:cubicBezTo>
                  <a:pt x="106080" y="430809"/>
                  <a:pt x="120819" y="431601"/>
                  <a:pt x="126749" y="434566"/>
                </a:cubicBezTo>
                <a:cubicBezTo>
                  <a:pt x="131615" y="436999"/>
                  <a:pt x="135802" y="440601"/>
                  <a:pt x="140329" y="443619"/>
                </a:cubicBezTo>
                <a:cubicBezTo>
                  <a:pt x="191731" y="439666"/>
                  <a:pt x="206622" y="435503"/>
                  <a:pt x="258024" y="443619"/>
                </a:cubicBezTo>
                <a:cubicBezTo>
                  <a:pt x="258029" y="443620"/>
                  <a:pt x="291972" y="454936"/>
                  <a:pt x="298765" y="457200"/>
                </a:cubicBezTo>
                <a:lnTo>
                  <a:pt x="312345" y="461726"/>
                </a:lnTo>
                <a:lnTo>
                  <a:pt x="330452" y="479833"/>
                </a:lnTo>
                <a:lnTo>
                  <a:pt x="339505" y="488887"/>
                </a:lnTo>
                <a:lnTo>
                  <a:pt x="348559" y="516047"/>
                </a:lnTo>
                <a:lnTo>
                  <a:pt x="353086" y="529627"/>
                </a:lnTo>
                <a:lnTo>
                  <a:pt x="357612" y="543208"/>
                </a:lnTo>
                <a:cubicBezTo>
                  <a:pt x="361835" y="555879"/>
                  <a:pt x="364137" y="569526"/>
                  <a:pt x="380246" y="574895"/>
                </a:cubicBezTo>
                <a:lnTo>
                  <a:pt x="393826" y="579421"/>
                </a:lnTo>
                <a:cubicBezTo>
                  <a:pt x="396844" y="582439"/>
                  <a:pt x="399220" y="586279"/>
                  <a:pt x="402880" y="588475"/>
                </a:cubicBezTo>
                <a:cubicBezTo>
                  <a:pt x="419306" y="598331"/>
                  <a:pt x="433894" y="589817"/>
                  <a:pt x="452674" y="588475"/>
                </a:cubicBezTo>
                <a:cubicBezTo>
                  <a:pt x="482813" y="586322"/>
                  <a:pt x="513030" y="585457"/>
                  <a:pt x="543208" y="583948"/>
                </a:cubicBezTo>
                <a:cubicBezTo>
                  <a:pt x="583967" y="575796"/>
                  <a:pt x="575754" y="575423"/>
                  <a:pt x="638270" y="583948"/>
                </a:cubicBezTo>
                <a:cubicBezTo>
                  <a:pt x="647726" y="585237"/>
                  <a:pt x="656377" y="589984"/>
                  <a:pt x="665430" y="593002"/>
                </a:cubicBezTo>
                <a:lnTo>
                  <a:pt x="679010" y="597528"/>
                </a:lnTo>
                <a:cubicBezTo>
                  <a:pt x="683537" y="600546"/>
                  <a:pt x="687590" y="604439"/>
                  <a:pt x="692591" y="606582"/>
                </a:cubicBezTo>
                <a:cubicBezTo>
                  <a:pt x="698309" y="609033"/>
                  <a:pt x="704715" y="609400"/>
                  <a:pt x="710697" y="611109"/>
                </a:cubicBezTo>
                <a:cubicBezTo>
                  <a:pt x="715285" y="612420"/>
                  <a:pt x="719751" y="614126"/>
                  <a:pt x="724278" y="615635"/>
                </a:cubicBezTo>
                <a:cubicBezTo>
                  <a:pt x="747212" y="638571"/>
                  <a:pt x="717535" y="611591"/>
                  <a:pt x="746911" y="629216"/>
                </a:cubicBezTo>
                <a:cubicBezTo>
                  <a:pt x="773785" y="645340"/>
                  <a:pt x="734602" y="631792"/>
                  <a:pt x="769545" y="647322"/>
                </a:cubicBezTo>
                <a:cubicBezTo>
                  <a:pt x="778266" y="651198"/>
                  <a:pt x="796705" y="656376"/>
                  <a:pt x="796705" y="656376"/>
                </a:cubicBezTo>
                <a:cubicBezTo>
                  <a:pt x="801213" y="656111"/>
                  <a:pt x="863620" y="659132"/>
                  <a:pt x="887240" y="647322"/>
                </a:cubicBezTo>
                <a:cubicBezTo>
                  <a:pt x="892106" y="644889"/>
                  <a:pt x="896572" y="641667"/>
                  <a:pt x="900820" y="638269"/>
                </a:cubicBezTo>
                <a:cubicBezTo>
                  <a:pt x="904153" y="635603"/>
                  <a:pt x="906057" y="631125"/>
                  <a:pt x="909874" y="629216"/>
                </a:cubicBezTo>
                <a:cubicBezTo>
                  <a:pt x="918410" y="624948"/>
                  <a:pt x="927981" y="623180"/>
                  <a:pt x="937034" y="620162"/>
                </a:cubicBezTo>
                <a:lnTo>
                  <a:pt x="950614" y="615635"/>
                </a:lnTo>
                <a:cubicBezTo>
                  <a:pt x="955141" y="614126"/>
                  <a:pt x="959426" y="611279"/>
                  <a:pt x="964195" y="611109"/>
                </a:cubicBezTo>
                <a:lnTo>
                  <a:pt x="1090943" y="606582"/>
                </a:lnTo>
                <a:cubicBezTo>
                  <a:pt x="1099996" y="603564"/>
                  <a:pt x="1111355" y="604276"/>
                  <a:pt x="1118103" y="597528"/>
                </a:cubicBezTo>
                <a:cubicBezTo>
                  <a:pt x="1121121" y="594510"/>
                  <a:pt x="1123340" y="590384"/>
                  <a:pt x="1127157" y="588475"/>
                </a:cubicBezTo>
                <a:cubicBezTo>
                  <a:pt x="1135693" y="584207"/>
                  <a:pt x="1154317" y="579421"/>
                  <a:pt x="1154317" y="579421"/>
                </a:cubicBezTo>
                <a:cubicBezTo>
                  <a:pt x="1157335" y="576403"/>
                  <a:pt x="1160705" y="573701"/>
                  <a:pt x="1163371" y="570368"/>
                </a:cubicBezTo>
                <a:cubicBezTo>
                  <a:pt x="1166770" y="566120"/>
                  <a:pt x="1168176" y="560187"/>
                  <a:pt x="1172424" y="556788"/>
                </a:cubicBezTo>
                <a:cubicBezTo>
                  <a:pt x="1176150" y="553807"/>
                  <a:pt x="1181477" y="553770"/>
                  <a:pt x="1186004" y="552261"/>
                </a:cubicBezTo>
                <a:lnTo>
                  <a:pt x="1204111" y="534154"/>
                </a:lnTo>
                <a:lnTo>
                  <a:pt x="1213165" y="525101"/>
                </a:lnTo>
                <a:cubicBezTo>
                  <a:pt x="1214674" y="520574"/>
                  <a:pt x="1217692" y="516292"/>
                  <a:pt x="1217692" y="511520"/>
                </a:cubicBezTo>
                <a:cubicBezTo>
                  <a:pt x="1217692" y="499767"/>
                  <a:pt x="1211283" y="496058"/>
                  <a:pt x="1204111" y="488887"/>
                </a:cubicBezTo>
                <a:cubicBezTo>
                  <a:pt x="1205620" y="479833"/>
                  <a:pt x="1202594" y="468634"/>
                  <a:pt x="1208638" y="461726"/>
                </a:cubicBezTo>
                <a:cubicBezTo>
                  <a:pt x="1214922" y="454544"/>
                  <a:pt x="1226279" y="453353"/>
                  <a:pt x="1235798" y="452673"/>
                </a:cubicBezTo>
                <a:lnTo>
                  <a:pt x="1299173" y="448146"/>
                </a:lnTo>
                <a:cubicBezTo>
                  <a:pt x="1303700" y="445128"/>
                  <a:pt x="1308505" y="442492"/>
                  <a:pt x="1312753" y="439093"/>
                </a:cubicBezTo>
                <a:cubicBezTo>
                  <a:pt x="1316086" y="436427"/>
                  <a:pt x="1317989" y="431948"/>
                  <a:pt x="1321806" y="430039"/>
                </a:cubicBezTo>
                <a:cubicBezTo>
                  <a:pt x="1347119" y="417382"/>
                  <a:pt x="1337159" y="436403"/>
                  <a:pt x="1367074" y="416459"/>
                </a:cubicBezTo>
                <a:cubicBezTo>
                  <a:pt x="1376127" y="410423"/>
                  <a:pt x="1383911" y="401793"/>
                  <a:pt x="1394234" y="398352"/>
                </a:cubicBezTo>
                <a:lnTo>
                  <a:pt x="1434975" y="384772"/>
                </a:lnTo>
                <a:lnTo>
                  <a:pt x="1448555" y="380245"/>
                </a:lnTo>
                <a:lnTo>
                  <a:pt x="1462135" y="375718"/>
                </a:lnTo>
                <a:cubicBezTo>
                  <a:pt x="1465153" y="372700"/>
                  <a:pt x="1467372" y="368574"/>
                  <a:pt x="1471189" y="366665"/>
                </a:cubicBezTo>
                <a:cubicBezTo>
                  <a:pt x="1479725" y="362397"/>
                  <a:pt x="1498349" y="357612"/>
                  <a:pt x="1498349" y="357612"/>
                </a:cubicBezTo>
                <a:cubicBezTo>
                  <a:pt x="1516568" y="339391"/>
                  <a:pt x="1496312" y="356543"/>
                  <a:pt x="1525509" y="344031"/>
                </a:cubicBezTo>
                <a:cubicBezTo>
                  <a:pt x="1530510" y="341888"/>
                  <a:pt x="1533708" y="335775"/>
                  <a:pt x="1539090" y="334978"/>
                </a:cubicBezTo>
                <a:cubicBezTo>
                  <a:pt x="1575037" y="329653"/>
                  <a:pt x="1647731" y="325924"/>
                  <a:pt x="1647731" y="325924"/>
                </a:cubicBezTo>
                <a:cubicBezTo>
                  <a:pt x="1652258" y="324415"/>
                  <a:pt x="1660636" y="326121"/>
                  <a:pt x="1661311" y="321398"/>
                </a:cubicBezTo>
                <a:cubicBezTo>
                  <a:pt x="1662894" y="310316"/>
                  <a:pt x="1647079" y="279361"/>
                  <a:pt x="1634151" y="276130"/>
                </a:cubicBezTo>
                <a:lnTo>
                  <a:pt x="1616044" y="271604"/>
                </a:lnTo>
                <a:cubicBezTo>
                  <a:pt x="1613026" y="268586"/>
                  <a:pt x="1610651" y="264746"/>
                  <a:pt x="1606991" y="262550"/>
                </a:cubicBezTo>
                <a:cubicBezTo>
                  <a:pt x="1602899" y="260095"/>
                  <a:pt x="1598167" y="258404"/>
                  <a:pt x="1593410" y="258023"/>
                </a:cubicBezTo>
                <a:cubicBezTo>
                  <a:pt x="1560286" y="255373"/>
                  <a:pt x="1527018" y="255006"/>
                  <a:pt x="1493822" y="253497"/>
                </a:cubicBezTo>
                <a:cubicBezTo>
                  <a:pt x="1486278" y="251988"/>
                  <a:pt x="1478261" y="252001"/>
                  <a:pt x="1471189" y="248970"/>
                </a:cubicBezTo>
                <a:cubicBezTo>
                  <a:pt x="1467266" y="247289"/>
                  <a:pt x="1461100" y="244057"/>
                  <a:pt x="1462135" y="239917"/>
                </a:cubicBezTo>
                <a:cubicBezTo>
                  <a:pt x="1464774" y="229361"/>
                  <a:pt x="1480242" y="212756"/>
                  <a:pt x="1480242" y="212756"/>
                </a:cubicBezTo>
                <a:cubicBezTo>
                  <a:pt x="1481751" y="194649"/>
                  <a:pt x="1482763" y="176494"/>
                  <a:pt x="1484769" y="158435"/>
                </a:cubicBezTo>
                <a:cubicBezTo>
                  <a:pt x="1485783" y="149313"/>
                  <a:pt x="1486072" y="139869"/>
                  <a:pt x="1489295" y="131275"/>
                </a:cubicBezTo>
                <a:cubicBezTo>
                  <a:pt x="1490794" y="127279"/>
                  <a:pt x="1495016" y="124887"/>
                  <a:pt x="1498349" y="122221"/>
                </a:cubicBezTo>
                <a:cubicBezTo>
                  <a:pt x="1510884" y="112193"/>
                  <a:pt x="1511167" y="113422"/>
                  <a:pt x="1525509" y="108641"/>
                </a:cubicBezTo>
                <a:cubicBezTo>
                  <a:pt x="1470262" y="71811"/>
                  <a:pt x="1507573" y="92899"/>
                  <a:pt x="1358020" y="104115"/>
                </a:cubicBezTo>
                <a:cubicBezTo>
                  <a:pt x="1348504" y="104829"/>
                  <a:pt x="1339913" y="110150"/>
                  <a:pt x="1330860" y="113168"/>
                </a:cubicBezTo>
                <a:cubicBezTo>
                  <a:pt x="1326333" y="114677"/>
                  <a:pt x="1321250" y="115048"/>
                  <a:pt x="1317280" y="117695"/>
                </a:cubicBezTo>
                <a:cubicBezTo>
                  <a:pt x="1312753" y="120713"/>
                  <a:pt x="1308793" y="124838"/>
                  <a:pt x="1303699" y="126748"/>
                </a:cubicBezTo>
                <a:cubicBezTo>
                  <a:pt x="1296495" y="129449"/>
                  <a:pt x="1288489" y="129251"/>
                  <a:pt x="1281066" y="131275"/>
                </a:cubicBezTo>
                <a:cubicBezTo>
                  <a:pt x="1271859" y="133786"/>
                  <a:pt x="1262959" y="137310"/>
                  <a:pt x="1253905" y="140328"/>
                </a:cubicBezTo>
                <a:cubicBezTo>
                  <a:pt x="1249378" y="141837"/>
                  <a:pt x="1244295" y="142208"/>
                  <a:pt x="1240325" y="144855"/>
                </a:cubicBezTo>
                <a:lnTo>
                  <a:pt x="1226745" y="153909"/>
                </a:lnTo>
                <a:cubicBezTo>
                  <a:pt x="1181478" y="152400"/>
                  <a:pt x="1136153" y="152122"/>
                  <a:pt x="1090943" y="149382"/>
                </a:cubicBezTo>
                <a:cubicBezTo>
                  <a:pt x="1068449" y="148019"/>
                  <a:pt x="1085089" y="144192"/>
                  <a:pt x="1068309" y="135802"/>
                </a:cubicBezTo>
                <a:cubicBezTo>
                  <a:pt x="1059773" y="131534"/>
                  <a:pt x="1049089" y="132041"/>
                  <a:pt x="1041149" y="126748"/>
                </a:cubicBezTo>
                <a:cubicBezTo>
                  <a:pt x="1023599" y="115048"/>
                  <a:pt x="1032730" y="119415"/>
                  <a:pt x="1013989" y="113168"/>
                </a:cubicBezTo>
                <a:cubicBezTo>
                  <a:pt x="1010971" y="110150"/>
                  <a:pt x="1008752" y="106024"/>
                  <a:pt x="1004935" y="104115"/>
                </a:cubicBezTo>
                <a:cubicBezTo>
                  <a:pt x="999370" y="101333"/>
                  <a:pt x="992810" y="101297"/>
                  <a:pt x="986828" y="99588"/>
                </a:cubicBezTo>
                <a:cubicBezTo>
                  <a:pt x="982240" y="98277"/>
                  <a:pt x="977836" y="96372"/>
                  <a:pt x="973248" y="95061"/>
                </a:cubicBezTo>
                <a:cubicBezTo>
                  <a:pt x="967266" y="93352"/>
                  <a:pt x="961100" y="92322"/>
                  <a:pt x="955141" y="90534"/>
                </a:cubicBezTo>
                <a:cubicBezTo>
                  <a:pt x="946000" y="87792"/>
                  <a:pt x="937034" y="84499"/>
                  <a:pt x="927981" y="81481"/>
                </a:cubicBezTo>
                <a:lnTo>
                  <a:pt x="900820" y="72427"/>
                </a:lnTo>
                <a:cubicBezTo>
                  <a:pt x="896293" y="70918"/>
                  <a:pt x="892003" y="68181"/>
                  <a:pt x="887240" y="67901"/>
                </a:cubicBezTo>
                <a:lnTo>
                  <a:pt x="810286" y="63374"/>
                </a:lnTo>
                <a:cubicBezTo>
                  <a:pt x="779465" y="32553"/>
                  <a:pt x="826442" y="80713"/>
                  <a:pt x="792179" y="40740"/>
                </a:cubicBezTo>
                <a:cubicBezTo>
                  <a:pt x="783826" y="30994"/>
                  <a:pt x="772506" y="19587"/>
                  <a:pt x="760492" y="13580"/>
                </a:cubicBezTo>
                <a:cubicBezTo>
                  <a:pt x="753257" y="9963"/>
                  <a:pt x="735572" y="6460"/>
                  <a:pt x="728804" y="4526"/>
                </a:cubicBezTo>
                <a:cubicBezTo>
                  <a:pt x="724216" y="3215"/>
                  <a:pt x="719751" y="1509"/>
                  <a:pt x="715224" y="0"/>
                </a:cubicBezTo>
                <a:cubicBezTo>
                  <a:pt x="688064" y="1509"/>
                  <a:pt x="660735" y="1152"/>
                  <a:pt x="633743" y="4526"/>
                </a:cubicBezTo>
                <a:cubicBezTo>
                  <a:pt x="624274" y="5710"/>
                  <a:pt x="606583" y="13580"/>
                  <a:pt x="606583" y="13580"/>
                </a:cubicBezTo>
                <a:cubicBezTo>
                  <a:pt x="590780" y="29381"/>
                  <a:pt x="598879" y="18583"/>
                  <a:pt x="588476" y="49794"/>
                </a:cubicBezTo>
                <a:cubicBezTo>
                  <a:pt x="586967" y="54321"/>
                  <a:pt x="587323" y="60000"/>
                  <a:pt x="583949" y="63374"/>
                </a:cubicBezTo>
                <a:cubicBezTo>
                  <a:pt x="562468" y="84855"/>
                  <a:pt x="573940" y="78782"/>
                  <a:pt x="552262" y="86008"/>
                </a:cubicBezTo>
                <a:cubicBezTo>
                  <a:pt x="536460" y="101808"/>
                  <a:pt x="547256" y="93712"/>
                  <a:pt x="516048" y="104115"/>
                </a:cubicBezTo>
                <a:lnTo>
                  <a:pt x="502468" y="108641"/>
                </a:lnTo>
                <a:lnTo>
                  <a:pt x="488888" y="113168"/>
                </a:lnTo>
                <a:cubicBezTo>
                  <a:pt x="446638" y="111659"/>
                  <a:pt x="404252" y="112357"/>
                  <a:pt x="362139" y="108641"/>
                </a:cubicBezTo>
                <a:cubicBezTo>
                  <a:pt x="352633" y="107802"/>
                  <a:pt x="334979" y="99588"/>
                  <a:pt x="334979" y="99588"/>
                </a:cubicBezTo>
                <a:cubicBezTo>
                  <a:pt x="295534" y="60143"/>
                  <a:pt x="324348" y="84544"/>
                  <a:pt x="194650" y="95061"/>
                </a:cubicBezTo>
                <a:cubicBezTo>
                  <a:pt x="182248" y="96067"/>
                  <a:pt x="170240" y="100180"/>
                  <a:pt x="158436" y="104115"/>
                </a:cubicBezTo>
                <a:lnTo>
                  <a:pt x="117695" y="117695"/>
                </a:lnTo>
                <a:lnTo>
                  <a:pt x="63375" y="135802"/>
                </a:lnTo>
                <a:lnTo>
                  <a:pt x="49795" y="140328"/>
                </a:lnTo>
                <a:lnTo>
                  <a:pt x="36214" y="144855"/>
                </a:lnTo>
                <a:lnTo>
                  <a:pt x="18107" y="162962"/>
                </a:lnTo>
                <a:lnTo>
                  <a:pt x="0" y="162962"/>
                </a:ln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1" name="Freeform 110"/>
          <p:cNvSpPr/>
          <p:nvPr/>
        </p:nvSpPr>
        <p:spPr>
          <a:xfrm>
            <a:off x="1698631" y="1940990"/>
            <a:ext cx="2119313" cy="910167"/>
          </a:xfrm>
          <a:custGeom>
            <a:avLst/>
            <a:gdLst>
              <a:gd name="connsiteX0" fmla="*/ 2114820 w 2119154"/>
              <a:gd name="connsiteY0" fmla="*/ 377027 h 910066"/>
              <a:gd name="connsiteX1" fmla="*/ 2067150 w 2119154"/>
              <a:gd name="connsiteY1" fmla="*/ 372694 h 910066"/>
              <a:gd name="connsiteX2" fmla="*/ 2058483 w 2119154"/>
              <a:gd name="connsiteY2" fmla="*/ 346692 h 910066"/>
              <a:gd name="connsiteX3" fmla="*/ 2002145 w 2119154"/>
              <a:gd name="connsiteY3" fmla="*/ 333691 h 910066"/>
              <a:gd name="connsiteX4" fmla="*/ 1984811 w 2119154"/>
              <a:gd name="connsiteY4" fmla="*/ 307689 h 910066"/>
              <a:gd name="connsiteX5" fmla="*/ 1906805 w 2119154"/>
              <a:gd name="connsiteY5" fmla="*/ 294688 h 910066"/>
              <a:gd name="connsiteX6" fmla="*/ 1867802 w 2119154"/>
              <a:gd name="connsiteY6" fmla="*/ 281687 h 910066"/>
              <a:gd name="connsiteX7" fmla="*/ 1854801 w 2119154"/>
              <a:gd name="connsiteY7" fmla="*/ 277353 h 910066"/>
              <a:gd name="connsiteX8" fmla="*/ 1807131 w 2119154"/>
              <a:gd name="connsiteY8" fmla="*/ 281687 h 910066"/>
              <a:gd name="connsiteX9" fmla="*/ 1789797 w 2119154"/>
              <a:gd name="connsiteY9" fmla="*/ 277353 h 910066"/>
              <a:gd name="connsiteX10" fmla="*/ 1785463 w 2119154"/>
              <a:gd name="connsiteY10" fmla="*/ 264352 h 910066"/>
              <a:gd name="connsiteX11" fmla="*/ 1772462 w 2119154"/>
              <a:gd name="connsiteY11" fmla="*/ 255685 h 910066"/>
              <a:gd name="connsiteX12" fmla="*/ 1759461 w 2119154"/>
              <a:gd name="connsiteY12" fmla="*/ 216682 h 910066"/>
              <a:gd name="connsiteX13" fmla="*/ 1755127 w 2119154"/>
              <a:gd name="connsiteY13" fmla="*/ 203681 h 910066"/>
              <a:gd name="connsiteX14" fmla="*/ 1746460 w 2119154"/>
              <a:gd name="connsiteY14" fmla="*/ 190680 h 910066"/>
              <a:gd name="connsiteX15" fmla="*/ 1742127 w 2119154"/>
              <a:gd name="connsiteY15" fmla="*/ 177680 h 910066"/>
              <a:gd name="connsiteX16" fmla="*/ 1729126 w 2119154"/>
              <a:gd name="connsiteY16" fmla="*/ 169012 h 910066"/>
              <a:gd name="connsiteX17" fmla="*/ 1720458 w 2119154"/>
              <a:gd name="connsiteY17" fmla="*/ 160345 h 910066"/>
              <a:gd name="connsiteX18" fmla="*/ 1698790 w 2119154"/>
              <a:gd name="connsiteY18" fmla="*/ 121342 h 910066"/>
              <a:gd name="connsiteX19" fmla="*/ 1694456 w 2119154"/>
              <a:gd name="connsiteY19" fmla="*/ 86673 h 910066"/>
              <a:gd name="connsiteX20" fmla="*/ 1681455 w 2119154"/>
              <a:gd name="connsiteY20" fmla="*/ 78006 h 910066"/>
              <a:gd name="connsiteX21" fmla="*/ 1672788 w 2119154"/>
              <a:gd name="connsiteY21" fmla="*/ 69338 h 910066"/>
              <a:gd name="connsiteX22" fmla="*/ 1646786 w 2119154"/>
              <a:gd name="connsiteY22" fmla="*/ 73672 h 910066"/>
              <a:gd name="connsiteX23" fmla="*/ 1620784 w 2119154"/>
              <a:gd name="connsiteY23" fmla="*/ 82339 h 910066"/>
              <a:gd name="connsiteX24" fmla="*/ 1586115 w 2119154"/>
              <a:gd name="connsiteY24" fmla="*/ 108341 h 910066"/>
              <a:gd name="connsiteX25" fmla="*/ 1573114 w 2119154"/>
              <a:gd name="connsiteY25" fmla="*/ 112675 h 910066"/>
              <a:gd name="connsiteX26" fmla="*/ 1538445 w 2119154"/>
              <a:gd name="connsiteY26" fmla="*/ 108341 h 910066"/>
              <a:gd name="connsiteX27" fmla="*/ 1525444 w 2119154"/>
              <a:gd name="connsiteY27" fmla="*/ 99674 h 910066"/>
              <a:gd name="connsiteX28" fmla="*/ 1486441 w 2119154"/>
              <a:gd name="connsiteY28" fmla="*/ 78006 h 910066"/>
              <a:gd name="connsiteX29" fmla="*/ 1477774 w 2119154"/>
              <a:gd name="connsiteY29" fmla="*/ 69338 h 910066"/>
              <a:gd name="connsiteX30" fmla="*/ 1451772 w 2119154"/>
              <a:gd name="connsiteY30" fmla="*/ 65005 h 910066"/>
              <a:gd name="connsiteX31" fmla="*/ 1443105 w 2119154"/>
              <a:gd name="connsiteY31" fmla="*/ 56337 h 910066"/>
              <a:gd name="connsiteX32" fmla="*/ 1430104 w 2119154"/>
              <a:gd name="connsiteY32" fmla="*/ 52004 h 910066"/>
              <a:gd name="connsiteX33" fmla="*/ 1421436 w 2119154"/>
              <a:gd name="connsiteY33" fmla="*/ 26002 h 910066"/>
              <a:gd name="connsiteX34" fmla="*/ 1412769 w 2119154"/>
              <a:gd name="connsiteY34" fmla="*/ 17334 h 910066"/>
              <a:gd name="connsiteX35" fmla="*/ 1404102 w 2119154"/>
              <a:gd name="connsiteY35" fmla="*/ 4334 h 910066"/>
              <a:gd name="connsiteX36" fmla="*/ 1386767 w 2119154"/>
              <a:gd name="connsiteY36" fmla="*/ 0 h 910066"/>
              <a:gd name="connsiteX37" fmla="*/ 1334764 w 2119154"/>
              <a:gd name="connsiteY37" fmla="*/ 4334 h 910066"/>
              <a:gd name="connsiteX38" fmla="*/ 1317429 w 2119154"/>
              <a:gd name="connsiteY38" fmla="*/ 8667 h 910066"/>
              <a:gd name="connsiteX39" fmla="*/ 1291427 w 2119154"/>
              <a:gd name="connsiteY39" fmla="*/ 17334 h 910066"/>
              <a:gd name="connsiteX40" fmla="*/ 1239423 w 2119154"/>
              <a:gd name="connsiteY40" fmla="*/ 21668 h 910066"/>
              <a:gd name="connsiteX41" fmla="*/ 1213421 w 2119154"/>
              <a:gd name="connsiteY41" fmla="*/ 30335 h 910066"/>
              <a:gd name="connsiteX42" fmla="*/ 1200420 w 2119154"/>
              <a:gd name="connsiteY42" fmla="*/ 34669 h 910066"/>
              <a:gd name="connsiteX43" fmla="*/ 1187419 w 2119154"/>
              <a:gd name="connsiteY43" fmla="*/ 39003 h 910066"/>
              <a:gd name="connsiteX44" fmla="*/ 1161418 w 2119154"/>
              <a:gd name="connsiteY44" fmla="*/ 43336 h 910066"/>
              <a:gd name="connsiteX45" fmla="*/ 1092079 w 2119154"/>
              <a:gd name="connsiteY45" fmla="*/ 47670 h 910066"/>
              <a:gd name="connsiteX46" fmla="*/ 1005406 w 2119154"/>
              <a:gd name="connsiteY46" fmla="*/ 60671 h 910066"/>
              <a:gd name="connsiteX47" fmla="*/ 957736 w 2119154"/>
              <a:gd name="connsiteY47" fmla="*/ 65005 h 910066"/>
              <a:gd name="connsiteX48" fmla="*/ 923067 w 2119154"/>
              <a:gd name="connsiteY48" fmla="*/ 86673 h 910066"/>
              <a:gd name="connsiteX49" fmla="*/ 918733 w 2119154"/>
              <a:gd name="connsiteY49" fmla="*/ 108341 h 910066"/>
              <a:gd name="connsiteX50" fmla="*/ 914400 w 2119154"/>
              <a:gd name="connsiteY50" fmla="*/ 121342 h 910066"/>
              <a:gd name="connsiteX51" fmla="*/ 888398 w 2119154"/>
              <a:gd name="connsiteY51" fmla="*/ 138677 h 910066"/>
              <a:gd name="connsiteX52" fmla="*/ 875397 w 2119154"/>
              <a:gd name="connsiteY52" fmla="*/ 147344 h 910066"/>
              <a:gd name="connsiteX53" fmla="*/ 858062 w 2119154"/>
              <a:gd name="connsiteY53" fmla="*/ 164679 h 910066"/>
              <a:gd name="connsiteX54" fmla="*/ 845061 w 2119154"/>
              <a:gd name="connsiteY54" fmla="*/ 169012 h 910066"/>
              <a:gd name="connsiteX55" fmla="*/ 827727 w 2119154"/>
              <a:gd name="connsiteY55" fmla="*/ 208015 h 910066"/>
              <a:gd name="connsiteX56" fmla="*/ 823393 w 2119154"/>
              <a:gd name="connsiteY56" fmla="*/ 255685 h 910066"/>
              <a:gd name="connsiteX57" fmla="*/ 801725 w 2119154"/>
              <a:gd name="connsiteY57" fmla="*/ 277353 h 910066"/>
              <a:gd name="connsiteX58" fmla="*/ 793057 w 2119154"/>
              <a:gd name="connsiteY58" fmla="*/ 286021 h 910066"/>
              <a:gd name="connsiteX59" fmla="*/ 758388 w 2119154"/>
              <a:gd name="connsiteY59" fmla="*/ 290354 h 910066"/>
              <a:gd name="connsiteX60" fmla="*/ 667382 w 2119154"/>
              <a:gd name="connsiteY60" fmla="*/ 286021 h 910066"/>
              <a:gd name="connsiteX61" fmla="*/ 641380 w 2119154"/>
              <a:gd name="connsiteY61" fmla="*/ 277353 h 910066"/>
              <a:gd name="connsiteX62" fmla="*/ 554707 w 2119154"/>
              <a:gd name="connsiteY62" fmla="*/ 273020 h 910066"/>
              <a:gd name="connsiteX63" fmla="*/ 537372 w 2119154"/>
              <a:gd name="connsiteY63" fmla="*/ 277353 h 910066"/>
              <a:gd name="connsiteX64" fmla="*/ 511370 w 2119154"/>
              <a:gd name="connsiteY64" fmla="*/ 286021 h 910066"/>
              <a:gd name="connsiteX65" fmla="*/ 468034 w 2119154"/>
              <a:gd name="connsiteY65" fmla="*/ 281687 h 910066"/>
              <a:gd name="connsiteX66" fmla="*/ 455033 w 2119154"/>
              <a:gd name="connsiteY66" fmla="*/ 273020 h 910066"/>
              <a:gd name="connsiteX67" fmla="*/ 429031 w 2119154"/>
              <a:gd name="connsiteY67" fmla="*/ 264352 h 910066"/>
              <a:gd name="connsiteX68" fmla="*/ 403029 w 2119154"/>
              <a:gd name="connsiteY68" fmla="*/ 255685 h 910066"/>
              <a:gd name="connsiteX69" fmla="*/ 377027 w 2119154"/>
              <a:gd name="connsiteY69" fmla="*/ 247018 h 910066"/>
              <a:gd name="connsiteX70" fmla="*/ 351025 w 2119154"/>
              <a:gd name="connsiteY70" fmla="*/ 234017 h 910066"/>
              <a:gd name="connsiteX71" fmla="*/ 251351 w 2119154"/>
              <a:gd name="connsiteY71" fmla="*/ 238351 h 910066"/>
              <a:gd name="connsiteX72" fmla="*/ 199347 w 2119154"/>
              <a:gd name="connsiteY72" fmla="*/ 264352 h 910066"/>
              <a:gd name="connsiteX73" fmla="*/ 173345 w 2119154"/>
              <a:gd name="connsiteY73" fmla="*/ 277353 h 910066"/>
              <a:gd name="connsiteX74" fmla="*/ 169012 w 2119154"/>
              <a:gd name="connsiteY74" fmla="*/ 290354 h 910066"/>
              <a:gd name="connsiteX75" fmla="*/ 151677 w 2119154"/>
              <a:gd name="connsiteY75" fmla="*/ 307689 h 910066"/>
              <a:gd name="connsiteX76" fmla="*/ 143010 w 2119154"/>
              <a:gd name="connsiteY76" fmla="*/ 333691 h 910066"/>
              <a:gd name="connsiteX77" fmla="*/ 138676 w 2119154"/>
              <a:gd name="connsiteY77" fmla="*/ 346692 h 910066"/>
              <a:gd name="connsiteX78" fmla="*/ 104007 w 2119154"/>
              <a:gd name="connsiteY78" fmla="*/ 342358 h 910066"/>
              <a:gd name="connsiteX79" fmla="*/ 91006 w 2119154"/>
              <a:gd name="connsiteY79" fmla="*/ 333691 h 910066"/>
              <a:gd name="connsiteX80" fmla="*/ 78005 w 2119154"/>
              <a:gd name="connsiteY80" fmla="*/ 338025 h 910066"/>
              <a:gd name="connsiteX81" fmla="*/ 52003 w 2119154"/>
              <a:gd name="connsiteY81" fmla="*/ 355359 h 910066"/>
              <a:gd name="connsiteX82" fmla="*/ 26001 w 2119154"/>
              <a:gd name="connsiteY82" fmla="*/ 368360 h 910066"/>
              <a:gd name="connsiteX83" fmla="*/ 17334 w 2119154"/>
              <a:gd name="connsiteY83" fmla="*/ 381361 h 910066"/>
              <a:gd name="connsiteX84" fmla="*/ 8667 w 2119154"/>
              <a:gd name="connsiteY84" fmla="*/ 407363 h 910066"/>
              <a:gd name="connsiteX85" fmla="*/ 0 w 2119154"/>
              <a:gd name="connsiteY85" fmla="*/ 420364 h 910066"/>
              <a:gd name="connsiteX86" fmla="*/ 8667 w 2119154"/>
              <a:gd name="connsiteY86" fmla="*/ 481035 h 910066"/>
              <a:gd name="connsiteX87" fmla="*/ 4333 w 2119154"/>
              <a:gd name="connsiteY87" fmla="*/ 563374 h 910066"/>
              <a:gd name="connsiteX88" fmla="*/ 17334 w 2119154"/>
              <a:gd name="connsiteY88" fmla="*/ 567708 h 910066"/>
              <a:gd name="connsiteX89" fmla="*/ 52003 w 2119154"/>
              <a:gd name="connsiteY89" fmla="*/ 559041 h 910066"/>
              <a:gd name="connsiteX90" fmla="*/ 60671 w 2119154"/>
              <a:gd name="connsiteY90" fmla="*/ 550373 h 910066"/>
              <a:gd name="connsiteX91" fmla="*/ 104007 w 2119154"/>
              <a:gd name="connsiteY91" fmla="*/ 537372 h 910066"/>
              <a:gd name="connsiteX92" fmla="*/ 117008 w 2119154"/>
              <a:gd name="connsiteY92" fmla="*/ 533039 h 910066"/>
              <a:gd name="connsiteX93" fmla="*/ 147344 w 2119154"/>
              <a:gd name="connsiteY93" fmla="*/ 524371 h 910066"/>
              <a:gd name="connsiteX94" fmla="*/ 182013 w 2119154"/>
              <a:gd name="connsiteY94" fmla="*/ 528705 h 910066"/>
              <a:gd name="connsiteX95" fmla="*/ 242684 w 2119154"/>
              <a:gd name="connsiteY95" fmla="*/ 537372 h 910066"/>
              <a:gd name="connsiteX96" fmla="*/ 251351 w 2119154"/>
              <a:gd name="connsiteY96" fmla="*/ 546040 h 910066"/>
              <a:gd name="connsiteX97" fmla="*/ 260018 w 2119154"/>
              <a:gd name="connsiteY97" fmla="*/ 576375 h 910066"/>
              <a:gd name="connsiteX98" fmla="*/ 277353 w 2119154"/>
              <a:gd name="connsiteY98" fmla="*/ 602377 h 910066"/>
              <a:gd name="connsiteX99" fmla="*/ 281687 w 2119154"/>
              <a:gd name="connsiteY99" fmla="*/ 619712 h 910066"/>
              <a:gd name="connsiteX100" fmla="*/ 277353 w 2119154"/>
              <a:gd name="connsiteY100" fmla="*/ 645714 h 910066"/>
              <a:gd name="connsiteX101" fmla="*/ 251351 w 2119154"/>
              <a:gd name="connsiteY101" fmla="*/ 654381 h 910066"/>
              <a:gd name="connsiteX102" fmla="*/ 121342 w 2119154"/>
              <a:gd name="connsiteY102" fmla="*/ 654381 h 910066"/>
              <a:gd name="connsiteX103" fmla="*/ 104007 w 2119154"/>
              <a:gd name="connsiteY103" fmla="*/ 676049 h 910066"/>
              <a:gd name="connsiteX104" fmla="*/ 65004 w 2119154"/>
              <a:gd name="connsiteY104" fmla="*/ 689050 h 910066"/>
              <a:gd name="connsiteX105" fmla="*/ 43336 w 2119154"/>
              <a:gd name="connsiteY105" fmla="*/ 706385 h 910066"/>
              <a:gd name="connsiteX106" fmla="*/ 52003 w 2119154"/>
              <a:gd name="connsiteY106" fmla="*/ 732387 h 910066"/>
              <a:gd name="connsiteX107" fmla="*/ 56337 w 2119154"/>
              <a:gd name="connsiteY107" fmla="*/ 767056 h 910066"/>
              <a:gd name="connsiteX108" fmla="*/ 82339 w 2119154"/>
              <a:gd name="connsiteY108" fmla="*/ 775723 h 910066"/>
              <a:gd name="connsiteX109" fmla="*/ 95340 w 2119154"/>
              <a:gd name="connsiteY109" fmla="*/ 801725 h 910066"/>
              <a:gd name="connsiteX110" fmla="*/ 99673 w 2119154"/>
              <a:gd name="connsiteY110" fmla="*/ 814726 h 910066"/>
              <a:gd name="connsiteX111" fmla="*/ 91006 w 2119154"/>
              <a:gd name="connsiteY111" fmla="*/ 845061 h 910066"/>
              <a:gd name="connsiteX112" fmla="*/ 82339 w 2119154"/>
              <a:gd name="connsiteY112" fmla="*/ 853729 h 910066"/>
              <a:gd name="connsiteX113" fmla="*/ 95340 w 2119154"/>
              <a:gd name="connsiteY113" fmla="*/ 858062 h 910066"/>
              <a:gd name="connsiteX114" fmla="*/ 160345 w 2119154"/>
              <a:gd name="connsiteY114" fmla="*/ 849395 h 910066"/>
              <a:gd name="connsiteX115" fmla="*/ 173345 w 2119154"/>
              <a:gd name="connsiteY115" fmla="*/ 845061 h 910066"/>
              <a:gd name="connsiteX116" fmla="*/ 190680 w 2119154"/>
              <a:gd name="connsiteY116" fmla="*/ 849395 h 910066"/>
              <a:gd name="connsiteX117" fmla="*/ 195014 w 2119154"/>
              <a:gd name="connsiteY117" fmla="*/ 879731 h 910066"/>
              <a:gd name="connsiteX118" fmla="*/ 225349 w 2119154"/>
              <a:gd name="connsiteY118" fmla="*/ 910066 h 910066"/>
              <a:gd name="connsiteX119" fmla="*/ 242684 w 2119154"/>
              <a:gd name="connsiteY119" fmla="*/ 905733 h 910066"/>
              <a:gd name="connsiteX120" fmla="*/ 247018 w 2119154"/>
              <a:gd name="connsiteY120" fmla="*/ 892732 h 910066"/>
              <a:gd name="connsiteX121" fmla="*/ 255685 w 2119154"/>
              <a:gd name="connsiteY121" fmla="*/ 879731 h 910066"/>
              <a:gd name="connsiteX122" fmla="*/ 273019 w 2119154"/>
              <a:gd name="connsiteY122" fmla="*/ 845061 h 910066"/>
              <a:gd name="connsiteX123" fmla="*/ 277353 w 2119154"/>
              <a:gd name="connsiteY123" fmla="*/ 832061 h 910066"/>
              <a:gd name="connsiteX124" fmla="*/ 286020 w 2119154"/>
              <a:gd name="connsiteY124" fmla="*/ 823393 h 910066"/>
              <a:gd name="connsiteX125" fmla="*/ 294688 w 2119154"/>
              <a:gd name="connsiteY125" fmla="*/ 797391 h 910066"/>
              <a:gd name="connsiteX126" fmla="*/ 316356 w 2119154"/>
              <a:gd name="connsiteY126" fmla="*/ 732387 h 910066"/>
              <a:gd name="connsiteX127" fmla="*/ 320690 w 2119154"/>
              <a:gd name="connsiteY127" fmla="*/ 719386 h 910066"/>
              <a:gd name="connsiteX128" fmla="*/ 325023 w 2119154"/>
              <a:gd name="connsiteY128" fmla="*/ 706385 h 910066"/>
              <a:gd name="connsiteX129" fmla="*/ 333691 w 2119154"/>
              <a:gd name="connsiteY129" fmla="*/ 697717 h 910066"/>
              <a:gd name="connsiteX130" fmla="*/ 351025 w 2119154"/>
              <a:gd name="connsiteY130" fmla="*/ 671716 h 910066"/>
              <a:gd name="connsiteX131" fmla="*/ 364026 w 2119154"/>
              <a:gd name="connsiteY131" fmla="*/ 667382 h 910066"/>
              <a:gd name="connsiteX132" fmla="*/ 377027 w 2119154"/>
              <a:gd name="connsiteY132" fmla="*/ 658715 h 910066"/>
              <a:gd name="connsiteX133" fmla="*/ 390028 w 2119154"/>
              <a:gd name="connsiteY133" fmla="*/ 654381 h 910066"/>
              <a:gd name="connsiteX134" fmla="*/ 459366 w 2119154"/>
              <a:gd name="connsiteY134" fmla="*/ 645714 h 910066"/>
              <a:gd name="connsiteX135" fmla="*/ 498369 w 2119154"/>
              <a:gd name="connsiteY135" fmla="*/ 641380 h 910066"/>
              <a:gd name="connsiteX136" fmla="*/ 537372 w 2119154"/>
              <a:gd name="connsiteY136" fmla="*/ 645714 h 910066"/>
              <a:gd name="connsiteX137" fmla="*/ 550373 w 2119154"/>
              <a:gd name="connsiteY137" fmla="*/ 650047 h 910066"/>
              <a:gd name="connsiteX138" fmla="*/ 585042 w 2119154"/>
              <a:gd name="connsiteY138" fmla="*/ 693384 h 910066"/>
              <a:gd name="connsiteX139" fmla="*/ 598043 w 2119154"/>
              <a:gd name="connsiteY139" fmla="*/ 706385 h 910066"/>
              <a:gd name="connsiteX140" fmla="*/ 615378 w 2119154"/>
              <a:gd name="connsiteY140" fmla="*/ 745388 h 910066"/>
              <a:gd name="connsiteX141" fmla="*/ 619711 w 2119154"/>
              <a:gd name="connsiteY141" fmla="*/ 758389 h 910066"/>
              <a:gd name="connsiteX142" fmla="*/ 624045 w 2119154"/>
              <a:gd name="connsiteY142" fmla="*/ 771389 h 910066"/>
              <a:gd name="connsiteX143" fmla="*/ 654381 w 2119154"/>
              <a:gd name="connsiteY143" fmla="*/ 767056 h 910066"/>
              <a:gd name="connsiteX144" fmla="*/ 667382 w 2119154"/>
              <a:gd name="connsiteY144" fmla="*/ 758389 h 910066"/>
              <a:gd name="connsiteX145" fmla="*/ 680382 w 2119154"/>
              <a:gd name="connsiteY145" fmla="*/ 754055 h 910066"/>
              <a:gd name="connsiteX146" fmla="*/ 823393 w 2119154"/>
              <a:gd name="connsiteY146" fmla="*/ 771389 h 910066"/>
              <a:gd name="connsiteX147" fmla="*/ 827727 w 2119154"/>
              <a:gd name="connsiteY147" fmla="*/ 784390 h 910066"/>
              <a:gd name="connsiteX148" fmla="*/ 832060 w 2119154"/>
              <a:gd name="connsiteY148" fmla="*/ 884064 h 910066"/>
              <a:gd name="connsiteX149" fmla="*/ 832060 w 2119154"/>
              <a:gd name="connsiteY149" fmla="*/ 884064 h 910066"/>
              <a:gd name="connsiteX150" fmla="*/ 836394 w 2119154"/>
              <a:gd name="connsiteY150" fmla="*/ 905733 h 910066"/>
              <a:gd name="connsiteX151" fmla="*/ 849395 w 2119154"/>
              <a:gd name="connsiteY151" fmla="*/ 910066 h 910066"/>
              <a:gd name="connsiteX152" fmla="*/ 970737 w 2119154"/>
              <a:gd name="connsiteY152" fmla="*/ 905733 h 910066"/>
              <a:gd name="connsiteX153" fmla="*/ 983738 w 2119154"/>
              <a:gd name="connsiteY153" fmla="*/ 897065 h 910066"/>
              <a:gd name="connsiteX154" fmla="*/ 1022741 w 2119154"/>
              <a:gd name="connsiteY154" fmla="*/ 888398 h 910066"/>
              <a:gd name="connsiteX155" fmla="*/ 1035742 w 2119154"/>
              <a:gd name="connsiteY155" fmla="*/ 879731 h 910066"/>
              <a:gd name="connsiteX156" fmla="*/ 1057410 w 2119154"/>
              <a:gd name="connsiteY156" fmla="*/ 862396 h 910066"/>
              <a:gd name="connsiteX157" fmla="*/ 1070411 w 2119154"/>
              <a:gd name="connsiteY157" fmla="*/ 858062 h 910066"/>
              <a:gd name="connsiteX158" fmla="*/ 1083412 w 2119154"/>
              <a:gd name="connsiteY158" fmla="*/ 832061 h 910066"/>
              <a:gd name="connsiteX159" fmla="*/ 1092079 w 2119154"/>
              <a:gd name="connsiteY159" fmla="*/ 823393 h 910066"/>
              <a:gd name="connsiteX160" fmla="*/ 1118081 w 2119154"/>
              <a:gd name="connsiteY160" fmla="*/ 814726 h 910066"/>
              <a:gd name="connsiteX161" fmla="*/ 1131082 w 2119154"/>
              <a:gd name="connsiteY161" fmla="*/ 810392 h 910066"/>
              <a:gd name="connsiteX162" fmla="*/ 1144083 w 2119154"/>
              <a:gd name="connsiteY162" fmla="*/ 806059 h 910066"/>
              <a:gd name="connsiteX163" fmla="*/ 1174418 w 2119154"/>
              <a:gd name="connsiteY163" fmla="*/ 810392 h 910066"/>
              <a:gd name="connsiteX164" fmla="*/ 1183086 w 2119154"/>
              <a:gd name="connsiteY164" fmla="*/ 819060 h 910066"/>
              <a:gd name="connsiteX165" fmla="*/ 1209088 w 2119154"/>
              <a:gd name="connsiteY165" fmla="*/ 827727 h 910066"/>
              <a:gd name="connsiteX166" fmla="*/ 1235090 w 2119154"/>
              <a:gd name="connsiteY166" fmla="*/ 823393 h 910066"/>
              <a:gd name="connsiteX167" fmla="*/ 1248091 w 2119154"/>
              <a:gd name="connsiteY167" fmla="*/ 819060 h 910066"/>
              <a:gd name="connsiteX168" fmla="*/ 1269759 w 2119154"/>
              <a:gd name="connsiteY168" fmla="*/ 788724 h 910066"/>
              <a:gd name="connsiteX169" fmla="*/ 1291427 w 2119154"/>
              <a:gd name="connsiteY169" fmla="*/ 793058 h 910066"/>
              <a:gd name="connsiteX170" fmla="*/ 1304428 w 2119154"/>
              <a:gd name="connsiteY170" fmla="*/ 797391 h 910066"/>
              <a:gd name="connsiteX171" fmla="*/ 1365099 w 2119154"/>
              <a:gd name="connsiteY171" fmla="*/ 801725 h 910066"/>
              <a:gd name="connsiteX172" fmla="*/ 1391101 w 2119154"/>
              <a:gd name="connsiteY172" fmla="*/ 810392 h 910066"/>
              <a:gd name="connsiteX173" fmla="*/ 1538445 w 2119154"/>
              <a:gd name="connsiteY173" fmla="*/ 819060 h 910066"/>
              <a:gd name="connsiteX174" fmla="*/ 1594782 w 2119154"/>
              <a:gd name="connsiteY174" fmla="*/ 823393 h 910066"/>
              <a:gd name="connsiteX175" fmla="*/ 1607783 w 2119154"/>
              <a:gd name="connsiteY175" fmla="*/ 801725 h 910066"/>
              <a:gd name="connsiteX176" fmla="*/ 1625118 w 2119154"/>
              <a:gd name="connsiteY176" fmla="*/ 784390 h 910066"/>
              <a:gd name="connsiteX177" fmla="*/ 1629452 w 2119154"/>
              <a:gd name="connsiteY177" fmla="*/ 749721 h 910066"/>
              <a:gd name="connsiteX178" fmla="*/ 1633785 w 2119154"/>
              <a:gd name="connsiteY178" fmla="*/ 671716 h 910066"/>
              <a:gd name="connsiteX179" fmla="*/ 1659787 w 2119154"/>
              <a:gd name="connsiteY179" fmla="*/ 663048 h 910066"/>
              <a:gd name="connsiteX180" fmla="*/ 1677122 w 2119154"/>
              <a:gd name="connsiteY180" fmla="*/ 658715 h 910066"/>
              <a:gd name="connsiteX181" fmla="*/ 1703124 w 2119154"/>
              <a:gd name="connsiteY181" fmla="*/ 650047 h 910066"/>
              <a:gd name="connsiteX182" fmla="*/ 1755127 w 2119154"/>
              <a:gd name="connsiteY182" fmla="*/ 645714 h 910066"/>
              <a:gd name="connsiteX183" fmla="*/ 1768128 w 2119154"/>
              <a:gd name="connsiteY183" fmla="*/ 619712 h 910066"/>
              <a:gd name="connsiteX184" fmla="*/ 1772462 w 2119154"/>
              <a:gd name="connsiteY184" fmla="*/ 606711 h 910066"/>
              <a:gd name="connsiteX185" fmla="*/ 1781129 w 2119154"/>
              <a:gd name="connsiteY185" fmla="*/ 598043 h 910066"/>
              <a:gd name="connsiteX186" fmla="*/ 1789797 w 2119154"/>
              <a:gd name="connsiteY186" fmla="*/ 585043 h 910066"/>
              <a:gd name="connsiteX187" fmla="*/ 1794130 w 2119154"/>
              <a:gd name="connsiteY187" fmla="*/ 572042 h 910066"/>
              <a:gd name="connsiteX188" fmla="*/ 1802798 w 2119154"/>
              <a:gd name="connsiteY188" fmla="*/ 563374 h 910066"/>
              <a:gd name="connsiteX189" fmla="*/ 1811465 w 2119154"/>
              <a:gd name="connsiteY189" fmla="*/ 537372 h 910066"/>
              <a:gd name="connsiteX190" fmla="*/ 1828800 w 2119154"/>
              <a:gd name="connsiteY190" fmla="*/ 515704 h 910066"/>
              <a:gd name="connsiteX191" fmla="*/ 1863469 w 2119154"/>
              <a:gd name="connsiteY191" fmla="*/ 520038 h 910066"/>
              <a:gd name="connsiteX192" fmla="*/ 1889471 w 2119154"/>
              <a:gd name="connsiteY192" fmla="*/ 528705 h 910066"/>
              <a:gd name="connsiteX193" fmla="*/ 1902472 w 2119154"/>
              <a:gd name="connsiteY193" fmla="*/ 541706 h 910066"/>
              <a:gd name="connsiteX194" fmla="*/ 1932807 w 2119154"/>
              <a:gd name="connsiteY194" fmla="*/ 550373 h 910066"/>
              <a:gd name="connsiteX195" fmla="*/ 1967476 w 2119154"/>
              <a:gd name="connsiteY195" fmla="*/ 546040 h 910066"/>
              <a:gd name="connsiteX196" fmla="*/ 1980477 w 2119154"/>
              <a:gd name="connsiteY196" fmla="*/ 541706 h 910066"/>
              <a:gd name="connsiteX197" fmla="*/ 1984811 w 2119154"/>
              <a:gd name="connsiteY197" fmla="*/ 515704 h 910066"/>
              <a:gd name="connsiteX198" fmla="*/ 1997812 w 2119154"/>
              <a:gd name="connsiteY198" fmla="*/ 472368 h 910066"/>
              <a:gd name="connsiteX199" fmla="*/ 2032481 w 2119154"/>
              <a:gd name="connsiteY199" fmla="*/ 455033 h 910066"/>
              <a:gd name="connsiteX200" fmla="*/ 2054149 w 2119154"/>
              <a:gd name="connsiteY200" fmla="*/ 437698 h 910066"/>
              <a:gd name="connsiteX201" fmla="*/ 2071484 w 2119154"/>
              <a:gd name="connsiteY201" fmla="*/ 403029 h 910066"/>
              <a:gd name="connsiteX202" fmla="*/ 2093152 w 2119154"/>
              <a:gd name="connsiteY202" fmla="*/ 398696 h 910066"/>
              <a:gd name="connsiteX203" fmla="*/ 2114820 w 2119154"/>
              <a:gd name="connsiteY203" fmla="*/ 377027 h 91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</a:cxnLst>
            <a:rect l="l" t="t" r="r" b="b"/>
            <a:pathLst>
              <a:path w="2119154" h="910066">
                <a:moveTo>
                  <a:pt x="2114820" y="377027"/>
                </a:moveTo>
                <a:cubicBezTo>
                  <a:pt x="2110486" y="372693"/>
                  <a:pt x="2081198" y="380258"/>
                  <a:pt x="2067150" y="372694"/>
                </a:cubicBezTo>
                <a:cubicBezTo>
                  <a:pt x="2059106" y="368363"/>
                  <a:pt x="2067442" y="348484"/>
                  <a:pt x="2058483" y="346692"/>
                </a:cubicBezTo>
                <a:cubicBezTo>
                  <a:pt x="2010667" y="337129"/>
                  <a:pt x="2029122" y="342684"/>
                  <a:pt x="2002145" y="333691"/>
                </a:cubicBezTo>
                <a:cubicBezTo>
                  <a:pt x="1996367" y="325024"/>
                  <a:pt x="1994693" y="310983"/>
                  <a:pt x="1984811" y="307689"/>
                </a:cubicBezTo>
                <a:cubicBezTo>
                  <a:pt x="1942307" y="293521"/>
                  <a:pt x="1967914" y="299781"/>
                  <a:pt x="1906805" y="294688"/>
                </a:cubicBezTo>
                <a:lnTo>
                  <a:pt x="1867802" y="281687"/>
                </a:lnTo>
                <a:lnTo>
                  <a:pt x="1854801" y="277353"/>
                </a:lnTo>
                <a:cubicBezTo>
                  <a:pt x="1838911" y="278798"/>
                  <a:pt x="1823087" y="281687"/>
                  <a:pt x="1807131" y="281687"/>
                </a:cubicBezTo>
                <a:cubicBezTo>
                  <a:pt x="1801175" y="281687"/>
                  <a:pt x="1794448" y="281074"/>
                  <a:pt x="1789797" y="277353"/>
                </a:cubicBezTo>
                <a:cubicBezTo>
                  <a:pt x="1786230" y="274499"/>
                  <a:pt x="1788317" y="267919"/>
                  <a:pt x="1785463" y="264352"/>
                </a:cubicBezTo>
                <a:cubicBezTo>
                  <a:pt x="1782209" y="260285"/>
                  <a:pt x="1776796" y="258574"/>
                  <a:pt x="1772462" y="255685"/>
                </a:cubicBezTo>
                <a:lnTo>
                  <a:pt x="1759461" y="216682"/>
                </a:lnTo>
                <a:cubicBezTo>
                  <a:pt x="1758016" y="212348"/>
                  <a:pt x="1757661" y="207482"/>
                  <a:pt x="1755127" y="203681"/>
                </a:cubicBezTo>
                <a:lnTo>
                  <a:pt x="1746460" y="190680"/>
                </a:lnTo>
                <a:cubicBezTo>
                  <a:pt x="1745016" y="186347"/>
                  <a:pt x="1744980" y="181247"/>
                  <a:pt x="1742127" y="177680"/>
                </a:cubicBezTo>
                <a:cubicBezTo>
                  <a:pt x="1738873" y="173613"/>
                  <a:pt x="1733193" y="172266"/>
                  <a:pt x="1729126" y="169012"/>
                </a:cubicBezTo>
                <a:cubicBezTo>
                  <a:pt x="1725935" y="166460"/>
                  <a:pt x="1722910" y="163614"/>
                  <a:pt x="1720458" y="160345"/>
                </a:cubicBezTo>
                <a:cubicBezTo>
                  <a:pt x="1702578" y="136505"/>
                  <a:pt x="1705547" y="141610"/>
                  <a:pt x="1698790" y="121342"/>
                </a:cubicBezTo>
                <a:cubicBezTo>
                  <a:pt x="1697345" y="109786"/>
                  <a:pt x="1698781" y="97486"/>
                  <a:pt x="1694456" y="86673"/>
                </a:cubicBezTo>
                <a:cubicBezTo>
                  <a:pt x="1692522" y="81837"/>
                  <a:pt x="1685522" y="81260"/>
                  <a:pt x="1681455" y="78006"/>
                </a:cubicBezTo>
                <a:cubicBezTo>
                  <a:pt x="1678264" y="75454"/>
                  <a:pt x="1675677" y="72227"/>
                  <a:pt x="1672788" y="69338"/>
                </a:cubicBezTo>
                <a:cubicBezTo>
                  <a:pt x="1664121" y="70783"/>
                  <a:pt x="1655311" y="71541"/>
                  <a:pt x="1646786" y="73672"/>
                </a:cubicBezTo>
                <a:cubicBezTo>
                  <a:pt x="1637923" y="75888"/>
                  <a:pt x="1620784" y="82339"/>
                  <a:pt x="1620784" y="82339"/>
                </a:cubicBezTo>
                <a:cubicBezTo>
                  <a:pt x="1610516" y="92608"/>
                  <a:pt x="1600820" y="103439"/>
                  <a:pt x="1586115" y="108341"/>
                </a:cubicBezTo>
                <a:lnTo>
                  <a:pt x="1573114" y="112675"/>
                </a:lnTo>
                <a:cubicBezTo>
                  <a:pt x="1561558" y="111230"/>
                  <a:pt x="1549681" y="111405"/>
                  <a:pt x="1538445" y="108341"/>
                </a:cubicBezTo>
                <a:cubicBezTo>
                  <a:pt x="1533420" y="106971"/>
                  <a:pt x="1530102" y="102003"/>
                  <a:pt x="1525444" y="99674"/>
                </a:cubicBezTo>
                <a:cubicBezTo>
                  <a:pt x="1503651" y="88777"/>
                  <a:pt x="1513758" y="105326"/>
                  <a:pt x="1486441" y="78006"/>
                </a:cubicBezTo>
                <a:cubicBezTo>
                  <a:pt x="1483552" y="75117"/>
                  <a:pt x="1481600" y="70773"/>
                  <a:pt x="1477774" y="69338"/>
                </a:cubicBezTo>
                <a:cubicBezTo>
                  <a:pt x="1469547" y="66253"/>
                  <a:pt x="1460439" y="66449"/>
                  <a:pt x="1451772" y="65005"/>
                </a:cubicBezTo>
                <a:cubicBezTo>
                  <a:pt x="1448883" y="62116"/>
                  <a:pt x="1446609" y="58439"/>
                  <a:pt x="1443105" y="56337"/>
                </a:cubicBezTo>
                <a:cubicBezTo>
                  <a:pt x="1439188" y="53987"/>
                  <a:pt x="1432759" y="55721"/>
                  <a:pt x="1430104" y="52004"/>
                </a:cubicBezTo>
                <a:cubicBezTo>
                  <a:pt x="1424793" y="44570"/>
                  <a:pt x="1424325" y="34669"/>
                  <a:pt x="1421436" y="26002"/>
                </a:cubicBezTo>
                <a:cubicBezTo>
                  <a:pt x="1420144" y="22126"/>
                  <a:pt x="1415321" y="20525"/>
                  <a:pt x="1412769" y="17334"/>
                </a:cubicBezTo>
                <a:cubicBezTo>
                  <a:pt x="1409516" y="13267"/>
                  <a:pt x="1408435" y="7223"/>
                  <a:pt x="1404102" y="4334"/>
                </a:cubicBezTo>
                <a:cubicBezTo>
                  <a:pt x="1399146" y="1030"/>
                  <a:pt x="1392545" y="1445"/>
                  <a:pt x="1386767" y="0"/>
                </a:cubicBezTo>
                <a:cubicBezTo>
                  <a:pt x="1369433" y="1445"/>
                  <a:pt x="1352024" y="2177"/>
                  <a:pt x="1334764" y="4334"/>
                </a:cubicBezTo>
                <a:cubicBezTo>
                  <a:pt x="1328854" y="5073"/>
                  <a:pt x="1323134" y="6956"/>
                  <a:pt x="1317429" y="8667"/>
                </a:cubicBezTo>
                <a:cubicBezTo>
                  <a:pt x="1308678" y="11292"/>
                  <a:pt x="1300532" y="16575"/>
                  <a:pt x="1291427" y="17334"/>
                </a:cubicBezTo>
                <a:lnTo>
                  <a:pt x="1239423" y="21668"/>
                </a:lnTo>
                <a:lnTo>
                  <a:pt x="1213421" y="30335"/>
                </a:lnTo>
                <a:lnTo>
                  <a:pt x="1200420" y="34669"/>
                </a:lnTo>
                <a:cubicBezTo>
                  <a:pt x="1196086" y="36114"/>
                  <a:pt x="1191925" y="38252"/>
                  <a:pt x="1187419" y="39003"/>
                </a:cubicBezTo>
                <a:cubicBezTo>
                  <a:pt x="1178752" y="40447"/>
                  <a:pt x="1170168" y="42541"/>
                  <a:pt x="1161418" y="43336"/>
                </a:cubicBezTo>
                <a:cubicBezTo>
                  <a:pt x="1138355" y="45433"/>
                  <a:pt x="1115192" y="46225"/>
                  <a:pt x="1092079" y="47670"/>
                </a:cubicBezTo>
                <a:cubicBezTo>
                  <a:pt x="1066380" y="51954"/>
                  <a:pt x="1027222" y="58688"/>
                  <a:pt x="1005406" y="60671"/>
                </a:cubicBezTo>
                <a:lnTo>
                  <a:pt x="957736" y="65005"/>
                </a:lnTo>
                <a:cubicBezTo>
                  <a:pt x="926793" y="75319"/>
                  <a:pt x="936802" y="66070"/>
                  <a:pt x="923067" y="86673"/>
                </a:cubicBezTo>
                <a:cubicBezTo>
                  <a:pt x="921622" y="93896"/>
                  <a:pt x="920519" y="101195"/>
                  <a:pt x="918733" y="108341"/>
                </a:cubicBezTo>
                <a:cubicBezTo>
                  <a:pt x="917625" y="112773"/>
                  <a:pt x="917630" y="118112"/>
                  <a:pt x="914400" y="121342"/>
                </a:cubicBezTo>
                <a:cubicBezTo>
                  <a:pt x="907034" y="128708"/>
                  <a:pt x="897065" y="132899"/>
                  <a:pt x="888398" y="138677"/>
                </a:cubicBezTo>
                <a:cubicBezTo>
                  <a:pt x="884064" y="141566"/>
                  <a:pt x="879080" y="143661"/>
                  <a:pt x="875397" y="147344"/>
                </a:cubicBezTo>
                <a:cubicBezTo>
                  <a:pt x="869619" y="153122"/>
                  <a:pt x="865815" y="162095"/>
                  <a:pt x="858062" y="164679"/>
                </a:cubicBezTo>
                <a:lnTo>
                  <a:pt x="845061" y="169012"/>
                </a:lnTo>
                <a:cubicBezTo>
                  <a:pt x="834747" y="199955"/>
                  <a:pt x="841462" y="187412"/>
                  <a:pt x="827727" y="208015"/>
                </a:cubicBezTo>
                <a:cubicBezTo>
                  <a:pt x="826282" y="223905"/>
                  <a:pt x="826736" y="240084"/>
                  <a:pt x="823393" y="255685"/>
                </a:cubicBezTo>
                <a:cubicBezTo>
                  <a:pt x="820703" y="268239"/>
                  <a:pt x="810194" y="270578"/>
                  <a:pt x="801725" y="277353"/>
                </a:cubicBezTo>
                <a:cubicBezTo>
                  <a:pt x="798534" y="279906"/>
                  <a:pt x="796971" y="284847"/>
                  <a:pt x="793057" y="286021"/>
                </a:cubicBezTo>
                <a:cubicBezTo>
                  <a:pt x="781902" y="289367"/>
                  <a:pt x="769944" y="288910"/>
                  <a:pt x="758388" y="290354"/>
                </a:cubicBezTo>
                <a:cubicBezTo>
                  <a:pt x="728053" y="288910"/>
                  <a:pt x="697566" y="289375"/>
                  <a:pt x="667382" y="286021"/>
                </a:cubicBezTo>
                <a:cubicBezTo>
                  <a:pt x="658302" y="285012"/>
                  <a:pt x="641380" y="277353"/>
                  <a:pt x="641380" y="277353"/>
                </a:cubicBezTo>
                <a:cubicBezTo>
                  <a:pt x="614714" y="250690"/>
                  <a:pt x="634132" y="265800"/>
                  <a:pt x="554707" y="273020"/>
                </a:cubicBezTo>
                <a:cubicBezTo>
                  <a:pt x="548775" y="273559"/>
                  <a:pt x="543077" y="275642"/>
                  <a:pt x="537372" y="277353"/>
                </a:cubicBezTo>
                <a:cubicBezTo>
                  <a:pt x="528621" y="279978"/>
                  <a:pt x="511370" y="286021"/>
                  <a:pt x="511370" y="286021"/>
                </a:cubicBezTo>
                <a:cubicBezTo>
                  <a:pt x="496925" y="284576"/>
                  <a:pt x="482180" y="284951"/>
                  <a:pt x="468034" y="281687"/>
                </a:cubicBezTo>
                <a:cubicBezTo>
                  <a:pt x="462959" y="280516"/>
                  <a:pt x="459792" y="275135"/>
                  <a:pt x="455033" y="273020"/>
                </a:cubicBezTo>
                <a:cubicBezTo>
                  <a:pt x="446684" y="269309"/>
                  <a:pt x="437698" y="267241"/>
                  <a:pt x="429031" y="264352"/>
                </a:cubicBezTo>
                <a:lnTo>
                  <a:pt x="403029" y="255685"/>
                </a:lnTo>
                <a:cubicBezTo>
                  <a:pt x="403024" y="255683"/>
                  <a:pt x="377031" y="247021"/>
                  <a:pt x="377027" y="247018"/>
                </a:cubicBezTo>
                <a:cubicBezTo>
                  <a:pt x="360225" y="235817"/>
                  <a:pt x="368967" y="239998"/>
                  <a:pt x="351025" y="234017"/>
                </a:cubicBezTo>
                <a:cubicBezTo>
                  <a:pt x="317800" y="235462"/>
                  <a:pt x="284431" y="234929"/>
                  <a:pt x="251351" y="238351"/>
                </a:cubicBezTo>
                <a:cubicBezTo>
                  <a:pt x="208621" y="242771"/>
                  <a:pt x="240756" y="250548"/>
                  <a:pt x="199347" y="264352"/>
                </a:cubicBezTo>
                <a:cubicBezTo>
                  <a:pt x="181405" y="270333"/>
                  <a:pt x="190147" y="266152"/>
                  <a:pt x="173345" y="277353"/>
                </a:cubicBezTo>
                <a:cubicBezTo>
                  <a:pt x="171901" y="281687"/>
                  <a:pt x="171667" y="286637"/>
                  <a:pt x="169012" y="290354"/>
                </a:cubicBezTo>
                <a:cubicBezTo>
                  <a:pt x="164262" y="297004"/>
                  <a:pt x="151677" y="307689"/>
                  <a:pt x="151677" y="307689"/>
                </a:cubicBezTo>
                <a:lnTo>
                  <a:pt x="143010" y="333691"/>
                </a:lnTo>
                <a:lnTo>
                  <a:pt x="138676" y="346692"/>
                </a:lnTo>
                <a:cubicBezTo>
                  <a:pt x="127120" y="345247"/>
                  <a:pt x="115243" y="345422"/>
                  <a:pt x="104007" y="342358"/>
                </a:cubicBezTo>
                <a:cubicBezTo>
                  <a:pt x="98982" y="340988"/>
                  <a:pt x="96144" y="334547"/>
                  <a:pt x="91006" y="333691"/>
                </a:cubicBezTo>
                <a:cubicBezTo>
                  <a:pt x="86500" y="332940"/>
                  <a:pt x="81998" y="335807"/>
                  <a:pt x="78005" y="338025"/>
                </a:cubicBezTo>
                <a:cubicBezTo>
                  <a:pt x="68899" y="343084"/>
                  <a:pt x="61885" y="352065"/>
                  <a:pt x="52003" y="355359"/>
                </a:cubicBezTo>
                <a:cubicBezTo>
                  <a:pt x="34061" y="361340"/>
                  <a:pt x="42803" y="357159"/>
                  <a:pt x="26001" y="368360"/>
                </a:cubicBezTo>
                <a:cubicBezTo>
                  <a:pt x="23112" y="372694"/>
                  <a:pt x="19449" y="376602"/>
                  <a:pt x="17334" y="381361"/>
                </a:cubicBezTo>
                <a:cubicBezTo>
                  <a:pt x="13624" y="389710"/>
                  <a:pt x="13735" y="399761"/>
                  <a:pt x="8667" y="407363"/>
                </a:cubicBezTo>
                <a:lnTo>
                  <a:pt x="0" y="420364"/>
                </a:lnTo>
                <a:cubicBezTo>
                  <a:pt x="5833" y="443697"/>
                  <a:pt x="8667" y="451481"/>
                  <a:pt x="8667" y="481035"/>
                </a:cubicBezTo>
                <a:cubicBezTo>
                  <a:pt x="8667" y="508519"/>
                  <a:pt x="5778" y="535928"/>
                  <a:pt x="4333" y="563374"/>
                </a:cubicBezTo>
                <a:cubicBezTo>
                  <a:pt x="8667" y="564819"/>
                  <a:pt x="12766" y="567708"/>
                  <a:pt x="17334" y="567708"/>
                </a:cubicBezTo>
                <a:cubicBezTo>
                  <a:pt x="27789" y="567708"/>
                  <a:pt x="41746" y="562459"/>
                  <a:pt x="52003" y="559041"/>
                </a:cubicBezTo>
                <a:cubicBezTo>
                  <a:pt x="54892" y="556152"/>
                  <a:pt x="57016" y="552200"/>
                  <a:pt x="60671" y="550373"/>
                </a:cubicBezTo>
                <a:cubicBezTo>
                  <a:pt x="74395" y="543511"/>
                  <a:pt x="89497" y="541518"/>
                  <a:pt x="104007" y="537372"/>
                </a:cubicBezTo>
                <a:cubicBezTo>
                  <a:pt x="108399" y="536117"/>
                  <a:pt x="112616" y="534294"/>
                  <a:pt x="117008" y="533039"/>
                </a:cubicBezTo>
                <a:cubicBezTo>
                  <a:pt x="155073" y="522164"/>
                  <a:pt x="116192" y="534756"/>
                  <a:pt x="147344" y="524371"/>
                </a:cubicBezTo>
                <a:lnTo>
                  <a:pt x="182013" y="528705"/>
                </a:lnTo>
                <a:cubicBezTo>
                  <a:pt x="237520" y="534548"/>
                  <a:pt x="213605" y="527680"/>
                  <a:pt x="242684" y="537372"/>
                </a:cubicBezTo>
                <a:cubicBezTo>
                  <a:pt x="245573" y="540261"/>
                  <a:pt x="249249" y="542536"/>
                  <a:pt x="251351" y="546040"/>
                </a:cubicBezTo>
                <a:cubicBezTo>
                  <a:pt x="257748" y="556703"/>
                  <a:pt x="254343" y="565025"/>
                  <a:pt x="260018" y="576375"/>
                </a:cubicBezTo>
                <a:cubicBezTo>
                  <a:pt x="264677" y="585692"/>
                  <a:pt x="277353" y="602377"/>
                  <a:pt x="277353" y="602377"/>
                </a:cubicBezTo>
                <a:cubicBezTo>
                  <a:pt x="278798" y="608155"/>
                  <a:pt x="280051" y="613985"/>
                  <a:pt x="281687" y="619712"/>
                </a:cubicBezTo>
                <a:cubicBezTo>
                  <a:pt x="284859" y="630813"/>
                  <a:pt x="291756" y="636712"/>
                  <a:pt x="277353" y="645714"/>
                </a:cubicBezTo>
                <a:cubicBezTo>
                  <a:pt x="269606" y="650556"/>
                  <a:pt x="251351" y="654381"/>
                  <a:pt x="251351" y="654381"/>
                </a:cubicBezTo>
                <a:cubicBezTo>
                  <a:pt x="216866" y="652566"/>
                  <a:pt x="159353" y="645609"/>
                  <a:pt x="121342" y="654381"/>
                </a:cubicBezTo>
                <a:cubicBezTo>
                  <a:pt x="115764" y="655668"/>
                  <a:pt x="106306" y="673750"/>
                  <a:pt x="104007" y="676049"/>
                </a:cubicBezTo>
                <a:cubicBezTo>
                  <a:pt x="91820" y="688236"/>
                  <a:pt x="82435" y="686145"/>
                  <a:pt x="65004" y="689050"/>
                </a:cubicBezTo>
                <a:cubicBezTo>
                  <a:pt x="64346" y="689489"/>
                  <a:pt x="43336" y="702267"/>
                  <a:pt x="43336" y="706385"/>
                </a:cubicBezTo>
                <a:cubicBezTo>
                  <a:pt x="43336" y="715521"/>
                  <a:pt x="52003" y="732387"/>
                  <a:pt x="52003" y="732387"/>
                </a:cubicBezTo>
                <a:cubicBezTo>
                  <a:pt x="53448" y="743943"/>
                  <a:pt x="49658" y="757515"/>
                  <a:pt x="56337" y="767056"/>
                </a:cubicBezTo>
                <a:cubicBezTo>
                  <a:pt x="61576" y="774541"/>
                  <a:pt x="82339" y="775723"/>
                  <a:pt x="82339" y="775723"/>
                </a:cubicBezTo>
                <a:cubicBezTo>
                  <a:pt x="93235" y="808408"/>
                  <a:pt x="78535" y="768113"/>
                  <a:pt x="95340" y="801725"/>
                </a:cubicBezTo>
                <a:cubicBezTo>
                  <a:pt x="97383" y="805811"/>
                  <a:pt x="98229" y="810392"/>
                  <a:pt x="99673" y="814726"/>
                </a:cubicBezTo>
                <a:cubicBezTo>
                  <a:pt x="98862" y="817970"/>
                  <a:pt x="93673" y="840616"/>
                  <a:pt x="91006" y="845061"/>
                </a:cubicBezTo>
                <a:cubicBezTo>
                  <a:pt x="88904" y="848565"/>
                  <a:pt x="85228" y="850840"/>
                  <a:pt x="82339" y="853729"/>
                </a:cubicBezTo>
                <a:cubicBezTo>
                  <a:pt x="86673" y="855173"/>
                  <a:pt x="90772" y="858062"/>
                  <a:pt x="95340" y="858062"/>
                </a:cubicBezTo>
                <a:cubicBezTo>
                  <a:pt x="120900" y="858062"/>
                  <a:pt x="137999" y="855780"/>
                  <a:pt x="160345" y="849395"/>
                </a:cubicBezTo>
                <a:cubicBezTo>
                  <a:pt x="164737" y="848140"/>
                  <a:pt x="169012" y="846506"/>
                  <a:pt x="173345" y="845061"/>
                </a:cubicBezTo>
                <a:cubicBezTo>
                  <a:pt x="179123" y="846506"/>
                  <a:pt x="187523" y="844344"/>
                  <a:pt x="190680" y="849395"/>
                </a:cubicBezTo>
                <a:cubicBezTo>
                  <a:pt x="196094" y="858057"/>
                  <a:pt x="191347" y="870197"/>
                  <a:pt x="195014" y="879731"/>
                </a:cubicBezTo>
                <a:cubicBezTo>
                  <a:pt x="205241" y="906321"/>
                  <a:pt x="206694" y="903849"/>
                  <a:pt x="225349" y="910066"/>
                </a:cubicBezTo>
                <a:cubicBezTo>
                  <a:pt x="231127" y="908622"/>
                  <a:pt x="238033" y="909454"/>
                  <a:pt x="242684" y="905733"/>
                </a:cubicBezTo>
                <a:cubicBezTo>
                  <a:pt x="246251" y="902879"/>
                  <a:pt x="244975" y="896818"/>
                  <a:pt x="247018" y="892732"/>
                </a:cubicBezTo>
                <a:cubicBezTo>
                  <a:pt x="249347" y="888074"/>
                  <a:pt x="252796" y="884065"/>
                  <a:pt x="255685" y="879731"/>
                </a:cubicBezTo>
                <a:cubicBezTo>
                  <a:pt x="265644" y="849853"/>
                  <a:pt x="257892" y="860190"/>
                  <a:pt x="273019" y="845061"/>
                </a:cubicBezTo>
                <a:cubicBezTo>
                  <a:pt x="274464" y="840728"/>
                  <a:pt x="275003" y="835978"/>
                  <a:pt x="277353" y="832061"/>
                </a:cubicBezTo>
                <a:cubicBezTo>
                  <a:pt x="279455" y="828557"/>
                  <a:pt x="284193" y="827048"/>
                  <a:pt x="286020" y="823393"/>
                </a:cubicBezTo>
                <a:cubicBezTo>
                  <a:pt x="290106" y="815221"/>
                  <a:pt x="291799" y="806058"/>
                  <a:pt x="294688" y="797391"/>
                </a:cubicBezTo>
                <a:lnTo>
                  <a:pt x="316356" y="732387"/>
                </a:lnTo>
                <a:lnTo>
                  <a:pt x="320690" y="719386"/>
                </a:lnTo>
                <a:cubicBezTo>
                  <a:pt x="322134" y="715052"/>
                  <a:pt x="321793" y="709615"/>
                  <a:pt x="325023" y="706385"/>
                </a:cubicBezTo>
                <a:lnTo>
                  <a:pt x="333691" y="697717"/>
                </a:lnTo>
                <a:cubicBezTo>
                  <a:pt x="338234" y="684086"/>
                  <a:pt x="337112" y="680991"/>
                  <a:pt x="351025" y="671716"/>
                </a:cubicBezTo>
                <a:cubicBezTo>
                  <a:pt x="354826" y="669182"/>
                  <a:pt x="359940" y="669425"/>
                  <a:pt x="364026" y="667382"/>
                </a:cubicBezTo>
                <a:cubicBezTo>
                  <a:pt x="368684" y="665053"/>
                  <a:pt x="372369" y="661044"/>
                  <a:pt x="377027" y="658715"/>
                </a:cubicBezTo>
                <a:cubicBezTo>
                  <a:pt x="381113" y="656672"/>
                  <a:pt x="385636" y="655636"/>
                  <a:pt x="390028" y="654381"/>
                </a:cubicBezTo>
                <a:cubicBezTo>
                  <a:pt x="419064" y="646084"/>
                  <a:pt x="416537" y="649793"/>
                  <a:pt x="459366" y="645714"/>
                </a:cubicBezTo>
                <a:cubicBezTo>
                  <a:pt x="472388" y="644474"/>
                  <a:pt x="485368" y="642825"/>
                  <a:pt x="498369" y="641380"/>
                </a:cubicBezTo>
                <a:cubicBezTo>
                  <a:pt x="511370" y="642825"/>
                  <a:pt x="524469" y="643564"/>
                  <a:pt x="537372" y="645714"/>
                </a:cubicBezTo>
                <a:cubicBezTo>
                  <a:pt x="541878" y="646465"/>
                  <a:pt x="546656" y="647392"/>
                  <a:pt x="550373" y="650047"/>
                </a:cubicBezTo>
                <a:cubicBezTo>
                  <a:pt x="580394" y="671490"/>
                  <a:pt x="556393" y="664735"/>
                  <a:pt x="585042" y="693384"/>
                </a:cubicBezTo>
                <a:cubicBezTo>
                  <a:pt x="589376" y="697718"/>
                  <a:pt x="594120" y="701677"/>
                  <a:pt x="598043" y="706385"/>
                </a:cubicBezTo>
                <a:cubicBezTo>
                  <a:pt x="609488" y="720119"/>
                  <a:pt x="609080" y="726495"/>
                  <a:pt x="615378" y="745388"/>
                </a:cubicBezTo>
                <a:lnTo>
                  <a:pt x="619711" y="758389"/>
                </a:lnTo>
                <a:lnTo>
                  <a:pt x="624045" y="771389"/>
                </a:lnTo>
                <a:cubicBezTo>
                  <a:pt x="634157" y="769945"/>
                  <a:pt x="644597" y="769991"/>
                  <a:pt x="654381" y="767056"/>
                </a:cubicBezTo>
                <a:cubicBezTo>
                  <a:pt x="659370" y="765560"/>
                  <a:pt x="662724" y="760718"/>
                  <a:pt x="667382" y="758389"/>
                </a:cubicBezTo>
                <a:cubicBezTo>
                  <a:pt x="671468" y="756346"/>
                  <a:pt x="676049" y="755500"/>
                  <a:pt x="680382" y="754055"/>
                </a:cubicBezTo>
                <a:cubicBezTo>
                  <a:pt x="746655" y="756193"/>
                  <a:pt x="798390" y="721385"/>
                  <a:pt x="823393" y="771389"/>
                </a:cubicBezTo>
                <a:cubicBezTo>
                  <a:pt x="825436" y="775475"/>
                  <a:pt x="826282" y="780056"/>
                  <a:pt x="827727" y="784390"/>
                </a:cubicBezTo>
                <a:cubicBezTo>
                  <a:pt x="822856" y="867182"/>
                  <a:pt x="815614" y="834725"/>
                  <a:pt x="832060" y="884064"/>
                </a:cubicBezTo>
                <a:lnTo>
                  <a:pt x="832060" y="884064"/>
                </a:lnTo>
                <a:cubicBezTo>
                  <a:pt x="833505" y="891287"/>
                  <a:pt x="832308" y="899604"/>
                  <a:pt x="836394" y="905733"/>
                </a:cubicBezTo>
                <a:cubicBezTo>
                  <a:pt x="838928" y="909534"/>
                  <a:pt x="845061" y="908622"/>
                  <a:pt x="849395" y="910066"/>
                </a:cubicBezTo>
                <a:cubicBezTo>
                  <a:pt x="889842" y="908622"/>
                  <a:pt x="930452" y="909632"/>
                  <a:pt x="970737" y="905733"/>
                </a:cubicBezTo>
                <a:cubicBezTo>
                  <a:pt x="975921" y="905231"/>
                  <a:pt x="979079" y="899394"/>
                  <a:pt x="983738" y="897065"/>
                </a:cubicBezTo>
                <a:cubicBezTo>
                  <a:pt x="994403" y="891733"/>
                  <a:pt x="1012762" y="890061"/>
                  <a:pt x="1022741" y="888398"/>
                </a:cubicBezTo>
                <a:cubicBezTo>
                  <a:pt x="1027075" y="885509"/>
                  <a:pt x="1031675" y="882985"/>
                  <a:pt x="1035742" y="879731"/>
                </a:cubicBezTo>
                <a:cubicBezTo>
                  <a:pt x="1049181" y="868979"/>
                  <a:pt x="1039620" y="871291"/>
                  <a:pt x="1057410" y="862396"/>
                </a:cubicBezTo>
                <a:cubicBezTo>
                  <a:pt x="1061496" y="860353"/>
                  <a:pt x="1066077" y="859507"/>
                  <a:pt x="1070411" y="858062"/>
                </a:cubicBezTo>
                <a:cubicBezTo>
                  <a:pt x="1074989" y="844330"/>
                  <a:pt x="1073811" y="844063"/>
                  <a:pt x="1083412" y="832061"/>
                </a:cubicBezTo>
                <a:cubicBezTo>
                  <a:pt x="1085964" y="828870"/>
                  <a:pt x="1088424" y="825220"/>
                  <a:pt x="1092079" y="823393"/>
                </a:cubicBezTo>
                <a:cubicBezTo>
                  <a:pt x="1100251" y="819307"/>
                  <a:pt x="1109414" y="817615"/>
                  <a:pt x="1118081" y="814726"/>
                </a:cubicBezTo>
                <a:lnTo>
                  <a:pt x="1131082" y="810392"/>
                </a:lnTo>
                <a:lnTo>
                  <a:pt x="1144083" y="806059"/>
                </a:lnTo>
                <a:cubicBezTo>
                  <a:pt x="1154195" y="807503"/>
                  <a:pt x="1164728" y="807162"/>
                  <a:pt x="1174418" y="810392"/>
                </a:cubicBezTo>
                <a:cubicBezTo>
                  <a:pt x="1178294" y="811684"/>
                  <a:pt x="1179431" y="817233"/>
                  <a:pt x="1183086" y="819060"/>
                </a:cubicBezTo>
                <a:cubicBezTo>
                  <a:pt x="1191258" y="823146"/>
                  <a:pt x="1209088" y="827727"/>
                  <a:pt x="1209088" y="827727"/>
                </a:cubicBezTo>
                <a:cubicBezTo>
                  <a:pt x="1217755" y="826282"/>
                  <a:pt x="1226512" y="825299"/>
                  <a:pt x="1235090" y="823393"/>
                </a:cubicBezTo>
                <a:cubicBezTo>
                  <a:pt x="1239549" y="822402"/>
                  <a:pt x="1245436" y="822777"/>
                  <a:pt x="1248091" y="819060"/>
                </a:cubicBezTo>
                <a:cubicBezTo>
                  <a:pt x="1273371" y="783668"/>
                  <a:pt x="1240506" y="798476"/>
                  <a:pt x="1269759" y="788724"/>
                </a:cubicBezTo>
                <a:cubicBezTo>
                  <a:pt x="1276982" y="790169"/>
                  <a:pt x="1284281" y="791272"/>
                  <a:pt x="1291427" y="793058"/>
                </a:cubicBezTo>
                <a:cubicBezTo>
                  <a:pt x="1295859" y="794166"/>
                  <a:pt x="1299891" y="796857"/>
                  <a:pt x="1304428" y="797391"/>
                </a:cubicBezTo>
                <a:cubicBezTo>
                  <a:pt x="1324564" y="799760"/>
                  <a:pt x="1344875" y="800280"/>
                  <a:pt x="1365099" y="801725"/>
                </a:cubicBezTo>
                <a:lnTo>
                  <a:pt x="1391101" y="810392"/>
                </a:lnTo>
                <a:cubicBezTo>
                  <a:pt x="1446611" y="828895"/>
                  <a:pt x="1399490" y="814577"/>
                  <a:pt x="1538445" y="819060"/>
                </a:cubicBezTo>
                <a:cubicBezTo>
                  <a:pt x="1574137" y="830957"/>
                  <a:pt x="1555403" y="829019"/>
                  <a:pt x="1594782" y="823393"/>
                </a:cubicBezTo>
                <a:cubicBezTo>
                  <a:pt x="1626803" y="791376"/>
                  <a:pt x="1579661" y="841097"/>
                  <a:pt x="1607783" y="801725"/>
                </a:cubicBezTo>
                <a:cubicBezTo>
                  <a:pt x="1612533" y="795075"/>
                  <a:pt x="1625118" y="784390"/>
                  <a:pt x="1625118" y="784390"/>
                </a:cubicBezTo>
                <a:cubicBezTo>
                  <a:pt x="1626563" y="772834"/>
                  <a:pt x="1628559" y="761333"/>
                  <a:pt x="1629452" y="749721"/>
                </a:cubicBezTo>
                <a:cubicBezTo>
                  <a:pt x="1631449" y="723756"/>
                  <a:pt x="1625182" y="696296"/>
                  <a:pt x="1633785" y="671716"/>
                </a:cubicBezTo>
                <a:cubicBezTo>
                  <a:pt x="1636803" y="663093"/>
                  <a:pt x="1650923" y="665264"/>
                  <a:pt x="1659787" y="663048"/>
                </a:cubicBezTo>
                <a:cubicBezTo>
                  <a:pt x="1665565" y="661604"/>
                  <a:pt x="1671417" y="660426"/>
                  <a:pt x="1677122" y="658715"/>
                </a:cubicBezTo>
                <a:cubicBezTo>
                  <a:pt x="1685873" y="656090"/>
                  <a:pt x="1694019" y="650806"/>
                  <a:pt x="1703124" y="650047"/>
                </a:cubicBezTo>
                <a:lnTo>
                  <a:pt x="1755127" y="645714"/>
                </a:lnTo>
                <a:cubicBezTo>
                  <a:pt x="1766021" y="613035"/>
                  <a:pt x="1751326" y="653316"/>
                  <a:pt x="1768128" y="619712"/>
                </a:cubicBezTo>
                <a:cubicBezTo>
                  <a:pt x="1770171" y="615626"/>
                  <a:pt x="1770112" y="610628"/>
                  <a:pt x="1772462" y="606711"/>
                </a:cubicBezTo>
                <a:cubicBezTo>
                  <a:pt x="1774564" y="603207"/>
                  <a:pt x="1778577" y="601234"/>
                  <a:pt x="1781129" y="598043"/>
                </a:cubicBezTo>
                <a:cubicBezTo>
                  <a:pt x="1784383" y="593976"/>
                  <a:pt x="1786908" y="589376"/>
                  <a:pt x="1789797" y="585043"/>
                </a:cubicBezTo>
                <a:cubicBezTo>
                  <a:pt x="1791241" y="580709"/>
                  <a:pt x="1791780" y="575959"/>
                  <a:pt x="1794130" y="572042"/>
                </a:cubicBezTo>
                <a:cubicBezTo>
                  <a:pt x="1796232" y="568538"/>
                  <a:pt x="1800971" y="567029"/>
                  <a:pt x="1802798" y="563374"/>
                </a:cubicBezTo>
                <a:cubicBezTo>
                  <a:pt x="1806884" y="555202"/>
                  <a:pt x="1806397" y="544974"/>
                  <a:pt x="1811465" y="537372"/>
                </a:cubicBezTo>
                <a:cubicBezTo>
                  <a:pt x="1822398" y="520971"/>
                  <a:pt x="1816449" y="528054"/>
                  <a:pt x="1828800" y="515704"/>
                </a:cubicBezTo>
                <a:cubicBezTo>
                  <a:pt x="1840356" y="517149"/>
                  <a:pt x="1852081" y="517598"/>
                  <a:pt x="1863469" y="520038"/>
                </a:cubicBezTo>
                <a:cubicBezTo>
                  <a:pt x="1872402" y="521952"/>
                  <a:pt x="1889471" y="528705"/>
                  <a:pt x="1889471" y="528705"/>
                </a:cubicBezTo>
                <a:cubicBezTo>
                  <a:pt x="1893805" y="533039"/>
                  <a:pt x="1897373" y="538306"/>
                  <a:pt x="1902472" y="541706"/>
                </a:cubicBezTo>
                <a:cubicBezTo>
                  <a:pt x="1906204" y="544194"/>
                  <a:pt x="1930492" y="549794"/>
                  <a:pt x="1932807" y="550373"/>
                </a:cubicBezTo>
                <a:cubicBezTo>
                  <a:pt x="1944363" y="548929"/>
                  <a:pt x="1956018" y="548123"/>
                  <a:pt x="1967476" y="546040"/>
                </a:cubicBezTo>
                <a:cubicBezTo>
                  <a:pt x="1971970" y="545223"/>
                  <a:pt x="1978211" y="545672"/>
                  <a:pt x="1980477" y="541706"/>
                </a:cubicBezTo>
                <a:cubicBezTo>
                  <a:pt x="1984837" y="534077"/>
                  <a:pt x="1983475" y="524389"/>
                  <a:pt x="1984811" y="515704"/>
                </a:cubicBezTo>
                <a:cubicBezTo>
                  <a:pt x="1989026" y="488309"/>
                  <a:pt x="1983916" y="489740"/>
                  <a:pt x="1997812" y="472368"/>
                </a:cubicBezTo>
                <a:cubicBezTo>
                  <a:pt x="2014092" y="452017"/>
                  <a:pt x="2000025" y="476670"/>
                  <a:pt x="2032481" y="455033"/>
                </a:cubicBezTo>
                <a:cubicBezTo>
                  <a:pt x="2048882" y="444100"/>
                  <a:pt x="2041799" y="450049"/>
                  <a:pt x="2054149" y="437698"/>
                </a:cubicBezTo>
                <a:cubicBezTo>
                  <a:pt x="2056591" y="430374"/>
                  <a:pt x="2059720" y="408071"/>
                  <a:pt x="2071484" y="403029"/>
                </a:cubicBezTo>
                <a:cubicBezTo>
                  <a:pt x="2078254" y="400127"/>
                  <a:pt x="2085929" y="400140"/>
                  <a:pt x="2093152" y="398696"/>
                </a:cubicBezTo>
                <a:cubicBezTo>
                  <a:pt x="2102840" y="389007"/>
                  <a:pt x="2119154" y="381361"/>
                  <a:pt x="2114820" y="377027"/>
                </a:cubicBez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2" name="TextBox 105"/>
          <p:cNvSpPr txBox="1">
            <a:spLocks noChangeArrowheads="1"/>
          </p:cNvSpPr>
          <p:nvPr/>
        </p:nvSpPr>
        <p:spPr bwMode="auto">
          <a:xfrm>
            <a:off x="4071943" y="2286000"/>
            <a:ext cx="15255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solidFill>
                  <a:srgbClr val="FFFF00"/>
                </a:solidFill>
                <a:latin typeface="Ramabhadra" pitchFamily="2" charset="0"/>
                <a:cs typeface="Ramabhadra" pitchFamily="2" charset="0"/>
              </a:rPr>
              <a:t>మంగోలియా</a:t>
            </a:r>
          </a:p>
        </p:txBody>
      </p:sp>
      <p:sp>
        <p:nvSpPr>
          <p:cNvPr id="113" name="TextBox 104"/>
          <p:cNvSpPr txBox="1">
            <a:spLocks noChangeArrowheads="1"/>
          </p:cNvSpPr>
          <p:nvPr/>
        </p:nvSpPr>
        <p:spPr bwMode="auto">
          <a:xfrm>
            <a:off x="1928817" y="2214033"/>
            <a:ext cx="15001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latin typeface="Ramabhadra" pitchFamily="2" charset="0"/>
                <a:cs typeface="Ramabhadra" pitchFamily="2" charset="0"/>
              </a:rPr>
              <a:t>కజకిస్థాన్</a:t>
            </a:r>
          </a:p>
        </p:txBody>
      </p:sp>
      <p:sp>
        <p:nvSpPr>
          <p:cNvPr id="114" name="Freeform 113"/>
          <p:cNvSpPr/>
          <p:nvPr/>
        </p:nvSpPr>
        <p:spPr>
          <a:xfrm>
            <a:off x="231781" y="2802467"/>
            <a:ext cx="1046163" cy="406400"/>
          </a:xfrm>
          <a:custGeom>
            <a:avLst/>
            <a:gdLst>
              <a:gd name="connsiteX0" fmla="*/ 1829 w 1046112"/>
              <a:gd name="connsiteY0" fmla="*/ 402336 h 406819"/>
              <a:gd name="connsiteX1" fmla="*/ 23775 w 1046112"/>
              <a:gd name="connsiteY1" fmla="*/ 387705 h 406819"/>
              <a:gd name="connsiteX2" fmla="*/ 42063 w 1046112"/>
              <a:gd name="connsiteY2" fmla="*/ 369417 h 406819"/>
              <a:gd name="connsiteX3" fmla="*/ 45721 w 1046112"/>
              <a:gd name="connsiteY3" fmla="*/ 358444 h 406819"/>
              <a:gd name="connsiteX4" fmla="*/ 27433 w 1046112"/>
              <a:gd name="connsiteY4" fmla="*/ 347472 h 406819"/>
              <a:gd name="connsiteX5" fmla="*/ 23775 w 1046112"/>
              <a:gd name="connsiteY5" fmla="*/ 336499 h 406819"/>
              <a:gd name="connsiteX6" fmla="*/ 31090 w 1046112"/>
              <a:gd name="connsiteY6" fmla="*/ 267004 h 406819"/>
              <a:gd name="connsiteX7" fmla="*/ 16460 w 1046112"/>
              <a:gd name="connsiteY7" fmla="*/ 256032 h 406819"/>
              <a:gd name="connsiteX8" fmla="*/ 5487 w 1046112"/>
              <a:gd name="connsiteY8" fmla="*/ 248716 h 406819"/>
              <a:gd name="connsiteX9" fmla="*/ 1829 w 1046112"/>
              <a:gd name="connsiteY9" fmla="*/ 237744 h 406819"/>
              <a:gd name="connsiteX10" fmla="*/ 9145 w 1046112"/>
              <a:gd name="connsiteY10" fmla="*/ 230428 h 406819"/>
              <a:gd name="connsiteX11" fmla="*/ 38405 w 1046112"/>
              <a:gd name="connsiteY11" fmla="*/ 223113 h 406819"/>
              <a:gd name="connsiteX12" fmla="*/ 45721 w 1046112"/>
              <a:gd name="connsiteY12" fmla="*/ 215798 h 406819"/>
              <a:gd name="connsiteX13" fmla="*/ 49378 w 1046112"/>
              <a:gd name="connsiteY13" fmla="*/ 204825 h 406819"/>
              <a:gd name="connsiteX14" fmla="*/ 56693 w 1046112"/>
              <a:gd name="connsiteY14" fmla="*/ 193852 h 406819"/>
              <a:gd name="connsiteX15" fmla="*/ 53036 w 1046112"/>
              <a:gd name="connsiteY15" fmla="*/ 179222 h 406819"/>
              <a:gd name="connsiteX16" fmla="*/ 20117 w 1046112"/>
              <a:gd name="connsiteY16" fmla="*/ 186537 h 406819"/>
              <a:gd name="connsiteX17" fmla="*/ 9145 w 1046112"/>
              <a:gd name="connsiteY17" fmla="*/ 182880 h 406819"/>
              <a:gd name="connsiteX18" fmla="*/ 23775 w 1046112"/>
              <a:gd name="connsiteY18" fmla="*/ 160934 h 406819"/>
              <a:gd name="connsiteX19" fmla="*/ 38405 w 1046112"/>
              <a:gd name="connsiteY19" fmla="*/ 146304 h 406819"/>
              <a:gd name="connsiteX20" fmla="*/ 53036 w 1046112"/>
              <a:gd name="connsiteY20" fmla="*/ 128016 h 406819"/>
              <a:gd name="connsiteX21" fmla="*/ 64009 w 1046112"/>
              <a:gd name="connsiteY21" fmla="*/ 124358 h 406819"/>
              <a:gd name="connsiteX22" fmla="*/ 100585 w 1046112"/>
              <a:gd name="connsiteY22" fmla="*/ 117043 h 406819"/>
              <a:gd name="connsiteX23" fmla="*/ 192025 w 1046112"/>
              <a:gd name="connsiteY23" fmla="*/ 106070 h 406819"/>
              <a:gd name="connsiteX24" fmla="*/ 202997 w 1046112"/>
              <a:gd name="connsiteY24" fmla="*/ 98755 h 406819"/>
              <a:gd name="connsiteX25" fmla="*/ 224943 w 1046112"/>
              <a:gd name="connsiteY25" fmla="*/ 87782 h 406819"/>
              <a:gd name="connsiteX26" fmla="*/ 239573 w 1046112"/>
              <a:gd name="connsiteY26" fmla="*/ 91440 h 406819"/>
              <a:gd name="connsiteX27" fmla="*/ 250546 w 1046112"/>
              <a:gd name="connsiteY27" fmla="*/ 95097 h 406819"/>
              <a:gd name="connsiteX28" fmla="*/ 261519 w 1046112"/>
              <a:gd name="connsiteY28" fmla="*/ 91440 h 406819"/>
              <a:gd name="connsiteX29" fmla="*/ 257861 w 1046112"/>
              <a:gd name="connsiteY29" fmla="*/ 80467 h 406819"/>
              <a:gd name="connsiteX30" fmla="*/ 250546 w 1046112"/>
              <a:gd name="connsiteY30" fmla="*/ 69494 h 406819"/>
              <a:gd name="connsiteX31" fmla="*/ 261519 w 1046112"/>
              <a:gd name="connsiteY31" fmla="*/ 65836 h 406819"/>
              <a:gd name="connsiteX32" fmla="*/ 276149 w 1046112"/>
              <a:gd name="connsiteY32" fmla="*/ 62179 h 406819"/>
              <a:gd name="connsiteX33" fmla="*/ 360274 w 1046112"/>
              <a:gd name="connsiteY33" fmla="*/ 58521 h 406819"/>
              <a:gd name="connsiteX34" fmla="*/ 382220 w 1046112"/>
              <a:gd name="connsiteY34" fmla="*/ 47548 h 406819"/>
              <a:gd name="connsiteX35" fmla="*/ 396850 w 1046112"/>
              <a:gd name="connsiteY35" fmla="*/ 29260 h 406819"/>
              <a:gd name="connsiteX36" fmla="*/ 451714 w 1046112"/>
              <a:gd name="connsiteY36" fmla="*/ 25603 h 406819"/>
              <a:gd name="connsiteX37" fmla="*/ 462687 w 1046112"/>
              <a:gd name="connsiteY37" fmla="*/ 18288 h 406819"/>
              <a:gd name="connsiteX38" fmla="*/ 499263 w 1046112"/>
              <a:gd name="connsiteY38" fmla="*/ 7315 h 406819"/>
              <a:gd name="connsiteX39" fmla="*/ 521209 w 1046112"/>
              <a:gd name="connsiteY39" fmla="*/ 0 h 406819"/>
              <a:gd name="connsiteX40" fmla="*/ 623621 w 1046112"/>
              <a:gd name="connsiteY40" fmla="*/ 3657 h 406819"/>
              <a:gd name="connsiteX41" fmla="*/ 638252 w 1046112"/>
              <a:gd name="connsiteY41" fmla="*/ 21945 h 406819"/>
              <a:gd name="connsiteX42" fmla="*/ 660197 w 1046112"/>
              <a:gd name="connsiteY42" fmla="*/ 29260 h 406819"/>
              <a:gd name="connsiteX43" fmla="*/ 678485 w 1046112"/>
              <a:gd name="connsiteY43" fmla="*/ 43891 h 406819"/>
              <a:gd name="connsiteX44" fmla="*/ 696773 w 1046112"/>
              <a:gd name="connsiteY44" fmla="*/ 54864 h 406819"/>
              <a:gd name="connsiteX45" fmla="*/ 758953 w 1046112"/>
              <a:gd name="connsiteY45" fmla="*/ 58521 h 406819"/>
              <a:gd name="connsiteX46" fmla="*/ 784556 w 1046112"/>
              <a:gd name="connsiteY46" fmla="*/ 65836 h 406819"/>
              <a:gd name="connsiteX47" fmla="*/ 835762 w 1046112"/>
              <a:gd name="connsiteY47" fmla="*/ 62179 h 406819"/>
              <a:gd name="connsiteX48" fmla="*/ 846735 w 1046112"/>
              <a:gd name="connsiteY48" fmla="*/ 58521 h 406819"/>
              <a:gd name="connsiteX49" fmla="*/ 890626 w 1046112"/>
              <a:gd name="connsiteY49" fmla="*/ 54864 h 406819"/>
              <a:gd name="connsiteX50" fmla="*/ 905257 w 1046112"/>
              <a:gd name="connsiteY50" fmla="*/ 40233 h 406819"/>
              <a:gd name="connsiteX51" fmla="*/ 919887 w 1046112"/>
              <a:gd name="connsiteY51" fmla="*/ 32918 h 406819"/>
              <a:gd name="connsiteX52" fmla="*/ 941833 w 1046112"/>
              <a:gd name="connsiteY52" fmla="*/ 25603 h 406819"/>
              <a:gd name="connsiteX53" fmla="*/ 985724 w 1046112"/>
              <a:gd name="connsiteY53" fmla="*/ 36576 h 406819"/>
              <a:gd name="connsiteX54" fmla="*/ 1007669 w 1046112"/>
              <a:gd name="connsiteY54" fmla="*/ 43891 h 406819"/>
              <a:gd name="connsiteX55" fmla="*/ 1018642 w 1046112"/>
              <a:gd name="connsiteY55" fmla="*/ 76809 h 406819"/>
              <a:gd name="connsiteX56" fmla="*/ 1022300 w 1046112"/>
              <a:gd name="connsiteY56" fmla="*/ 87782 h 406819"/>
              <a:gd name="connsiteX57" fmla="*/ 1025957 w 1046112"/>
              <a:gd name="connsiteY57" fmla="*/ 113385 h 406819"/>
              <a:gd name="connsiteX58" fmla="*/ 1033273 w 1046112"/>
              <a:gd name="connsiteY58" fmla="*/ 120700 h 406819"/>
              <a:gd name="connsiteX59" fmla="*/ 1036930 w 1046112"/>
              <a:gd name="connsiteY59" fmla="*/ 131673 h 406819"/>
              <a:gd name="connsiteX60" fmla="*/ 1044245 w 1046112"/>
              <a:gd name="connsiteY60" fmla="*/ 157276 h 406819"/>
              <a:gd name="connsiteX61" fmla="*/ 1040588 w 1046112"/>
              <a:gd name="connsiteY61" fmla="*/ 168249 h 406819"/>
              <a:gd name="connsiteX62" fmla="*/ 1029615 w 1046112"/>
              <a:gd name="connsiteY62" fmla="*/ 175564 h 406819"/>
              <a:gd name="connsiteX63" fmla="*/ 1011327 w 1046112"/>
              <a:gd name="connsiteY63" fmla="*/ 190195 h 406819"/>
              <a:gd name="connsiteX64" fmla="*/ 1004012 w 1046112"/>
              <a:gd name="connsiteY64" fmla="*/ 215798 h 406819"/>
              <a:gd name="connsiteX65" fmla="*/ 996697 w 1046112"/>
              <a:gd name="connsiteY65" fmla="*/ 248716 h 406819"/>
              <a:gd name="connsiteX66" fmla="*/ 989381 w 1046112"/>
              <a:gd name="connsiteY66" fmla="*/ 259689 h 406819"/>
              <a:gd name="connsiteX67" fmla="*/ 982066 w 1046112"/>
              <a:gd name="connsiteY67" fmla="*/ 281635 h 406819"/>
              <a:gd name="connsiteX68" fmla="*/ 978409 w 1046112"/>
              <a:gd name="connsiteY68" fmla="*/ 325526 h 406819"/>
              <a:gd name="connsiteX69" fmla="*/ 905257 w 1046112"/>
              <a:gd name="connsiteY69" fmla="*/ 329184 h 406819"/>
              <a:gd name="connsiteX70" fmla="*/ 872338 w 1046112"/>
              <a:gd name="connsiteY70" fmla="*/ 336499 h 406819"/>
              <a:gd name="connsiteX71" fmla="*/ 832105 w 1046112"/>
              <a:gd name="connsiteY71" fmla="*/ 332841 h 406819"/>
              <a:gd name="connsiteX72" fmla="*/ 817474 w 1046112"/>
              <a:gd name="connsiteY72" fmla="*/ 329184 h 406819"/>
              <a:gd name="connsiteX73" fmla="*/ 791871 w 1046112"/>
              <a:gd name="connsiteY73" fmla="*/ 321868 h 406819"/>
              <a:gd name="connsiteX74" fmla="*/ 758953 w 1046112"/>
              <a:gd name="connsiteY74" fmla="*/ 325526 h 406819"/>
              <a:gd name="connsiteX75" fmla="*/ 747980 w 1046112"/>
              <a:gd name="connsiteY75" fmla="*/ 332841 h 406819"/>
              <a:gd name="connsiteX76" fmla="*/ 726034 w 1046112"/>
              <a:gd name="connsiteY76" fmla="*/ 340156 h 406819"/>
              <a:gd name="connsiteX77" fmla="*/ 715061 w 1046112"/>
              <a:gd name="connsiteY77" fmla="*/ 343814 h 406819"/>
              <a:gd name="connsiteX78" fmla="*/ 685801 w 1046112"/>
              <a:gd name="connsiteY78" fmla="*/ 347472 h 406819"/>
              <a:gd name="connsiteX79" fmla="*/ 660197 w 1046112"/>
              <a:gd name="connsiteY79" fmla="*/ 354787 h 406819"/>
              <a:gd name="connsiteX80" fmla="*/ 645567 w 1046112"/>
              <a:gd name="connsiteY80" fmla="*/ 358444 h 406819"/>
              <a:gd name="connsiteX81" fmla="*/ 616306 w 1046112"/>
              <a:gd name="connsiteY81" fmla="*/ 354787 h 406819"/>
              <a:gd name="connsiteX82" fmla="*/ 605333 w 1046112"/>
              <a:gd name="connsiteY82" fmla="*/ 351129 h 406819"/>
              <a:gd name="connsiteX83" fmla="*/ 590703 w 1046112"/>
              <a:gd name="connsiteY83" fmla="*/ 347472 h 406819"/>
              <a:gd name="connsiteX84" fmla="*/ 557785 w 1046112"/>
              <a:gd name="connsiteY84" fmla="*/ 365760 h 406819"/>
              <a:gd name="connsiteX85" fmla="*/ 491948 w 1046112"/>
              <a:gd name="connsiteY85" fmla="*/ 369417 h 406819"/>
              <a:gd name="connsiteX86" fmla="*/ 480975 w 1046112"/>
              <a:gd name="connsiteY86" fmla="*/ 380390 h 406819"/>
              <a:gd name="connsiteX87" fmla="*/ 466345 w 1046112"/>
              <a:gd name="connsiteY87" fmla="*/ 384048 h 406819"/>
              <a:gd name="connsiteX88" fmla="*/ 462687 w 1046112"/>
              <a:gd name="connsiteY88" fmla="*/ 373075 h 406819"/>
              <a:gd name="connsiteX89" fmla="*/ 440741 w 1046112"/>
              <a:gd name="connsiteY89" fmla="*/ 365760 h 406819"/>
              <a:gd name="connsiteX90" fmla="*/ 382220 w 1046112"/>
              <a:gd name="connsiteY90" fmla="*/ 380390 h 406819"/>
              <a:gd name="connsiteX91" fmla="*/ 360274 w 1046112"/>
              <a:gd name="connsiteY91" fmla="*/ 395020 h 406819"/>
              <a:gd name="connsiteX92" fmla="*/ 352959 w 1046112"/>
              <a:gd name="connsiteY92" fmla="*/ 402336 h 406819"/>
              <a:gd name="connsiteX93" fmla="*/ 338329 w 1046112"/>
              <a:gd name="connsiteY93" fmla="*/ 405993 h 406819"/>
              <a:gd name="connsiteX94" fmla="*/ 272492 w 1046112"/>
              <a:gd name="connsiteY94" fmla="*/ 402336 h 406819"/>
              <a:gd name="connsiteX95" fmla="*/ 250546 w 1046112"/>
              <a:gd name="connsiteY95" fmla="*/ 387705 h 406819"/>
              <a:gd name="connsiteX96" fmla="*/ 228601 w 1046112"/>
              <a:gd name="connsiteY96" fmla="*/ 376732 h 406819"/>
              <a:gd name="connsiteX97" fmla="*/ 221285 w 1046112"/>
              <a:gd name="connsiteY97" fmla="*/ 369417 h 406819"/>
              <a:gd name="connsiteX98" fmla="*/ 199340 w 1046112"/>
              <a:gd name="connsiteY98" fmla="*/ 362102 h 406819"/>
              <a:gd name="connsiteX99" fmla="*/ 181052 w 1046112"/>
              <a:gd name="connsiteY99" fmla="*/ 365760 h 406819"/>
              <a:gd name="connsiteX100" fmla="*/ 159106 w 1046112"/>
              <a:gd name="connsiteY100" fmla="*/ 380390 h 406819"/>
              <a:gd name="connsiteX101" fmla="*/ 148133 w 1046112"/>
              <a:gd name="connsiteY101" fmla="*/ 387705 h 406819"/>
              <a:gd name="connsiteX102" fmla="*/ 137161 w 1046112"/>
              <a:gd name="connsiteY102" fmla="*/ 391363 h 406819"/>
              <a:gd name="connsiteX103" fmla="*/ 93269 w 1046112"/>
              <a:gd name="connsiteY103" fmla="*/ 387705 h 406819"/>
              <a:gd name="connsiteX104" fmla="*/ 85954 w 1046112"/>
              <a:gd name="connsiteY104" fmla="*/ 376732 h 406819"/>
              <a:gd name="connsiteX105" fmla="*/ 64009 w 1046112"/>
              <a:gd name="connsiteY105" fmla="*/ 365760 h 406819"/>
              <a:gd name="connsiteX106" fmla="*/ 49378 w 1046112"/>
              <a:gd name="connsiteY106" fmla="*/ 358444 h 406819"/>
              <a:gd name="connsiteX107" fmla="*/ 34748 w 1046112"/>
              <a:gd name="connsiteY107" fmla="*/ 362102 h 406819"/>
              <a:gd name="connsiteX108" fmla="*/ 1829 w 1046112"/>
              <a:gd name="connsiteY108" fmla="*/ 402336 h 406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</a:cxnLst>
            <a:rect l="l" t="t" r="r" b="b"/>
            <a:pathLst>
              <a:path w="1046112" h="406819">
                <a:moveTo>
                  <a:pt x="1829" y="402336"/>
                </a:moveTo>
                <a:cubicBezTo>
                  <a:pt x="0" y="406603"/>
                  <a:pt x="18898" y="395020"/>
                  <a:pt x="23775" y="387705"/>
                </a:cubicBezTo>
                <a:cubicBezTo>
                  <a:pt x="33528" y="373074"/>
                  <a:pt x="27432" y="379170"/>
                  <a:pt x="42063" y="369417"/>
                </a:cubicBezTo>
                <a:cubicBezTo>
                  <a:pt x="43282" y="365759"/>
                  <a:pt x="46477" y="362225"/>
                  <a:pt x="45721" y="358444"/>
                </a:cubicBezTo>
                <a:cubicBezTo>
                  <a:pt x="44286" y="351272"/>
                  <a:pt x="32054" y="349012"/>
                  <a:pt x="27433" y="347472"/>
                </a:cubicBezTo>
                <a:cubicBezTo>
                  <a:pt x="26214" y="343814"/>
                  <a:pt x="23775" y="340355"/>
                  <a:pt x="23775" y="336499"/>
                </a:cubicBezTo>
                <a:cubicBezTo>
                  <a:pt x="23775" y="285827"/>
                  <a:pt x="22022" y="294212"/>
                  <a:pt x="31090" y="267004"/>
                </a:cubicBezTo>
                <a:cubicBezTo>
                  <a:pt x="26213" y="263347"/>
                  <a:pt x="21420" y="259575"/>
                  <a:pt x="16460" y="256032"/>
                </a:cubicBezTo>
                <a:cubicBezTo>
                  <a:pt x="12883" y="253477"/>
                  <a:pt x="8233" y="252149"/>
                  <a:pt x="5487" y="248716"/>
                </a:cubicBezTo>
                <a:cubicBezTo>
                  <a:pt x="3079" y="245706"/>
                  <a:pt x="3048" y="241401"/>
                  <a:pt x="1829" y="237744"/>
                </a:cubicBezTo>
                <a:cubicBezTo>
                  <a:pt x="4268" y="235305"/>
                  <a:pt x="5943" y="231709"/>
                  <a:pt x="9145" y="230428"/>
                </a:cubicBezTo>
                <a:cubicBezTo>
                  <a:pt x="18479" y="226694"/>
                  <a:pt x="38405" y="223113"/>
                  <a:pt x="38405" y="223113"/>
                </a:cubicBezTo>
                <a:cubicBezTo>
                  <a:pt x="40844" y="220675"/>
                  <a:pt x="43947" y="218755"/>
                  <a:pt x="45721" y="215798"/>
                </a:cubicBezTo>
                <a:cubicBezTo>
                  <a:pt x="47705" y="212492"/>
                  <a:pt x="47654" y="208273"/>
                  <a:pt x="49378" y="204825"/>
                </a:cubicBezTo>
                <a:cubicBezTo>
                  <a:pt x="51344" y="200893"/>
                  <a:pt x="54255" y="197510"/>
                  <a:pt x="56693" y="193852"/>
                </a:cubicBezTo>
                <a:cubicBezTo>
                  <a:pt x="55474" y="188975"/>
                  <a:pt x="57532" y="181470"/>
                  <a:pt x="53036" y="179222"/>
                </a:cubicBezTo>
                <a:cubicBezTo>
                  <a:pt x="51490" y="178449"/>
                  <a:pt x="23255" y="185753"/>
                  <a:pt x="20117" y="186537"/>
                </a:cubicBezTo>
                <a:cubicBezTo>
                  <a:pt x="16460" y="185318"/>
                  <a:pt x="10869" y="186328"/>
                  <a:pt x="9145" y="182880"/>
                </a:cubicBezTo>
                <a:cubicBezTo>
                  <a:pt x="5616" y="175821"/>
                  <a:pt x="21912" y="162797"/>
                  <a:pt x="23775" y="160934"/>
                </a:cubicBezTo>
                <a:cubicBezTo>
                  <a:pt x="30278" y="141426"/>
                  <a:pt x="22149" y="156058"/>
                  <a:pt x="38405" y="146304"/>
                </a:cubicBezTo>
                <a:cubicBezTo>
                  <a:pt x="53322" y="137354"/>
                  <a:pt x="38082" y="139979"/>
                  <a:pt x="53036" y="128016"/>
                </a:cubicBezTo>
                <a:cubicBezTo>
                  <a:pt x="56047" y="125607"/>
                  <a:pt x="60302" y="125417"/>
                  <a:pt x="64009" y="124358"/>
                </a:cubicBezTo>
                <a:cubicBezTo>
                  <a:pt x="79290" y="119992"/>
                  <a:pt x="83335" y="119918"/>
                  <a:pt x="100585" y="117043"/>
                </a:cubicBezTo>
                <a:cubicBezTo>
                  <a:pt x="135792" y="93571"/>
                  <a:pt x="95595" y="117642"/>
                  <a:pt x="192025" y="106070"/>
                </a:cubicBezTo>
                <a:cubicBezTo>
                  <a:pt x="196389" y="105546"/>
                  <a:pt x="199065" y="100721"/>
                  <a:pt x="202997" y="98755"/>
                </a:cubicBezTo>
                <a:cubicBezTo>
                  <a:pt x="233288" y="83609"/>
                  <a:pt x="193492" y="108749"/>
                  <a:pt x="224943" y="87782"/>
                </a:cubicBezTo>
                <a:cubicBezTo>
                  <a:pt x="229820" y="89001"/>
                  <a:pt x="234740" y="90059"/>
                  <a:pt x="239573" y="91440"/>
                </a:cubicBezTo>
                <a:cubicBezTo>
                  <a:pt x="243280" y="92499"/>
                  <a:pt x="246691" y="95097"/>
                  <a:pt x="250546" y="95097"/>
                </a:cubicBezTo>
                <a:cubicBezTo>
                  <a:pt x="254401" y="95097"/>
                  <a:pt x="257861" y="92659"/>
                  <a:pt x="261519" y="91440"/>
                </a:cubicBezTo>
                <a:cubicBezTo>
                  <a:pt x="260300" y="87782"/>
                  <a:pt x="259585" y="83916"/>
                  <a:pt x="257861" y="80467"/>
                </a:cubicBezTo>
                <a:cubicBezTo>
                  <a:pt x="255895" y="76535"/>
                  <a:pt x="249480" y="73759"/>
                  <a:pt x="250546" y="69494"/>
                </a:cubicBezTo>
                <a:cubicBezTo>
                  <a:pt x="251481" y="65754"/>
                  <a:pt x="257812" y="66895"/>
                  <a:pt x="261519" y="65836"/>
                </a:cubicBezTo>
                <a:cubicBezTo>
                  <a:pt x="266352" y="64455"/>
                  <a:pt x="271136" y="62550"/>
                  <a:pt x="276149" y="62179"/>
                </a:cubicBezTo>
                <a:cubicBezTo>
                  <a:pt x="304140" y="60106"/>
                  <a:pt x="332232" y="59740"/>
                  <a:pt x="360274" y="58521"/>
                </a:cubicBezTo>
                <a:cubicBezTo>
                  <a:pt x="374291" y="55017"/>
                  <a:pt x="374067" y="57740"/>
                  <a:pt x="382220" y="47548"/>
                </a:cubicBezTo>
                <a:cubicBezTo>
                  <a:pt x="383403" y="46069"/>
                  <a:pt x="392739" y="29986"/>
                  <a:pt x="396850" y="29260"/>
                </a:cubicBezTo>
                <a:cubicBezTo>
                  <a:pt x="414900" y="26075"/>
                  <a:pt x="433426" y="26822"/>
                  <a:pt x="451714" y="25603"/>
                </a:cubicBezTo>
                <a:cubicBezTo>
                  <a:pt x="455372" y="23165"/>
                  <a:pt x="458670" y="20073"/>
                  <a:pt x="462687" y="18288"/>
                </a:cubicBezTo>
                <a:cubicBezTo>
                  <a:pt x="480602" y="10326"/>
                  <a:pt x="482889" y="12227"/>
                  <a:pt x="499263" y="7315"/>
                </a:cubicBezTo>
                <a:cubicBezTo>
                  <a:pt x="506649" y="5099"/>
                  <a:pt x="521209" y="0"/>
                  <a:pt x="521209" y="0"/>
                </a:cubicBezTo>
                <a:cubicBezTo>
                  <a:pt x="555346" y="1219"/>
                  <a:pt x="589631" y="258"/>
                  <a:pt x="623621" y="3657"/>
                </a:cubicBezTo>
                <a:cubicBezTo>
                  <a:pt x="628244" y="4119"/>
                  <a:pt x="636420" y="20800"/>
                  <a:pt x="638252" y="21945"/>
                </a:cubicBezTo>
                <a:cubicBezTo>
                  <a:pt x="644791" y="26032"/>
                  <a:pt x="660197" y="29260"/>
                  <a:pt x="660197" y="29260"/>
                </a:cubicBezTo>
                <a:cubicBezTo>
                  <a:pt x="677858" y="46921"/>
                  <a:pt x="655420" y="25440"/>
                  <a:pt x="678485" y="43891"/>
                </a:cubicBezTo>
                <a:cubicBezTo>
                  <a:pt x="687147" y="50820"/>
                  <a:pt x="684073" y="53594"/>
                  <a:pt x="696773" y="54864"/>
                </a:cubicBezTo>
                <a:cubicBezTo>
                  <a:pt x="717432" y="56930"/>
                  <a:pt x="738226" y="57302"/>
                  <a:pt x="758953" y="58521"/>
                </a:cubicBezTo>
                <a:cubicBezTo>
                  <a:pt x="764131" y="60247"/>
                  <a:pt x="779958" y="65836"/>
                  <a:pt x="784556" y="65836"/>
                </a:cubicBezTo>
                <a:cubicBezTo>
                  <a:pt x="801668" y="65836"/>
                  <a:pt x="818693" y="63398"/>
                  <a:pt x="835762" y="62179"/>
                </a:cubicBezTo>
                <a:cubicBezTo>
                  <a:pt x="839420" y="60960"/>
                  <a:pt x="842913" y="59031"/>
                  <a:pt x="846735" y="58521"/>
                </a:cubicBezTo>
                <a:cubicBezTo>
                  <a:pt x="861287" y="56581"/>
                  <a:pt x="876613" y="59243"/>
                  <a:pt x="890626" y="54864"/>
                </a:cubicBezTo>
                <a:cubicBezTo>
                  <a:pt x="897209" y="52807"/>
                  <a:pt x="899088" y="43317"/>
                  <a:pt x="905257" y="40233"/>
                </a:cubicBezTo>
                <a:cubicBezTo>
                  <a:pt x="910134" y="37795"/>
                  <a:pt x="914825" y="34943"/>
                  <a:pt x="919887" y="32918"/>
                </a:cubicBezTo>
                <a:cubicBezTo>
                  <a:pt x="927047" y="30054"/>
                  <a:pt x="941833" y="25603"/>
                  <a:pt x="941833" y="25603"/>
                </a:cubicBezTo>
                <a:cubicBezTo>
                  <a:pt x="1012872" y="33495"/>
                  <a:pt x="952126" y="21643"/>
                  <a:pt x="985724" y="36576"/>
                </a:cubicBezTo>
                <a:cubicBezTo>
                  <a:pt x="992770" y="39708"/>
                  <a:pt x="1007669" y="43891"/>
                  <a:pt x="1007669" y="43891"/>
                </a:cubicBezTo>
                <a:lnTo>
                  <a:pt x="1018642" y="76809"/>
                </a:lnTo>
                <a:lnTo>
                  <a:pt x="1022300" y="87782"/>
                </a:lnTo>
                <a:cubicBezTo>
                  <a:pt x="1023519" y="96316"/>
                  <a:pt x="1023231" y="105206"/>
                  <a:pt x="1025957" y="113385"/>
                </a:cubicBezTo>
                <a:cubicBezTo>
                  <a:pt x="1027048" y="116657"/>
                  <a:pt x="1031499" y="117743"/>
                  <a:pt x="1033273" y="120700"/>
                </a:cubicBezTo>
                <a:cubicBezTo>
                  <a:pt x="1035257" y="124006"/>
                  <a:pt x="1035871" y="127966"/>
                  <a:pt x="1036930" y="131673"/>
                </a:cubicBezTo>
                <a:cubicBezTo>
                  <a:pt x="1046112" y="163813"/>
                  <a:pt x="1035479" y="130976"/>
                  <a:pt x="1044245" y="157276"/>
                </a:cubicBezTo>
                <a:cubicBezTo>
                  <a:pt x="1043026" y="160934"/>
                  <a:pt x="1042996" y="165238"/>
                  <a:pt x="1040588" y="168249"/>
                </a:cubicBezTo>
                <a:cubicBezTo>
                  <a:pt x="1037842" y="171682"/>
                  <a:pt x="1033048" y="172818"/>
                  <a:pt x="1029615" y="175564"/>
                </a:cubicBezTo>
                <a:cubicBezTo>
                  <a:pt x="1003556" y="196412"/>
                  <a:pt x="1045100" y="167681"/>
                  <a:pt x="1011327" y="190195"/>
                </a:cubicBezTo>
                <a:cubicBezTo>
                  <a:pt x="1007839" y="200657"/>
                  <a:pt x="1006309" y="204311"/>
                  <a:pt x="1004012" y="215798"/>
                </a:cubicBezTo>
                <a:cubicBezTo>
                  <a:pt x="1002141" y="225156"/>
                  <a:pt x="1001441" y="239229"/>
                  <a:pt x="996697" y="248716"/>
                </a:cubicBezTo>
                <a:cubicBezTo>
                  <a:pt x="994731" y="252648"/>
                  <a:pt x="991820" y="256031"/>
                  <a:pt x="989381" y="259689"/>
                </a:cubicBezTo>
                <a:cubicBezTo>
                  <a:pt x="986943" y="267004"/>
                  <a:pt x="982706" y="273951"/>
                  <a:pt x="982066" y="281635"/>
                </a:cubicBezTo>
                <a:cubicBezTo>
                  <a:pt x="980847" y="296265"/>
                  <a:pt x="990892" y="317799"/>
                  <a:pt x="978409" y="325526"/>
                </a:cubicBezTo>
                <a:cubicBezTo>
                  <a:pt x="957650" y="338377"/>
                  <a:pt x="929641" y="327965"/>
                  <a:pt x="905257" y="329184"/>
                </a:cubicBezTo>
                <a:cubicBezTo>
                  <a:pt x="899619" y="330593"/>
                  <a:pt x="876976" y="336499"/>
                  <a:pt x="872338" y="336499"/>
                </a:cubicBezTo>
                <a:cubicBezTo>
                  <a:pt x="858872" y="336499"/>
                  <a:pt x="845516" y="334060"/>
                  <a:pt x="832105" y="332841"/>
                </a:cubicBezTo>
                <a:cubicBezTo>
                  <a:pt x="827228" y="331622"/>
                  <a:pt x="822308" y="330565"/>
                  <a:pt x="817474" y="329184"/>
                </a:cubicBezTo>
                <a:cubicBezTo>
                  <a:pt x="780692" y="318676"/>
                  <a:pt x="837673" y="333320"/>
                  <a:pt x="791871" y="321868"/>
                </a:cubicBezTo>
                <a:cubicBezTo>
                  <a:pt x="780898" y="323087"/>
                  <a:pt x="769664" y="322848"/>
                  <a:pt x="758953" y="325526"/>
                </a:cubicBezTo>
                <a:cubicBezTo>
                  <a:pt x="754688" y="326592"/>
                  <a:pt x="751997" y="331056"/>
                  <a:pt x="747980" y="332841"/>
                </a:cubicBezTo>
                <a:cubicBezTo>
                  <a:pt x="740934" y="335973"/>
                  <a:pt x="733349" y="337718"/>
                  <a:pt x="726034" y="340156"/>
                </a:cubicBezTo>
                <a:cubicBezTo>
                  <a:pt x="722376" y="341375"/>
                  <a:pt x="718887" y="343336"/>
                  <a:pt x="715061" y="343814"/>
                </a:cubicBezTo>
                <a:cubicBezTo>
                  <a:pt x="705308" y="345033"/>
                  <a:pt x="695497" y="345856"/>
                  <a:pt x="685801" y="347472"/>
                </a:cubicBezTo>
                <a:cubicBezTo>
                  <a:pt x="672066" y="349761"/>
                  <a:pt x="672383" y="351305"/>
                  <a:pt x="660197" y="354787"/>
                </a:cubicBezTo>
                <a:cubicBezTo>
                  <a:pt x="655364" y="356168"/>
                  <a:pt x="650444" y="357225"/>
                  <a:pt x="645567" y="358444"/>
                </a:cubicBezTo>
                <a:cubicBezTo>
                  <a:pt x="635813" y="357225"/>
                  <a:pt x="625977" y="356545"/>
                  <a:pt x="616306" y="354787"/>
                </a:cubicBezTo>
                <a:cubicBezTo>
                  <a:pt x="612513" y="354097"/>
                  <a:pt x="609040" y="352188"/>
                  <a:pt x="605333" y="351129"/>
                </a:cubicBezTo>
                <a:cubicBezTo>
                  <a:pt x="600500" y="349748"/>
                  <a:pt x="595580" y="348691"/>
                  <a:pt x="590703" y="347472"/>
                </a:cubicBezTo>
                <a:cubicBezTo>
                  <a:pt x="583906" y="352003"/>
                  <a:pt x="569048" y="364687"/>
                  <a:pt x="557785" y="365760"/>
                </a:cubicBezTo>
                <a:cubicBezTo>
                  <a:pt x="535905" y="367844"/>
                  <a:pt x="513894" y="368198"/>
                  <a:pt x="491948" y="369417"/>
                </a:cubicBezTo>
                <a:cubicBezTo>
                  <a:pt x="488290" y="373075"/>
                  <a:pt x="483844" y="376086"/>
                  <a:pt x="480975" y="380390"/>
                </a:cubicBezTo>
                <a:cubicBezTo>
                  <a:pt x="472433" y="393203"/>
                  <a:pt x="484509" y="396158"/>
                  <a:pt x="466345" y="384048"/>
                </a:cubicBezTo>
                <a:cubicBezTo>
                  <a:pt x="465126" y="380390"/>
                  <a:pt x="465824" y="375316"/>
                  <a:pt x="462687" y="373075"/>
                </a:cubicBezTo>
                <a:cubicBezTo>
                  <a:pt x="456412" y="368593"/>
                  <a:pt x="440741" y="365760"/>
                  <a:pt x="440741" y="365760"/>
                </a:cubicBezTo>
                <a:cubicBezTo>
                  <a:pt x="421234" y="370637"/>
                  <a:pt x="401117" y="373519"/>
                  <a:pt x="382220" y="380390"/>
                </a:cubicBezTo>
                <a:cubicBezTo>
                  <a:pt x="373957" y="383394"/>
                  <a:pt x="366490" y="388803"/>
                  <a:pt x="360274" y="395020"/>
                </a:cubicBezTo>
                <a:cubicBezTo>
                  <a:pt x="357836" y="397459"/>
                  <a:pt x="356043" y="400794"/>
                  <a:pt x="352959" y="402336"/>
                </a:cubicBezTo>
                <a:cubicBezTo>
                  <a:pt x="348463" y="404584"/>
                  <a:pt x="343206" y="404774"/>
                  <a:pt x="338329" y="405993"/>
                </a:cubicBezTo>
                <a:cubicBezTo>
                  <a:pt x="316383" y="404774"/>
                  <a:pt x="294010" y="406819"/>
                  <a:pt x="272492" y="402336"/>
                </a:cubicBezTo>
                <a:cubicBezTo>
                  <a:pt x="263885" y="400543"/>
                  <a:pt x="257861" y="392582"/>
                  <a:pt x="250546" y="387705"/>
                </a:cubicBezTo>
                <a:cubicBezTo>
                  <a:pt x="236366" y="378252"/>
                  <a:pt x="243742" y="381780"/>
                  <a:pt x="228601" y="376732"/>
                </a:cubicBezTo>
                <a:cubicBezTo>
                  <a:pt x="226162" y="374294"/>
                  <a:pt x="224370" y="370959"/>
                  <a:pt x="221285" y="369417"/>
                </a:cubicBezTo>
                <a:cubicBezTo>
                  <a:pt x="214388" y="365969"/>
                  <a:pt x="199340" y="362102"/>
                  <a:pt x="199340" y="362102"/>
                </a:cubicBezTo>
                <a:cubicBezTo>
                  <a:pt x="193244" y="363321"/>
                  <a:pt x="186712" y="363188"/>
                  <a:pt x="181052" y="365760"/>
                </a:cubicBezTo>
                <a:cubicBezTo>
                  <a:pt x="173048" y="369398"/>
                  <a:pt x="166421" y="375513"/>
                  <a:pt x="159106" y="380390"/>
                </a:cubicBezTo>
                <a:cubicBezTo>
                  <a:pt x="155448" y="382828"/>
                  <a:pt x="152303" y="386315"/>
                  <a:pt x="148133" y="387705"/>
                </a:cubicBezTo>
                <a:lnTo>
                  <a:pt x="137161" y="391363"/>
                </a:lnTo>
                <a:cubicBezTo>
                  <a:pt x="122530" y="390144"/>
                  <a:pt x="107385" y="391738"/>
                  <a:pt x="93269" y="387705"/>
                </a:cubicBezTo>
                <a:cubicBezTo>
                  <a:pt x="89042" y="386497"/>
                  <a:pt x="89062" y="379840"/>
                  <a:pt x="85954" y="376732"/>
                </a:cubicBezTo>
                <a:cubicBezTo>
                  <a:pt x="77167" y="367945"/>
                  <a:pt x="74421" y="370222"/>
                  <a:pt x="64009" y="365760"/>
                </a:cubicBezTo>
                <a:cubicBezTo>
                  <a:pt x="58997" y="363612"/>
                  <a:pt x="54255" y="360883"/>
                  <a:pt x="49378" y="358444"/>
                </a:cubicBezTo>
                <a:cubicBezTo>
                  <a:pt x="44501" y="359663"/>
                  <a:pt x="38673" y="358962"/>
                  <a:pt x="34748" y="362102"/>
                </a:cubicBezTo>
                <a:cubicBezTo>
                  <a:pt x="19587" y="374231"/>
                  <a:pt x="3658" y="398069"/>
                  <a:pt x="1829" y="402336"/>
                </a:cubicBezTo>
                <a:close/>
              </a:path>
            </a:pathLst>
          </a:custGeom>
          <a:solidFill>
            <a:srgbClr val="00FF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430215" y="2802467"/>
            <a:ext cx="8286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600">
                <a:latin typeface="Ramabhadra" pitchFamily="2" charset="0"/>
                <a:cs typeface="Ramabhadra" pitchFamily="2" charset="0"/>
              </a:rPr>
              <a:t>టర్కి</a:t>
            </a:r>
          </a:p>
        </p:txBody>
      </p:sp>
      <p:sp>
        <p:nvSpPr>
          <p:cNvPr id="21" name="Freeform 20"/>
          <p:cNvSpPr/>
          <p:nvPr/>
        </p:nvSpPr>
        <p:spPr>
          <a:xfrm>
            <a:off x="544519" y="3126320"/>
            <a:ext cx="619125" cy="321733"/>
          </a:xfrm>
          <a:custGeom>
            <a:avLst/>
            <a:gdLst>
              <a:gd name="connsiteX0" fmla="*/ 54769 w 619125"/>
              <a:gd name="connsiteY0" fmla="*/ 302419 h 321469"/>
              <a:gd name="connsiteX1" fmla="*/ 45244 w 619125"/>
              <a:gd name="connsiteY1" fmla="*/ 300038 h 321469"/>
              <a:gd name="connsiteX2" fmla="*/ 42863 w 619125"/>
              <a:gd name="connsiteY2" fmla="*/ 292894 h 321469"/>
              <a:gd name="connsiteX3" fmla="*/ 35719 w 619125"/>
              <a:gd name="connsiteY3" fmla="*/ 288132 h 321469"/>
              <a:gd name="connsiteX4" fmla="*/ 45244 w 619125"/>
              <a:gd name="connsiteY4" fmla="*/ 245269 h 321469"/>
              <a:gd name="connsiteX5" fmla="*/ 52388 w 619125"/>
              <a:gd name="connsiteY5" fmla="*/ 240507 h 321469"/>
              <a:gd name="connsiteX6" fmla="*/ 57150 w 619125"/>
              <a:gd name="connsiteY6" fmla="*/ 233363 h 321469"/>
              <a:gd name="connsiteX7" fmla="*/ 64294 w 619125"/>
              <a:gd name="connsiteY7" fmla="*/ 228600 h 321469"/>
              <a:gd name="connsiteX8" fmla="*/ 73819 w 619125"/>
              <a:gd name="connsiteY8" fmla="*/ 214313 h 321469"/>
              <a:gd name="connsiteX9" fmla="*/ 76200 w 619125"/>
              <a:gd name="connsiteY9" fmla="*/ 207169 h 321469"/>
              <a:gd name="connsiteX10" fmla="*/ 83344 w 619125"/>
              <a:gd name="connsiteY10" fmla="*/ 200025 h 321469"/>
              <a:gd name="connsiteX11" fmla="*/ 88107 w 619125"/>
              <a:gd name="connsiteY11" fmla="*/ 192882 h 321469"/>
              <a:gd name="connsiteX12" fmla="*/ 95250 w 619125"/>
              <a:gd name="connsiteY12" fmla="*/ 190500 h 321469"/>
              <a:gd name="connsiteX13" fmla="*/ 102394 w 619125"/>
              <a:gd name="connsiteY13" fmla="*/ 183357 h 321469"/>
              <a:gd name="connsiteX14" fmla="*/ 111919 w 619125"/>
              <a:gd name="connsiteY14" fmla="*/ 169069 h 321469"/>
              <a:gd name="connsiteX15" fmla="*/ 116682 w 619125"/>
              <a:gd name="connsiteY15" fmla="*/ 161925 h 321469"/>
              <a:gd name="connsiteX16" fmla="*/ 121444 w 619125"/>
              <a:gd name="connsiteY16" fmla="*/ 154782 h 321469"/>
              <a:gd name="connsiteX17" fmla="*/ 126207 w 619125"/>
              <a:gd name="connsiteY17" fmla="*/ 147638 h 321469"/>
              <a:gd name="connsiteX18" fmla="*/ 130969 w 619125"/>
              <a:gd name="connsiteY18" fmla="*/ 133350 h 321469"/>
              <a:gd name="connsiteX19" fmla="*/ 133350 w 619125"/>
              <a:gd name="connsiteY19" fmla="*/ 102394 h 321469"/>
              <a:gd name="connsiteX20" fmla="*/ 147638 w 619125"/>
              <a:gd name="connsiteY20" fmla="*/ 92869 h 321469"/>
              <a:gd name="connsiteX21" fmla="*/ 154782 w 619125"/>
              <a:gd name="connsiteY21" fmla="*/ 88107 h 321469"/>
              <a:gd name="connsiteX22" fmla="*/ 159544 w 619125"/>
              <a:gd name="connsiteY22" fmla="*/ 80963 h 321469"/>
              <a:gd name="connsiteX23" fmla="*/ 154782 w 619125"/>
              <a:gd name="connsiteY23" fmla="*/ 50007 h 321469"/>
              <a:gd name="connsiteX24" fmla="*/ 230982 w 619125"/>
              <a:gd name="connsiteY24" fmla="*/ 42863 h 321469"/>
              <a:gd name="connsiteX25" fmla="*/ 245269 w 619125"/>
              <a:gd name="connsiteY25" fmla="*/ 38100 h 321469"/>
              <a:gd name="connsiteX26" fmla="*/ 252413 w 619125"/>
              <a:gd name="connsiteY26" fmla="*/ 35719 h 321469"/>
              <a:gd name="connsiteX27" fmla="*/ 259557 w 619125"/>
              <a:gd name="connsiteY27" fmla="*/ 30957 h 321469"/>
              <a:gd name="connsiteX28" fmla="*/ 269082 w 619125"/>
              <a:gd name="connsiteY28" fmla="*/ 28575 h 321469"/>
              <a:gd name="connsiteX29" fmla="*/ 307182 w 619125"/>
              <a:gd name="connsiteY29" fmla="*/ 33338 h 321469"/>
              <a:gd name="connsiteX30" fmla="*/ 321469 w 619125"/>
              <a:gd name="connsiteY30" fmla="*/ 38100 h 321469"/>
              <a:gd name="connsiteX31" fmla="*/ 328613 w 619125"/>
              <a:gd name="connsiteY31" fmla="*/ 40482 h 321469"/>
              <a:gd name="connsiteX32" fmla="*/ 357188 w 619125"/>
              <a:gd name="connsiteY32" fmla="*/ 38100 h 321469"/>
              <a:gd name="connsiteX33" fmla="*/ 371475 w 619125"/>
              <a:gd name="connsiteY33" fmla="*/ 33338 h 321469"/>
              <a:gd name="connsiteX34" fmla="*/ 378619 w 619125"/>
              <a:gd name="connsiteY34" fmla="*/ 30957 h 321469"/>
              <a:gd name="connsiteX35" fmla="*/ 385763 w 619125"/>
              <a:gd name="connsiteY35" fmla="*/ 28575 h 321469"/>
              <a:gd name="connsiteX36" fmla="*/ 411957 w 619125"/>
              <a:gd name="connsiteY36" fmla="*/ 21432 h 321469"/>
              <a:gd name="connsiteX37" fmla="*/ 428625 w 619125"/>
              <a:gd name="connsiteY37" fmla="*/ 14288 h 321469"/>
              <a:gd name="connsiteX38" fmla="*/ 450057 w 619125"/>
              <a:gd name="connsiteY38" fmla="*/ 7144 h 321469"/>
              <a:gd name="connsiteX39" fmla="*/ 457200 w 619125"/>
              <a:gd name="connsiteY39" fmla="*/ 4763 h 321469"/>
              <a:gd name="connsiteX40" fmla="*/ 466725 w 619125"/>
              <a:gd name="connsiteY40" fmla="*/ 0 h 321469"/>
              <a:gd name="connsiteX41" fmla="*/ 511969 w 619125"/>
              <a:gd name="connsiteY41" fmla="*/ 4763 h 321469"/>
              <a:gd name="connsiteX42" fmla="*/ 519113 w 619125"/>
              <a:gd name="connsiteY42" fmla="*/ 7144 h 321469"/>
              <a:gd name="connsiteX43" fmla="*/ 526257 w 619125"/>
              <a:gd name="connsiteY43" fmla="*/ 11907 h 321469"/>
              <a:gd name="connsiteX44" fmla="*/ 550069 w 619125"/>
              <a:gd name="connsiteY44" fmla="*/ 19050 h 321469"/>
              <a:gd name="connsiteX45" fmla="*/ 564357 w 619125"/>
              <a:gd name="connsiteY45" fmla="*/ 23813 h 321469"/>
              <a:gd name="connsiteX46" fmla="*/ 588169 w 619125"/>
              <a:gd name="connsiteY46" fmla="*/ 21432 h 321469"/>
              <a:gd name="connsiteX47" fmla="*/ 595313 w 619125"/>
              <a:gd name="connsiteY47" fmla="*/ 16669 h 321469"/>
              <a:gd name="connsiteX48" fmla="*/ 611982 w 619125"/>
              <a:gd name="connsiteY48" fmla="*/ 11907 h 321469"/>
              <a:gd name="connsiteX49" fmla="*/ 619125 w 619125"/>
              <a:gd name="connsiteY49" fmla="*/ 9525 h 321469"/>
              <a:gd name="connsiteX50" fmla="*/ 573882 w 619125"/>
              <a:gd name="connsiteY50" fmla="*/ 4763 h 321469"/>
              <a:gd name="connsiteX51" fmla="*/ 564357 w 619125"/>
              <a:gd name="connsiteY51" fmla="*/ 2382 h 321469"/>
              <a:gd name="connsiteX52" fmla="*/ 521494 w 619125"/>
              <a:gd name="connsiteY52" fmla="*/ 4763 h 321469"/>
              <a:gd name="connsiteX53" fmla="*/ 514350 w 619125"/>
              <a:gd name="connsiteY53" fmla="*/ 30957 h 321469"/>
              <a:gd name="connsiteX54" fmla="*/ 507207 w 619125"/>
              <a:gd name="connsiteY54" fmla="*/ 35719 h 321469"/>
              <a:gd name="connsiteX55" fmla="*/ 492919 w 619125"/>
              <a:gd name="connsiteY55" fmla="*/ 40482 h 321469"/>
              <a:gd name="connsiteX56" fmla="*/ 478632 w 619125"/>
              <a:gd name="connsiteY56" fmla="*/ 50007 h 321469"/>
              <a:gd name="connsiteX57" fmla="*/ 471488 w 619125"/>
              <a:gd name="connsiteY57" fmla="*/ 57150 h 321469"/>
              <a:gd name="connsiteX58" fmla="*/ 457200 w 619125"/>
              <a:gd name="connsiteY58" fmla="*/ 66675 h 321469"/>
              <a:gd name="connsiteX59" fmla="*/ 450057 w 619125"/>
              <a:gd name="connsiteY59" fmla="*/ 80963 h 321469"/>
              <a:gd name="connsiteX60" fmla="*/ 445294 w 619125"/>
              <a:gd name="connsiteY60" fmla="*/ 88107 h 321469"/>
              <a:gd name="connsiteX61" fmla="*/ 442913 w 619125"/>
              <a:gd name="connsiteY61" fmla="*/ 95250 h 321469"/>
              <a:gd name="connsiteX62" fmla="*/ 438150 w 619125"/>
              <a:gd name="connsiteY62" fmla="*/ 114300 h 321469"/>
              <a:gd name="connsiteX63" fmla="*/ 433388 w 619125"/>
              <a:gd name="connsiteY63" fmla="*/ 128588 h 321469"/>
              <a:gd name="connsiteX64" fmla="*/ 426244 w 619125"/>
              <a:gd name="connsiteY64" fmla="*/ 135732 h 321469"/>
              <a:gd name="connsiteX65" fmla="*/ 414338 w 619125"/>
              <a:gd name="connsiteY65" fmla="*/ 157163 h 321469"/>
              <a:gd name="connsiteX66" fmla="*/ 409575 w 619125"/>
              <a:gd name="connsiteY66" fmla="*/ 164307 h 321469"/>
              <a:gd name="connsiteX67" fmla="*/ 395288 w 619125"/>
              <a:gd name="connsiteY67" fmla="*/ 176213 h 321469"/>
              <a:gd name="connsiteX68" fmla="*/ 388144 w 619125"/>
              <a:gd name="connsiteY68" fmla="*/ 178594 h 321469"/>
              <a:gd name="connsiteX69" fmla="*/ 381000 w 619125"/>
              <a:gd name="connsiteY69" fmla="*/ 183357 h 321469"/>
              <a:gd name="connsiteX70" fmla="*/ 376238 w 619125"/>
              <a:gd name="connsiteY70" fmla="*/ 190500 h 321469"/>
              <a:gd name="connsiteX71" fmla="*/ 369094 w 619125"/>
              <a:gd name="connsiteY71" fmla="*/ 192882 h 321469"/>
              <a:gd name="connsiteX72" fmla="*/ 354807 w 619125"/>
              <a:gd name="connsiteY72" fmla="*/ 202407 h 321469"/>
              <a:gd name="connsiteX73" fmla="*/ 333375 w 619125"/>
              <a:gd name="connsiteY73" fmla="*/ 209550 h 321469"/>
              <a:gd name="connsiteX74" fmla="*/ 311944 w 619125"/>
              <a:gd name="connsiteY74" fmla="*/ 216694 h 321469"/>
              <a:gd name="connsiteX75" fmla="*/ 304800 w 619125"/>
              <a:gd name="connsiteY75" fmla="*/ 219075 h 321469"/>
              <a:gd name="connsiteX76" fmla="*/ 297657 w 619125"/>
              <a:gd name="connsiteY76" fmla="*/ 223838 h 321469"/>
              <a:gd name="connsiteX77" fmla="*/ 276225 w 619125"/>
              <a:gd name="connsiteY77" fmla="*/ 235744 h 321469"/>
              <a:gd name="connsiteX78" fmla="*/ 261938 w 619125"/>
              <a:gd name="connsiteY78" fmla="*/ 247650 h 321469"/>
              <a:gd name="connsiteX79" fmla="*/ 254794 w 619125"/>
              <a:gd name="connsiteY79" fmla="*/ 250032 h 321469"/>
              <a:gd name="connsiteX80" fmla="*/ 242888 w 619125"/>
              <a:gd name="connsiteY80" fmla="*/ 259557 h 321469"/>
              <a:gd name="connsiteX81" fmla="*/ 235744 w 619125"/>
              <a:gd name="connsiteY81" fmla="*/ 264319 h 321469"/>
              <a:gd name="connsiteX82" fmla="*/ 221457 w 619125"/>
              <a:gd name="connsiteY82" fmla="*/ 269082 h 321469"/>
              <a:gd name="connsiteX83" fmla="*/ 214313 w 619125"/>
              <a:gd name="connsiteY83" fmla="*/ 273844 h 321469"/>
              <a:gd name="connsiteX84" fmla="*/ 200025 w 619125"/>
              <a:gd name="connsiteY84" fmla="*/ 278607 h 321469"/>
              <a:gd name="connsiteX85" fmla="*/ 192882 w 619125"/>
              <a:gd name="connsiteY85" fmla="*/ 280988 h 321469"/>
              <a:gd name="connsiteX86" fmla="*/ 183357 w 619125"/>
              <a:gd name="connsiteY86" fmla="*/ 283369 h 321469"/>
              <a:gd name="connsiteX87" fmla="*/ 161925 w 619125"/>
              <a:gd name="connsiteY87" fmla="*/ 290513 h 321469"/>
              <a:gd name="connsiteX88" fmla="*/ 147638 w 619125"/>
              <a:gd name="connsiteY88" fmla="*/ 295275 h 321469"/>
              <a:gd name="connsiteX89" fmla="*/ 140494 w 619125"/>
              <a:gd name="connsiteY89" fmla="*/ 297657 h 321469"/>
              <a:gd name="connsiteX90" fmla="*/ 133350 w 619125"/>
              <a:gd name="connsiteY90" fmla="*/ 302419 h 321469"/>
              <a:gd name="connsiteX91" fmla="*/ 119063 w 619125"/>
              <a:gd name="connsiteY91" fmla="*/ 307182 h 321469"/>
              <a:gd name="connsiteX92" fmla="*/ 97632 w 619125"/>
              <a:gd name="connsiteY92" fmla="*/ 314325 h 321469"/>
              <a:gd name="connsiteX93" fmla="*/ 83344 w 619125"/>
              <a:gd name="connsiteY93" fmla="*/ 319088 h 321469"/>
              <a:gd name="connsiteX94" fmla="*/ 76200 w 619125"/>
              <a:gd name="connsiteY94" fmla="*/ 321469 h 321469"/>
              <a:gd name="connsiteX95" fmla="*/ 59532 w 619125"/>
              <a:gd name="connsiteY95" fmla="*/ 319088 h 321469"/>
              <a:gd name="connsiteX96" fmla="*/ 47625 w 619125"/>
              <a:gd name="connsiteY96" fmla="*/ 292894 h 321469"/>
              <a:gd name="connsiteX97" fmla="*/ 33338 w 619125"/>
              <a:gd name="connsiteY97" fmla="*/ 295275 h 321469"/>
              <a:gd name="connsiteX98" fmla="*/ 28575 w 619125"/>
              <a:gd name="connsiteY98" fmla="*/ 309563 h 321469"/>
              <a:gd name="connsiteX99" fmla="*/ 21432 w 619125"/>
              <a:gd name="connsiteY99" fmla="*/ 314325 h 321469"/>
              <a:gd name="connsiteX100" fmla="*/ 9525 w 619125"/>
              <a:gd name="connsiteY100" fmla="*/ 311944 h 321469"/>
              <a:gd name="connsiteX101" fmla="*/ 2382 w 619125"/>
              <a:gd name="connsiteY101" fmla="*/ 309563 h 321469"/>
              <a:gd name="connsiteX102" fmla="*/ 0 w 619125"/>
              <a:gd name="connsiteY102" fmla="*/ 302419 h 321469"/>
              <a:gd name="connsiteX103" fmla="*/ 9525 w 619125"/>
              <a:gd name="connsiteY103" fmla="*/ 288132 h 321469"/>
              <a:gd name="connsiteX104" fmla="*/ 16669 w 619125"/>
              <a:gd name="connsiteY104" fmla="*/ 280988 h 321469"/>
              <a:gd name="connsiteX105" fmla="*/ 54769 w 619125"/>
              <a:gd name="connsiteY105" fmla="*/ 302419 h 3214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</a:cxnLst>
            <a:rect l="l" t="t" r="r" b="b"/>
            <a:pathLst>
              <a:path w="619125" h="321469">
                <a:moveTo>
                  <a:pt x="54769" y="302419"/>
                </a:moveTo>
                <a:cubicBezTo>
                  <a:pt x="59531" y="305594"/>
                  <a:pt x="47800" y="302082"/>
                  <a:pt x="45244" y="300038"/>
                </a:cubicBezTo>
                <a:cubicBezTo>
                  <a:pt x="43284" y="298470"/>
                  <a:pt x="44431" y="294854"/>
                  <a:pt x="42863" y="292894"/>
                </a:cubicBezTo>
                <a:cubicBezTo>
                  <a:pt x="41075" y="290659"/>
                  <a:pt x="38100" y="289719"/>
                  <a:pt x="35719" y="288132"/>
                </a:cubicBezTo>
                <a:cubicBezTo>
                  <a:pt x="37674" y="258798"/>
                  <a:pt x="29846" y="258100"/>
                  <a:pt x="45244" y="245269"/>
                </a:cubicBezTo>
                <a:cubicBezTo>
                  <a:pt x="47443" y="243437"/>
                  <a:pt x="50007" y="242094"/>
                  <a:pt x="52388" y="240507"/>
                </a:cubicBezTo>
                <a:cubicBezTo>
                  <a:pt x="53975" y="238126"/>
                  <a:pt x="55126" y="235387"/>
                  <a:pt x="57150" y="233363"/>
                </a:cubicBezTo>
                <a:cubicBezTo>
                  <a:pt x="59174" y="231339"/>
                  <a:pt x="62409" y="230754"/>
                  <a:pt x="64294" y="228600"/>
                </a:cubicBezTo>
                <a:cubicBezTo>
                  <a:pt x="68063" y="224293"/>
                  <a:pt x="72009" y="219743"/>
                  <a:pt x="73819" y="214313"/>
                </a:cubicBezTo>
                <a:cubicBezTo>
                  <a:pt x="74613" y="211932"/>
                  <a:pt x="74808" y="209258"/>
                  <a:pt x="76200" y="207169"/>
                </a:cubicBezTo>
                <a:cubicBezTo>
                  <a:pt x="78068" y="204367"/>
                  <a:pt x="81188" y="202612"/>
                  <a:pt x="83344" y="200025"/>
                </a:cubicBezTo>
                <a:cubicBezTo>
                  <a:pt x="85176" y="197827"/>
                  <a:pt x="85872" y="194670"/>
                  <a:pt x="88107" y="192882"/>
                </a:cubicBezTo>
                <a:cubicBezTo>
                  <a:pt x="90067" y="191314"/>
                  <a:pt x="92869" y="191294"/>
                  <a:pt x="95250" y="190500"/>
                </a:cubicBezTo>
                <a:cubicBezTo>
                  <a:pt x="97631" y="188119"/>
                  <a:pt x="100327" y="186015"/>
                  <a:pt x="102394" y="183357"/>
                </a:cubicBezTo>
                <a:cubicBezTo>
                  <a:pt x="105908" y="178839"/>
                  <a:pt x="108744" y="173832"/>
                  <a:pt x="111919" y="169069"/>
                </a:cubicBezTo>
                <a:lnTo>
                  <a:pt x="116682" y="161925"/>
                </a:lnTo>
                <a:lnTo>
                  <a:pt x="121444" y="154782"/>
                </a:lnTo>
                <a:lnTo>
                  <a:pt x="126207" y="147638"/>
                </a:lnTo>
                <a:cubicBezTo>
                  <a:pt x="127794" y="142875"/>
                  <a:pt x="130584" y="138355"/>
                  <a:pt x="130969" y="133350"/>
                </a:cubicBezTo>
                <a:cubicBezTo>
                  <a:pt x="131763" y="123031"/>
                  <a:pt x="130840" y="112434"/>
                  <a:pt x="133350" y="102394"/>
                </a:cubicBezTo>
                <a:cubicBezTo>
                  <a:pt x="135285" y="94655"/>
                  <a:pt x="142505" y="95435"/>
                  <a:pt x="147638" y="92869"/>
                </a:cubicBezTo>
                <a:cubicBezTo>
                  <a:pt x="150198" y="91589"/>
                  <a:pt x="152401" y="89694"/>
                  <a:pt x="154782" y="88107"/>
                </a:cubicBezTo>
                <a:cubicBezTo>
                  <a:pt x="156369" y="85726"/>
                  <a:pt x="159325" y="83816"/>
                  <a:pt x="159544" y="80963"/>
                </a:cubicBezTo>
                <a:cubicBezTo>
                  <a:pt x="160695" y="65998"/>
                  <a:pt x="158496" y="61148"/>
                  <a:pt x="154782" y="50007"/>
                </a:cubicBezTo>
                <a:cubicBezTo>
                  <a:pt x="181876" y="31941"/>
                  <a:pt x="152724" y="49571"/>
                  <a:pt x="230982" y="42863"/>
                </a:cubicBezTo>
                <a:cubicBezTo>
                  <a:pt x="235984" y="42434"/>
                  <a:pt x="240507" y="39688"/>
                  <a:pt x="245269" y="38100"/>
                </a:cubicBezTo>
                <a:cubicBezTo>
                  <a:pt x="247650" y="37306"/>
                  <a:pt x="250324" y="37111"/>
                  <a:pt x="252413" y="35719"/>
                </a:cubicBezTo>
                <a:cubicBezTo>
                  <a:pt x="254794" y="34132"/>
                  <a:pt x="256927" y="32084"/>
                  <a:pt x="259557" y="30957"/>
                </a:cubicBezTo>
                <a:cubicBezTo>
                  <a:pt x="262565" y="29668"/>
                  <a:pt x="265907" y="29369"/>
                  <a:pt x="269082" y="28575"/>
                </a:cubicBezTo>
                <a:cubicBezTo>
                  <a:pt x="288246" y="30173"/>
                  <a:pt x="292723" y="29001"/>
                  <a:pt x="307182" y="33338"/>
                </a:cubicBezTo>
                <a:cubicBezTo>
                  <a:pt x="311990" y="34780"/>
                  <a:pt x="316707" y="36513"/>
                  <a:pt x="321469" y="38100"/>
                </a:cubicBezTo>
                <a:lnTo>
                  <a:pt x="328613" y="40482"/>
                </a:lnTo>
                <a:cubicBezTo>
                  <a:pt x="338138" y="39688"/>
                  <a:pt x="347760" y="39671"/>
                  <a:pt x="357188" y="38100"/>
                </a:cubicBezTo>
                <a:cubicBezTo>
                  <a:pt x="362140" y="37275"/>
                  <a:pt x="366713" y="34925"/>
                  <a:pt x="371475" y="33338"/>
                </a:cubicBezTo>
                <a:lnTo>
                  <a:pt x="378619" y="30957"/>
                </a:lnTo>
                <a:cubicBezTo>
                  <a:pt x="381000" y="30163"/>
                  <a:pt x="383328" y="29184"/>
                  <a:pt x="385763" y="28575"/>
                </a:cubicBezTo>
                <a:cubicBezTo>
                  <a:pt x="407248" y="23204"/>
                  <a:pt x="398603" y="25883"/>
                  <a:pt x="411957" y="21432"/>
                </a:cubicBezTo>
                <a:cubicBezTo>
                  <a:pt x="423290" y="13875"/>
                  <a:pt x="414646" y="18482"/>
                  <a:pt x="428625" y="14288"/>
                </a:cubicBezTo>
                <a:cubicBezTo>
                  <a:pt x="435838" y="12124"/>
                  <a:pt x="442913" y="9525"/>
                  <a:pt x="450057" y="7144"/>
                </a:cubicBezTo>
                <a:cubicBezTo>
                  <a:pt x="452438" y="6350"/>
                  <a:pt x="454955" y="5886"/>
                  <a:pt x="457200" y="4763"/>
                </a:cubicBezTo>
                <a:lnTo>
                  <a:pt x="466725" y="0"/>
                </a:lnTo>
                <a:cubicBezTo>
                  <a:pt x="481806" y="1588"/>
                  <a:pt x="496943" y="2714"/>
                  <a:pt x="511969" y="4763"/>
                </a:cubicBezTo>
                <a:cubicBezTo>
                  <a:pt x="514456" y="5102"/>
                  <a:pt x="516868" y="6021"/>
                  <a:pt x="519113" y="7144"/>
                </a:cubicBezTo>
                <a:cubicBezTo>
                  <a:pt x="521673" y="8424"/>
                  <a:pt x="523642" y="10745"/>
                  <a:pt x="526257" y="11907"/>
                </a:cubicBezTo>
                <a:cubicBezTo>
                  <a:pt x="537915" y="17088"/>
                  <a:pt x="539412" y="15853"/>
                  <a:pt x="550069" y="19050"/>
                </a:cubicBezTo>
                <a:cubicBezTo>
                  <a:pt x="554878" y="20493"/>
                  <a:pt x="564357" y="23813"/>
                  <a:pt x="564357" y="23813"/>
                </a:cubicBezTo>
                <a:cubicBezTo>
                  <a:pt x="572294" y="23019"/>
                  <a:pt x="580396" y="23226"/>
                  <a:pt x="588169" y="21432"/>
                </a:cubicBezTo>
                <a:cubicBezTo>
                  <a:pt x="590958" y="20788"/>
                  <a:pt x="592753" y="17949"/>
                  <a:pt x="595313" y="16669"/>
                </a:cubicBezTo>
                <a:cubicBezTo>
                  <a:pt x="599119" y="14766"/>
                  <a:pt x="608422" y="12924"/>
                  <a:pt x="611982" y="11907"/>
                </a:cubicBezTo>
                <a:cubicBezTo>
                  <a:pt x="614395" y="11217"/>
                  <a:pt x="616744" y="10319"/>
                  <a:pt x="619125" y="9525"/>
                </a:cubicBezTo>
                <a:cubicBezTo>
                  <a:pt x="607468" y="8465"/>
                  <a:pt x="586369" y="6844"/>
                  <a:pt x="573882" y="4763"/>
                </a:cubicBezTo>
                <a:cubicBezTo>
                  <a:pt x="570654" y="4225"/>
                  <a:pt x="567532" y="3176"/>
                  <a:pt x="564357" y="2382"/>
                </a:cubicBezTo>
                <a:cubicBezTo>
                  <a:pt x="550069" y="3176"/>
                  <a:pt x="535000" y="36"/>
                  <a:pt x="521494" y="4763"/>
                </a:cubicBezTo>
                <a:cubicBezTo>
                  <a:pt x="517200" y="6266"/>
                  <a:pt x="516307" y="27532"/>
                  <a:pt x="514350" y="30957"/>
                </a:cubicBezTo>
                <a:cubicBezTo>
                  <a:pt x="512930" y="33442"/>
                  <a:pt x="509822" y="34557"/>
                  <a:pt x="507207" y="35719"/>
                </a:cubicBezTo>
                <a:cubicBezTo>
                  <a:pt x="502619" y="37758"/>
                  <a:pt x="492919" y="40482"/>
                  <a:pt x="492919" y="40482"/>
                </a:cubicBezTo>
                <a:cubicBezTo>
                  <a:pt x="470129" y="63269"/>
                  <a:pt x="499309" y="36222"/>
                  <a:pt x="478632" y="50007"/>
                </a:cubicBezTo>
                <a:cubicBezTo>
                  <a:pt x="475830" y="51875"/>
                  <a:pt x="474146" y="55083"/>
                  <a:pt x="471488" y="57150"/>
                </a:cubicBezTo>
                <a:cubicBezTo>
                  <a:pt x="466970" y="60664"/>
                  <a:pt x="457200" y="66675"/>
                  <a:pt x="457200" y="66675"/>
                </a:cubicBezTo>
                <a:cubicBezTo>
                  <a:pt x="443547" y="87158"/>
                  <a:pt x="459920" y="61237"/>
                  <a:pt x="450057" y="80963"/>
                </a:cubicBezTo>
                <a:cubicBezTo>
                  <a:pt x="448777" y="83523"/>
                  <a:pt x="446882" y="85726"/>
                  <a:pt x="445294" y="88107"/>
                </a:cubicBezTo>
                <a:cubicBezTo>
                  <a:pt x="444500" y="90488"/>
                  <a:pt x="443573" y="92829"/>
                  <a:pt x="442913" y="95250"/>
                </a:cubicBezTo>
                <a:cubicBezTo>
                  <a:pt x="441191" y="101565"/>
                  <a:pt x="440220" y="108090"/>
                  <a:pt x="438150" y="114300"/>
                </a:cubicBezTo>
                <a:cubicBezTo>
                  <a:pt x="436563" y="119063"/>
                  <a:pt x="436938" y="125038"/>
                  <a:pt x="433388" y="128588"/>
                </a:cubicBezTo>
                <a:lnTo>
                  <a:pt x="426244" y="135732"/>
                </a:lnTo>
                <a:cubicBezTo>
                  <a:pt x="422053" y="148305"/>
                  <a:pt x="425255" y="140788"/>
                  <a:pt x="414338" y="157163"/>
                </a:cubicBezTo>
                <a:cubicBezTo>
                  <a:pt x="412750" y="159544"/>
                  <a:pt x="411599" y="162283"/>
                  <a:pt x="409575" y="164307"/>
                </a:cubicBezTo>
                <a:cubicBezTo>
                  <a:pt x="404310" y="169572"/>
                  <a:pt x="401918" y="172898"/>
                  <a:pt x="395288" y="176213"/>
                </a:cubicBezTo>
                <a:cubicBezTo>
                  <a:pt x="393043" y="177336"/>
                  <a:pt x="390525" y="177800"/>
                  <a:pt x="388144" y="178594"/>
                </a:cubicBezTo>
                <a:cubicBezTo>
                  <a:pt x="385763" y="180182"/>
                  <a:pt x="383024" y="181333"/>
                  <a:pt x="381000" y="183357"/>
                </a:cubicBezTo>
                <a:cubicBezTo>
                  <a:pt x="378977" y="185380"/>
                  <a:pt x="378473" y="188712"/>
                  <a:pt x="376238" y="190500"/>
                </a:cubicBezTo>
                <a:cubicBezTo>
                  <a:pt x="374278" y="192068"/>
                  <a:pt x="371288" y="191663"/>
                  <a:pt x="369094" y="192882"/>
                </a:cubicBezTo>
                <a:cubicBezTo>
                  <a:pt x="364091" y="195662"/>
                  <a:pt x="360237" y="200597"/>
                  <a:pt x="354807" y="202407"/>
                </a:cubicBezTo>
                <a:lnTo>
                  <a:pt x="333375" y="209550"/>
                </a:lnTo>
                <a:lnTo>
                  <a:pt x="311944" y="216694"/>
                </a:lnTo>
                <a:lnTo>
                  <a:pt x="304800" y="219075"/>
                </a:lnTo>
                <a:cubicBezTo>
                  <a:pt x="302419" y="220663"/>
                  <a:pt x="300217" y="222558"/>
                  <a:pt x="297657" y="223838"/>
                </a:cubicBezTo>
                <a:cubicBezTo>
                  <a:pt x="285679" y="229827"/>
                  <a:pt x="291241" y="220725"/>
                  <a:pt x="276225" y="235744"/>
                </a:cubicBezTo>
                <a:cubicBezTo>
                  <a:pt x="270956" y="241013"/>
                  <a:pt x="268571" y="244333"/>
                  <a:pt x="261938" y="247650"/>
                </a:cubicBezTo>
                <a:cubicBezTo>
                  <a:pt x="259693" y="248773"/>
                  <a:pt x="257175" y="249238"/>
                  <a:pt x="254794" y="250032"/>
                </a:cubicBezTo>
                <a:cubicBezTo>
                  <a:pt x="246768" y="262072"/>
                  <a:pt x="254389" y="253807"/>
                  <a:pt x="242888" y="259557"/>
                </a:cubicBezTo>
                <a:cubicBezTo>
                  <a:pt x="240328" y="260837"/>
                  <a:pt x="238359" y="263157"/>
                  <a:pt x="235744" y="264319"/>
                </a:cubicBezTo>
                <a:cubicBezTo>
                  <a:pt x="231157" y="266358"/>
                  <a:pt x="225634" y="266298"/>
                  <a:pt x="221457" y="269082"/>
                </a:cubicBezTo>
                <a:cubicBezTo>
                  <a:pt x="219076" y="270669"/>
                  <a:pt x="216928" y="272682"/>
                  <a:pt x="214313" y="273844"/>
                </a:cubicBezTo>
                <a:cubicBezTo>
                  <a:pt x="209725" y="275883"/>
                  <a:pt x="204788" y="277019"/>
                  <a:pt x="200025" y="278607"/>
                </a:cubicBezTo>
                <a:cubicBezTo>
                  <a:pt x="197644" y="279401"/>
                  <a:pt x="195317" y="280379"/>
                  <a:pt x="192882" y="280988"/>
                </a:cubicBezTo>
                <a:cubicBezTo>
                  <a:pt x="189707" y="281782"/>
                  <a:pt x="186492" y="282429"/>
                  <a:pt x="183357" y="283369"/>
                </a:cubicBezTo>
                <a:cubicBezTo>
                  <a:pt x="176144" y="285533"/>
                  <a:pt x="169069" y="288132"/>
                  <a:pt x="161925" y="290513"/>
                </a:cubicBezTo>
                <a:lnTo>
                  <a:pt x="147638" y="295275"/>
                </a:lnTo>
                <a:cubicBezTo>
                  <a:pt x="145257" y="296069"/>
                  <a:pt x="142583" y="296265"/>
                  <a:pt x="140494" y="297657"/>
                </a:cubicBezTo>
                <a:cubicBezTo>
                  <a:pt x="138113" y="299244"/>
                  <a:pt x="135965" y="301257"/>
                  <a:pt x="133350" y="302419"/>
                </a:cubicBezTo>
                <a:cubicBezTo>
                  <a:pt x="128763" y="304458"/>
                  <a:pt x="123825" y="305594"/>
                  <a:pt x="119063" y="307182"/>
                </a:cubicBezTo>
                <a:lnTo>
                  <a:pt x="97632" y="314325"/>
                </a:lnTo>
                <a:lnTo>
                  <a:pt x="83344" y="319088"/>
                </a:lnTo>
                <a:lnTo>
                  <a:pt x="76200" y="321469"/>
                </a:lnTo>
                <a:lnTo>
                  <a:pt x="59532" y="319088"/>
                </a:lnTo>
                <a:cubicBezTo>
                  <a:pt x="31946" y="285371"/>
                  <a:pt x="69373" y="300142"/>
                  <a:pt x="47625" y="292894"/>
                </a:cubicBezTo>
                <a:cubicBezTo>
                  <a:pt x="42863" y="293688"/>
                  <a:pt x="36971" y="292096"/>
                  <a:pt x="33338" y="295275"/>
                </a:cubicBezTo>
                <a:cubicBezTo>
                  <a:pt x="29560" y="298581"/>
                  <a:pt x="32752" y="306778"/>
                  <a:pt x="28575" y="309563"/>
                </a:cubicBezTo>
                <a:lnTo>
                  <a:pt x="21432" y="314325"/>
                </a:lnTo>
                <a:cubicBezTo>
                  <a:pt x="17463" y="313531"/>
                  <a:pt x="13452" y="312926"/>
                  <a:pt x="9525" y="311944"/>
                </a:cubicBezTo>
                <a:cubicBezTo>
                  <a:pt x="7090" y="311335"/>
                  <a:pt x="4157" y="311338"/>
                  <a:pt x="2382" y="309563"/>
                </a:cubicBezTo>
                <a:cubicBezTo>
                  <a:pt x="607" y="307788"/>
                  <a:pt x="794" y="304800"/>
                  <a:pt x="0" y="302419"/>
                </a:cubicBezTo>
                <a:cubicBezTo>
                  <a:pt x="3175" y="297657"/>
                  <a:pt x="5478" y="292179"/>
                  <a:pt x="9525" y="288132"/>
                </a:cubicBezTo>
                <a:cubicBezTo>
                  <a:pt x="11906" y="285751"/>
                  <a:pt x="14936" y="283876"/>
                  <a:pt x="16669" y="280988"/>
                </a:cubicBezTo>
                <a:cubicBezTo>
                  <a:pt x="17486" y="279627"/>
                  <a:pt x="50007" y="299244"/>
                  <a:pt x="54769" y="302419"/>
                </a:cubicBezTo>
                <a:close/>
              </a:path>
            </a:pathLst>
          </a:custGeom>
          <a:solidFill>
            <a:srgbClr val="FFFF0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 rot="-1351377">
            <a:off x="557219" y="3181579"/>
            <a:ext cx="6127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Ramabhadra" pitchFamily="2" charset="0"/>
                <a:cs typeface="Ramabhadra" pitchFamily="2" charset="0"/>
              </a:rPr>
              <a:t>ఇజ్రాయెల్</a:t>
            </a:r>
            <a:endParaRPr lang="en-US" sz="11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769938" y="3134788"/>
            <a:ext cx="501650" cy="550333"/>
          </a:xfrm>
          <a:custGeom>
            <a:avLst/>
            <a:gdLst>
              <a:gd name="connsiteX0" fmla="*/ 311250 w 501909"/>
              <a:gd name="connsiteY0" fmla="*/ 4867 h 550173"/>
              <a:gd name="connsiteX1" fmla="*/ 368400 w 501909"/>
              <a:gd name="connsiteY1" fmla="*/ 7248 h 550173"/>
              <a:gd name="connsiteX2" fmla="*/ 382687 w 501909"/>
              <a:gd name="connsiteY2" fmla="*/ 12010 h 550173"/>
              <a:gd name="connsiteX3" fmla="*/ 413643 w 501909"/>
              <a:gd name="connsiteY3" fmla="*/ 4867 h 550173"/>
              <a:gd name="connsiteX4" fmla="*/ 420787 w 501909"/>
              <a:gd name="connsiteY4" fmla="*/ 2485 h 550173"/>
              <a:gd name="connsiteX5" fmla="*/ 427931 w 501909"/>
              <a:gd name="connsiteY5" fmla="*/ 104 h 550173"/>
              <a:gd name="connsiteX6" fmla="*/ 437456 w 501909"/>
              <a:gd name="connsiteY6" fmla="*/ 2485 h 550173"/>
              <a:gd name="connsiteX7" fmla="*/ 442218 w 501909"/>
              <a:gd name="connsiteY7" fmla="*/ 16773 h 550173"/>
              <a:gd name="connsiteX8" fmla="*/ 446981 w 501909"/>
              <a:gd name="connsiteY8" fmla="*/ 23917 h 550173"/>
              <a:gd name="connsiteX9" fmla="*/ 449362 w 501909"/>
              <a:gd name="connsiteY9" fmla="*/ 31060 h 550173"/>
              <a:gd name="connsiteX10" fmla="*/ 451743 w 501909"/>
              <a:gd name="connsiteY10" fmla="*/ 52492 h 550173"/>
              <a:gd name="connsiteX11" fmla="*/ 458887 w 501909"/>
              <a:gd name="connsiteY11" fmla="*/ 54873 h 550173"/>
              <a:gd name="connsiteX12" fmla="*/ 461268 w 501909"/>
              <a:gd name="connsiteY12" fmla="*/ 62017 h 550173"/>
              <a:gd name="connsiteX13" fmla="*/ 463650 w 501909"/>
              <a:gd name="connsiteY13" fmla="*/ 76304 h 550173"/>
              <a:gd name="connsiteX14" fmla="*/ 477937 w 501909"/>
              <a:gd name="connsiteY14" fmla="*/ 81067 h 550173"/>
              <a:gd name="connsiteX15" fmla="*/ 492225 w 501909"/>
              <a:gd name="connsiteY15" fmla="*/ 88210 h 550173"/>
              <a:gd name="connsiteX16" fmla="*/ 494606 w 501909"/>
              <a:gd name="connsiteY16" fmla="*/ 109642 h 550173"/>
              <a:gd name="connsiteX17" fmla="*/ 480318 w 501909"/>
              <a:gd name="connsiteY17" fmla="*/ 119167 h 550173"/>
              <a:gd name="connsiteX18" fmla="*/ 466031 w 501909"/>
              <a:gd name="connsiteY18" fmla="*/ 123929 h 550173"/>
              <a:gd name="connsiteX19" fmla="*/ 456506 w 501909"/>
              <a:gd name="connsiteY19" fmla="*/ 138217 h 550173"/>
              <a:gd name="connsiteX20" fmla="*/ 451743 w 501909"/>
              <a:gd name="connsiteY20" fmla="*/ 145360 h 550173"/>
              <a:gd name="connsiteX21" fmla="*/ 439837 w 501909"/>
              <a:gd name="connsiteY21" fmla="*/ 166792 h 550173"/>
              <a:gd name="connsiteX22" fmla="*/ 432693 w 501909"/>
              <a:gd name="connsiteY22" fmla="*/ 171554 h 550173"/>
              <a:gd name="connsiteX23" fmla="*/ 423168 w 501909"/>
              <a:gd name="connsiteY23" fmla="*/ 181079 h 550173"/>
              <a:gd name="connsiteX24" fmla="*/ 416025 w 501909"/>
              <a:gd name="connsiteY24" fmla="*/ 188223 h 550173"/>
              <a:gd name="connsiteX25" fmla="*/ 408881 w 501909"/>
              <a:gd name="connsiteY25" fmla="*/ 192985 h 550173"/>
              <a:gd name="connsiteX26" fmla="*/ 406500 w 501909"/>
              <a:gd name="connsiteY26" fmla="*/ 235848 h 550173"/>
              <a:gd name="connsiteX27" fmla="*/ 413643 w 501909"/>
              <a:gd name="connsiteY27" fmla="*/ 240610 h 550173"/>
              <a:gd name="connsiteX28" fmla="*/ 416025 w 501909"/>
              <a:gd name="connsiteY28" fmla="*/ 271567 h 550173"/>
              <a:gd name="connsiteX29" fmla="*/ 418406 w 501909"/>
              <a:gd name="connsiteY29" fmla="*/ 278710 h 550173"/>
              <a:gd name="connsiteX30" fmla="*/ 425550 w 501909"/>
              <a:gd name="connsiteY30" fmla="*/ 281092 h 550173"/>
              <a:gd name="connsiteX31" fmla="*/ 432693 w 501909"/>
              <a:gd name="connsiteY31" fmla="*/ 288235 h 550173"/>
              <a:gd name="connsiteX32" fmla="*/ 437456 w 501909"/>
              <a:gd name="connsiteY32" fmla="*/ 295379 h 550173"/>
              <a:gd name="connsiteX33" fmla="*/ 451743 w 501909"/>
              <a:gd name="connsiteY33" fmla="*/ 302523 h 550173"/>
              <a:gd name="connsiteX34" fmla="*/ 458887 w 501909"/>
              <a:gd name="connsiteY34" fmla="*/ 307285 h 550173"/>
              <a:gd name="connsiteX35" fmla="*/ 463650 w 501909"/>
              <a:gd name="connsiteY35" fmla="*/ 314429 h 550173"/>
              <a:gd name="connsiteX36" fmla="*/ 470793 w 501909"/>
              <a:gd name="connsiteY36" fmla="*/ 319192 h 550173"/>
              <a:gd name="connsiteX37" fmla="*/ 475556 w 501909"/>
              <a:gd name="connsiteY37" fmla="*/ 333479 h 550173"/>
              <a:gd name="connsiteX38" fmla="*/ 477937 w 501909"/>
              <a:gd name="connsiteY38" fmla="*/ 340623 h 550173"/>
              <a:gd name="connsiteX39" fmla="*/ 470793 w 501909"/>
              <a:gd name="connsiteY39" fmla="*/ 388248 h 550173"/>
              <a:gd name="connsiteX40" fmla="*/ 461268 w 501909"/>
              <a:gd name="connsiteY40" fmla="*/ 402535 h 550173"/>
              <a:gd name="connsiteX41" fmla="*/ 461268 w 501909"/>
              <a:gd name="connsiteY41" fmla="*/ 419204 h 550173"/>
              <a:gd name="connsiteX42" fmla="*/ 468412 w 501909"/>
              <a:gd name="connsiteY42" fmla="*/ 423967 h 550173"/>
              <a:gd name="connsiteX43" fmla="*/ 475556 w 501909"/>
              <a:gd name="connsiteY43" fmla="*/ 447779 h 550173"/>
              <a:gd name="connsiteX44" fmla="*/ 477937 w 501909"/>
              <a:gd name="connsiteY44" fmla="*/ 454923 h 550173"/>
              <a:gd name="connsiteX45" fmla="*/ 480318 w 501909"/>
              <a:gd name="connsiteY45" fmla="*/ 462067 h 550173"/>
              <a:gd name="connsiteX46" fmla="*/ 485081 w 501909"/>
              <a:gd name="connsiteY46" fmla="*/ 469210 h 550173"/>
              <a:gd name="connsiteX47" fmla="*/ 487462 w 501909"/>
              <a:gd name="connsiteY47" fmla="*/ 500167 h 550173"/>
              <a:gd name="connsiteX48" fmla="*/ 470793 w 501909"/>
              <a:gd name="connsiteY48" fmla="*/ 495404 h 550173"/>
              <a:gd name="connsiteX49" fmla="*/ 444600 w 501909"/>
              <a:gd name="connsiteY49" fmla="*/ 493023 h 550173"/>
              <a:gd name="connsiteX50" fmla="*/ 420787 w 501909"/>
              <a:gd name="connsiteY50" fmla="*/ 490642 h 550173"/>
              <a:gd name="connsiteX51" fmla="*/ 416025 w 501909"/>
              <a:gd name="connsiteY51" fmla="*/ 497785 h 550173"/>
              <a:gd name="connsiteX52" fmla="*/ 408881 w 501909"/>
              <a:gd name="connsiteY52" fmla="*/ 504929 h 550173"/>
              <a:gd name="connsiteX53" fmla="*/ 399356 w 501909"/>
              <a:gd name="connsiteY53" fmla="*/ 514454 h 550173"/>
              <a:gd name="connsiteX54" fmla="*/ 389831 w 501909"/>
              <a:gd name="connsiteY54" fmla="*/ 521598 h 550173"/>
              <a:gd name="connsiteX55" fmla="*/ 382687 w 501909"/>
              <a:gd name="connsiteY55" fmla="*/ 526360 h 550173"/>
              <a:gd name="connsiteX56" fmla="*/ 373162 w 501909"/>
              <a:gd name="connsiteY56" fmla="*/ 540648 h 550173"/>
              <a:gd name="connsiteX57" fmla="*/ 366018 w 501909"/>
              <a:gd name="connsiteY57" fmla="*/ 545410 h 550173"/>
              <a:gd name="connsiteX58" fmla="*/ 351731 w 501909"/>
              <a:gd name="connsiteY58" fmla="*/ 550173 h 550173"/>
              <a:gd name="connsiteX59" fmla="*/ 261243 w 501909"/>
              <a:gd name="connsiteY59" fmla="*/ 540648 h 550173"/>
              <a:gd name="connsiteX60" fmla="*/ 254100 w 501909"/>
              <a:gd name="connsiteY60" fmla="*/ 538267 h 550173"/>
              <a:gd name="connsiteX61" fmla="*/ 246956 w 501909"/>
              <a:gd name="connsiteY61" fmla="*/ 533504 h 550173"/>
              <a:gd name="connsiteX62" fmla="*/ 237431 w 501909"/>
              <a:gd name="connsiteY62" fmla="*/ 519217 h 550173"/>
              <a:gd name="connsiteX63" fmla="*/ 223143 w 501909"/>
              <a:gd name="connsiteY63" fmla="*/ 512073 h 550173"/>
              <a:gd name="connsiteX64" fmla="*/ 218381 w 501909"/>
              <a:gd name="connsiteY64" fmla="*/ 504929 h 550173"/>
              <a:gd name="connsiteX65" fmla="*/ 211237 w 501909"/>
              <a:gd name="connsiteY65" fmla="*/ 462067 h 550173"/>
              <a:gd name="connsiteX66" fmla="*/ 204093 w 501909"/>
              <a:gd name="connsiteY66" fmla="*/ 459685 h 550173"/>
              <a:gd name="connsiteX67" fmla="*/ 192187 w 501909"/>
              <a:gd name="connsiteY67" fmla="*/ 450160 h 550173"/>
              <a:gd name="connsiteX68" fmla="*/ 189806 w 501909"/>
              <a:gd name="connsiteY68" fmla="*/ 443017 h 550173"/>
              <a:gd name="connsiteX69" fmla="*/ 187425 w 501909"/>
              <a:gd name="connsiteY69" fmla="*/ 419204 h 550173"/>
              <a:gd name="connsiteX70" fmla="*/ 180281 w 501909"/>
              <a:gd name="connsiteY70" fmla="*/ 412060 h 550173"/>
              <a:gd name="connsiteX71" fmla="*/ 165993 w 501909"/>
              <a:gd name="connsiteY71" fmla="*/ 407298 h 550173"/>
              <a:gd name="connsiteX72" fmla="*/ 158850 w 501909"/>
              <a:gd name="connsiteY72" fmla="*/ 400154 h 550173"/>
              <a:gd name="connsiteX73" fmla="*/ 144562 w 501909"/>
              <a:gd name="connsiteY73" fmla="*/ 395392 h 550173"/>
              <a:gd name="connsiteX74" fmla="*/ 137418 w 501909"/>
              <a:gd name="connsiteY74" fmla="*/ 393010 h 550173"/>
              <a:gd name="connsiteX75" fmla="*/ 123131 w 501909"/>
              <a:gd name="connsiteY75" fmla="*/ 383485 h 550173"/>
              <a:gd name="connsiteX76" fmla="*/ 115987 w 501909"/>
              <a:gd name="connsiteY76" fmla="*/ 378723 h 550173"/>
              <a:gd name="connsiteX77" fmla="*/ 101700 w 501909"/>
              <a:gd name="connsiteY77" fmla="*/ 366817 h 550173"/>
              <a:gd name="connsiteX78" fmla="*/ 89793 w 501909"/>
              <a:gd name="connsiteY78" fmla="*/ 357292 h 550173"/>
              <a:gd name="connsiteX79" fmla="*/ 82650 w 501909"/>
              <a:gd name="connsiteY79" fmla="*/ 352529 h 550173"/>
              <a:gd name="connsiteX80" fmla="*/ 68362 w 501909"/>
              <a:gd name="connsiteY80" fmla="*/ 347767 h 550173"/>
              <a:gd name="connsiteX81" fmla="*/ 61218 w 501909"/>
              <a:gd name="connsiteY81" fmla="*/ 345385 h 550173"/>
              <a:gd name="connsiteX82" fmla="*/ 54075 w 501909"/>
              <a:gd name="connsiteY82" fmla="*/ 343004 h 550173"/>
              <a:gd name="connsiteX83" fmla="*/ 18356 w 501909"/>
              <a:gd name="connsiteY83" fmla="*/ 340623 h 550173"/>
              <a:gd name="connsiteX84" fmla="*/ 11212 w 501909"/>
              <a:gd name="connsiteY84" fmla="*/ 338242 h 550173"/>
              <a:gd name="connsiteX85" fmla="*/ 8831 w 501909"/>
              <a:gd name="connsiteY85" fmla="*/ 319192 h 550173"/>
              <a:gd name="connsiteX86" fmla="*/ 6450 w 501909"/>
              <a:gd name="connsiteY86" fmla="*/ 281092 h 550173"/>
              <a:gd name="connsiteX87" fmla="*/ 6450 w 501909"/>
              <a:gd name="connsiteY87" fmla="*/ 264423 h 550173"/>
              <a:gd name="connsiteX88" fmla="*/ 13593 w 501909"/>
              <a:gd name="connsiteY88" fmla="*/ 262042 h 550173"/>
              <a:gd name="connsiteX89" fmla="*/ 37406 w 501909"/>
              <a:gd name="connsiteY89" fmla="*/ 257279 h 550173"/>
              <a:gd name="connsiteX90" fmla="*/ 44550 w 501909"/>
              <a:gd name="connsiteY90" fmla="*/ 252517 h 550173"/>
              <a:gd name="connsiteX91" fmla="*/ 56456 w 501909"/>
              <a:gd name="connsiteY91" fmla="*/ 240610 h 550173"/>
              <a:gd name="connsiteX92" fmla="*/ 58837 w 501909"/>
              <a:gd name="connsiteY92" fmla="*/ 233467 h 550173"/>
              <a:gd name="connsiteX93" fmla="*/ 65981 w 501909"/>
              <a:gd name="connsiteY93" fmla="*/ 231085 h 550173"/>
              <a:gd name="connsiteX94" fmla="*/ 73125 w 501909"/>
              <a:gd name="connsiteY94" fmla="*/ 226323 h 550173"/>
              <a:gd name="connsiteX95" fmla="*/ 94556 w 501909"/>
              <a:gd name="connsiteY95" fmla="*/ 219179 h 550173"/>
              <a:gd name="connsiteX96" fmla="*/ 108843 w 501909"/>
              <a:gd name="connsiteY96" fmla="*/ 214417 h 550173"/>
              <a:gd name="connsiteX97" fmla="*/ 115987 w 501909"/>
              <a:gd name="connsiteY97" fmla="*/ 212035 h 550173"/>
              <a:gd name="connsiteX98" fmla="*/ 123131 w 501909"/>
              <a:gd name="connsiteY98" fmla="*/ 204892 h 550173"/>
              <a:gd name="connsiteX99" fmla="*/ 130275 w 501909"/>
              <a:gd name="connsiteY99" fmla="*/ 202510 h 550173"/>
              <a:gd name="connsiteX100" fmla="*/ 132656 w 501909"/>
              <a:gd name="connsiteY100" fmla="*/ 195367 h 550173"/>
              <a:gd name="connsiteX101" fmla="*/ 139800 w 501909"/>
              <a:gd name="connsiteY101" fmla="*/ 192985 h 550173"/>
              <a:gd name="connsiteX102" fmla="*/ 154087 w 501909"/>
              <a:gd name="connsiteY102" fmla="*/ 183460 h 550173"/>
              <a:gd name="connsiteX103" fmla="*/ 161231 w 501909"/>
              <a:gd name="connsiteY103" fmla="*/ 178698 h 550173"/>
              <a:gd name="connsiteX104" fmla="*/ 165993 w 501909"/>
              <a:gd name="connsiteY104" fmla="*/ 171554 h 550173"/>
              <a:gd name="connsiteX105" fmla="*/ 173137 w 501909"/>
              <a:gd name="connsiteY105" fmla="*/ 164410 h 550173"/>
              <a:gd name="connsiteX106" fmla="*/ 177900 w 501909"/>
              <a:gd name="connsiteY106" fmla="*/ 150123 h 550173"/>
              <a:gd name="connsiteX107" fmla="*/ 185043 w 501909"/>
              <a:gd name="connsiteY107" fmla="*/ 142979 h 550173"/>
              <a:gd name="connsiteX108" fmla="*/ 189806 w 501909"/>
              <a:gd name="connsiteY108" fmla="*/ 133454 h 550173"/>
              <a:gd name="connsiteX109" fmla="*/ 206475 w 501909"/>
              <a:gd name="connsiteY109" fmla="*/ 112023 h 550173"/>
              <a:gd name="connsiteX110" fmla="*/ 211237 w 501909"/>
              <a:gd name="connsiteY110" fmla="*/ 92973 h 550173"/>
              <a:gd name="connsiteX111" fmla="*/ 216000 w 501909"/>
              <a:gd name="connsiteY111" fmla="*/ 78685 h 550173"/>
              <a:gd name="connsiteX112" fmla="*/ 230287 w 501909"/>
              <a:gd name="connsiteY112" fmla="*/ 64398 h 550173"/>
              <a:gd name="connsiteX113" fmla="*/ 237431 w 501909"/>
              <a:gd name="connsiteY113" fmla="*/ 59635 h 550173"/>
              <a:gd name="connsiteX114" fmla="*/ 254100 w 501909"/>
              <a:gd name="connsiteY114" fmla="*/ 38204 h 550173"/>
              <a:gd name="connsiteX115" fmla="*/ 268387 w 501909"/>
              <a:gd name="connsiteY115" fmla="*/ 31060 h 550173"/>
              <a:gd name="connsiteX116" fmla="*/ 275531 w 501909"/>
              <a:gd name="connsiteY116" fmla="*/ 26298 h 550173"/>
              <a:gd name="connsiteX117" fmla="*/ 296962 w 501909"/>
              <a:gd name="connsiteY117" fmla="*/ 16773 h 550173"/>
              <a:gd name="connsiteX118" fmla="*/ 311250 w 501909"/>
              <a:gd name="connsiteY118" fmla="*/ 4867 h 550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01909" h="550173">
                <a:moveTo>
                  <a:pt x="311250" y="4867"/>
                </a:moveTo>
                <a:cubicBezTo>
                  <a:pt x="323156" y="3280"/>
                  <a:pt x="349428" y="5351"/>
                  <a:pt x="368400" y="7248"/>
                </a:cubicBezTo>
                <a:cubicBezTo>
                  <a:pt x="373395" y="7747"/>
                  <a:pt x="382687" y="12010"/>
                  <a:pt x="382687" y="12010"/>
                </a:cubicBezTo>
                <a:cubicBezTo>
                  <a:pt x="404321" y="8920"/>
                  <a:pt x="394035" y="11403"/>
                  <a:pt x="413643" y="4867"/>
                </a:cubicBezTo>
                <a:lnTo>
                  <a:pt x="420787" y="2485"/>
                </a:lnTo>
                <a:lnTo>
                  <a:pt x="427931" y="104"/>
                </a:lnTo>
                <a:cubicBezTo>
                  <a:pt x="431106" y="898"/>
                  <a:pt x="435326" y="0"/>
                  <a:pt x="437456" y="2485"/>
                </a:cubicBezTo>
                <a:cubicBezTo>
                  <a:pt x="440723" y="6297"/>
                  <a:pt x="439433" y="12596"/>
                  <a:pt x="442218" y="16773"/>
                </a:cubicBezTo>
                <a:lnTo>
                  <a:pt x="446981" y="23917"/>
                </a:lnTo>
                <a:cubicBezTo>
                  <a:pt x="447775" y="26298"/>
                  <a:pt x="448949" y="28584"/>
                  <a:pt x="449362" y="31060"/>
                </a:cubicBezTo>
                <a:cubicBezTo>
                  <a:pt x="450544" y="38150"/>
                  <a:pt x="449074" y="45818"/>
                  <a:pt x="451743" y="52492"/>
                </a:cubicBezTo>
                <a:cubicBezTo>
                  <a:pt x="452675" y="54823"/>
                  <a:pt x="456506" y="54079"/>
                  <a:pt x="458887" y="54873"/>
                </a:cubicBezTo>
                <a:cubicBezTo>
                  <a:pt x="459681" y="57254"/>
                  <a:pt x="460723" y="59567"/>
                  <a:pt x="461268" y="62017"/>
                </a:cubicBezTo>
                <a:cubicBezTo>
                  <a:pt x="462315" y="66730"/>
                  <a:pt x="460471" y="72671"/>
                  <a:pt x="463650" y="76304"/>
                </a:cubicBezTo>
                <a:cubicBezTo>
                  <a:pt x="466956" y="80082"/>
                  <a:pt x="473175" y="79479"/>
                  <a:pt x="477937" y="81067"/>
                </a:cubicBezTo>
                <a:cubicBezTo>
                  <a:pt x="487798" y="84354"/>
                  <a:pt x="482990" y="82054"/>
                  <a:pt x="492225" y="88210"/>
                </a:cubicBezTo>
                <a:cubicBezTo>
                  <a:pt x="497027" y="95413"/>
                  <a:pt x="501909" y="99209"/>
                  <a:pt x="494606" y="109642"/>
                </a:cubicBezTo>
                <a:cubicBezTo>
                  <a:pt x="491324" y="114331"/>
                  <a:pt x="485748" y="117357"/>
                  <a:pt x="480318" y="119167"/>
                </a:cubicBezTo>
                <a:lnTo>
                  <a:pt x="466031" y="123929"/>
                </a:lnTo>
                <a:lnTo>
                  <a:pt x="456506" y="138217"/>
                </a:lnTo>
                <a:lnTo>
                  <a:pt x="451743" y="145360"/>
                </a:lnTo>
                <a:cubicBezTo>
                  <a:pt x="449262" y="152804"/>
                  <a:pt x="446855" y="162114"/>
                  <a:pt x="439837" y="166792"/>
                </a:cubicBezTo>
                <a:lnTo>
                  <a:pt x="432693" y="171554"/>
                </a:lnTo>
                <a:cubicBezTo>
                  <a:pt x="428158" y="185162"/>
                  <a:pt x="434054" y="173821"/>
                  <a:pt x="423168" y="181079"/>
                </a:cubicBezTo>
                <a:cubicBezTo>
                  <a:pt x="420366" y="182947"/>
                  <a:pt x="418612" y="186067"/>
                  <a:pt x="416025" y="188223"/>
                </a:cubicBezTo>
                <a:cubicBezTo>
                  <a:pt x="413826" y="190055"/>
                  <a:pt x="411262" y="191398"/>
                  <a:pt x="408881" y="192985"/>
                </a:cubicBezTo>
                <a:cubicBezTo>
                  <a:pt x="403017" y="210576"/>
                  <a:pt x="400042" y="213246"/>
                  <a:pt x="406500" y="235848"/>
                </a:cubicBezTo>
                <a:cubicBezTo>
                  <a:pt x="407286" y="238599"/>
                  <a:pt x="411262" y="239023"/>
                  <a:pt x="413643" y="240610"/>
                </a:cubicBezTo>
                <a:cubicBezTo>
                  <a:pt x="414437" y="250929"/>
                  <a:pt x="414741" y="261297"/>
                  <a:pt x="416025" y="271567"/>
                </a:cubicBezTo>
                <a:cubicBezTo>
                  <a:pt x="416336" y="274057"/>
                  <a:pt x="416631" y="276935"/>
                  <a:pt x="418406" y="278710"/>
                </a:cubicBezTo>
                <a:cubicBezTo>
                  <a:pt x="420181" y="280485"/>
                  <a:pt x="423169" y="280298"/>
                  <a:pt x="425550" y="281092"/>
                </a:cubicBezTo>
                <a:cubicBezTo>
                  <a:pt x="427931" y="283473"/>
                  <a:pt x="430537" y="285648"/>
                  <a:pt x="432693" y="288235"/>
                </a:cubicBezTo>
                <a:cubicBezTo>
                  <a:pt x="434525" y="290434"/>
                  <a:pt x="435432" y="293355"/>
                  <a:pt x="437456" y="295379"/>
                </a:cubicBezTo>
                <a:cubicBezTo>
                  <a:pt x="444281" y="302204"/>
                  <a:pt x="443996" y="298650"/>
                  <a:pt x="451743" y="302523"/>
                </a:cubicBezTo>
                <a:cubicBezTo>
                  <a:pt x="454303" y="303803"/>
                  <a:pt x="456506" y="305698"/>
                  <a:pt x="458887" y="307285"/>
                </a:cubicBezTo>
                <a:cubicBezTo>
                  <a:pt x="460475" y="309666"/>
                  <a:pt x="461626" y="312405"/>
                  <a:pt x="463650" y="314429"/>
                </a:cubicBezTo>
                <a:cubicBezTo>
                  <a:pt x="465674" y="316453"/>
                  <a:pt x="469276" y="316765"/>
                  <a:pt x="470793" y="319192"/>
                </a:cubicBezTo>
                <a:cubicBezTo>
                  <a:pt x="473454" y="323449"/>
                  <a:pt x="473968" y="328717"/>
                  <a:pt x="475556" y="333479"/>
                </a:cubicBezTo>
                <a:lnTo>
                  <a:pt x="477937" y="340623"/>
                </a:lnTo>
                <a:cubicBezTo>
                  <a:pt x="477474" y="346181"/>
                  <a:pt x="476189" y="380155"/>
                  <a:pt x="470793" y="388248"/>
                </a:cubicBezTo>
                <a:lnTo>
                  <a:pt x="461268" y="402535"/>
                </a:lnTo>
                <a:cubicBezTo>
                  <a:pt x="459126" y="408961"/>
                  <a:pt x="456617" y="412228"/>
                  <a:pt x="461268" y="419204"/>
                </a:cubicBezTo>
                <a:cubicBezTo>
                  <a:pt x="462856" y="421585"/>
                  <a:pt x="466031" y="422379"/>
                  <a:pt x="468412" y="423967"/>
                </a:cubicBezTo>
                <a:cubicBezTo>
                  <a:pt x="472011" y="438366"/>
                  <a:pt x="469756" y="430381"/>
                  <a:pt x="475556" y="447779"/>
                </a:cubicBezTo>
                <a:lnTo>
                  <a:pt x="477937" y="454923"/>
                </a:lnTo>
                <a:cubicBezTo>
                  <a:pt x="478731" y="457304"/>
                  <a:pt x="478925" y="459979"/>
                  <a:pt x="480318" y="462067"/>
                </a:cubicBezTo>
                <a:lnTo>
                  <a:pt x="485081" y="469210"/>
                </a:lnTo>
                <a:cubicBezTo>
                  <a:pt x="485875" y="479529"/>
                  <a:pt x="489972" y="490127"/>
                  <a:pt x="487462" y="500167"/>
                </a:cubicBezTo>
                <a:cubicBezTo>
                  <a:pt x="487157" y="501386"/>
                  <a:pt x="472103" y="495591"/>
                  <a:pt x="470793" y="495404"/>
                </a:cubicBezTo>
                <a:cubicBezTo>
                  <a:pt x="462114" y="494164"/>
                  <a:pt x="453331" y="493817"/>
                  <a:pt x="444600" y="493023"/>
                </a:cubicBezTo>
                <a:cubicBezTo>
                  <a:pt x="427207" y="487225"/>
                  <a:pt x="435182" y="487042"/>
                  <a:pt x="420787" y="490642"/>
                </a:cubicBezTo>
                <a:cubicBezTo>
                  <a:pt x="419200" y="493023"/>
                  <a:pt x="417857" y="495587"/>
                  <a:pt x="416025" y="497785"/>
                </a:cubicBezTo>
                <a:cubicBezTo>
                  <a:pt x="413869" y="500372"/>
                  <a:pt x="410749" y="502127"/>
                  <a:pt x="408881" y="504929"/>
                </a:cubicBezTo>
                <a:cubicBezTo>
                  <a:pt x="401624" y="515815"/>
                  <a:pt x="412964" y="509919"/>
                  <a:pt x="399356" y="514454"/>
                </a:cubicBezTo>
                <a:cubicBezTo>
                  <a:pt x="396181" y="516835"/>
                  <a:pt x="393061" y="519291"/>
                  <a:pt x="389831" y="521598"/>
                </a:cubicBezTo>
                <a:cubicBezTo>
                  <a:pt x="387502" y="523261"/>
                  <a:pt x="384572" y="524206"/>
                  <a:pt x="382687" y="526360"/>
                </a:cubicBezTo>
                <a:cubicBezTo>
                  <a:pt x="378918" y="530668"/>
                  <a:pt x="377925" y="537473"/>
                  <a:pt x="373162" y="540648"/>
                </a:cubicBezTo>
                <a:cubicBezTo>
                  <a:pt x="370781" y="542235"/>
                  <a:pt x="368633" y="544248"/>
                  <a:pt x="366018" y="545410"/>
                </a:cubicBezTo>
                <a:cubicBezTo>
                  <a:pt x="361431" y="547449"/>
                  <a:pt x="351731" y="550173"/>
                  <a:pt x="351731" y="550173"/>
                </a:cubicBezTo>
                <a:cubicBezTo>
                  <a:pt x="321138" y="547474"/>
                  <a:pt x="290573" y="549028"/>
                  <a:pt x="261243" y="540648"/>
                </a:cubicBezTo>
                <a:cubicBezTo>
                  <a:pt x="258830" y="539959"/>
                  <a:pt x="256481" y="539061"/>
                  <a:pt x="254100" y="538267"/>
                </a:cubicBezTo>
                <a:cubicBezTo>
                  <a:pt x="251719" y="536679"/>
                  <a:pt x="248841" y="535658"/>
                  <a:pt x="246956" y="533504"/>
                </a:cubicBezTo>
                <a:cubicBezTo>
                  <a:pt x="243187" y="529197"/>
                  <a:pt x="242861" y="521027"/>
                  <a:pt x="237431" y="519217"/>
                </a:cubicBezTo>
                <a:cubicBezTo>
                  <a:pt x="227572" y="515930"/>
                  <a:pt x="232376" y="518227"/>
                  <a:pt x="223143" y="512073"/>
                </a:cubicBezTo>
                <a:cubicBezTo>
                  <a:pt x="221556" y="509692"/>
                  <a:pt x="218851" y="507752"/>
                  <a:pt x="218381" y="504929"/>
                </a:cubicBezTo>
                <a:cubicBezTo>
                  <a:pt x="217745" y="501115"/>
                  <a:pt x="222156" y="470802"/>
                  <a:pt x="211237" y="462067"/>
                </a:cubicBezTo>
                <a:cubicBezTo>
                  <a:pt x="209277" y="460499"/>
                  <a:pt x="206474" y="460479"/>
                  <a:pt x="204093" y="459685"/>
                </a:cubicBezTo>
                <a:cubicBezTo>
                  <a:pt x="198384" y="442559"/>
                  <a:pt x="207136" y="462120"/>
                  <a:pt x="192187" y="450160"/>
                </a:cubicBezTo>
                <a:cubicBezTo>
                  <a:pt x="190227" y="448592"/>
                  <a:pt x="190600" y="445398"/>
                  <a:pt x="189806" y="443017"/>
                </a:cubicBezTo>
                <a:cubicBezTo>
                  <a:pt x="189012" y="435079"/>
                  <a:pt x="189771" y="426829"/>
                  <a:pt x="187425" y="419204"/>
                </a:cubicBezTo>
                <a:cubicBezTo>
                  <a:pt x="186435" y="415985"/>
                  <a:pt x="183225" y="413695"/>
                  <a:pt x="180281" y="412060"/>
                </a:cubicBezTo>
                <a:cubicBezTo>
                  <a:pt x="175892" y="409622"/>
                  <a:pt x="165993" y="407298"/>
                  <a:pt x="165993" y="407298"/>
                </a:cubicBezTo>
                <a:cubicBezTo>
                  <a:pt x="163612" y="404917"/>
                  <a:pt x="161794" y="401789"/>
                  <a:pt x="158850" y="400154"/>
                </a:cubicBezTo>
                <a:cubicBezTo>
                  <a:pt x="154462" y="397716"/>
                  <a:pt x="149325" y="396980"/>
                  <a:pt x="144562" y="395392"/>
                </a:cubicBezTo>
                <a:cubicBezTo>
                  <a:pt x="142181" y="394598"/>
                  <a:pt x="139507" y="394402"/>
                  <a:pt x="137418" y="393010"/>
                </a:cubicBezTo>
                <a:lnTo>
                  <a:pt x="123131" y="383485"/>
                </a:lnTo>
                <a:cubicBezTo>
                  <a:pt x="120750" y="381898"/>
                  <a:pt x="118011" y="380747"/>
                  <a:pt x="115987" y="378723"/>
                </a:cubicBezTo>
                <a:cubicBezTo>
                  <a:pt x="106820" y="369556"/>
                  <a:pt x="111645" y="373447"/>
                  <a:pt x="101700" y="366817"/>
                </a:cubicBezTo>
                <a:cubicBezTo>
                  <a:pt x="93670" y="354773"/>
                  <a:pt x="101296" y="363044"/>
                  <a:pt x="89793" y="357292"/>
                </a:cubicBezTo>
                <a:cubicBezTo>
                  <a:pt x="87233" y="356012"/>
                  <a:pt x="85265" y="353691"/>
                  <a:pt x="82650" y="352529"/>
                </a:cubicBezTo>
                <a:cubicBezTo>
                  <a:pt x="78062" y="350490"/>
                  <a:pt x="73125" y="349355"/>
                  <a:pt x="68362" y="347767"/>
                </a:cubicBezTo>
                <a:lnTo>
                  <a:pt x="61218" y="345385"/>
                </a:lnTo>
                <a:cubicBezTo>
                  <a:pt x="58837" y="344591"/>
                  <a:pt x="56579" y="343171"/>
                  <a:pt x="54075" y="343004"/>
                </a:cubicBezTo>
                <a:lnTo>
                  <a:pt x="18356" y="340623"/>
                </a:lnTo>
                <a:cubicBezTo>
                  <a:pt x="15975" y="339829"/>
                  <a:pt x="13172" y="339810"/>
                  <a:pt x="11212" y="338242"/>
                </a:cubicBezTo>
                <a:cubicBezTo>
                  <a:pt x="3359" y="331960"/>
                  <a:pt x="7085" y="327923"/>
                  <a:pt x="8831" y="319192"/>
                </a:cubicBezTo>
                <a:cubicBezTo>
                  <a:pt x="8037" y="306492"/>
                  <a:pt x="7782" y="293747"/>
                  <a:pt x="6450" y="281092"/>
                </a:cubicBezTo>
                <a:cubicBezTo>
                  <a:pt x="5686" y="273833"/>
                  <a:pt x="0" y="272485"/>
                  <a:pt x="6450" y="264423"/>
                </a:cubicBezTo>
                <a:cubicBezTo>
                  <a:pt x="8018" y="262463"/>
                  <a:pt x="11147" y="262606"/>
                  <a:pt x="13593" y="262042"/>
                </a:cubicBezTo>
                <a:cubicBezTo>
                  <a:pt x="21481" y="260222"/>
                  <a:pt x="37406" y="257279"/>
                  <a:pt x="37406" y="257279"/>
                </a:cubicBezTo>
                <a:cubicBezTo>
                  <a:pt x="39787" y="255692"/>
                  <a:pt x="42526" y="254541"/>
                  <a:pt x="44550" y="252517"/>
                </a:cubicBezTo>
                <a:cubicBezTo>
                  <a:pt x="60429" y="236638"/>
                  <a:pt x="37401" y="253314"/>
                  <a:pt x="56456" y="240610"/>
                </a:cubicBezTo>
                <a:cubicBezTo>
                  <a:pt x="57250" y="238229"/>
                  <a:pt x="57062" y="235242"/>
                  <a:pt x="58837" y="233467"/>
                </a:cubicBezTo>
                <a:cubicBezTo>
                  <a:pt x="60612" y="231692"/>
                  <a:pt x="63736" y="232208"/>
                  <a:pt x="65981" y="231085"/>
                </a:cubicBezTo>
                <a:cubicBezTo>
                  <a:pt x="68541" y="229805"/>
                  <a:pt x="70510" y="227485"/>
                  <a:pt x="73125" y="226323"/>
                </a:cubicBezTo>
                <a:cubicBezTo>
                  <a:pt x="73139" y="226317"/>
                  <a:pt x="90977" y="220372"/>
                  <a:pt x="94556" y="219179"/>
                </a:cubicBezTo>
                <a:lnTo>
                  <a:pt x="108843" y="214417"/>
                </a:lnTo>
                <a:lnTo>
                  <a:pt x="115987" y="212035"/>
                </a:lnTo>
                <a:cubicBezTo>
                  <a:pt x="118368" y="209654"/>
                  <a:pt x="120329" y="206760"/>
                  <a:pt x="123131" y="204892"/>
                </a:cubicBezTo>
                <a:cubicBezTo>
                  <a:pt x="125220" y="203500"/>
                  <a:pt x="128500" y="204285"/>
                  <a:pt x="130275" y="202510"/>
                </a:cubicBezTo>
                <a:cubicBezTo>
                  <a:pt x="132050" y="200735"/>
                  <a:pt x="130881" y="197142"/>
                  <a:pt x="132656" y="195367"/>
                </a:cubicBezTo>
                <a:cubicBezTo>
                  <a:pt x="134431" y="193592"/>
                  <a:pt x="137606" y="194204"/>
                  <a:pt x="139800" y="192985"/>
                </a:cubicBezTo>
                <a:cubicBezTo>
                  <a:pt x="144803" y="190205"/>
                  <a:pt x="149325" y="186635"/>
                  <a:pt x="154087" y="183460"/>
                </a:cubicBezTo>
                <a:lnTo>
                  <a:pt x="161231" y="178698"/>
                </a:lnTo>
                <a:cubicBezTo>
                  <a:pt x="162818" y="176317"/>
                  <a:pt x="164161" y="173753"/>
                  <a:pt x="165993" y="171554"/>
                </a:cubicBezTo>
                <a:cubicBezTo>
                  <a:pt x="168149" y="168967"/>
                  <a:pt x="171501" y="167354"/>
                  <a:pt x="173137" y="164410"/>
                </a:cubicBezTo>
                <a:cubicBezTo>
                  <a:pt x="175575" y="160022"/>
                  <a:pt x="174351" y="153673"/>
                  <a:pt x="177900" y="150123"/>
                </a:cubicBezTo>
                <a:cubicBezTo>
                  <a:pt x="180281" y="147742"/>
                  <a:pt x="183086" y="145719"/>
                  <a:pt x="185043" y="142979"/>
                </a:cubicBezTo>
                <a:cubicBezTo>
                  <a:pt x="187106" y="140090"/>
                  <a:pt x="187980" y="136498"/>
                  <a:pt x="189806" y="133454"/>
                </a:cubicBezTo>
                <a:cubicBezTo>
                  <a:pt x="198351" y="119213"/>
                  <a:pt x="196959" y="121539"/>
                  <a:pt x="206475" y="112023"/>
                </a:cubicBezTo>
                <a:cubicBezTo>
                  <a:pt x="213704" y="90334"/>
                  <a:pt x="202611" y="124602"/>
                  <a:pt x="211237" y="92973"/>
                </a:cubicBezTo>
                <a:cubicBezTo>
                  <a:pt x="212558" y="88130"/>
                  <a:pt x="211823" y="81470"/>
                  <a:pt x="216000" y="78685"/>
                </a:cubicBezTo>
                <a:cubicBezTo>
                  <a:pt x="232833" y="67463"/>
                  <a:pt x="212566" y="82119"/>
                  <a:pt x="230287" y="64398"/>
                </a:cubicBezTo>
                <a:cubicBezTo>
                  <a:pt x="232311" y="62374"/>
                  <a:pt x="235050" y="61223"/>
                  <a:pt x="237431" y="59635"/>
                </a:cubicBezTo>
                <a:cubicBezTo>
                  <a:pt x="244069" y="49678"/>
                  <a:pt x="245707" y="45199"/>
                  <a:pt x="254100" y="38204"/>
                </a:cubicBezTo>
                <a:cubicBezTo>
                  <a:pt x="264332" y="29677"/>
                  <a:pt x="257651" y="36428"/>
                  <a:pt x="268387" y="31060"/>
                </a:cubicBezTo>
                <a:cubicBezTo>
                  <a:pt x="270947" y="29780"/>
                  <a:pt x="272916" y="27460"/>
                  <a:pt x="275531" y="26298"/>
                </a:cubicBezTo>
                <a:cubicBezTo>
                  <a:pt x="301035" y="14963"/>
                  <a:pt x="280794" y="27550"/>
                  <a:pt x="296962" y="16773"/>
                </a:cubicBezTo>
                <a:cubicBezTo>
                  <a:pt x="306927" y="1825"/>
                  <a:pt x="299344" y="6454"/>
                  <a:pt x="311250" y="4867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4" name="Rectangle 4"/>
          <p:cNvSpPr>
            <a:spLocks noChangeArrowheads="1"/>
          </p:cNvSpPr>
          <p:nvPr/>
        </p:nvSpPr>
        <p:spPr bwMode="auto">
          <a:xfrm>
            <a:off x="714375" y="3285071"/>
            <a:ext cx="5715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ఇరాక్</a:t>
            </a:r>
            <a:endParaRPr lang="en-US" sz="20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423868" y="3481920"/>
            <a:ext cx="1146175" cy="1102783"/>
          </a:xfrm>
          <a:custGeom>
            <a:avLst/>
            <a:gdLst>
              <a:gd name="connsiteX0" fmla="*/ 16668 w 1145381"/>
              <a:gd name="connsiteY0" fmla="*/ 259556 h 1102939"/>
              <a:gd name="connsiteX1" fmla="*/ 19050 w 1145381"/>
              <a:gd name="connsiteY1" fmla="*/ 240506 h 1102939"/>
              <a:gd name="connsiteX2" fmla="*/ 23812 w 1145381"/>
              <a:gd name="connsiteY2" fmla="*/ 226218 h 1102939"/>
              <a:gd name="connsiteX3" fmla="*/ 26193 w 1145381"/>
              <a:gd name="connsiteY3" fmla="*/ 219075 h 1102939"/>
              <a:gd name="connsiteX4" fmla="*/ 54768 w 1145381"/>
              <a:gd name="connsiteY4" fmla="*/ 195262 h 1102939"/>
              <a:gd name="connsiteX5" fmla="*/ 61912 w 1145381"/>
              <a:gd name="connsiteY5" fmla="*/ 190500 h 1102939"/>
              <a:gd name="connsiteX6" fmla="*/ 69056 w 1145381"/>
              <a:gd name="connsiteY6" fmla="*/ 185737 h 1102939"/>
              <a:gd name="connsiteX7" fmla="*/ 135731 w 1145381"/>
              <a:gd name="connsiteY7" fmla="*/ 183356 h 1102939"/>
              <a:gd name="connsiteX8" fmla="*/ 150018 w 1145381"/>
              <a:gd name="connsiteY8" fmla="*/ 176212 h 1102939"/>
              <a:gd name="connsiteX9" fmla="*/ 161925 w 1145381"/>
              <a:gd name="connsiteY9" fmla="*/ 154781 h 1102939"/>
              <a:gd name="connsiteX10" fmla="*/ 183356 w 1145381"/>
              <a:gd name="connsiteY10" fmla="*/ 150018 h 1102939"/>
              <a:gd name="connsiteX11" fmla="*/ 197643 w 1145381"/>
              <a:gd name="connsiteY11" fmla="*/ 145256 h 1102939"/>
              <a:gd name="connsiteX12" fmla="*/ 211931 w 1145381"/>
              <a:gd name="connsiteY12" fmla="*/ 135731 h 1102939"/>
              <a:gd name="connsiteX13" fmla="*/ 223837 w 1145381"/>
              <a:gd name="connsiteY13" fmla="*/ 123825 h 1102939"/>
              <a:gd name="connsiteX14" fmla="*/ 233362 w 1145381"/>
              <a:gd name="connsiteY14" fmla="*/ 109537 h 1102939"/>
              <a:gd name="connsiteX15" fmla="*/ 240506 w 1145381"/>
              <a:gd name="connsiteY15" fmla="*/ 107156 h 1102939"/>
              <a:gd name="connsiteX16" fmla="*/ 247650 w 1145381"/>
              <a:gd name="connsiteY16" fmla="*/ 92868 h 1102939"/>
              <a:gd name="connsiteX17" fmla="*/ 245268 w 1145381"/>
              <a:gd name="connsiteY17" fmla="*/ 69056 h 1102939"/>
              <a:gd name="connsiteX18" fmla="*/ 240506 w 1145381"/>
              <a:gd name="connsiteY18" fmla="*/ 61912 h 1102939"/>
              <a:gd name="connsiteX19" fmla="*/ 233362 w 1145381"/>
              <a:gd name="connsiteY19" fmla="*/ 47625 h 1102939"/>
              <a:gd name="connsiteX20" fmla="*/ 228600 w 1145381"/>
              <a:gd name="connsiteY20" fmla="*/ 33337 h 1102939"/>
              <a:gd name="connsiteX21" fmla="*/ 226218 w 1145381"/>
              <a:gd name="connsiteY21" fmla="*/ 26193 h 1102939"/>
              <a:gd name="connsiteX22" fmla="*/ 223837 w 1145381"/>
              <a:gd name="connsiteY22" fmla="*/ 16668 h 1102939"/>
              <a:gd name="connsiteX23" fmla="*/ 280987 w 1145381"/>
              <a:gd name="connsiteY23" fmla="*/ 14287 h 1102939"/>
              <a:gd name="connsiteX24" fmla="*/ 288131 w 1145381"/>
              <a:gd name="connsiteY24" fmla="*/ 11906 h 1102939"/>
              <a:gd name="connsiteX25" fmla="*/ 297656 w 1145381"/>
              <a:gd name="connsiteY25" fmla="*/ 9525 h 1102939"/>
              <a:gd name="connsiteX26" fmla="*/ 311943 w 1145381"/>
              <a:gd name="connsiteY26" fmla="*/ 4762 h 1102939"/>
              <a:gd name="connsiteX27" fmla="*/ 319087 w 1145381"/>
              <a:gd name="connsiteY27" fmla="*/ 2381 h 1102939"/>
              <a:gd name="connsiteX28" fmla="*/ 330993 w 1145381"/>
              <a:gd name="connsiteY28" fmla="*/ 0 h 1102939"/>
              <a:gd name="connsiteX29" fmla="*/ 416718 w 1145381"/>
              <a:gd name="connsiteY29" fmla="*/ 2381 h 1102939"/>
              <a:gd name="connsiteX30" fmla="*/ 431006 w 1145381"/>
              <a:gd name="connsiteY30" fmla="*/ 7143 h 1102939"/>
              <a:gd name="connsiteX31" fmla="*/ 445293 w 1145381"/>
              <a:gd name="connsiteY31" fmla="*/ 14287 h 1102939"/>
              <a:gd name="connsiteX32" fmla="*/ 459581 w 1145381"/>
              <a:gd name="connsiteY32" fmla="*/ 21431 h 1102939"/>
              <a:gd name="connsiteX33" fmla="*/ 469106 w 1145381"/>
              <a:gd name="connsiteY33" fmla="*/ 30956 h 1102939"/>
              <a:gd name="connsiteX34" fmla="*/ 488156 w 1145381"/>
              <a:gd name="connsiteY34" fmla="*/ 40481 h 1102939"/>
              <a:gd name="connsiteX35" fmla="*/ 495300 w 1145381"/>
              <a:gd name="connsiteY35" fmla="*/ 47625 h 1102939"/>
              <a:gd name="connsiteX36" fmla="*/ 504825 w 1145381"/>
              <a:gd name="connsiteY36" fmla="*/ 61912 h 1102939"/>
              <a:gd name="connsiteX37" fmla="*/ 521493 w 1145381"/>
              <a:gd name="connsiteY37" fmla="*/ 66675 h 1102939"/>
              <a:gd name="connsiteX38" fmla="*/ 528637 w 1145381"/>
              <a:gd name="connsiteY38" fmla="*/ 71437 h 1102939"/>
              <a:gd name="connsiteX39" fmla="*/ 540543 w 1145381"/>
              <a:gd name="connsiteY39" fmla="*/ 83343 h 1102939"/>
              <a:gd name="connsiteX40" fmla="*/ 542925 w 1145381"/>
              <a:gd name="connsiteY40" fmla="*/ 90487 h 1102939"/>
              <a:gd name="connsiteX41" fmla="*/ 545306 w 1145381"/>
              <a:gd name="connsiteY41" fmla="*/ 111918 h 1102939"/>
              <a:gd name="connsiteX42" fmla="*/ 559593 w 1145381"/>
              <a:gd name="connsiteY42" fmla="*/ 119062 h 1102939"/>
              <a:gd name="connsiteX43" fmla="*/ 564356 w 1145381"/>
              <a:gd name="connsiteY43" fmla="*/ 126206 h 1102939"/>
              <a:gd name="connsiteX44" fmla="*/ 569118 w 1145381"/>
              <a:gd name="connsiteY44" fmla="*/ 173831 h 1102939"/>
              <a:gd name="connsiteX45" fmla="*/ 576262 w 1145381"/>
              <a:gd name="connsiteY45" fmla="*/ 180975 h 1102939"/>
              <a:gd name="connsiteX46" fmla="*/ 590550 w 1145381"/>
              <a:gd name="connsiteY46" fmla="*/ 190500 h 1102939"/>
              <a:gd name="connsiteX47" fmla="*/ 604837 w 1145381"/>
              <a:gd name="connsiteY47" fmla="*/ 202406 h 1102939"/>
              <a:gd name="connsiteX48" fmla="*/ 614362 w 1145381"/>
              <a:gd name="connsiteY48" fmla="*/ 204787 h 1102939"/>
              <a:gd name="connsiteX49" fmla="*/ 657225 w 1145381"/>
              <a:gd name="connsiteY49" fmla="*/ 207168 h 1102939"/>
              <a:gd name="connsiteX50" fmla="*/ 719137 w 1145381"/>
              <a:gd name="connsiteY50" fmla="*/ 207168 h 1102939"/>
              <a:gd name="connsiteX51" fmla="*/ 733425 w 1145381"/>
              <a:gd name="connsiteY51" fmla="*/ 197643 h 1102939"/>
              <a:gd name="connsiteX52" fmla="*/ 750093 w 1145381"/>
              <a:gd name="connsiteY52" fmla="*/ 200025 h 1102939"/>
              <a:gd name="connsiteX53" fmla="*/ 759618 w 1145381"/>
              <a:gd name="connsiteY53" fmla="*/ 214312 h 1102939"/>
              <a:gd name="connsiteX54" fmla="*/ 764381 w 1145381"/>
              <a:gd name="connsiteY54" fmla="*/ 221456 h 1102939"/>
              <a:gd name="connsiteX55" fmla="*/ 778668 w 1145381"/>
              <a:gd name="connsiteY55" fmla="*/ 226218 h 1102939"/>
              <a:gd name="connsiteX56" fmla="*/ 785812 w 1145381"/>
              <a:gd name="connsiteY56" fmla="*/ 228600 h 1102939"/>
              <a:gd name="connsiteX57" fmla="*/ 807243 w 1145381"/>
              <a:gd name="connsiteY57" fmla="*/ 245268 h 1102939"/>
              <a:gd name="connsiteX58" fmla="*/ 814387 w 1145381"/>
              <a:gd name="connsiteY58" fmla="*/ 266700 h 1102939"/>
              <a:gd name="connsiteX59" fmla="*/ 816768 w 1145381"/>
              <a:gd name="connsiteY59" fmla="*/ 273843 h 1102939"/>
              <a:gd name="connsiteX60" fmla="*/ 821531 w 1145381"/>
              <a:gd name="connsiteY60" fmla="*/ 280987 h 1102939"/>
              <a:gd name="connsiteX61" fmla="*/ 823912 w 1145381"/>
              <a:gd name="connsiteY61" fmla="*/ 288131 h 1102939"/>
              <a:gd name="connsiteX62" fmla="*/ 835818 w 1145381"/>
              <a:gd name="connsiteY62" fmla="*/ 311943 h 1102939"/>
              <a:gd name="connsiteX63" fmla="*/ 850106 w 1145381"/>
              <a:gd name="connsiteY63" fmla="*/ 321468 h 1102939"/>
              <a:gd name="connsiteX64" fmla="*/ 854868 w 1145381"/>
              <a:gd name="connsiteY64" fmla="*/ 328612 h 1102939"/>
              <a:gd name="connsiteX65" fmla="*/ 862012 w 1145381"/>
              <a:gd name="connsiteY65" fmla="*/ 352425 h 1102939"/>
              <a:gd name="connsiteX66" fmla="*/ 866775 w 1145381"/>
              <a:gd name="connsiteY66" fmla="*/ 366712 h 1102939"/>
              <a:gd name="connsiteX67" fmla="*/ 869156 w 1145381"/>
              <a:gd name="connsiteY67" fmla="*/ 373856 h 1102939"/>
              <a:gd name="connsiteX68" fmla="*/ 871537 w 1145381"/>
              <a:gd name="connsiteY68" fmla="*/ 381000 h 1102939"/>
              <a:gd name="connsiteX69" fmla="*/ 873918 w 1145381"/>
              <a:gd name="connsiteY69" fmla="*/ 423862 h 1102939"/>
              <a:gd name="connsiteX70" fmla="*/ 881062 w 1145381"/>
              <a:gd name="connsiteY70" fmla="*/ 447675 h 1102939"/>
              <a:gd name="connsiteX71" fmla="*/ 892968 w 1145381"/>
              <a:gd name="connsiteY71" fmla="*/ 469106 h 1102939"/>
              <a:gd name="connsiteX72" fmla="*/ 897731 w 1145381"/>
              <a:gd name="connsiteY72" fmla="*/ 476250 h 1102939"/>
              <a:gd name="connsiteX73" fmla="*/ 902493 w 1145381"/>
              <a:gd name="connsiteY73" fmla="*/ 490537 h 1102939"/>
              <a:gd name="connsiteX74" fmla="*/ 904875 w 1145381"/>
              <a:gd name="connsiteY74" fmla="*/ 497681 h 1102939"/>
              <a:gd name="connsiteX75" fmla="*/ 907256 w 1145381"/>
              <a:gd name="connsiteY75" fmla="*/ 519112 h 1102939"/>
              <a:gd name="connsiteX76" fmla="*/ 912018 w 1145381"/>
              <a:gd name="connsiteY76" fmla="*/ 533400 h 1102939"/>
              <a:gd name="connsiteX77" fmla="*/ 916781 w 1145381"/>
              <a:gd name="connsiteY77" fmla="*/ 547687 h 1102939"/>
              <a:gd name="connsiteX78" fmla="*/ 921543 w 1145381"/>
              <a:gd name="connsiteY78" fmla="*/ 564356 h 1102939"/>
              <a:gd name="connsiteX79" fmla="*/ 931068 w 1145381"/>
              <a:gd name="connsiteY79" fmla="*/ 578643 h 1102939"/>
              <a:gd name="connsiteX80" fmla="*/ 935831 w 1145381"/>
              <a:gd name="connsiteY80" fmla="*/ 585787 h 1102939"/>
              <a:gd name="connsiteX81" fmla="*/ 940593 w 1145381"/>
              <a:gd name="connsiteY81" fmla="*/ 592931 h 1102939"/>
              <a:gd name="connsiteX82" fmla="*/ 947737 w 1145381"/>
              <a:gd name="connsiteY82" fmla="*/ 600075 h 1102939"/>
              <a:gd name="connsiteX83" fmla="*/ 954881 w 1145381"/>
              <a:gd name="connsiteY83" fmla="*/ 614362 h 1102939"/>
              <a:gd name="connsiteX84" fmla="*/ 997743 w 1145381"/>
              <a:gd name="connsiteY84" fmla="*/ 621506 h 1102939"/>
              <a:gd name="connsiteX85" fmla="*/ 1019175 w 1145381"/>
              <a:gd name="connsiteY85" fmla="*/ 628650 h 1102939"/>
              <a:gd name="connsiteX86" fmla="*/ 1026318 w 1145381"/>
              <a:gd name="connsiteY86" fmla="*/ 631031 h 1102939"/>
              <a:gd name="connsiteX87" fmla="*/ 1050131 w 1145381"/>
              <a:gd name="connsiteY87" fmla="*/ 633412 h 1102939"/>
              <a:gd name="connsiteX88" fmla="*/ 1059656 w 1145381"/>
              <a:gd name="connsiteY88" fmla="*/ 635793 h 1102939"/>
              <a:gd name="connsiteX89" fmla="*/ 1085850 w 1145381"/>
              <a:gd name="connsiteY89" fmla="*/ 642937 h 1102939"/>
              <a:gd name="connsiteX90" fmla="*/ 1133475 w 1145381"/>
              <a:gd name="connsiteY90" fmla="*/ 647700 h 1102939"/>
              <a:gd name="connsiteX91" fmla="*/ 1140618 w 1145381"/>
              <a:gd name="connsiteY91" fmla="*/ 652462 h 1102939"/>
              <a:gd name="connsiteX92" fmla="*/ 1143000 w 1145381"/>
              <a:gd name="connsiteY92" fmla="*/ 659606 h 1102939"/>
              <a:gd name="connsiteX93" fmla="*/ 1145381 w 1145381"/>
              <a:gd name="connsiteY93" fmla="*/ 681037 h 1102939"/>
              <a:gd name="connsiteX94" fmla="*/ 1143000 w 1145381"/>
              <a:gd name="connsiteY94" fmla="*/ 707231 h 1102939"/>
              <a:gd name="connsiteX95" fmla="*/ 1131093 w 1145381"/>
              <a:gd name="connsiteY95" fmla="*/ 728662 h 1102939"/>
              <a:gd name="connsiteX96" fmla="*/ 1126331 w 1145381"/>
              <a:gd name="connsiteY96" fmla="*/ 735806 h 1102939"/>
              <a:gd name="connsiteX97" fmla="*/ 1123950 w 1145381"/>
              <a:gd name="connsiteY97" fmla="*/ 742950 h 1102939"/>
              <a:gd name="connsiteX98" fmla="*/ 1116806 w 1145381"/>
              <a:gd name="connsiteY98" fmla="*/ 750093 h 1102939"/>
              <a:gd name="connsiteX99" fmla="*/ 1107281 w 1145381"/>
              <a:gd name="connsiteY99" fmla="*/ 764381 h 1102939"/>
              <a:gd name="connsiteX100" fmla="*/ 1102518 w 1145381"/>
              <a:gd name="connsiteY100" fmla="*/ 778668 h 1102939"/>
              <a:gd name="connsiteX101" fmla="*/ 1092993 w 1145381"/>
              <a:gd name="connsiteY101" fmla="*/ 792956 h 1102939"/>
              <a:gd name="connsiteX102" fmla="*/ 1090612 w 1145381"/>
              <a:gd name="connsiteY102" fmla="*/ 800100 h 1102939"/>
              <a:gd name="connsiteX103" fmla="*/ 1076325 w 1145381"/>
              <a:gd name="connsiteY103" fmla="*/ 804862 h 1102939"/>
              <a:gd name="connsiteX104" fmla="*/ 1062037 w 1145381"/>
              <a:gd name="connsiteY104" fmla="*/ 809625 h 1102939"/>
              <a:gd name="connsiteX105" fmla="*/ 1054893 w 1145381"/>
              <a:gd name="connsiteY105" fmla="*/ 812006 h 1102939"/>
              <a:gd name="connsiteX106" fmla="*/ 1047750 w 1145381"/>
              <a:gd name="connsiteY106" fmla="*/ 814387 h 1102939"/>
              <a:gd name="connsiteX107" fmla="*/ 1019175 w 1145381"/>
              <a:gd name="connsiteY107" fmla="*/ 828675 h 1102939"/>
              <a:gd name="connsiteX108" fmla="*/ 1012031 w 1145381"/>
              <a:gd name="connsiteY108" fmla="*/ 831056 h 1102939"/>
              <a:gd name="connsiteX109" fmla="*/ 1004887 w 1145381"/>
              <a:gd name="connsiteY109" fmla="*/ 833437 h 1102939"/>
              <a:gd name="connsiteX110" fmla="*/ 997743 w 1145381"/>
              <a:gd name="connsiteY110" fmla="*/ 838200 h 1102939"/>
              <a:gd name="connsiteX111" fmla="*/ 990600 w 1145381"/>
              <a:gd name="connsiteY111" fmla="*/ 840581 h 1102939"/>
              <a:gd name="connsiteX112" fmla="*/ 976312 w 1145381"/>
              <a:gd name="connsiteY112" fmla="*/ 850106 h 1102939"/>
              <a:gd name="connsiteX113" fmla="*/ 959643 w 1145381"/>
              <a:gd name="connsiteY113" fmla="*/ 854868 h 1102939"/>
              <a:gd name="connsiteX114" fmla="*/ 945356 w 1145381"/>
              <a:gd name="connsiteY114" fmla="*/ 859631 h 1102939"/>
              <a:gd name="connsiteX115" fmla="*/ 938212 w 1145381"/>
              <a:gd name="connsiteY115" fmla="*/ 862012 h 1102939"/>
              <a:gd name="connsiteX116" fmla="*/ 928687 w 1145381"/>
              <a:gd name="connsiteY116" fmla="*/ 864393 h 1102939"/>
              <a:gd name="connsiteX117" fmla="*/ 907256 w 1145381"/>
              <a:gd name="connsiteY117" fmla="*/ 871537 h 1102939"/>
              <a:gd name="connsiteX118" fmla="*/ 885825 w 1145381"/>
              <a:gd name="connsiteY118" fmla="*/ 878681 h 1102939"/>
              <a:gd name="connsiteX119" fmla="*/ 878681 w 1145381"/>
              <a:gd name="connsiteY119" fmla="*/ 881062 h 1102939"/>
              <a:gd name="connsiteX120" fmla="*/ 859631 w 1145381"/>
              <a:gd name="connsiteY120" fmla="*/ 885825 h 1102939"/>
              <a:gd name="connsiteX121" fmla="*/ 852487 w 1145381"/>
              <a:gd name="connsiteY121" fmla="*/ 890587 h 1102939"/>
              <a:gd name="connsiteX122" fmla="*/ 814387 w 1145381"/>
              <a:gd name="connsiteY122" fmla="*/ 897731 h 1102939"/>
              <a:gd name="connsiteX123" fmla="*/ 762000 w 1145381"/>
              <a:gd name="connsiteY123" fmla="*/ 902493 h 1102939"/>
              <a:gd name="connsiteX124" fmla="*/ 723900 w 1145381"/>
              <a:gd name="connsiteY124" fmla="*/ 909637 h 1102939"/>
              <a:gd name="connsiteX125" fmla="*/ 716756 w 1145381"/>
              <a:gd name="connsiteY125" fmla="*/ 912018 h 1102939"/>
              <a:gd name="connsiteX126" fmla="*/ 714375 w 1145381"/>
              <a:gd name="connsiteY126" fmla="*/ 923925 h 1102939"/>
              <a:gd name="connsiteX127" fmla="*/ 711993 w 1145381"/>
              <a:gd name="connsiteY127" fmla="*/ 931068 h 1102939"/>
              <a:gd name="connsiteX128" fmla="*/ 697706 w 1145381"/>
              <a:gd name="connsiteY128" fmla="*/ 940593 h 1102939"/>
              <a:gd name="connsiteX129" fmla="*/ 683418 w 1145381"/>
              <a:gd name="connsiteY129" fmla="*/ 945356 h 1102939"/>
              <a:gd name="connsiteX130" fmla="*/ 685800 w 1145381"/>
              <a:gd name="connsiteY130" fmla="*/ 952500 h 1102939"/>
              <a:gd name="connsiteX131" fmla="*/ 664368 w 1145381"/>
              <a:gd name="connsiteY131" fmla="*/ 964406 h 1102939"/>
              <a:gd name="connsiteX132" fmla="*/ 647700 w 1145381"/>
              <a:gd name="connsiteY132" fmla="*/ 983456 h 1102939"/>
              <a:gd name="connsiteX133" fmla="*/ 633412 w 1145381"/>
              <a:gd name="connsiteY133" fmla="*/ 1004887 h 1102939"/>
              <a:gd name="connsiteX134" fmla="*/ 628650 w 1145381"/>
              <a:gd name="connsiteY134" fmla="*/ 1012031 h 1102939"/>
              <a:gd name="connsiteX135" fmla="*/ 621506 w 1145381"/>
              <a:gd name="connsiteY135" fmla="*/ 1019175 h 1102939"/>
              <a:gd name="connsiteX136" fmla="*/ 619125 w 1145381"/>
              <a:gd name="connsiteY136" fmla="*/ 1026318 h 1102939"/>
              <a:gd name="connsiteX137" fmla="*/ 604837 w 1145381"/>
              <a:gd name="connsiteY137" fmla="*/ 1035843 h 1102939"/>
              <a:gd name="connsiteX138" fmla="*/ 597693 w 1145381"/>
              <a:gd name="connsiteY138" fmla="*/ 1042987 h 1102939"/>
              <a:gd name="connsiteX139" fmla="*/ 590550 w 1145381"/>
              <a:gd name="connsiteY139" fmla="*/ 1045368 h 1102939"/>
              <a:gd name="connsiteX140" fmla="*/ 583406 w 1145381"/>
              <a:gd name="connsiteY140" fmla="*/ 1052512 h 1102939"/>
              <a:gd name="connsiteX141" fmla="*/ 569118 w 1145381"/>
              <a:gd name="connsiteY141" fmla="*/ 1062037 h 1102939"/>
              <a:gd name="connsiteX142" fmla="*/ 557212 w 1145381"/>
              <a:gd name="connsiteY142" fmla="*/ 1083468 h 1102939"/>
              <a:gd name="connsiteX143" fmla="*/ 552450 w 1145381"/>
              <a:gd name="connsiteY143" fmla="*/ 1090612 h 1102939"/>
              <a:gd name="connsiteX144" fmla="*/ 545306 w 1145381"/>
              <a:gd name="connsiteY144" fmla="*/ 1092993 h 1102939"/>
              <a:gd name="connsiteX145" fmla="*/ 538162 w 1145381"/>
              <a:gd name="connsiteY145" fmla="*/ 1100137 h 1102939"/>
              <a:gd name="connsiteX146" fmla="*/ 540543 w 1145381"/>
              <a:gd name="connsiteY146" fmla="*/ 1085850 h 1102939"/>
              <a:gd name="connsiteX147" fmla="*/ 538162 w 1145381"/>
              <a:gd name="connsiteY147" fmla="*/ 1042987 h 1102939"/>
              <a:gd name="connsiteX148" fmla="*/ 535781 w 1145381"/>
              <a:gd name="connsiteY148" fmla="*/ 1026318 h 1102939"/>
              <a:gd name="connsiteX149" fmla="*/ 514350 w 1145381"/>
              <a:gd name="connsiteY149" fmla="*/ 1023937 h 1102939"/>
              <a:gd name="connsiteX150" fmla="*/ 507206 w 1145381"/>
              <a:gd name="connsiteY150" fmla="*/ 1021556 h 1102939"/>
              <a:gd name="connsiteX151" fmla="*/ 497681 w 1145381"/>
              <a:gd name="connsiteY151" fmla="*/ 1019175 h 1102939"/>
              <a:gd name="connsiteX152" fmla="*/ 490537 w 1145381"/>
              <a:gd name="connsiteY152" fmla="*/ 1014412 h 1102939"/>
              <a:gd name="connsiteX153" fmla="*/ 481012 w 1145381"/>
              <a:gd name="connsiteY153" fmla="*/ 1012031 h 1102939"/>
              <a:gd name="connsiteX154" fmla="*/ 473868 w 1145381"/>
              <a:gd name="connsiteY154" fmla="*/ 1009650 h 1102939"/>
              <a:gd name="connsiteX155" fmla="*/ 466725 w 1145381"/>
              <a:gd name="connsiteY155" fmla="*/ 1004887 h 1102939"/>
              <a:gd name="connsiteX156" fmla="*/ 459581 w 1145381"/>
              <a:gd name="connsiteY156" fmla="*/ 997743 h 1102939"/>
              <a:gd name="connsiteX157" fmla="*/ 442912 w 1145381"/>
              <a:gd name="connsiteY157" fmla="*/ 992981 h 1102939"/>
              <a:gd name="connsiteX158" fmla="*/ 428625 w 1145381"/>
              <a:gd name="connsiteY158" fmla="*/ 988218 h 1102939"/>
              <a:gd name="connsiteX159" fmla="*/ 416718 w 1145381"/>
              <a:gd name="connsiteY159" fmla="*/ 990600 h 1102939"/>
              <a:gd name="connsiteX160" fmla="*/ 402431 w 1145381"/>
              <a:gd name="connsiteY160" fmla="*/ 995362 h 1102939"/>
              <a:gd name="connsiteX161" fmla="*/ 381000 w 1145381"/>
              <a:gd name="connsiteY161" fmla="*/ 1009650 h 1102939"/>
              <a:gd name="connsiteX162" fmla="*/ 373856 w 1145381"/>
              <a:gd name="connsiteY162" fmla="*/ 1014412 h 1102939"/>
              <a:gd name="connsiteX163" fmla="*/ 366712 w 1145381"/>
              <a:gd name="connsiteY163" fmla="*/ 1016793 h 1102939"/>
              <a:gd name="connsiteX164" fmla="*/ 359568 w 1145381"/>
              <a:gd name="connsiteY164" fmla="*/ 1021556 h 1102939"/>
              <a:gd name="connsiteX165" fmla="*/ 345281 w 1145381"/>
              <a:gd name="connsiteY165" fmla="*/ 1026318 h 1102939"/>
              <a:gd name="connsiteX166" fmla="*/ 328612 w 1145381"/>
              <a:gd name="connsiteY166" fmla="*/ 1033462 h 1102939"/>
              <a:gd name="connsiteX167" fmla="*/ 326231 w 1145381"/>
              <a:gd name="connsiteY167" fmla="*/ 1026318 h 1102939"/>
              <a:gd name="connsiteX168" fmla="*/ 321468 w 1145381"/>
              <a:gd name="connsiteY168" fmla="*/ 1007268 h 1102939"/>
              <a:gd name="connsiteX169" fmla="*/ 314325 w 1145381"/>
              <a:gd name="connsiteY169" fmla="*/ 985837 h 1102939"/>
              <a:gd name="connsiteX170" fmla="*/ 309562 w 1145381"/>
              <a:gd name="connsiteY170" fmla="*/ 971550 h 1102939"/>
              <a:gd name="connsiteX171" fmla="*/ 307181 w 1145381"/>
              <a:gd name="connsiteY171" fmla="*/ 964406 h 1102939"/>
              <a:gd name="connsiteX172" fmla="*/ 288131 w 1145381"/>
              <a:gd name="connsiteY172" fmla="*/ 947737 h 1102939"/>
              <a:gd name="connsiteX173" fmla="*/ 280987 w 1145381"/>
              <a:gd name="connsiteY173" fmla="*/ 942975 h 1102939"/>
              <a:gd name="connsiteX174" fmla="*/ 273843 w 1145381"/>
              <a:gd name="connsiteY174" fmla="*/ 938212 h 1102939"/>
              <a:gd name="connsiteX175" fmla="*/ 269081 w 1145381"/>
              <a:gd name="connsiteY175" fmla="*/ 923925 h 1102939"/>
              <a:gd name="connsiteX176" fmla="*/ 266700 w 1145381"/>
              <a:gd name="connsiteY176" fmla="*/ 878681 h 1102939"/>
              <a:gd name="connsiteX177" fmla="*/ 261937 w 1145381"/>
              <a:gd name="connsiteY177" fmla="*/ 864393 h 1102939"/>
              <a:gd name="connsiteX178" fmla="*/ 259556 w 1145381"/>
              <a:gd name="connsiteY178" fmla="*/ 857250 h 1102939"/>
              <a:gd name="connsiteX179" fmla="*/ 254793 w 1145381"/>
              <a:gd name="connsiteY179" fmla="*/ 842962 h 1102939"/>
              <a:gd name="connsiteX180" fmla="*/ 247650 w 1145381"/>
              <a:gd name="connsiteY180" fmla="*/ 835818 h 1102939"/>
              <a:gd name="connsiteX181" fmla="*/ 238125 w 1145381"/>
              <a:gd name="connsiteY181" fmla="*/ 821531 h 1102939"/>
              <a:gd name="connsiteX182" fmla="*/ 235743 w 1145381"/>
              <a:gd name="connsiteY182" fmla="*/ 814387 h 1102939"/>
              <a:gd name="connsiteX183" fmla="*/ 228600 w 1145381"/>
              <a:gd name="connsiteY183" fmla="*/ 807243 h 1102939"/>
              <a:gd name="connsiteX184" fmla="*/ 219075 w 1145381"/>
              <a:gd name="connsiteY184" fmla="*/ 792956 h 1102939"/>
              <a:gd name="connsiteX185" fmla="*/ 214312 w 1145381"/>
              <a:gd name="connsiteY185" fmla="*/ 785812 h 1102939"/>
              <a:gd name="connsiteX186" fmla="*/ 192881 w 1145381"/>
              <a:gd name="connsiteY186" fmla="*/ 773906 h 1102939"/>
              <a:gd name="connsiteX187" fmla="*/ 180975 w 1145381"/>
              <a:gd name="connsiteY187" fmla="*/ 752475 h 1102939"/>
              <a:gd name="connsiteX188" fmla="*/ 178593 w 1145381"/>
              <a:gd name="connsiteY188" fmla="*/ 745331 h 1102939"/>
              <a:gd name="connsiteX189" fmla="*/ 176212 w 1145381"/>
              <a:gd name="connsiteY189" fmla="*/ 738187 h 1102939"/>
              <a:gd name="connsiteX190" fmla="*/ 178593 w 1145381"/>
              <a:gd name="connsiteY190" fmla="*/ 702468 h 1102939"/>
              <a:gd name="connsiteX191" fmla="*/ 180975 w 1145381"/>
              <a:gd name="connsiteY191" fmla="*/ 692943 h 1102939"/>
              <a:gd name="connsiteX192" fmla="*/ 178593 w 1145381"/>
              <a:gd name="connsiteY192" fmla="*/ 609600 h 1102939"/>
              <a:gd name="connsiteX193" fmla="*/ 173831 w 1145381"/>
              <a:gd name="connsiteY193" fmla="*/ 592931 h 1102939"/>
              <a:gd name="connsiteX194" fmla="*/ 171450 w 1145381"/>
              <a:gd name="connsiteY194" fmla="*/ 583406 h 1102939"/>
              <a:gd name="connsiteX195" fmla="*/ 166687 w 1145381"/>
              <a:gd name="connsiteY195" fmla="*/ 569118 h 1102939"/>
              <a:gd name="connsiteX196" fmla="*/ 159543 w 1145381"/>
              <a:gd name="connsiteY196" fmla="*/ 561975 h 1102939"/>
              <a:gd name="connsiteX197" fmla="*/ 145256 w 1145381"/>
              <a:gd name="connsiteY197" fmla="*/ 552450 h 1102939"/>
              <a:gd name="connsiteX198" fmla="*/ 138112 w 1145381"/>
              <a:gd name="connsiteY198" fmla="*/ 547687 h 1102939"/>
              <a:gd name="connsiteX199" fmla="*/ 130968 w 1145381"/>
              <a:gd name="connsiteY199" fmla="*/ 542925 h 1102939"/>
              <a:gd name="connsiteX200" fmla="*/ 123825 w 1145381"/>
              <a:gd name="connsiteY200" fmla="*/ 538162 h 1102939"/>
              <a:gd name="connsiteX201" fmla="*/ 116681 w 1145381"/>
              <a:gd name="connsiteY201" fmla="*/ 535781 h 1102939"/>
              <a:gd name="connsiteX202" fmla="*/ 111918 w 1145381"/>
              <a:gd name="connsiteY202" fmla="*/ 519112 h 1102939"/>
              <a:gd name="connsiteX203" fmla="*/ 109537 w 1145381"/>
              <a:gd name="connsiteY203" fmla="*/ 511968 h 1102939"/>
              <a:gd name="connsiteX204" fmla="*/ 104775 w 1145381"/>
              <a:gd name="connsiteY204" fmla="*/ 495300 h 1102939"/>
              <a:gd name="connsiteX205" fmla="*/ 102393 w 1145381"/>
              <a:gd name="connsiteY205" fmla="*/ 476250 h 1102939"/>
              <a:gd name="connsiteX206" fmla="*/ 100012 w 1145381"/>
              <a:gd name="connsiteY206" fmla="*/ 469106 h 1102939"/>
              <a:gd name="connsiteX207" fmla="*/ 97631 w 1145381"/>
              <a:gd name="connsiteY207" fmla="*/ 414337 h 1102939"/>
              <a:gd name="connsiteX208" fmla="*/ 92868 w 1145381"/>
              <a:gd name="connsiteY208" fmla="*/ 400050 h 1102939"/>
              <a:gd name="connsiteX209" fmla="*/ 90487 w 1145381"/>
              <a:gd name="connsiteY209" fmla="*/ 392906 h 1102939"/>
              <a:gd name="connsiteX210" fmla="*/ 83343 w 1145381"/>
              <a:gd name="connsiteY210" fmla="*/ 385762 h 1102939"/>
              <a:gd name="connsiteX211" fmla="*/ 76200 w 1145381"/>
              <a:gd name="connsiteY211" fmla="*/ 371475 h 1102939"/>
              <a:gd name="connsiteX212" fmla="*/ 69056 w 1145381"/>
              <a:gd name="connsiteY212" fmla="*/ 347662 h 1102939"/>
              <a:gd name="connsiteX213" fmla="*/ 66675 w 1145381"/>
              <a:gd name="connsiteY213" fmla="*/ 340518 h 1102939"/>
              <a:gd name="connsiteX214" fmla="*/ 59531 w 1145381"/>
              <a:gd name="connsiteY214" fmla="*/ 316706 h 1102939"/>
              <a:gd name="connsiteX215" fmla="*/ 57150 w 1145381"/>
              <a:gd name="connsiteY215" fmla="*/ 309562 h 1102939"/>
              <a:gd name="connsiteX216" fmla="*/ 47625 w 1145381"/>
              <a:gd name="connsiteY216" fmla="*/ 295275 h 1102939"/>
              <a:gd name="connsiteX217" fmla="*/ 40481 w 1145381"/>
              <a:gd name="connsiteY217" fmla="*/ 280987 h 1102939"/>
              <a:gd name="connsiteX218" fmla="*/ 38100 w 1145381"/>
              <a:gd name="connsiteY218" fmla="*/ 273843 h 1102939"/>
              <a:gd name="connsiteX219" fmla="*/ 28575 w 1145381"/>
              <a:gd name="connsiteY219" fmla="*/ 271462 h 1102939"/>
              <a:gd name="connsiteX220" fmla="*/ 14287 w 1145381"/>
              <a:gd name="connsiteY220" fmla="*/ 266700 h 1102939"/>
              <a:gd name="connsiteX221" fmla="*/ 7143 w 1145381"/>
              <a:gd name="connsiteY221" fmla="*/ 264318 h 1102939"/>
              <a:gd name="connsiteX222" fmla="*/ 0 w 1145381"/>
              <a:gd name="connsiteY222" fmla="*/ 261937 h 1102939"/>
              <a:gd name="connsiteX223" fmla="*/ 16668 w 1145381"/>
              <a:gd name="connsiteY223" fmla="*/ 259556 h 1102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</a:cxnLst>
            <a:rect l="l" t="t" r="r" b="b"/>
            <a:pathLst>
              <a:path w="1145381" h="1102939">
                <a:moveTo>
                  <a:pt x="16668" y="259556"/>
                </a:moveTo>
                <a:cubicBezTo>
                  <a:pt x="17462" y="253206"/>
                  <a:pt x="17709" y="246763"/>
                  <a:pt x="19050" y="240506"/>
                </a:cubicBezTo>
                <a:cubicBezTo>
                  <a:pt x="20102" y="235597"/>
                  <a:pt x="22225" y="230981"/>
                  <a:pt x="23812" y="226218"/>
                </a:cubicBezTo>
                <a:cubicBezTo>
                  <a:pt x="24606" y="223837"/>
                  <a:pt x="24418" y="220850"/>
                  <a:pt x="26193" y="219075"/>
                </a:cubicBezTo>
                <a:cubicBezTo>
                  <a:pt x="44526" y="200742"/>
                  <a:pt x="34879" y="208521"/>
                  <a:pt x="54768" y="195262"/>
                </a:cubicBezTo>
                <a:lnTo>
                  <a:pt x="61912" y="190500"/>
                </a:lnTo>
                <a:cubicBezTo>
                  <a:pt x="64293" y="188912"/>
                  <a:pt x="66196" y="185839"/>
                  <a:pt x="69056" y="185737"/>
                </a:cubicBezTo>
                <a:lnTo>
                  <a:pt x="135731" y="183356"/>
                </a:lnTo>
                <a:cubicBezTo>
                  <a:pt x="140439" y="181787"/>
                  <a:pt x="146660" y="180410"/>
                  <a:pt x="150018" y="176212"/>
                </a:cubicBezTo>
                <a:cubicBezTo>
                  <a:pt x="156116" y="168589"/>
                  <a:pt x="146662" y="159869"/>
                  <a:pt x="161925" y="154781"/>
                </a:cubicBezTo>
                <a:cubicBezTo>
                  <a:pt x="182359" y="147970"/>
                  <a:pt x="149835" y="158399"/>
                  <a:pt x="183356" y="150018"/>
                </a:cubicBezTo>
                <a:cubicBezTo>
                  <a:pt x="188226" y="148800"/>
                  <a:pt x="197643" y="145256"/>
                  <a:pt x="197643" y="145256"/>
                </a:cubicBezTo>
                <a:cubicBezTo>
                  <a:pt x="202406" y="142081"/>
                  <a:pt x="208756" y="140494"/>
                  <a:pt x="211931" y="135731"/>
                </a:cubicBezTo>
                <a:cubicBezTo>
                  <a:pt x="218280" y="126206"/>
                  <a:pt x="214312" y="130174"/>
                  <a:pt x="223837" y="123825"/>
                </a:cubicBezTo>
                <a:cubicBezTo>
                  <a:pt x="226333" y="116335"/>
                  <a:pt x="225717" y="114633"/>
                  <a:pt x="233362" y="109537"/>
                </a:cubicBezTo>
                <a:cubicBezTo>
                  <a:pt x="235451" y="108145"/>
                  <a:pt x="238125" y="107950"/>
                  <a:pt x="240506" y="107156"/>
                </a:cubicBezTo>
                <a:cubicBezTo>
                  <a:pt x="242913" y="103546"/>
                  <a:pt x="247650" y="97795"/>
                  <a:pt x="247650" y="92868"/>
                </a:cubicBezTo>
                <a:cubicBezTo>
                  <a:pt x="247650" y="84891"/>
                  <a:pt x="247062" y="76829"/>
                  <a:pt x="245268" y="69056"/>
                </a:cubicBezTo>
                <a:cubicBezTo>
                  <a:pt x="244624" y="66267"/>
                  <a:pt x="241786" y="64472"/>
                  <a:pt x="240506" y="61912"/>
                </a:cubicBezTo>
                <a:cubicBezTo>
                  <a:pt x="230655" y="42208"/>
                  <a:pt x="247002" y="68081"/>
                  <a:pt x="233362" y="47625"/>
                </a:cubicBezTo>
                <a:lnTo>
                  <a:pt x="228600" y="33337"/>
                </a:lnTo>
                <a:cubicBezTo>
                  <a:pt x="227806" y="30956"/>
                  <a:pt x="226827" y="28628"/>
                  <a:pt x="226218" y="26193"/>
                </a:cubicBezTo>
                <a:lnTo>
                  <a:pt x="223837" y="16668"/>
                </a:lnTo>
                <a:cubicBezTo>
                  <a:pt x="242887" y="15874"/>
                  <a:pt x="261973" y="15695"/>
                  <a:pt x="280987" y="14287"/>
                </a:cubicBezTo>
                <a:cubicBezTo>
                  <a:pt x="283490" y="14102"/>
                  <a:pt x="285717" y="12596"/>
                  <a:pt x="288131" y="11906"/>
                </a:cubicBezTo>
                <a:cubicBezTo>
                  <a:pt x="291278" y="11007"/>
                  <a:pt x="294521" y="10465"/>
                  <a:pt x="297656" y="9525"/>
                </a:cubicBezTo>
                <a:cubicBezTo>
                  <a:pt x="302464" y="8082"/>
                  <a:pt x="307181" y="6350"/>
                  <a:pt x="311943" y="4762"/>
                </a:cubicBezTo>
                <a:cubicBezTo>
                  <a:pt x="314324" y="3968"/>
                  <a:pt x="316626" y="2873"/>
                  <a:pt x="319087" y="2381"/>
                </a:cubicBezTo>
                <a:lnTo>
                  <a:pt x="330993" y="0"/>
                </a:lnTo>
                <a:cubicBezTo>
                  <a:pt x="359568" y="794"/>
                  <a:pt x="388205" y="345"/>
                  <a:pt x="416718" y="2381"/>
                </a:cubicBezTo>
                <a:cubicBezTo>
                  <a:pt x="421725" y="2739"/>
                  <a:pt x="431006" y="7143"/>
                  <a:pt x="431006" y="7143"/>
                </a:cubicBezTo>
                <a:cubicBezTo>
                  <a:pt x="451482" y="20794"/>
                  <a:pt x="425575" y="4427"/>
                  <a:pt x="445293" y="14287"/>
                </a:cubicBezTo>
                <a:cubicBezTo>
                  <a:pt x="463754" y="23518"/>
                  <a:pt x="441628" y="15448"/>
                  <a:pt x="459581" y="21431"/>
                </a:cubicBezTo>
                <a:cubicBezTo>
                  <a:pt x="462756" y="24606"/>
                  <a:pt x="465370" y="28465"/>
                  <a:pt x="469106" y="30956"/>
                </a:cubicBezTo>
                <a:cubicBezTo>
                  <a:pt x="475013" y="34894"/>
                  <a:pt x="483136" y="35461"/>
                  <a:pt x="488156" y="40481"/>
                </a:cubicBezTo>
                <a:cubicBezTo>
                  <a:pt x="490537" y="42862"/>
                  <a:pt x="493232" y="44967"/>
                  <a:pt x="495300" y="47625"/>
                </a:cubicBezTo>
                <a:cubicBezTo>
                  <a:pt x="498814" y="52143"/>
                  <a:pt x="499395" y="60102"/>
                  <a:pt x="504825" y="61912"/>
                </a:cubicBezTo>
                <a:cubicBezTo>
                  <a:pt x="515073" y="65328"/>
                  <a:pt x="509533" y="63684"/>
                  <a:pt x="521493" y="66675"/>
                </a:cubicBezTo>
                <a:cubicBezTo>
                  <a:pt x="523874" y="68262"/>
                  <a:pt x="526613" y="69413"/>
                  <a:pt x="528637" y="71437"/>
                </a:cubicBezTo>
                <a:cubicBezTo>
                  <a:pt x="544515" y="87314"/>
                  <a:pt x="521493" y="70643"/>
                  <a:pt x="540543" y="83343"/>
                </a:cubicBezTo>
                <a:cubicBezTo>
                  <a:pt x="541337" y="85724"/>
                  <a:pt x="542512" y="88011"/>
                  <a:pt x="542925" y="90487"/>
                </a:cubicBezTo>
                <a:cubicBezTo>
                  <a:pt x="544107" y="97577"/>
                  <a:pt x="542850" y="105163"/>
                  <a:pt x="545306" y="111918"/>
                </a:cubicBezTo>
                <a:cubicBezTo>
                  <a:pt x="546580" y="115420"/>
                  <a:pt x="556714" y="118102"/>
                  <a:pt x="559593" y="119062"/>
                </a:cubicBezTo>
                <a:cubicBezTo>
                  <a:pt x="561181" y="121443"/>
                  <a:pt x="563076" y="123646"/>
                  <a:pt x="564356" y="126206"/>
                </a:cubicBezTo>
                <a:cubicBezTo>
                  <a:pt x="570670" y="138834"/>
                  <a:pt x="568425" y="170367"/>
                  <a:pt x="569118" y="173831"/>
                </a:cubicBezTo>
                <a:cubicBezTo>
                  <a:pt x="569778" y="177133"/>
                  <a:pt x="573604" y="178907"/>
                  <a:pt x="576262" y="180975"/>
                </a:cubicBezTo>
                <a:cubicBezTo>
                  <a:pt x="580780" y="184489"/>
                  <a:pt x="586503" y="186453"/>
                  <a:pt x="590550" y="190500"/>
                </a:cubicBezTo>
                <a:cubicBezTo>
                  <a:pt x="594840" y="194790"/>
                  <a:pt x="599036" y="199920"/>
                  <a:pt x="604837" y="202406"/>
                </a:cubicBezTo>
                <a:cubicBezTo>
                  <a:pt x="607845" y="203695"/>
                  <a:pt x="611103" y="204491"/>
                  <a:pt x="614362" y="204787"/>
                </a:cubicBezTo>
                <a:cubicBezTo>
                  <a:pt x="628613" y="206082"/>
                  <a:pt x="642937" y="206374"/>
                  <a:pt x="657225" y="207168"/>
                </a:cubicBezTo>
                <a:cubicBezTo>
                  <a:pt x="679698" y="214662"/>
                  <a:pt x="676458" y="214527"/>
                  <a:pt x="719137" y="207168"/>
                </a:cubicBezTo>
                <a:cubicBezTo>
                  <a:pt x="724778" y="206195"/>
                  <a:pt x="733425" y="197643"/>
                  <a:pt x="733425" y="197643"/>
                </a:cubicBezTo>
                <a:cubicBezTo>
                  <a:pt x="738981" y="198437"/>
                  <a:pt x="745358" y="197012"/>
                  <a:pt x="750093" y="200025"/>
                </a:cubicBezTo>
                <a:cubicBezTo>
                  <a:pt x="754922" y="203098"/>
                  <a:pt x="756443" y="209550"/>
                  <a:pt x="759618" y="214312"/>
                </a:cubicBezTo>
                <a:cubicBezTo>
                  <a:pt x="761206" y="216693"/>
                  <a:pt x="761666" y="220551"/>
                  <a:pt x="764381" y="221456"/>
                </a:cubicBezTo>
                <a:lnTo>
                  <a:pt x="778668" y="226218"/>
                </a:lnTo>
                <a:cubicBezTo>
                  <a:pt x="781049" y="227012"/>
                  <a:pt x="783723" y="227208"/>
                  <a:pt x="785812" y="228600"/>
                </a:cubicBezTo>
                <a:cubicBezTo>
                  <a:pt x="802902" y="239993"/>
                  <a:pt x="796053" y="234078"/>
                  <a:pt x="807243" y="245268"/>
                </a:cubicBezTo>
                <a:lnTo>
                  <a:pt x="814387" y="266700"/>
                </a:lnTo>
                <a:cubicBezTo>
                  <a:pt x="815181" y="269081"/>
                  <a:pt x="815376" y="271755"/>
                  <a:pt x="816768" y="273843"/>
                </a:cubicBezTo>
                <a:lnTo>
                  <a:pt x="821531" y="280987"/>
                </a:lnTo>
                <a:cubicBezTo>
                  <a:pt x="822325" y="283368"/>
                  <a:pt x="823222" y="285717"/>
                  <a:pt x="823912" y="288131"/>
                </a:cubicBezTo>
                <a:cubicBezTo>
                  <a:pt x="826439" y="296978"/>
                  <a:pt x="826649" y="305831"/>
                  <a:pt x="835818" y="311943"/>
                </a:cubicBezTo>
                <a:lnTo>
                  <a:pt x="850106" y="321468"/>
                </a:lnTo>
                <a:cubicBezTo>
                  <a:pt x="851693" y="323849"/>
                  <a:pt x="853706" y="325997"/>
                  <a:pt x="854868" y="328612"/>
                </a:cubicBezTo>
                <a:cubicBezTo>
                  <a:pt x="860053" y="340280"/>
                  <a:pt x="858813" y="341762"/>
                  <a:pt x="862012" y="352425"/>
                </a:cubicBezTo>
                <a:cubicBezTo>
                  <a:pt x="863455" y="357233"/>
                  <a:pt x="865187" y="361950"/>
                  <a:pt x="866775" y="366712"/>
                </a:cubicBezTo>
                <a:lnTo>
                  <a:pt x="869156" y="373856"/>
                </a:lnTo>
                <a:lnTo>
                  <a:pt x="871537" y="381000"/>
                </a:lnTo>
                <a:cubicBezTo>
                  <a:pt x="872331" y="395287"/>
                  <a:pt x="872622" y="409611"/>
                  <a:pt x="873918" y="423862"/>
                </a:cubicBezTo>
                <a:cubicBezTo>
                  <a:pt x="874367" y="428804"/>
                  <a:pt x="880098" y="444783"/>
                  <a:pt x="881062" y="447675"/>
                </a:cubicBezTo>
                <a:cubicBezTo>
                  <a:pt x="885252" y="460247"/>
                  <a:pt x="882053" y="452734"/>
                  <a:pt x="892968" y="469106"/>
                </a:cubicBezTo>
                <a:lnTo>
                  <a:pt x="897731" y="476250"/>
                </a:lnTo>
                <a:lnTo>
                  <a:pt x="902493" y="490537"/>
                </a:lnTo>
                <a:lnTo>
                  <a:pt x="904875" y="497681"/>
                </a:lnTo>
                <a:cubicBezTo>
                  <a:pt x="905669" y="504825"/>
                  <a:pt x="905847" y="512064"/>
                  <a:pt x="907256" y="519112"/>
                </a:cubicBezTo>
                <a:cubicBezTo>
                  <a:pt x="908240" y="524035"/>
                  <a:pt x="910430" y="528637"/>
                  <a:pt x="912018" y="533400"/>
                </a:cubicBezTo>
                <a:lnTo>
                  <a:pt x="916781" y="547687"/>
                </a:lnTo>
                <a:cubicBezTo>
                  <a:pt x="917341" y="549928"/>
                  <a:pt x="919991" y="561562"/>
                  <a:pt x="921543" y="564356"/>
                </a:cubicBezTo>
                <a:cubicBezTo>
                  <a:pt x="924323" y="569359"/>
                  <a:pt x="927893" y="573881"/>
                  <a:pt x="931068" y="578643"/>
                </a:cubicBezTo>
                <a:lnTo>
                  <a:pt x="935831" y="585787"/>
                </a:lnTo>
                <a:cubicBezTo>
                  <a:pt x="937418" y="588168"/>
                  <a:pt x="938569" y="590907"/>
                  <a:pt x="940593" y="592931"/>
                </a:cubicBezTo>
                <a:lnTo>
                  <a:pt x="947737" y="600075"/>
                </a:lnTo>
                <a:cubicBezTo>
                  <a:pt x="949035" y="603968"/>
                  <a:pt x="950993" y="611932"/>
                  <a:pt x="954881" y="614362"/>
                </a:cubicBezTo>
                <a:cubicBezTo>
                  <a:pt x="965661" y="621100"/>
                  <a:pt x="988106" y="620703"/>
                  <a:pt x="997743" y="621506"/>
                </a:cubicBezTo>
                <a:lnTo>
                  <a:pt x="1019175" y="628650"/>
                </a:lnTo>
                <a:cubicBezTo>
                  <a:pt x="1021556" y="629444"/>
                  <a:pt x="1023821" y="630781"/>
                  <a:pt x="1026318" y="631031"/>
                </a:cubicBezTo>
                <a:lnTo>
                  <a:pt x="1050131" y="633412"/>
                </a:lnTo>
                <a:cubicBezTo>
                  <a:pt x="1053306" y="634206"/>
                  <a:pt x="1056521" y="634853"/>
                  <a:pt x="1059656" y="635793"/>
                </a:cubicBezTo>
                <a:cubicBezTo>
                  <a:pt x="1071870" y="639458"/>
                  <a:pt x="1073787" y="641489"/>
                  <a:pt x="1085850" y="642937"/>
                </a:cubicBezTo>
                <a:cubicBezTo>
                  <a:pt x="1101691" y="644838"/>
                  <a:pt x="1133475" y="647700"/>
                  <a:pt x="1133475" y="647700"/>
                </a:cubicBezTo>
                <a:cubicBezTo>
                  <a:pt x="1135856" y="649287"/>
                  <a:pt x="1138830" y="650227"/>
                  <a:pt x="1140618" y="652462"/>
                </a:cubicBezTo>
                <a:cubicBezTo>
                  <a:pt x="1142186" y="654422"/>
                  <a:pt x="1142587" y="657130"/>
                  <a:pt x="1143000" y="659606"/>
                </a:cubicBezTo>
                <a:cubicBezTo>
                  <a:pt x="1144182" y="666696"/>
                  <a:pt x="1144587" y="673893"/>
                  <a:pt x="1145381" y="681037"/>
                </a:cubicBezTo>
                <a:cubicBezTo>
                  <a:pt x="1144587" y="689768"/>
                  <a:pt x="1144240" y="698552"/>
                  <a:pt x="1143000" y="707231"/>
                </a:cubicBezTo>
                <a:cubicBezTo>
                  <a:pt x="1141857" y="715231"/>
                  <a:pt x="1135057" y="722716"/>
                  <a:pt x="1131093" y="728662"/>
                </a:cubicBezTo>
                <a:cubicBezTo>
                  <a:pt x="1129506" y="731043"/>
                  <a:pt x="1127236" y="733091"/>
                  <a:pt x="1126331" y="735806"/>
                </a:cubicBezTo>
                <a:cubicBezTo>
                  <a:pt x="1125537" y="738187"/>
                  <a:pt x="1125342" y="740861"/>
                  <a:pt x="1123950" y="742950"/>
                </a:cubicBezTo>
                <a:cubicBezTo>
                  <a:pt x="1122082" y="745752"/>
                  <a:pt x="1119187" y="747712"/>
                  <a:pt x="1116806" y="750093"/>
                </a:cubicBezTo>
                <a:cubicBezTo>
                  <a:pt x="1108931" y="773721"/>
                  <a:pt x="1122142" y="737633"/>
                  <a:pt x="1107281" y="764381"/>
                </a:cubicBezTo>
                <a:cubicBezTo>
                  <a:pt x="1104843" y="768769"/>
                  <a:pt x="1105303" y="774491"/>
                  <a:pt x="1102518" y="778668"/>
                </a:cubicBezTo>
                <a:lnTo>
                  <a:pt x="1092993" y="792956"/>
                </a:lnTo>
                <a:cubicBezTo>
                  <a:pt x="1092199" y="795337"/>
                  <a:pt x="1092655" y="798641"/>
                  <a:pt x="1090612" y="800100"/>
                </a:cubicBezTo>
                <a:cubicBezTo>
                  <a:pt x="1086527" y="803018"/>
                  <a:pt x="1081087" y="803275"/>
                  <a:pt x="1076325" y="804862"/>
                </a:cubicBezTo>
                <a:lnTo>
                  <a:pt x="1062037" y="809625"/>
                </a:lnTo>
                <a:lnTo>
                  <a:pt x="1054893" y="812006"/>
                </a:lnTo>
                <a:lnTo>
                  <a:pt x="1047750" y="814387"/>
                </a:lnTo>
                <a:cubicBezTo>
                  <a:pt x="1029287" y="826695"/>
                  <a:pt x="1038890" y="822103"/>
                  <a:pt x="1019175" y="828675"/>
                </a:cubicBezTo>
                <a:lnTo>
                  <a:pt x="1012031" y="831056"/>
                </a:lnTo>
                <a:lnTo>
                  <a:pt x="1004887" y="833437"/>
                </a:lnTo>
                <a:cubicBezTo>
                  <a:pt x="1002506" y="835025"/>
                  <a:pt x="1000303" y="836920"/>
                  <a:pt x="997743" y="838200"/>
                </a:cubicBezTo>
                <a:cubicBezTo>
                  <a:pt x="995498" y="839322"/>
                  <a:pt x="992794" y="839362"/>
                  <a:pt x="990600" y="840581"/>
                </a:cubicBezTo>
                <a:cubicBezTo>
                  <a:pt x="985596" y="843361"/>
                  <a:pt x="981742" y="848296"/>
                  <a:pt x="976312" y="850106"/>
                </a:cubicBezTo>
                <a:cubicBezTo>
                  <a:pt x="952265" y="858120"/>
                  <a:pt x="989593" y="845882"/>
                  <a:pt x="959643" y="854868"/>
                </a:cubicBezTo>
                <a:cubicBezTo>
                  <a:pt x="954835" y="856311"/>
                  <a:pt x="950118" y="858043"/>
                  <a:pt x="945356" y="859631"/>
                </a:cubicBezTo>
                <a:cubicBezTo>
                  <a:pt x="942975" y="860425"/>
                  <a:pt x="940647" y="861403"/>
                  <a:pt x="938212" y="862012"/>
                </a:cubicBezTo>
                <a:cubicBezTo>
                  <a:pt x="935037" y="862806"/>
                  <a:pt x="931822" y="863453"/>
                  <a:pt x="928687" y="864393"/>
                </a:cubicBezTo>
                <a:cubicBezTo>
                  <a:pt x="921474" y="866557"/>
                  <a:pt x="914400" y="869156"/>
                  <a:pt x="907256" y="871537"/>
                </a:cubicBezTo>
                <a:lnTo>
                  <a:pt x="885825" y="878681"/>
                </a:lnTo>
                <a:cubicBezTo>
                  <a:pt x="883444" y="879475"/>
                  <a:pt x="881116" y="880453"/>
                  <a:pt x="878681" y="881062"/>
                </a:cubicBezTo>
                <a:lnTo>
                  <a:pt x="859631" y="885825"/>
                </a:lnTo>
                <a:cubicBezTo>
                  <a:pt x="857250" y="887412"/>
                  <a:pt x="855102" y="889425"/>
                  <a:pt x="852487" y="890587"/>
                </a:cubicBezTo>
                <a:cubicBezTo>
                  <a:pt x="837679" y="897168"/>
                  <a:pt x="831997" y="895970"/>
                  <a:pt x="814387" y="897731"/>
                </a:cubicBezTo>
                <a:cubicBezTo>
                  <a:pt x="791434" y="905381"/>
                  <a:pt x="818664" y="897009"/>
                  <a:pt x="762000" y="902493"/>
                </a:cubicBezTo>
                <a:cubicBezTo>
                  <a:pt x="752503" y="903412"/>
                  <a:pt x="735233" y="906399"/>
                  <a:pt x="723900" y="909637"/>
                </a:cubicBezTo>
                <a:cubicBezTo>
                  <a:pt x="721486" y="910327"/>
                  <a:pt x="719137" y="911224"/>
                  <a:pt x="716756" y="912018"/>
                </a:cubicBezTo>
                <a:cubicBezTo>
                  <a:pt x="715962" y="915987"/>
                  <a:pt x="715357" y="919998"/>
                  <a:pt x="714375" y="923925"/>
                </a:cubicBezTo>
                <a:cubicBezTo>
                  <a:pt x="713766" y="926360"/>
                  <a:pt x="713768" y="929293"/>
                  <a:pt x="711993" y="931068"/>
                </a:cubicBezTo>
                <a:cubicBezTo>
                  <a:pt x="707946" y="935115"/>
                  <a:pt x="703136" y="938783"/>
                  <a:pt x="697706" y="940593"/>
                </a:cubicBezTo>
                <a:lnTo>
                  <a:pt x="683418" y="945356"/>
                </a:lnTo>
                <a:cubicBezTo>
                  <a:pt x="684212" y="947737"/>
                  <a:pt x="687259" y="950457"/>
                  <a:pt x="685800" y="952500"/>
                </a:cubicBezTo>
                <a:cubicBezTo>
                  <a:pt x="680682" y="959665"/>
                  <a:pt x="672005" y="961861"/>
                  <a:pt x="664368" y="964406"/>
                </a:cubicBezTo>
                <a:cubicBezTo>
                  <a:pt x="653256" y="981074"/>
                  <a:pt x="659605" y="975518"/>
                  <a:pt x="647700" y="983456"/>
                </a:cubicBezTo>
                <a:lnTo>
                  <a:pt x="633412" y="1004887"/>
                </a:lnTo>
                <a:cubicBezTo>
                  <a:pt x="631825" y="1007268"/>
                  <a:pt x="630674" y="1010007"/>
                  <a:pt x="628650" y="1012031"/>
                </a:cubicBezTo>
                <a:lnTo>
                  <a:pt x="621506" y="1019175"/>
                </a:lnTo>
                <a:cubicBezTo>
                  <a:pt x="620712" y="1021556"/>
                  <a:pt x="620900" y="1024543"/>
                  <a:pt x="619125" y="1026318"/>
                </a:cubicBezTo>
                <a:cubicBezTo>
                  <a:pt x="615077" y="1030365"/>
                  <a:pt x="608884" y="1031796"/>
                  <a:pt x="604837" y="1035843"/>
                </a:cubicBezTo>
                <a:cubicBezTo>
                  <a:pt x="602456" y="1038224"/>
                  <a:pt x="600495" y="1041119"/>
                  <a:pt x="597693" y="1042987"/>
                </a:cubicBezTo>
                <a:cubicBezTo>
                  <a:pt x="595605" y="1044379"/>
                  <a:pt x="592931" y="1044574"/>
                  <a:pt x="590550" y="1045368"/>
                </a:cubicBezTo>
                <a:cubicBezTo>
                  <a:pt x="588169" y="1047749"/>
                  <a:pt x="586208" y="1050644"/>
                  <a:pt x="583406" y="1052512"/>
                </a:cubicBezTo>
                <a:cubicBezTo>
                  <a:pt x="562728" y="1066297"/>
                  <a:pt x="591908" y="1039247"/>
                  <a:pt x="569118" y="1062037"/>
                </a:cubicBezTo>
                <a:cubicBezTo>
                  <a:pt x="564927" y="1074612"/>
                  <a:pt x="568130" y="1067091"/>
                  <a:pt x="557212" y="1083468"/>
                </a:cubicBezTo>
                <a:cubicBezTo>
                  <a:pt x="555625" y="1085849"/>
                  <a:pt x="555165" y="1089707"/>
                  <a:pt x="552450" y="1090612"/>
                </a:cubicBezTo>
                <a:lnTo>
                  <a:pt x="545306" y="1092993"/>
                </a:lnTo>
                <a:cubicBezTo>
                  <a:pt x="542925" y="1095374"/>
                  <a:pt x="540030" y="1102939"/>
                  <a:pt x="538162" y="1100137"/>
                </a:cubicBezTo>
                <a:cubicBezTo>
                  <a:pt x="535484" y="1096120"/>
                  <a:pt x="540543" y="1090678"/>
                  <a:pt x="540543" y="1085850"/>
                </a:cubicBezTo>
                <a:cubicBezTo>
                  <a:pt x="540543" y="1071540"/>
                  <a:pt x="539303" y="1057251"/>
                  <a:pt x="538162" y="1042987"/>
                </a:cubicBezTo>
                <a:cubicBezTo>
                  <a:pt x="537714" y="1037392"/>
                  <a:pt x="540164" y="1029824"/>
                  <a:pt x="535781" y="1026318"/>
                </a:cubicBezTo>
                <a:cubicBezTo>
                  <a:pt x="530168" y="1021828"/>
                  <a:pt x="521494" y="1024731"/>
                  <a:pt x="514350" y="1023937"/>
                </a:cubicBezTo>
                <a:cubicBezTo>
                  <a:pt x="511969" y="1023143"/>
                  <a:pt x="509620" y="1022246"/>
                  <a:pt x="507206" y="1021556"/>
                </a:cubicBezTo>
                <a:cubicBezTo>
                  <a:pt x="504059" y="1020657"/>
                  <a:pt x="500689" y="1020464"/>
                  <a:pt x="497681" y="1019175"/>
                </a:cubicBezTo>
                <a:cubicBezTo>
                  <a:pt x="495050" y="1018048"/>
                  <a:pt x="493168" y="1015539"/>
                  <a:pt x="490537" y="1014412"/>
                </a:cubicBezTo>
                <a:cubicBezTo>
                  <a:pt x="487529" y="1013123"/>
                  <a:pt x="484159" y="1012930"/>
                  <a:pt x="481012" y="1012031"/>
                </a:cubicBezTo>
                <a:cubicBezTo>
                  <a:pt x="478598" y="1011341"/>
                  <a:pt x="476249" y="1010444"/>
                  <a:pt x="473868" y="1009650"/>
                </a:cubicBezTo>
                <a:cubicBezTo>
                  <a:pt x="471487" y="1008062"/>
                  <a:pt x="468923" y="1006719"/>
                  <a:pt x="466725" y="1004887"/>
                </a:cubicBezTo>
                <a:cubicBezTo>
                  <a:pt x="464138" y="1002731"/>
                  <a:pt x="462383" y="999611"/>
                  <a:pt x="459581" y="997743"/>
                </a:cubicBezTo>
                <a:cubicBezTo>
                  <a:pt x="457399" y="996288"/>
                  <a:pt x="444355" y="993414"/>
                  <a:pt x="442912" y="992981"/>
                </a:cubicBezTo>
                <a:cubicBezTo>
                  <a:pt x="438104" y="991538"/>
                  <a:pt x="428625" y="988218"/>
                  <a:pt x="428625" y="988218"/>
                </a:cubicBezTo>
                <a:cubicBezTo>
                  <a:pt x="424656" y="989012"/>
                  <a:pt x="420623" y="989535"/>
                  <a:pt x="416718" y="990600"/>
                </a:cubicBezTo>
                <a:cubicBezTo>
                  <a:pt x="411875" y="991921"/>
                  <a:pt x="402431" y="995362"/>
                  <a:pt x="402431" y="995362"/>
                </a:cubicBezTo>
                <a:lnTo>
                  <a:pt x="381000" y="1009650"/>
                </a:lnTo>
                <a:cubicBezTo>
                  <a:pt x="378619" y="1011238"/>
                  <a:pt x="376571" y="1013507"/>
                  <a:pt x="373856" y="1014412"/>
                </a:cubicBezTo>
                <a:lnTo>
                  <a:pt x="366712" y="1016793"/>
                </a:lnTo>
                <a:cubicBezTo>
                  <a:pt x="364331" y="1018381"/>
                  <a:pt x="362183" y="1020394"/>
                  <a:pt x="359568" y="1021556"/>
                </a:cubicBezTo>
                <a:cubicBezTo>
                  <a:pt x="354981" y="1023595"/>
                  <a:pt x="345281" y="1026318"/>
                  <a:pt x="345281" y="1026318"/>
                </a:cubicBezTo>
                <a:cubicBezTo>
                  <a:pt x="333888" y="1043408"/>
                  <a:pt x="339803" y="1044653"/>
                  <a:pt x="328612" y="1033462"/>
                </a:cubicBezTo>
                <a:cubicBezTo>
                  <a:pt x="327818" y="1031081"/>
                  <a:pt x="326891" y="1028740"/>
                  <a:pt x="326231" y="1026318"/>
                </a:cubicBezTo>
                <a:cubicBezTo>
                  <a:pt x="324509" y="1020003"/>
                  <a:pt x="323538" y="1013478"/>
                  <a:pt x="321468" y="1007268"/>
                </a:cubicBezTo>
                <a:lnTo>
                  <a:pt x="314325" y="985837"/>
                </a:lnTo>
                <a:lnTo>
                  <a:pt x="309562" y="971550"/>
                </a:lnTo>
                <a:cubicBezTo>
                  <a:pt x="308768" y="969169"/>
                  <a:pt x="308573" y="966494"/>
                  <a:pt x="307181" y="964406"/>
                </a:cubicBezTo>
                <a:cubicBezTo>
                  <a:pt x="299243" y="952500"/>
                  <a:pt x="304799" y="958848"/>
                  <a:pt x="288131" y="947737"/>
                </a:cubicBezTo>
                <a:lnTo>
                  <a:pt x="280987" y="942975"/>
                </a:lnTo>
                <a:lnTo>
                  <a:pt x="273843" y="938212"/>
                </a:lnTo>
                <a:cubicBezTo>
                  <a:pt x="272256" y="933450"/>
                  <a:pt x="269345" y="928938"/>
                  <a:pt x="269081" y="923925"/>
                </a:cubicBezTo>
                <a:cubicBezTo>
                  <a:pt x="268287" y="908844"/>
                  <a:pt x="268499" y="893676"/>
                  <a:pt x="266700" y="878681"/>
                </a:cubicBezTo>
                <a:cubicBezTo>
                  <a:pt x="266102" y="873696"/>
                  <a:pt x="263525" y="869156"/>
                  <a:pt x="261937" y="864393"/>
                </a:cubicBezTo>
                <a:lnTo>
                  <a:pt x="259556" y="857250"/>
                </a:lnTo>
                <a:lnTo>
                  <a:pt x="254793" y="842962"/>
                </a:lnTo>
                <a:lnTo>
                  <a:pt x="247650" y="835818"/>
                </a:lnTo>
                <a:cubicBezTo>
                  <a:pt x="241986" y="818832"/>
                  <a:pt x="250017" y="839370"/>
                  <a:pt x="238125" y="821531"/>
                </a:cubicBezTo>
                <a:cubicBezTo>
                  <a:pt x="236733" y="819442"/>
                  <a:pt x="237135" y="816476"/>
                  <a:pt x="235743" y="814387"/>
                </a:cubicBezTo>
                <a:cubicBezTo>
                  <a:pt x="233875" y="811585"/>
                  <a:pt x="230667" y="809901"/>
                  <a:pt x="228600" y="807243"/>
                </a:cubicBezTo>
                <a:cubicBezTo>
                  <a:pt x="225086" y="802725"/>
                  <a:pt x="222250" y="797718"/>
                  <a:pt x="219075" y="792956"/>
                </a:cubicBezTo>
                <a:cubicBezTo>
                  <a:pt x="217487" y="790575"/>
                  <a:pt x="216693" y="787400"/>
                  <a:pt x="214312" y="785812"/>
                </a:cubicBezTo>
                <a:cubicBezTo>
                  <a:pt x="197936" y="774895"/>
                  <a:pt x="205455" y="778097"/>
                  <a:pt x="192881" y="773906"/>
                </a:cubicBezTo>
                <a:cubicBezTo>
                  <a:pt x="182187" y="763212"/>
                  <a:pt x="186803" y="769958"/>
                  <a:pt x="180975" y="752475"/>
                </a:cubicBezTo>
                <a:lnTo>
                  <a:pt x="178593" y="745331"/>
                </a:lnTo>
                <a:lnTo>
                  <a:pt x="176212" y="738187"/>
                </a:lnTo>
                <a:cubicBezTo>
                  <a:pt x="177006" y="726281"/>
                  <a:pt x="177344" y="714335"/>
                  <a:pt x="178593" y="702468"/>
                </a:cubicBezTo>
                <a:cubicBezTo>
                  <a:pt x="178936" y="699213"/>
                  <a:pt x="180975" y="696216"/>
                  <a:pt x="180975" y="692943"/>
                </a:cubicBezTo>
                <a:cubicBezTo>
                  <a:pt x="180975" y="665151"/>
                  <a:pt x="180017" y="637356"/>
                  <a:pt x="178593" y="609600"/>
                </a:cubicBezTo>
                <a:cubicBezTo>
                  <a:pt x="178360" y="605064"/>
                  <a:pt x="175132" y="597486"/>
                  <a:pt x="173831" y="592931"/>
                </a:cubicBezTo>
                <a:cubicBezTo>
                  <a:pt x="172932" y="589784"/>
                  <a:pt x="172390" y="586541"/>
                  <a:pt x="171450" y="583406"/>
                </a:cubicBezTo>
                <a:cubicBezTo>
                  <a:pt x="170007" y="578597"/>
                  <a:pt x="170237" y="572668"/>
                  <a:pt x="166687" y="569118"/>
                </a:cubicBezTo>
                <a:cubicBezTo>
                  <a:pt x="164306" y="566737"/>
                  <a:pt x="162201" y="564042"/>
                  <a:pt x="159543" y="561975"/>
                </a:cubicBezTo>
                <a:cubicBezTo>
                  <a:pt x="155025" y="558461"/>
                  <a:pt x="150018" y="555625"/>
                  <a:pt x="145256" y="552450"/>
                </a:cubicBezTo>
                <a:lnTo>
                  <a:pt x="138112" y="547687"/>
                </a:lnTo>
                <a:lnTo>
                  <a:pt x="130968" y="542925"/>
                </a:lnTo>
                <a:cubicBezTo>
                  <a:pt x="128587" y="541338"/>
                  <a:pt x="126540" y="539067"/>
                  <a:pt x="123825" y="538162"/>
                </a:cubicBezTo>
                <a:lnTo>
                  <a:pt x="116681" y="535781"/>
                </a:lnTo>
                <a:cubicBezTo>
                  <a:pt x="110972" y="518652"/>
                  <a:pt x="117899" y="540043"/>
                  <a:pt x="111918" y="519112"/>
                </a:cubicBezTo>
                <a:cubicBezTo>
                  <a:pt x="111228" y="516698"/>
                  <a:pt x="110227" y="514382"/>
                  <a:pt x="109537" y="511968"/>
                </a:cubicBezTo>
                <a:cubicBezTo>
                  <a:pt x="103560" y="491047"/>
                  <a:pt x="110482" y="512420"/>
                  <a:pt x="104775" y="495300"/>
                </a:cubicBezTo>
                <a:cubicBezTo>
                  <a:pt x="103981" y="488950"/>
                  <a:pt x="103538" y="482546"/>
                  <a:pt x="102393" y="476250"/>
                </a:cubicBezTo>
                <a:cubicBezTo>
                  <a:pt x="101944" y="473780"/>
                  <a:pt x="100204" y="471609"/>
                  <a:pt x="100012" y="469106"/>
                </a:cubicBezTo>
                <a:cubicBezTo>
                  <a:pt x="98611" y="450886"/>
                  <a:pt x="99511" y="432514"/>
                  <a:pt x="97631" y="414337"/>
                </a:cubicBezTo>
                <a:cubicBezTo>
                  <a:pt x="97114" y="409344"/>
                  <a:pt x="94456" y="404812"/>
                  <a:pt x="92868" y="400050"/>
                </a:cubicBezTo>
                <a:cubicBezTo>
                  <a:pt x="92074" y="397669"/>
                  <a:pt x="92262" y="394681"/>
                  <a:pt x="90487" y="392906"/>
                </a:cubicBezTo>
                <a:lnTo>
                  <a:pt x="83343" y="385762"/>
                </a:lnTo>
                <a:cubicBezTo>
                  <a:pt x="74662" y="359716"/>
                  <a:pt x="88505" y="399161"/>
                  <a:pt x="76200" y="371475"/>
                </a:cubicBezTo>
                <a:cubicBezTo>
                  <a:pt x="71671" y="361286"/>
                  <a:pt x="71827" y="357361"/>
                  <a:pt x="69056" y="347662"/>
                </a:cubicBezTo>
                <a:cubicBezTo>
                  <a:pt x="68366" y="345248"/>
                  <a:pt x="67365" y="342932"/>
                  <a:pt x="66675" y="340518"/>
                </a:cubicBezTo>
                <a:cubicBezTo>
                  <a:pt x="59477" y="315328"/>
                  <a:pt x="70846" y="350655"/>
                  <a:pt x="59531" y="316706"/>
                </a:cubicBezTo>
                <a:cubicBezTo>
                  <a:pt x="58737" y="314325"/>
                  <a:pt x="58542" y="311651"/>
                  <a:pt x="57150" y="309562"/>
                </a:cubicBezTo>
                <a:cubicBezTo>
                  <a:pt x="53975" y="304800"/>
                  <a:pt x="49435" y="300705"/>
                  <a:pt x="47625" y="295275"/>
                </a:cubicBezTo>
                <a:cubicBezTo>
                  <a:pt x="41635" y="277311"/>
                  <a:pt x="49716" y="299460"/>
                  <a:pt x="40481" y="280987"/>
                </a:cubicBezTo>
                <a:cubicBezTo>
                  <a:pt x="39359" y="278742"/>
                  <a:pt x="40060" y="275411"/>
                  <a:pt x="38100" y="273843"/>
                </a:cubicBezTo>
                <a:cubicBezTo>
                  <a:pt x="35544" y="271799"/>
                  <a:pt x="31710" y="272402"/>
                  <a:pt x="28575" y="271462"/>
                </a:cubicBezTo>
                <a:cubicBezTo>
                  <a:pt x="23766" y="270020"/>
                  <a:pt x="19050" y="268288"/>
                  <a:pt x="14287" y="266700"/>
                </a:cubicBezTo>
                <a:lnTo>
                  <a:pt x="7143" y="264318"/>
                </a:lnTo>
                <a:cubicBezTo>
                  <a:pt x="4762" y="263524"/>
                  <a:pt x="1775" y="263711"/>
                  <a:pt x="0" y="261937"/>
                </a:cubicBezTo>
                <a:lnTo>
                  <a:pt x="16668" y="259556"/>
                </a:lnTo>
                <a:close/>
              </a:path>
            </a:pathLst>
          </a:custGeom>
          <a:solidFill>
            <a:srgbClr val="0099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6" name="Title 7"/>
          <p:cNvSpPr txBox="1">
            <a:spLocks/>
          </p:cNvSpPr>
          <p:nvPr/>
        </p:nvSpPr>
        <p:spPr>
          <a:xfrm>
            <a:off x="538163" y="3860806"/>
            <a:ext cx="938212" cy="35983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dirty="0" err="1">
                <a:latin typeface="Ramabhadra" pitchFamily="2" charset="0"/>
                <a:ea typeface="+mj-ea"/>
                <a:cs typeface="Ramabhadra" pitchFamily="2" charset="0"/>
              </a:rPr>
              <a:t>సౌదీ</a:t>
            </a:r>
            <a:r>
              <a:rPr lang="en-US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US" dirty="0" err="1">
                <a:latin typeface="Ramabhadra" pitchFamily="2" charset="0"/>
                <a:ea typeface="+mj-ea"/>
                <a:cs typeface="Ramabhadra" pitchFamily="2" charset="0"/>
              </a:rPr>
              <a:t>అరేబియా</a:t>
            </a:r>
            <a:endParaRPr lang="en-IN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742955" y="4347635"/>
            <a:ext cx="614363" cy="429684"/>
          </a:xfrm>
          <a:custGeom>
            <a:avLst/>
            <a:gdLst>
              <a:gd name="connsiteX0" fmla="*/ 583406 w 614363"/>
              <a:gd name="connsiteY0" fmla="*/ 3969 h 427832"/>
              <a:gd name="connsiteX1" fmla="*/ 585788 w 614363"/>
              <a:gd name="connsiteY1" fmla="*/ 49213 h 427832"/>
              <a:gd name="connsiteX2" fmla="*/ 590550 w 614363"/>
              <a:gd name="connsiteY2" fmla="*/ 56357 h 427832"/>
              <a:gd name="connsiteX3" fmla="*/ 597694 w 614363"/>
              <a:gd name="connsiteY3" fmla="*/ 73025 h 427832"/>
              <a:gd name="connsiteX4" fmla="*/ 607219 w 614363"/>
              <a:gd name="connsiteY4" fmla="*/ 96838 h 427832"/>
              <a:gd name="connsiteX5" fmla="*/ 609600 w 614363"/>
              <a:gd name="connsiteY5" fmla="*/ 103982 h 427832"/>
              <a:gd name="connsiteX6" fmla="*/ 611981 w 614363"/>
              <a:gd name="connsiteY6" fmla="*/ 149225 h 427832"/>
              <a:gd name="connsiteX7" fmla="*/ 614363 w 614363"/>
              <a:gd name="connsiteY7" fmla="*/ 156369 h 427832"/>
              <a:gd name="connsiteX8" fmla="*/ 611981 w 614363"/>
              <a:gd name="connsiteY8" fmla="*/ 173038 h 427832"/>
              <a:gd name="connsiteX9" fmla="*/ 609600 w 614363"/>
              <a:gd name="connsiteY9" fmla="*/ 180182 h 427832"/>
              <a:gd name="connsiteX10" fmla="*/ 602456 w 614363"/>
              <a:gd name="connsiteY10" fmla="*/ 184944 h 427832"/>
              <a:gd name="connsiteX11" fmla="*/ 585788 w 614363"/>
              <a:gd name="connsiteY11" fmla="*/ 189707 h 427832"/>
              <a:gd name="connsiteX12" fmla="*/ 578644 w 614363"/>
              <a:gd name="connsiteY12" fmla="*/ 194469 h 427832"/>
              <a:gd name="connsiteX13" fmla="*/ 576263 w 614363"/>
              <a:gd name="connsiteY13" fmla="*/ 206375 h 427832"/>
              <a:gd name="connsiteX14" fmla="*/ 571500 w 614363"/>
              <a:gd name="connsiteY14" fmla="*/ 220663 h 427832"/>
              <a:gd name="connsiteX15" fmla="*/ 564356 w 614363"/>
              <a:gd name="connsiteY15" fmla="*/ 234950 h 427832"/>
              <a:gd name="connsiteX16" fmla="*/ 542925 w 614363"/>
              <a:gd name="connsiteY16" fmla="*/ 244475 h 427832"/>
              <a:gd name="connsiteX17" fmla="*/ 535781 w 614363"/>
              <a:gd name="connsiteY17" fmla="*/ 246857 h 427832"/>
              <a:gd name="connsiteX18" fmla="*/ 526256 w 614363"/>
              <a:gd name="connsiteY18" fmla="*/ 251619 h 427832"/>
              <a:gd name="connsiteX19" fmla="*/ 514350 w 614363"/>
              <a:gd name="connsiteY19" fmla="*/ 254000 h 427832"/>
              <a:gd name="connsiteX20" fmla="*/ 507206 w 614363"/>
              <a:gd name="connsiteY20" fmla="*/ 258763 h 427832"/>
              <a:gd name="connsiteX21" fmla="*/ 500063 w 614363"/>
              <a:gd name="connsiteY21" fmla="*/ 261144 h 427832"/>
              <a:gd name="connsiteX22" fmla="*/ 476250 w 614363"/>
              <a:gd name="connsiteY22" fmla="*/ 273050 h 427832"/>
              <a:gd name="connsiteX23" fmla="*/ 454819 w 614363"/>
              <a:gd name="connsiteY23" fmla="*/ 282575 h 427832"/>
              <a:gd name="connsiteX24" fmla="*/ 447675 w 614363"/>
              <a:gd name="connsiteY24" fmla="*/ 284957 h 427832"/>
              <a:gd name="connsiteX25" fmla="*/ 440531 w 614363"/>
              <a:gd name="connsiteY25" fmla="*/ 289719 h 427832"/>
              <a:gd name="connsiteX26" fmla="*/ 419100 w 614363"/>
              <a:gd name="connsiteY26" fmla="*/ 296863 h 427832"/>
              <a:gd name="connsiteX27" fmla="*/ 404813 w 614363"/>
              <a:gd name="connsiteY27" fmla="*/ 301625 h 427832"/>
              <a:gd name="connsiteX28" fmla="*/ 397669 w 614363"/>
              <a:gd name="connsiteY28" fmla="*/ 304007 h 427832"/>
              <a:gd name="connsiteX29" fmla="*/ 381000 w 614363"/>
              <a:gd name="connsiteY29" fmla="*/ 308769 h 427832"/>
              <a:gd name="connsiteX30" fmla="*/ 364331 w 614363"/>
              <a:gd name="connsiteY30" fmla="*/ 318294 h 427832"/>
              <a:gd name="connsiteX31" fmla="*/ 354806 w 614363"/>
              <a:gd name="connsiteY31" fmla="*/ 332582 h 427832"/>
              <a:gd name="connsiteX32" fmla="*/ 347663 w 614363"/>
              <a:gd name="connsiteY32" fmla="*/ 346869 h 427832"/>
              <a:gd name="connsiteX33" fmla="*/ 340519 w 614363"/>
              <a:gd name="connsiteY33" fmla="*/ 351632 h 427832"/>
              <a:gd name="connsiteX34" fmla="*/ 314325 w 614363"/>
              <a:gd name="connsiteY34" fmla="*/ 354013 h 427832"/>
              <a:gd name="connsiteX35" fmla="*/ 307181 w 614363"/>
              <a:gd name="connsiteY35" fmla="*/ 356394 h 427832"/>
              <a:gd name="connsiteX36" fmla="*/ 283369 w 614363"/>
              <a:gd name="connsiteY36" fmla="*/ 361157 h 427832"/>
              <a:gd name="connsiteX37" fmla="*/ 276225 w 614363"/>
              <a:gd name="connsiteY37" fmla="*/ 363538 h 427832"/>
              <a:gd name="connsiteX38" fmla="*/ 269081 w 614363"/>
              <a:gd name="connsiteY38" fmla="*/ 368300 h 427832"/>
              <a:gd name="connsiteX39" fmla="*/ 252413 w 614363"/>
              <a:gd name="connsiteY39" fmla="*/ 380207 h 427832"/>
              <a:gd name="connsiteX40" fmla="*/ 171450 w 614363"/>
              <a:gd name="connsiteY40" fmla="*/ 382588 h 427832"/>
              <a:gd name="connsiteX41" fmla="*/ 157163 w 614363"/>
              <a:gd name="connsiteY41" fmla="*/ 387350 h 427832"/>
              <a:gd name="connsiteX42" fmla="*/ 142875 w 614363"/>
              <a:gd name="connsiteY42" fmla="*/ 396875 h 427832"/>
              <a:gd name="connsiteX43" fmla="*/ 128588 w 614363"/>
              <a:gd name="connsiteY43" fmla="*/ 406400 h 427832"/>
              <a:gd name="connsiteX44" fmla="*/ 114300 w 614363"/>
              <a:gd name="connsiteY44" fmla="*/ 411163 h 427832"/>
              <a:gd name="connsiteX45" fmla="*/ 102394 w 614363"/>
              <a:gd name="connsiteY45" fmla="*/ 423069 h 427832"/>
              <a:gd name="connsiteX46" fmla="*/ 88106 w 614363"/>
              <a:gd name="connsiteY46" fmla="*/ 427832 h 427832"/>
              <a:gd name="connsiteX47" fmla="*/ 42863 w 614363"/>
              <a:gd name="connsiteY47" fmla="*/ 425450 h 427832"/>
              <a:gd name="connsiteX48" fmla="*/ 28575 w 614363"/>
              <a:gd name="connsiteY48" fmla="*/ 420688 h 427832"/>
              <a:gd name="connsiteX49" fmla="*/ 26194 w 614363"/>
              <a:gd name="connsiteY49" fmla="*/ 380207 h 427832"/>
              <a:gd name="connsiteX50" fmla="*/ 21431 w 614363"/>
              <a:gd name="connsiteY50" fmla="*/ 365919 h 427832"/>
              <a:gd name="connsiteX51" fmla="*/ 19050 w 614363"/>
              <a:gd name="connsiteY51" fmla="*/ 358775 h 427832"/>
              <a:gd name="connsiteX52" fmla="*/ 16669 w 614363"/>
              <a:gd name="connsiteY52" fmla="*/ 351632 h 427832"/>
              <a:gd name="connsiteX53" fmla="*/ 14288 w 614363"/>
              <a:gd name="connsiteY53" fmla="*/ 320675 h 427832"/>
              <a:gd name="connsiteX54" fmla="*/ 11906 w 614363"/>
              <a:gd name="connsiteY54" fmla="*/ 311150 h 427832"/>
              <a:gd name="connsiteX55" fmla="*/ 4763 w 614363"/>
              <a:gd name="connsiteY55" fmla="*/ 304007 h 427832"/>
              <a:gd name="connsiteX56" fmla="*/ 0 w 614363"/>
              <a:gd name="connsiteY56" fmla="*/ 296863 h 427832"/>
              <a:gd name="connsiteX57" fmla="*/ 2381 w 614363"/>
              <a:gd name="connsiteY57" fmla="*/ 270669 h 427832"/>
              <a:gd name="connsiteX58" fmla="*/ 7144 w 614363"/>
              <a:gd name="connsiteY58" fmla="*/ 232569 h 427832"/>
              <a:gd name="connsiteX59" fmla="*/ 9525 w 614363"/>
              <a:gd name="connsiteY59" fmla="*/ 203994 h 427832"/>
              <a:gd name="connsiteX60" fmla="*/ 23813 w 614363"/>
              <a:gd name="connsiteY60" fmla="*/ 194469 h 427832"/>
              <a:gd name="connsiteX61" fmla="*/ 26194 w 614363"/>
              <a:gd name="connsiteY61" fmla="*/ 168275 h 427832"/>
              <a:gd name="connsiteX62" fmla="*/ 33338 w 614363"/>
              <a:gd name="connsiteY62" fmla="*/ 163513 h 427832"/>
              <a:gd name="connsiteX63" fmla="*/ 57150 w 614363"/>
              <a:gd name="connsiteY63" fmla="*/ 156369 h 427832"/>
              <a:gd name="connsiteX64" fmla="*/ 64294 w 614363"/>
              <a:gd name="connsiteY64" fmla="*/ 142082 h 427832"/>
              <a:gd name="connsiteX65" fmla="*/ 78581 w 614363"/>
              <a:gd name="connsiteY65" fmla="*/ 134938 h 427832"/>
              <a:gd name="connsiteX66" fmla="*/ 88106 w 614363"/>
              <a:gd name="connsiteY66" fmla="*/ 130175 h 427832"/>
              <a:gd name="connsiteX67" fmla="*/ 107156 w 614363"/>
              <a:gd name="connsiteY67" fmla="*/ 125413 h 427832"/>
              <a:gd name="connsiteX68" fmla="*/ 145256 w 614363"/>
              <a:gd name="connsiteY68" fmla="*/ 127794 h 427832"/>
              <a:gd name="connsiteX69" fmla="*/ 159544 w 614363"/>
              <a:gd name="connsiteY69" fmla="*/ 132557 h 427832"/>
              <a:gd name="connsiteX70" fmla="*/ 166688 w 614363"/>
              <a:gd name="connsiteY70" fmla="*/ 134938 h 427832"/>
              <a:gd name="connsiteX71" fmla="*/ 185738 w 614363"/>
              <a:gd name="connsiteY71" fmla="*/ 151607 h 427832"/>
              <a:gd name="connsiteX72" fmla="*/ 192881 w 614363"/>
              <a:gd name="connsiteY72" fmla="*/ 156369 h 427832"/>
              <a:gd name="connsiteX73" fmla="*/ 209550 w 614363"/>
              <a:gd name="connsiteY73" fmla="*/ 161132 h 427832"/>
              <a:gd name="connsiteX74" fmla="*/ 214313 w 614363"/>
              <a:gd name="connsiteY74" fmla="*/ 168275 h 427832"/>
              <a:gd name="connsiteX75" fmla="*/ 216694 w 614363"/>
              <a:gd name="connsiteY75" fmla="*/ 175419 h 427832"/>
              <a:gd name="connsiteX76" fmla="*/ 219075 w 614363"/>
              <a:gd name="connsiteY76" fmla="*/ 220663 h 427832"/>
              <a:gd name="connsiteX77" fmla="*/ 233363 w 614363"/>
              <a:gd name="connsiteY77" fmla="*/ 215900 h 427832"/>
              <a:gd name="connsiteX78" fmla="*/ 247650 w 614363"/>
              <a:gd name="connsiteY78" fmla="*/ 203994 h 427832"/>
              <a:gd name="connsiteX79" fmla="*/ 254794 w 614363"/>
              <a:gd name="connsiteY79" fmla="*/ 199232 h 427832"/>
              <a:gd name="connsiteX80" fmla="*/ 261938 w 614363"/>
              <a:gd name="connsiteY80" fmla="*/ 184944 h 427832"/>
              <a:gd name="connsiteX81" fmla="*/ 269081 w 614363"/>
              <a:gd name="connsiteY81" fmla="*/ 182563 h 427832"/>
              <a:gd name="connsiteX82" fmla="*/ 290513 w 614363"/>
              <a:gd name="connsiteY82" fmla="*/ 168275 h 427832"/>
              <a:gd name="connsiteX83" fmla="*/ 297656 w 614363"/>
              <a:gd name="connsiteY83" fmla="*/ 163513 h 427832"/>
              <a:gd name="connsiteX84" fmla="*/ 307181 w 614363"/>
              <a:gd name="connsiteY84" fmla="*/ 149225 h 427832"/>
              <a:gd name="connsiteX85" fmla="*/ 309563 w 614363"/>
              <a:gd name="connsiteY85" fmla="*/ 142082 h 427832"/>
              <a:gd name="connsiteX86" fmla="*/ 319088 w 614363"/>
              <a:gd name="connsiteY86" fmla="*/ 127794 h 427832"/>
              <a:gd name="connsiteX87" fmla="*/ 328613 w 614363"/>
              <a:gd name="connsiteY87" fmla="*/ 113507 h 427832"/>
              <a:gd name="connsiteX88" fmla="*/ 338138 w 614363"/>
              <a:gd name="connsiteY88" fmla="*/ 99219 h 427832"/>
              <a:gd name="connsiteX89" fmla="*/ 352425 w 614363"/>
              <a:gd name="connsiteY89" fmla="*/ 94457 h 427832"/>
              <a:gd name="connsiteX90" fmla="*/ 359569 w 614363"/>
              <a:gd name="connsiteY90" fmla="*/ 92075 h 427832"/>
              <a:gd name="connsiteX91" fmla="*/ 369094 w 614363"/>
              <a:gd name="connsiteY91" fmla="*/ 89694 h 427832"/>
              <a:gd name="connsiteX92" fmla="*/ 376238 w 614363"/>
              <a:gd name="connsiteY92" fmla="*/ 84932 h 427832"/>
              <a:gd name="connsiteX93" fmla="*/ 392906 w 614363"/>
              <a:gd name="connsiteY93" fmla="*/ 68263 h 427832"/>
              <a:gd name="connsiteX94" fmla="*/ 397669 w 614363"/>
              <a:gd name="connsiteY94" fmla="*/ 53975 h 427832"/>
              <a:gd name="connsiteX95" fmla="*/ 407194 w 614363"/>
              <a:gd name="connsiteY95" fmla="*/ 42069 h 427832"/>
              <a:gd name="connsiteX96" fmla="*/ 497681 w 614363"/>
              <a:gd name="connsiteY96" fmla="*/ 39688 h 427832"/>
              <a:gd name="connsiteX97" fmla="*/ 511969 w 614363"/>
              <a:gd name="connsiteY97" fmla="*/ 37307 h 427832"/>
              <a:gd name="connsiteX98" fmla="*/ 554831 w 614363"/>
              <a:gd name="connsiteY98" fmla="*/ 32544 h 427832"/>
              <a:gd name="connsiteX99" fmla="*/ 569119 w 614363"/>
              <a:gd name="connsiteY99" fmla="*/ 27782 h 427832"/>
              <a:gd name="connsiteX100" fmla="*/ 578644 w 614363"/>
              <a:gd name="connsiteY100" fmla="*/ 25400 h 427832"/>
              <a:gd name="connsiteX101" fmla="*/ 583406 w 614363"/>
              <a:gd name="connsiteY101" fmla="*/ 3969 h 42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614363" h="427832">
                <a:moveTo>
                  <a:pt x="583406" y="3969"/>
                </a:moveTo>
                <a:cubicBezTo>
                  <a:pt x="584597" y="7938"/>
                  <a:pt x="583747" y="34249"/>
                  <a:pt x="585788" y="49213"/>
                </a:cubicBezTo>
                <a:cubicBezTo>
                  <a:pt x="586175" y="52049"/>
                  <a:pt x="589130" y="53872"/>
                  <a:pt x="590550" y="56357"/>
                </a:cubicBezTo>
                <a:cubicBezTo>
                  <a:pt x="599577" y="72155"/>
                  <a:pt x="591969" y="59667"/>
                  <a:pt x="597694" y="73025"/>
                </a:cubicBezTo>
                <a:cubicBezTo>
                  <a:pt x="608203" y="97548"/>
                  <a:pt x="596380" y="64322"/>
                  <a:pt x="607219" y="96838"/>
                </a:cubicBezTo>
                <a:lnTo>
                  <a:pt x="609600" y="103982"/>
                </a:lnTo>
                <a:cubicBezTo>
                  <a:pt x="610394" y="119063"/>
                  <a:pt x="610614" y="134185"/>
                  <a:pt x="611981" y="149225"/>
                </a:cubicBezTo>
                <a:cubicBezTo>
                  <a:pt x="612208" y="151725"/>
                  <a:pt x="614363" y="153859"/>
                  <a:pt x="614363" y="156369"/>
                </a:cubicBezTo>
                <a:cubicBezTo>
                  <a:pt x="614363" y="161982"/>
                  <a:pt x="613082" y="167534"/>
                  <a:pt x="611981" y="173038"/>
                </a:cubicBezTo>
                <a:cubicBezTo>
                  <a:pt x="611489" y="175499"/>
                  <a:pt x="611168" y="178222"/>
                  <a:pt x="609600" y="180182"/>
                </a:cubicBezTo>
                <a:cubicBezTo>
                  <a:pt x="607812" y="182417"/>
                  <a:pt x="605016" y="183664"/>
                  <a:pt x="602456" y="184944"/>
                </a:cubicBezTo>
                <a:cubicBezTo>
                  <a:pt x="599042" y="186651"/>
                  <a:pt x="588837" y="188945"/>
                  <a:pt x="585788" y="189707"/>
                </a:cubicBezTo>
                <a:cubicBezTo>
                  <a:pt x="583407" y="191294"/>
                  <a:pt x="580064" y="191984"/>
                  <a:pt x="578644" y="194469"/>
                </a:cubicBezTo>
                <a:cubicBezTo>
                  <a:pt x="576636" y="197983"/>
                  <a:pt x="577328" y="202470"/>
                  <a:pt x="576263" y="206375"/>
                </a:cubicBezTo>
                <a:cubicBezTo>
                  <a:pt x="574942" y="211218"/>
                  <a:pt x="573088" y="215900"/>
                  <a:pt x="571500" y="220663"/>
                </a:cubicBezTo>
                <a:cubicBezTo>
                  <a:pt x="569562" y="226476"/>
                  <a:pt x="568974" y="230332"/>
                  <a:pt x="564356" y="234950"/>
                </a:cubicBezTo>
                <a:cubicBezTo>
                  <a:pt x="558693" y="240613"/>
                  <a:pt x="550005" y="242115"/>
                  <a:pt x="542925" y="244475"/>
                </a:cubicBezTo>
                <a:cubicBezTo>
                  <a:pt x="540544" y="245269"/>
                  <a:pt x="538026" y="245734"/>
                  <a:pt x="535781" y="246857"/>
                </a:cubicBezTo>
                <a:cubicBezTo>
                  <a:pt x="532606" y="248444"/>
                  <a:pt x="529624" y="250497"/>
                  <a:pt x="526256" y="251619"/>
                </a:cubicBezTo>
                <a:cubicBezTo>
                  <a:pt x="522416" y="252899"/>
                  <a:pt x="518319" y="253206"/>
                  <a:pt x="514350" y="254000"/>
                </a:cubicBezTo>
                <a:cubicBezTo>
                  <a:pt x="511969" y="255588"/>
                  <a:pt x="509766" y="257483"/>
                  <a:pt x="507206" y="258763"/>
                </a:cubicBezTo>
                <a:cubicBezTo>
                  <a:pt x="504961" y="259885"/>
                  <a:pt x="502257" y="259925"/>
                  <a:pt x="500063" y="261144"/>
                </a:cubicBezTo>
                <a:cubicBezTo>
                  <a:pt x="476868" y="274030"/>
                  <a:pt x="494864" y="268397"/>
                  <a:pt x="476250" y="273050"/>
                </a:cubicBezTo>
                <a:cubicBezTo>
                  <a:pt x="464928" y="280598"/>
                  <a:pt x="471823" y="276907"/>
                  <a:pt x="454819" y="282575"/>
                </a:cubicBezTo>
                <a:cubicBezTo>
                  <a:pt x="452438" y="283369"/>
                  <a:pt x="449764" y="283565"/>
                  <a:pt x="447675" y="284957"/>
                </a:cubicBezTo>
                <a:cubicBezTo>
                  <a:pt x="445294" y="286544"/>
                  <a:pt x="443146" y="288557"/>
                  <a:pt x="440531" y="289719"/>
                </a:cubicBezTo>
                <a:cubicBezTo>
                  <a:pt x="440517" y="289725"/>
                  <a:pt x="422679" y="295670"/>
                  <a:pt x="419100" y="296863"/>
                </a:cubicBezTo>
                <a:lnTo>
                  <a:pt x="404813" y="301625"/>
                </a:lnTo>
                <a:cubicBezTo>
                  <a:pt x="402432" y="302419"/>
                  <a:pt x="400104" y="303398"/>
                  <a:pt x="397669" y="304007"/>
                </a:cubicBezTo>
                <a:cubicBezTo>
                  <a:pt x="392838" y="305215"/>
                  <a:pt x="385781" y="306720"/>
                  <a:pt x="381000" y="308769"/>
                </a:cubicBezTo>
                <a:cubicBezTo>
                  <a:pt x="372544" y="312393"/>
                  <a:pt x="371503" y="313513"/>
                  <a:pt x="364331" y="318294"/>
                </a:cubicBezTo>
                <a:cubicBezTo>
                  <a:pt x="361156" y="323057"/>
                  <a:pt x="356616" y="327152"/>
                  <a:pt x="354806" y="332582"/>
                </a:cubicBezTo>
                <a:cubicBezTo>
                  <a:pt x="352870" y="338391"/>
                  <a:pt x="352278" y="342254"/>
                  <a:pt x="347663" y="346869"/>
                </a:cubicBezTo>
                <a:cubicBezTo>
                  <a:pt x="345639" y="348893"/>
                  <a:pt x="343318" y="351032"/>
                  <a:pt x="340519" y="351632"/>
                </a:cubicBezTo>
                <a:cubicBezTo>
                  <a:pt x="331946" y="353469"/>
                  <a:pt x="323056" y="353219"/>
                  <a:pt x="314325" y="354013"/>
                </a:cubicBezTo>
                <a:cubicBezTo>
                  <a:pt x="311944" y="354807"/>
                  <a:pt x="309631" y="355850"/>
                  <a:pt x="307181" y="356394"/>
                </a:cubicBezTo>
                <a:cubicBezTo>
                  <a:pt x="286118" y="361074"/>
                  <a:pt x="299983" y="356410"/>
                  <a:pt x="283369" y="361157"/>
                </a:cubicBezTo>
                <a:cubicBezTo>
                  <a:pt x="280955" y="361847"/>
                  <a:pt x="278470" y="362416"/>
                  <a:pt x="276225" y="363538"/>
                </a:cubicBezTo>
                <a:cubicBezTo>
                  <a:pt x="273665" y="364818"/>
                  <a:pt x="271462" y="366713"/>
                  <a:pt x="269081" y="368300"/>
                </a:cubicBezTo>
                <a:cubicBezTo>
                  <a:pt x="265965" y="377648"/>
                  <a:pt x="267376" y="379767"/>
                  <a:pt x="252413" y="380207"/>
                </a:cubicBezTo>
                <a:lnTo>
                  <a:pt x="171450" y="382588"/>
                </a:lnTo>
                <a:cubicBezTo>
                  <a:pt x="166688" y="384175"/>
                  <a:pt x="160713" y="383800"/>
                  <a:pt x="157163" y="387350"/>
                </a:cubicBezTo>
                <a:cubicBezTo>
                  <a:pt x="148244" y="396269"/>
                  <a:pt x="153214" y="393429"/>
                  <a:pt x="142875" y="396875"/>
                </a:cubicBezTo>
                <a:cubicBezTo>
                  <a:pt x="138113" y="400050"/>
                  <a:pt x="134018" y="404590"/>
                  <a:pt x="128588" y="406400"/>
                </a:cubicBezTo>
                <a:lnTo>
                  <a:pt x="114300" y="411163"/>
                </a:lnTo>
                <a:cubicBezTo>
                  <a:pt x="109955" y="417682"/>
                  <a:pt x="109915" y="419726"/>
                  <a:pt x="102394" y="423069"/>
                </a:cubicBezTo>
                <a:cubicBezTo>
                  <a:pt x="97806" y="425108"/>
                  <a:pt x="88106" y="427832"/>
                  <a:pt x="88106" y="427832"/>
                </a:cubicBezTo>
                <a:cubicBezTo>
                  <a:pt x="73025" y="427038"/>
                  <a:pt x="57857" y="427249"/>
                  <a:pt x="42863" y="425450"/>
                </a:cubicBezTo>
                <a:cubicBezTo>
                  <a:pt x="37879" y="424852"/>
                  <a:pt x="28575" y="420688"/>
                  <a:pt x="28575" y="420688"/>
                </a:cubicBezTo>
                <a:cubicBezTo>
                  <a:pt x="27781" y="407194"/>
                  <a:pt x="27942" y="393610"/>
                  <a:pt x="26194" y="380207"/>
                </a:cubicBezTo>
                <a:cubicBezTo>
                  <a:pt x="25545" y="375229"/>
                  <a:pt x="23019" y="370682"/>
                  <a:pt x="21431" y="365919"/>
                </a:cubicBezTo>
                <a:lnTo>
                  <a:pt x="19050" y="358775"/>
                </a:lnTo>
                <a:lnTo>
                  <a:pt x="16669" y="351632"/>
                </a:lnTo>
                <a:cubicBezTo>
                  <a:pt x="15875" y="341313"/>
                  <a:pt x="15497" y="330954"/>
                  <a:pt x="14288" y="320675"/>
                </a:cubicBezTo>
                <a:cubicBezTo>
                  <a:pt x="13906" y="317425"/>
                  <a:pt x="13530" y="313992"/>
                  <a:pt x="11906" y="311150"/>
                </a:cubicBezTo>
                <a:cubicBezTo>
                  <a:pt x="10235" y="308226"/>
                  <a:pt x="6919" y="306594"/>
                  <a:pt x="4763" y="304007"/>
                </a:cubicBezTo>
                <a:cubicBezTo>
                  <a:pt x="2931" y="301808"/>
                  <a:pt x="1588" y="299244"/>
                  <a:pt x="0" y="296863"/>
                </a:cubicBezTo>
                <a:cubicBezTo>
                  <a:pt x="794" y="288132"/>
                  <a:pt x="1653" y="279406"/>
                  <a:pt x="2381" y="270669"/>
                </a:cubicBezTo>
                <a:cubicBezTo>
                  <a:pt x="5241" y="236354"/>
                  <a:pt x="1422" y="249739"/>
                  <a:pt x="7144" y="232569"/>
                </a:cubicBezTo>
                <a:cubicBezTo>
                  <a:pt x="7938" y="223044"/>
                  <a:pt x="5694" y="212751"/>
                  <a:pt x="9525" y="203994"/>
                </a:cubicBezTo>
                <a:cubicBezTo>
                  <a:pt x="11819" y="198750"/>
                  <a:pt x="23813" y="194469"/>
                  <a:pt x="23813" y="194469"/>
                </a:cubicBezTo>
                <a:cubicBezTo>
                  <a:pt x="24607" y="185738"/>
                  <a:pt x="23616" y="176655"/>
                  <a:pt x="26194" y="168275"/>
                </a:cubicBezTo>
                <a:cubicBezTo>
                  <a:pt x="27036" y="165540"/>
                  <a:pt x="30723" y="164675"/>
                  <a:pt x="33338" y="163513"/>
                </a:cubicBezTo>
                <a:cubicBezTo>
                  <a:pt x="40797" y="160198"/>
                  <a:pt x="49230" y="158349"/>
                  <a:pt x="57150" y="156369"/>
                </a:cubicBezTo>
                <a:cubicBezTo>
                  <a:pt x="59087" y="150557"/>
                  <a:pt x="59676" y="146699"/>
                  <a:pt x="64294" y="142082"/>
                </a:cubicBezTo>
                <a:cubicBezTo>
                  <a:pt x="70016" y="136360"/>
                  <a:pt x="71801" y="137844"/>
                  <a:pt x="78581" y="134938"/>
                </a:cubicBezTo>
                <a:cubicBezTo>
                  <a:pt x="81844" y="133540"/>
                  <a:pt x="84843" y="131573"/>
                  <a:pt x="88106" y="130175"/>
                </a:cubicBezTo>
                <a:cubicBezTo>
                  <a:pt x="94511" y="127430"/>
                  <a:pt x="100171" y="126810"/>
                  <a:pt x="107156" y="125413"/>
                </a:cubicBezTo>
                <a:cubicBezTo>
                  <a:pt x="119856" y="126207"/>
                  <a:pt x="132648" y="126075"/>
                  <a:pt x="145256" y="127794"/>
                </a:cubicBezTo>
                <a:cubicBezTo>
                  <a:pt x="150230" y="128472"/>
                  <a:pt x="154781" y="130969"/>
                  <a:pt x="159544" y="132557"/>
                </a:cubicBezTo>
                <a:lnTo>
                  <a:pt x="166688" y="134938"/>
                </a:lnTo>
                <a:cubicBezTo>
                  <a:pt x="174625" y="146845"/>
                  <a:pt x="169069" y="140494"/>
                  <a:pt x="185738" y="151607"/>
                </a:cubicBezTo>
                <a:cubicBezTo>
                  <a:pt x="188119" y="153194"/>
                  <a:pt x="190105" y="155675"/>
                  <a:pt x="192881" y="156369"/>
                </a:cubicBezTo>
                <a:cubicBezTo>
                  <a:pt x="204841" y="159359"/>
                  <a:pt x="199301" y="157715"/>
                  <a:pt x="209550" y="161132"/>
                </a:cubicBezTo>
                <a:cubicBezTo>
                  <a:pt x="211138" y="163513"/>
                  <a:pt x="213033" y="165715"/>
                  <a:pt x="214313" y="168275"/>
                </a:cubicBezTo>
                <a:cubicBezTo>
                  <a:pt x="215436" y="170520"/>
                  <a:pt x="216467" y="172919"/>
                  <a:pt x="216694" y="175419"/>
                </a:cubicBezTo>
                <a:cubicBezTo>
                  <a:pt x="218061" y="190459"/>
                  <a:pt x="218281" y="205582"/>
                  <a:pt x="219075" y="220663"/>
                </a:cubicBezTo>
                <a:cubicBezTo>
                  <a:pt x="223838" y="219075"/>
                  <a:pt x="229186" y="218685"/>
                  <a:pt x="233363" y="215900"/>
                </a:cubicBezTo>
                <a:cubicBezTo>
                  <a:pt x="251102" y="204074"/>
                  <a:pt x="229310" y="219277"/>
                  <a:pt x="247650" y="203994"/>
                </a:cubicBezTo>
                <a:cubicBezTo>
                  <a:pt x="249849" y="202162"/>
                  <a:pt x="252413" y="200819"/>
                  <a:pt x="254794" y="199232"/>
                </a:cubicBezTo>
                <a:cubicBezTo>
                  <a:pt x="256363" y="194525"/>
                  <a:pt x="257740" y="188302"/>
                  <a:pt x="261938" y="184944"/>
                </a:cubicBezTo>
                <a:cubicBezTo>
                  <a:pt x="263898" y="183376"/>
                  <a:pt x="266700" y="183357"/>
                  <a:pt x="269081" y="182563"/>
                </a:cubicBezTo>
                <a:lnTo>
                  <a:pt x="290513" y="168275"/>
                </a:lnTo>
                <a:lnTo>
                  <a:pt x="297656" y="163513"/>
                </a:lnTo>
                <a:cubicBezTo>
                  <a:pt x="300831" y="158750"/>
                  <a:pt x="305370" y="154655"/>
                  <a:pt x="307181" y="149225"/>
                </a:cubicBezTo>
                <a:cubicBezTo>
                  <a:pt x="307975" y="146844"/>
                  <a:pt x="308344" y="144276"/>
                  <a:pt x="309563" y="142082"/>
                </a:cubicBezTo>
                <a:cubicBezTo>
                  <a:pt x="312343" y="137078"/>
                  <a:pt x="315913" y="132557"/>
                  <a:pt x="319088" y="127794"/>
                </a:cubicBezTo>
                <a:lnTo>
                  <a:pt x="328613" y="113507"/>
                </a:lnTo>
                <a:cubicBezTo>
                  <a:pt x="328614" y="113506"/>
                  <a:pt x="338136" y="99220"/>
                  <a:pt x="338138" y="99219"/>
                </a:cubicBezTo>
                <a:lnTo>
                  <a:pt x="352425" y="94457"/>
                </a:lnTo>
                <a:cubicBezTo>
                  <a:pt x="354806" y="93663"/>
                  <a:pt x="357134" y="92684"/>
                  <a:pt x="359569" y="92075"/>
                </a:cubicBezTo>
                <a:lnTo>
                  <a:pt x="369094" y="89694"/>
                </a:lnTo>
                <a:cubicBezTo>
                  <a:pt x="371475" y="88107"/>
                  <a:pt x="373678" y="86212"/>
                  <a:pt x="376238" y="84932"/>
                </a:cubicBezTo>
                <a:cubicBezTo>
                  <a:pt x="386776" y="79663"/>
                  <a:pt x="386629" y="87094"/>
                  <a:pt x="392906" y="68263"/>
                </a:cubicBezTo>
                <a:lnTo>
                  <a:pt x="397669" y="53975"/>
                </a:lnTo>
                <a:cubicBezTo>
                  <a:pt x="399313" y="49042"/>
                  <a:pt x="399834" y="42608"/>
                  <a:pt x="407194" y="42069"/>
                </a:cubicBezTo>
                <a:cubicBezTo>
                  <a:pt x="437286" y="39867"/>
                  <a:pt x="467519" y="40482"/>
                  <a:pt x="497681" y="39688"/>
                </a:cubicBezTo>
                <a:cubicBezTo>
                  <a:pt x="502444" y="38894"/>
                  <a:pt x="507165" y="37787"/>
                  <a:pt x="511969" y="37307"/>
                </a:cubicBezTo>
                <a:cubicBezTo>
                  <a:pt x="536494" y="34854"/>
                  <a:pt x="538046" y="37579"/>
                  <a:pt x="554831" y="32544"/>
                </a:cubicBezTo>
                <a:cubicBezTo>
                  <a:pt x="559640" y="31102"/>
                  <a:pt x="564249" y="29000"/>
                  <a:pt x="569119" y="27782"/>
                </a:cubicBezTo>
                <a:cubicBezTo>
                  <a:pt x="572294" y="26988"/>
                  <a:pt x="575509" y="26340"/>
                  <a:pt x="578644" y="25400"/>
                </a:cubicBezTo>
                <a:cubicBezTo>
                  <a:pt x="583452" y="23957"/>
                  <a:pt x="582215" y="0"/>
                  <a:pt x="583406" y="3969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8" name="TextBox 27"/>
          <p:cNvSpPr txBox="1">
            <a:spLocks noChangeArrowheads="1"/>
          </p:cNvSpPr>
          <p:nvPr/>
        </p:nvSpPr>
        <p:spPr bwMode="auto">
          <a:xfrm rot="-879276">
            <a:off x="736606" y="4458905"/>
            <a:ext cx="785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యెమన్</a:t>
            </a:r>
          </a:p>
        </p:txBody>
      </p:sp>
      <p:sp>
        <p:nvSpPr>
          <p:cNvPr id="30" name="Freeform 29"/>
          <p:cNvSpPr/>
          <p:nvPr/>
        </p:nvSpPr>
        <p:spPr>
          <a:xfrm>
            <a:off x="1322389" y="3960284"/>
            <a:ext cx="493712" cy="558800"/>
          </a:xfrm>
          <a:custGeom>
            <a:avLst/>
            <a:gdLst>
              <a:gd name="connsiteX0" fmla="*/ 3969 w 494080"/>
              <a:gd name="connsiteY0" fmla="*/ 397669 h 559594"/>
              <a:gd name="connsiteX1" fmla="*/ 34926 w 494080"/>
              <a:gd name="connsiteY1" fmla="*/ 390525 h 559594"/>
              <a:gd name="connsiteX2" fmla="*/ 42069 w 494080"/>
              <a:gd name="connsiteY2" fmla="*/ 388144 h 559594"/>
              <a:gd name="connsiteX3" fmla="*/ 56357 w 494080"/>
              <a:gd name="connsiteY3" fmla="*/ 378619 h 559594"/>
              <a:gd name="connsiteX4" fmla="*/ 68263 w 494080"/>
              <a:gd name="connsiteY4" fmla="*/ 376237 h 559594"/>
              <a:gd name="connsiteX5" fmla="*/ 89694 w 494080"/>
              <a:gd name="connsiteY5" fmla="*/ 369094 h 559594"/>
              <a:gd name="connsiteX6" fmla="*/ 96838 w 494080"/>
              <a:gd name="connsiteY6" fmla="*/ 366712 h 559594"/>
              <a:gd name="connsiteX7" fmla="*/ 111126 w 494080"/>
              <a:gd name="connsiteY7" fmla="*/ 357187 h 559594"/>
              <a:gd name="connsiteX8" fmla="*/ 120651 w 494080"/>
              <a:gd name="connsiteY8" fmla="*/ 347662 h 559594"/>
              <a:gd name="connsiteX9" fmla="*/ 127794 w 494080"/>
              <a:gd name="connsiteY9" fmla="*/ 340519 h 559594"/>
              <a:gd name="connsiteX10" fmla="*/ 142082 w 494080"/>
              <a:gd name="connsiteY10" fmla="*/ 335756 h 559594"/>
              <a:gd name="connsiteX11" fmla="*/ 158751 w 494080"/>
              <a:gd name="connsiteY11" fmla="*/ 330994 h 559594"/>
              <a:gd name="connsiteX12" fmla="*/ 173038 w 494080"/>
              <a:gd name="connsiteY12" fmla="*/ 326231 h 559594"/>
              <a:gd name="connsiteX13" fmla="*/ 194469 w 494080"/>
              <a:gd name="connsiteY13" fmla="*/ 314325 h 559594"/>
              <a:gd name="connsiteX14" fmla="*/ 199232 w 494080"/>
              <a:gd name="connsiteY14" fmla="*/ 300037 h 559594"/>
              <a:gd name="connsiteX15" fmla="*/ 211138 w 494080"/>
              <a:gd name="connsiteY15" fmla="*/ 278606 h 559594"/>
              <a:gd name="connsiteX16" fmla="*/ 218282 w 494080"/>
              <a:gd name="connsiteY16" fmla="*/ 273844 h 559594"/>
              <a:gd name="connsiteX17" fmla="*/ 220663 w 494080"/>
              <a:gd name="connsiteY17" fmla="*/ 266700 h 559594"/>
              <a:gd name="connsiteX18" fmla="*/ 232569 w 494080"/>
              <a:gd name="connsiteY18" fmla="*/ 254794 h 559594"/>
              <a:gd name="connsiteX19" fmla="*/ 237332 w 494080"/>
              <a:gd name="connsiteY19" fmla="*/ 240506 h 559594"/>
              <a:gd name="connsiteX20" fmla="*/ 242094 w 494080"/>
              <a:gd name="connsiteY20" fmla="*/ 226219 h 559594"/>
              <a:gd name="connsiteX21" fmla="*/ 244476 w 494080"/>
              <a:gd name="connsiteY21" fmla="*/ 219075 h 559594"/>
              <a:gd name="connsiteX22" fmla="*/ 249238 w 494080"/>
              <a:gd name="connsiteY22" fmla="*/ 202406 h 559594"/>
              <a:gd name="connsiteX23" fmla="*/ 246857 w 494080"/>
              <a:gd name="connsiteY23" fmla="*/ 190500 h 559594"/>
              <a:gd name="connsiteX24" fmla="*/ 244476 w 494080"/>
              <a:gd name="connsiteY24" fmla="*/ 183356 h 559594"/>
              <a:gd name="connsiteX25" fmla="*/ 237332 w 494080"/>
              <a:gd name="connsiteY25" fmla="*/ 180975 h 559594"/>
              <a:gd name="connsiteX26" fmla="*/ 230188 w 494080"/>
              <a:gd name="connsiteY26" fmla="*/ 176212 h 559594"/>
              <a:gd name="connsiteX27" fmla="*/ 223044 w 494080"/>
              <a:gd name="connsiteY27" fmla="*/ 173831 h 559594"/>
              <a:gd name="connsiteX28" fmla="*/ 220663 w 494080"/>
              <a:gd name="connsiteY28" fmla="*/ 166687 h 559594"/>
              <a:gd name="connsiteX29" fmla="*/ 223044 w 494080"/>
              <a:gd name="connsiteY29" fmla="*/ 157162 h 559594"/>
              <a:gd name="connsiteX30" fmla="*/ 227807 w 494080"/>
              <a:gd name="connsiteY30" fmla="*/ 135731 h 559594"/>
              <a:gd name="connsiteX31" fmla="*/ 237332 w 494080"/>
              <a:gd name="connsiteY31" fmla="*/ 121444 h 559594"/>
              <a:gd name="connsiteX32" fmla="*/ 244476 w 494080"/>
              <a:gd name="connsiteY32" fmla="*/ 73819 h 559594"/>
              <a:gd name="connsiteX33" fmla="*/ 261144 w 494080"/>
              <a:gd name="connsiteY33" fmla="*/ 61912 h 559594"/>
              <a:gd name="connsiteX34" fmla="*/ 275432 w 494080"/>
              <a:gd name="connsiteY34" fmla="*/ 57150 h 559594"/>
              <a:gd name="connsiteX35" fmla="*/ 280194 w 494080"/>
              <a:gd name="connsiteY35" fmla="*/ 50006 h 559594"/>
              <a:gd name="connsiteX36" fmla="*/ 284957 w 494080"/>
              <a:gd name="connsiteY36" fmla="*/ 35719 h 559594"/>
              <a:gd name="connsiteX37" fmla="*/ 282576 w 494080"/>
              <a:gd name="connsiteY37" fmla="*/ 16669 h 559594"/>
              <a:gd name="connsiteX38" fmla="*/ 284957 w 494080"/>
              <a:gd name="connsiteY38" fmla="*/ 2381 h 559594"/>
              <a:gd name="connsiteX39" fmla="*/ 296863 w 494080"/>
              <a:gd name="connsiteY39" fmla="*/ 0 h 559594"/>
              <a:gd name="connsiteX40" fmla="*/ 313532 w 494080"/>
              <a:gd name="connsiteY40" fmla="*/ 9525 h 559594"/>
              <a:gd name="connsiteX41" fmla="*/ 318294 w 494080"/>
              <a:gd name="connsiteY41" fmla="*/ 23812 h 559594"/>
              <a:gd name="connsiteX42" fmla="*/ 330201 w 494080"/>
              <a:gd name="connsiteY42" fmla="*/ 38100 h 559594"/>
              <a:gd name="connsiteX43" fmla="*/ 332582 w 494080"/>
              <a:gd name="connsiteY43" fmla="*/ 45244 h 559594"/>
              <a:gd name="connsiteX44" fmla="*/ 339726 w 494080"/>
              <a:gd name="connsiteY44" fmla="*/ 50006 h 559594"/>
              <a:gd name="connsiteX45" fmla="*/ 356394 w 494080"/>
              <a:gd name="connsiteY45" fmla="*/ 57150 h 559594"/>
              <a:gd name="connsiteX46" fmla="*/ 365919 w 494080"/>
              <a:gd name="connsiteY46" fmla="*/ 61912 h 559594"/>
              <a:gd name="connsiteX47" fmla="*/ 373063 w 494080"/>
              <a:gd name="connsiteY47" fmla="*/ 64294 h 559594"/>
              <a:gd name="connsiteX48" fmla="*/ 387351 w 494080"/>
              <a:gd name="connsiteY48" fmla="*/ 71437 h 559594"/>
              <a:gd name="connsiteX49" fmla="*/ 401638 w 494080"/>
              <a:gd name="connsiteY49" fmla="*/ 80962 h 559594"/>
              <a:gd name="connsiteX50" fmla="*/ 408782 w 494080"/>
              <a:gd name="connsiteY50" fmla="*/ 85725 h 559594"/>
              <a:gd name="connsiteX51" fmla="*/ 423069 w 494080"/>
              <a:gd name="connsiteY51" fmla="*/ 90487 h 559594"/>
              <a:gd name="connsiteX52" fmla="*/ 439738 w 494080"/>
              <a:gd name="connsiteY52" fmla="*/ 100012 h 559594"/>
              <a:gd name="connsiteX53" fmla="*/ 449263 w 494080"/>
              <a:gd name="connsiteY53" fmla="*/ 121444 h 559594"/>
              <a:gd name="connsiteX54" fmla="*/ 451644 w 494080"/>
              <a:gd name="connsiteY54" fmla="*/ 128587 h 559594"/>
              <a:gd name="connsiteX55" fmla="*/ 468313 w 494080"/>
              <a:gd name="connsiteY55" fmla="*/ 150019 h 559594"/>
              <a:gd name="connsiteX56" fmla="*/ 475457 w 494080"/>
              <a:gd name="connsiteY56" fmla="*/ 154781 h 559594"/>
              <a:gd name="connsiteX57" fmla="*/ 482601 w 494080"/>
              <a:gd name="connsiteY57" fmla="*/ 157162 h 559594"/>
              <a:gd name="connsiteX58" fmla="*/ 487363 w 494080"/>
              <a:gd name="connsiteY58" fmla="*/ 183356 h 559594"/>
              <a:gd name="connsiteX59" fmla="*/ 465932 w 494080"/>
              <a:gd name="connsiteY59" fmla="*/ 200025 h 559594"/>
              <a:gd name="connsiteX60" fmla="*/ 458788 w 494080"/>
              <a:gd name="connsiteY60" fmla="*/ 204787 h 559594"/>
              <a:gd name="connsiteX61" fmla="*/ 446882 w 494080"/>
              <a:gd name="connsiteY61" fmla="*/ 226219 h 559594"/>
              <a:gd name="connsiteX62" fmla="*/ 427832 w 494080"/>
              <a:gd name="connsiteY62" fmla="*/ 254794 h 559594"/>
              <a:gd name="connsiteX63" fmla="*/ 418307 w 494080"/>
              <a:gd name="connsiteY63" fmla="*/ 269081 h 559594"/>
              <a:gd name="connsiteX64" fmla="*/ 406401 w 494080"/>
              <a:gd name="connsiteY64" fmla="*/ 290512 h 559594"/>
              <a:gd name="connsiteX65" fmla="*/ 401638 w 494080"/>
              <a:gd name="connsiteY65" fmla="*/ 297656 h 559594"/>
              <a:gd name="connsiteX66" fmla="*/ 361157 w 494080"/>
              <a:gd name="connsiteY66" fmla="*/ 304800 h 559594"/>
              <a:gd name="connsiteX67" fmla="*/ 356394 w 494080"/>
              <a:gd name="connsiteY67" fmla="*/ 319087 h 559594"/>
              <a:gd name="connsiteX68" fmla="*/ 349251 w 494080"/>
              <a:gd name="connsiteY68" fmla="*/ 333375 h 559594"/>
              <a:gd name="connsiteX69" fmla="*/ 346869 w 494080"/>
              <a:gd name="connsiteY69" fmla="*/ 371475 h 559594"/>
              <a:gd name="connsiteX70" fmla="*/ 342107 w 494080"/>
              <a:gd name="connsiteY70" fmla="*/ 385762 h 559594"/>
              <a:gd name="connsiteX71" fmla="*/ 323057 w 494080"/>
              <a:gd name="connsiteY71" fmla="*/ 395287 h 559594"/>
              <a:gd name="connsiteX72" fmla="*/ 299244 w 494080"/>
              <a:gd name="connsiteY72" fmla="*/ 397669 h 559594"/>
              <a:gd name="connsiteX73" fmla="*/ 289719 w 494080"/>
              <a:gd name="connsiteY73" fmla="*/ 400050 h 559594"/>
              <a:gd name="connsiteX74" fmla="*/ 277813 w 494080"/>
              <a:gd name="connsiteY74" fmla="*/ 414337 h 559594"/>
              <a:gd name="connsiteX75" fmla="*/ 273051 w 494080"/>
              <a:gd name="connsiteY75" fmla="*/ 428625 h 559594"/>
              <a:gd name="connsiteX76" fmla="*/ 268288 w 494080"/>
              <a:gd name="connsiteY76" fmla="*/ 442912 h 559594"/>
              <a:gd name="connsiteX77" fmla="*/ 265907 w 494080"/>
              <a:gd name="connsiteY77" fmla="*/ 450056 h 559594"/>
              <a:gd name="connsiteX78" fmla="*/ 258763 w 494080"/>
              <a:gd name="connsiteY78" fmla="*/ 464344 h 559594"/>
              <a:gd name="connsiteX79" fmla="*/ 251619 w 494080"/>
              <a:gd name="connsiteY79" fmla="*/ 469106 h 559594"/>
              <a:gd name="connsiteX80" fmla="*/ 244476 w 494080"/>
              <a:gd name="connsiteY80" fmla="*/ 471487 h 559594"/>
              <a:gd name="connsiteX81" fmla="*/ 211138 w 494080"/>
              <a:gd name="connsiteY81" fmla="*/ 473869 h 559594"/>
              <a:gd name="connsiteX82" fmla="*/ 203994 w 494080"/>
              <a:gd name="connsiteY82" fmla="*/ 478631 h 559594"/>
              <a:gd name="connsiteX83" fmla="*/ 196851 w 494080"/>
              <a:gd name="connsiteY83" fmla="*/ 481012 h 559594"/>
              <a:gd name="connsiteX84" fmla="*/ 192088 w 494080"/>
              <a:gd name="connsiteY84" fmla="*/ 488156 h 559594"/>
              <a:gd name="connsiteX85" fmla="*/ 184944 w 494080"/>
              <a:gd name="connsiteY85" fmla="*/ 495300 h 559594"/>
              <a:gd name="connsiteX86" fmla="*/ 175419 w 494080"/>
              <a:gd name="connsiteY86" fmla="*/ 509587 h 559594"/>
              <a:gd name="connsiteX87" fmla="*/ 170657 w 494080"/>
              <a:gd name="connsiteY87" fmla="*/ 526256 h 559594"/>
              <a:gd name="connsiteX88" fmla="*/ 161132 w 494080"/>
              <a:gd name="connsiteY88" fmla="*/ 531019 h 559594"/>
              <a:gd name="connsiteX89" fmla="*/ 153988 w 494080"/>
              <a:gd name="connsiteY89" fmla="*/ 535781 h 559594"/>
              <a:gd name="connsiteX90" fmla="*/ 146844 w 494080"/>
              <a:gd name="connsiteY90" fmla="*/ 538162 h 559594"/>
              <a:gd name="connsiteX91" fmla="*/ 92076 w 494080"/>
              <a:gd name="connsiteY91" fmla="*/ 540544 h 559594"/>
              <a:gd name="connsiteX92" fmla="*/ 75407 w 494080"/>
              <a:gd name="connsiteY92" fmla="*/ 545306 h 559594"/>
              <a:gd name="connsiteX93" fmla="*/ 53976 w 494080"/>
              <a:gd name="connsiteY93" fmla="*/ 552450 h 559594"/>
              <a:gd name="connsiteX94" fmla="*/ 39688 w 494080"/>
              <a:gd name="connsiteY94" fmla="*/ 557212 h 559594"/>
              <a:gd name="connsiteX95" fmla="*/ 32544 w 494080"/>
              <a:gd name="connsiteY95" fmla="*/ 559594 h 559594"/>
              <a:gd name="connsiteX96" fmla="*/ 30163 w 494080"/>
              <a:gd name="connsiteY96" fmla="*/ 478631 h 559594"/>
              <a:gd name="connsiteX97" fmla="*/ 25401 w 494080"/>
              <a:gd name="connsiteY97" fmla="*/ 464344 h 559594"/>
              <a:gd name="connsiteX98" fmla="*/ 23019 w 494080"/>
              <a:gd name="connsiteY98" fmla="*/ 457200 h 559594"/>
              <a:gd name="connsiteX99" fmla="*/ 15876 w 494080"/>
              <a:gd name="connsiteY99" fmla="*/ 452437 h 559594"/>
              <a:gd name="connsiteX100" fmla="*/ 11113 w 494080"/>
              <a:gd name="connsiteY100" fmla="*/ 438150 h 559594"/>
              <a:gd name="connsiteX101" fmla="*/ 3969 w 494080"/>
              <a:gd name="connsiteY101" fmla="*/ 397669 h 559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494080" h="559594">
                <a:moveTo>
                  <a:pt x="3969" y="397669"/>
                </a:moveTo>
                <a:cubicBezTo>
                  <a:pt x="7938" y="389732"/>
                  <a:pt x="27660" y="392601"/>
                  <a:pt x="34926" y="390525"/>
                </a:cubicBezTo>
                <a:cubicBezTo>
                  <a:pt x="37339" y="389836"/>
                  <a:pt x="39688" y="388938"/>
                  <a:pt x="42069" y="388144"/>
                </a:cubicBezTo>
                <a:cubicBezTo>
                  <a:pt x="46832" y="384969"/>
                  <a:pt x="50744" y="379742"/>
                  <a:pt x="56357" y="378619"/>
                </a:cubicBezTo>
                <a:cubicBezTo>
                  <a:pt x="60326" y="377825"/>
                  <a:pt x="64358" y="377302"/>
                  <a:pt x="68263" y="376237"/>
                </a:cubicBezTo>
                <a:cubicBezTo>
                  <a:pt x="68270" y="376235"/>
                  <a:pt x="86118" y="370286"/>
                  <a:pt x="89694" y="369094"/>
                </a:cubicBezTo>
                <a:cubicBezTo>
                  <a:pt x="92075" y="368300"/>
                  <a:pt x="94749" y="368104"/>
                  <a:pt x="96838" y="366712"/>
                </a:cubicBezTo>
                <a:lnTo>
                  <a:pt x="111126" y="357187"/>
                </a:lnTo>
                <a:cubicBezTo>
                  <a:pt x="115661" y="343582"/>
                  <a:pt x="109766" y="354919"/>
                  <a:pt x="120651" y="347662"/>
                </a:cubicBezTo>
                <a:cubicBezTo>
                  <a:pt x="123453" y="345794"/>
                  <a:pt x="124850" y="342154"/>
                  <a:pt x="127794" y="340519"/>
                </a:cubicBezTo>
                <a:cubicBezTo>
                  <a:pt x="132183" y="338081"/>
                  <a:pt x="137319" y="337344"/>
                  <a:pt x="142082" y="335756"/>
                </a:cubicBezTo>
                <a:cubicBezTo>
                  <a:pt x="166095" y="327752"/>
                  <a:pt x="128845" y="339966"/>
                  <a:pt x="158751" y="330994"/>
                </a:cubicBezTo>
                <a:cubicBezTo>
                  <a:pt x="163559" y="329551"/>
                  <a:pt x="168861" y="329016"/>
                  <a:pt x="173038" y="326231"/>
                </a:cubicBezTo>
                <a:cubicBezTo>
                  <a:pt x="189414" y="315314"/>
                  <a:pt x="181896" y="318516"/>
                  <a:pt x="194469" y="314325"/>
                </a:cubicBezTo>
                <a:lnTo>
                  <a:pt x="199232" y="300037"/>
                </a:lnTo>
                <a:cubicBezTo>
                  <a:pt x="201713" y="292593"/>
                  <a:pt x="204120" y="283284"/>
                  <a:pt x="211138" y="278606"/>
                </a:cubicBezTo>
                <a:lnTo>
                  <a:pt x="218282" y="273844"/>
                </a:lnTo>
                <a:cubicBezTo>
                  <a:pt x="219076" y="271463"/>
                  <a:pt x="219095" y="268660"/>
                  <a:pt x="220663" y="266700"/>
                </a:cubicBezTo>
                <a:cubicBezTo>
                  <a:pt x="230982" y="253801"/>
                  <a:pt x="225426" y="270866"/>
                  <a:pt x="232569" y="254794"/>
                </a:cubicBezTo>
                <a:cubicBezTo>
                  <a:pt x="234608" y="250206"/>
                  <a:pt x="235744" y="245269"/>
                  <a:pt x="237332" y="240506"/>
                </a:cubicBezTo>
                <a:lnTo>
                  <a:pt x="242094" y="226219"/>
                </a:lnTo>
                <a:cubicBezTo>
                  <a:pt x="242888" y="223838"/>
                  <a:pt x="243867" y="221510"/>
                  <a:pt x="244476" y="219075"/>
                </a:cubicBezTo>
                <a:cubicBezTo>
                  <a:pt x="247466" y="207115"/>
                  <a:pt x="245822" y="212655"/>
                  <a:pt x="249238" y="202406"/>
                </a:cubicBezTo>
                <a:cubicBezTo>
                  <a:pt x="248444" y="198437"/>
                  <a:pt x="247839" y="194426"/>
                  <a:pt x="246857" y="190500"/>
                </a:cubicBezTo>
                <a:cubicBezTo>
                  <a:pt x="246248" y="188065"/>
                  <a:pt x="246251" y="185131"/>
                  <a:pt x="244476" y="183356"/>
                </a:cubicBezTo>
                <a:cubicBezTo>
                  <a:pt x="242701" y="181581"/>
                  <a:pt x="239713" y="181769"/>
                  <a:pt x="237332" y="180975"/>
                </a:cubicBezTo>
                <a:cubicBezTo>
                  <a:pt x="234951" y="179387"/>
                  <a:pt x="232748" y="177492"/>
                  <a:pt x="230188" y="176212"/>
                </a:cubicBezTo>
                <a:cubicBezTo>
                  <a:pt x="227943" y="175089"/>
                  <a:pt x="224819" y="175606"/>
                  <a:pt x="223044" y="173831"/>
                </a:cubicBezTo>
                <a:cubicBezTo>
                  <a:pt x="221269" y="172056"/>
                  <a:pt x="221457" y="169068"/>
                  <a:pt x="220663" y="166687"/>
                </a:cubicBezTo>
                <a:cubicBezTo>
                  <a:pt x="221457" y="163512"/>
                  <a:pt x="222402" y="160371"/>
                  <a:pt x="223044" y="157162"/>
                </a:cubicBezTo>
                <a:cubicBezTo>
                  <a:pt x="223891" y="152927"/>
                  <a:pt x="224912" y="140942"/>
                  <a:pt x="227807" y="135731"/>
                </a:cubicBezTo>
                <a:cubicBezTo>
                  <a:pt x="230587" y="130728"/>
                  <a:pt x="237332" y="121444"/>
                  <a:pt x="237332" y="121444"/>
                </a:cubicBezTo>
                <a:cubicBezTo>
                  <a:pt x="238072" y="108859"/>
                  <a:pt x="232597" y="85697"/>
                  <a:pt x="244476" y="73819"/>
                </a:cubicBezTo>
                <a:cubicBezTo>
                  <a:pt x="245177" y="73118"/>
                  <a:pt x="258713" y="62993"/>
                  <a:pt x="261144" y="61912"/>
                </a:cubicBezTo>
                <a:cubicBezTo>
                  <a:pt x="265732" y="59873"/>
                  <a:pt x="275432" y="57150"/>
                  <a:pt x="275432" y="57150"/>
                </a:cubicBezTo>
                <a:cubicBezTo>
                  <a:pt x="277019" y="54769"/>
                  <a:pt x="279032" y="52621"/>
                  <a:pt x="280194" y="50006"/>
                </a:cubicBezTo>
                <a:cubicBezTo>
                  <a:pt x="282233" y="45419"/>
                  <a:pt x="284957" y="35719"/>
                  <a:pt x="284957" y="35719"/>
                </a:cubicBezTo>
                <a:cubicBezTo>
                  <a:pt x="284163" y="29369"/>
                  <a:pt x="283721" y="22965"/>
                  <a:pt x="282576" y="16669"/>
                </a:cubicBezTo>
                <a:cubicBezTo>
                  <a:pt x="281468" y="10577"/>
                  <a:pt x="276316" y="7318"/>
                  <a:pt x="284957" y="2381"/>
                </a:cubicBezTo>
                <a:cubicBezTo>
                  <a:pt x="288471" y="373"/>
                  <a:pt x="292894" y="794"/>
                  <a:pt x="296863" y="0"/>
                </a:cubicBezTo>
                <a:cubicBezTo>
                  <a:pt x="298323" y="730"/>
                  <a:pt x="312001" y="7076"/>
                  <a:pt x="313532" y="9525"/>
                </a:cubicBezTo>
                <a:cubicBezTo>
                  <a:pt x="316193" y="13782"/>
                  <a:pt x="314744" y="20262"/>
                  <a:pt x="318294" y="23812"/>
                </a:cubicBezTo>
                <a:cubicBezTo>
                  <a:pt x="327462" y="32980"/>
                  <a:pt x="323570" y="28154"/>
                  <a:pt x="330201" y="38100"/>
                </a:cubicBezTo>
                <a:cubicBezTo>
                  <a:pt x="330995" y="40481"/>
                  <a:pt x="331014" y="43284"/>
                  <a:pt x="332582" y="45244"/>
                </a:cubicBezTo>
                <a:cubicBezTo>
                  <a:pt x="334370" y="47479"/>
                  <a:pt x="337241" y="48586"/>
                  <a:pt x="339726" y="50006"/>
                </a:cubicBezTo>
                <a:cubicBezTo>
                  <a:pt x="355524" y="59033"/>
                  <a:pt x="343036" y="51425"/>
                  <a:pt x="356394" y="57150"/>
                </a:cubicBezTo>
                <a:cubicBezTo>
                  <a:pt x="359657" y="58548"/>
                  <a:pt x="362656" y="60514"/>
                  <a:pt x="365919" y="61912"/>
                </a:cubicBezTo>
                <a:cubicBezTo>
                  <a:pt x="368226" y="62901"/>
                  <a:pt x="370818" y="63171"/>
                  <a:pt x="373063" y="64294"/>
                </a:cubicBezTo>
                <a:cubicBezTo>
                  <a:pt x="391521" y="73523"/>
                  <a:pt x="369401" y="65454"/>
                  <a:pt x="387351" y="71437"/>
                </a:cubicBezTo>
                <a:lnTo>
                  <a:pt x="401638" y="80962"/>
                </a:lnTo>
                <a:cubicBezTo>
                  <a:pt x="404019" y="82550"/>
                  <a:pt x="406067" y="84820"/>
                  <a:pt x="408782" y="85725"/>
                </a:cubicBezTo>
                <a:cubicBezTo>
                  <a:pt x="413544" y="87312"/>
                  <a:pt x="418579" y="88242"/>
                  <a:pt x="423069" y="90487"/>
                </a:cubicBezTo>
                <a:cubicBezTo>
                  <a:pt x="435154" y="96530"/>
                  <a:pt x="429640" y="93281"/>
                  <a:pt x="439738" y="100012"/>
                </a:cubicBezTo>
                <a:cubicBezTo>
                  <a:pt x="447286" y="111333"/>
                  <a:pt x="443596" y="104440"/>
                  <a:pt x="449263" y="121444"/>
                </a:cubicBezTo>
                <a:cubicBezTo>
                  <a:pt x="450057" y="123825"/>
                  <a:pt x="450252" y="126499"/>
                  <a:pt x="451644" y="128587"/>
                </a:cubicBezTo>
                <a:cubicBezTo>
                  <a:pt x="458281" y="138543"/>
                  <a:pt x="459920" y="143025"/>
                  <a:pt x="468313" y="150019"/>
                </a:cubicBezTo>
                <a:cubicBezTo>
                  <a:pt x="470512" y="151851"/>
                  <a:pt x="472897" y="153501"/>
                  <a:pt x="475457" y="154781"/>
                </a:cubicBezTo>
                <a:cubicBezTo>
                  <a:pt x="477702" y="155903"/>
                  <a:pt x="480220" y="156368"/>
                  <a:pt x="482601" y="157162"/>
                </a:cubicBezTo>
                <a:cubicBezTo>
                  <a:pt x="492207" y="166769"/>
                  <a:pt x="494080" y="164884"/>
                  <a:pt x="487363" y="183356"/>
                </a:cubicBezTo>
                <a:cubicBezTo>
                  <a:pt x="485573" y="188280"/>
                  <a:pt x="467044" y="199284"/>
                  <a:pt x="465932" y="200025"/>
                </a:cubicBezTo>
                <a:lnTo>
                  <a:pt x="458788" y="204787"/>
                </a:lnTo>
                <a:cubicBezTo>
                  <a:pt x="454598" y="217360"/>
                  <a:pt x="457798" y="209845"/>
                  <a:pt x="446882" y="226219"/>
                </a:cubicBezTo>
                <a:lnTo>
                  <a:pt x="427832" y="254794"/>
                </a:lnTo>
                <a:lnTo>
                  <a:pt x="418307" y="269081"/>
                </a:lnTo>
                <a:cubicBezTo>
                  <a:pt x="414116" y="281655"/>
                  <a:pt x="417318" y="274137"/>
                  <a:pt x="406401" y="290512"/>
                </a:cubicBezTo>
                <a:cubicBezTo>
                  <a:pt x="404813" y="292893"/>
                  <a:pt x="404353" y="296751"/>
                  <a:pt x="401638" y="297656"/>
                </a:cubicBezTo>
                <a:cubicBezTo>
                  <a:pt x="379034" y="305192"/>
                  <a:pt x="392350" y="301965"/>
                  <a:pt x="361157" y="304800"/>
                </a:cubicBezTo>
                <a:cubicBezTo>
                  <a:pt x="359569" y="309562"/>
                  <a:pt x="359178" y="314910"/>
                  <a:pt x="356394" y="319087"/>
                </a:cubicBezTo>
                <a:cubicBezTo>
                  <a:pt x="350240" y="328320"/>
                  <a:pt x="352537" y="323516"/>
                  <a:pt x="349251" y="333375"/>
                </a:cubicBezTo>
                <a:cubicBezTo>
                  <a:pt x="348457" y="346075"/>
                  <a:pt x="348588" y="358867"/>
                  <a:pt x="346869" y="371475"/>
                </a:cubicBezTo>
                <a:cubicBezTo>
                  <a:pt x="346191" y="376449"/>
                  <a:pt x="343694" y="381000"/>
                  <a:pt x="342107" y="385762"/>
                </a:cubicBezTo>
                <a:cubicBezTo>
                  <a:pt x="338026" y="398006"/>
                  <a:pt x="342044" y="393053"/>
                  <a:pt x="323057" y="395287"/>
                </a:cubicBezTo>
                <a:cubicBezTo>
                  <a:pt x="315134" y="396219"/>
                  <a:pt x="307182" y="396875"/>
                  <a:pt x="299244" y="397669"/>
                </a:cubicBezTo>
                <a:cubicBezTo>
                  <a:pt x="296069" y="398463"/>
                  <a:pt x="292560" y="398426"/>
                  <a:pt x="289719" y="400050"/>
                </a:cubicBezTo>
                <a:cubicBezTo>
                  <a:pt x="284786" y="402869"/>
                  <a:pt x="280847" y="409788"/>
                  <a:pt x="277813" y="414337"/>
                </a:cubicBezTo>
                <a:lnTo>
                  <a:pt x="273051" y="428625"/>
                </a:lnTo>
                <a:lnTo>
                  <a:pt x="268288" y="442912"/>
                </a:lnTo>
                <a:lnTo>
                  <a:pt x="265907" y="450056"/>
                </a:lnTo>
                <a:cubicBezTo>
                  <a:pt x="263970" y="455867"/>
                  <a:pt x="263380" y="459727"/>
                  <a:pt x="258763" y="464344"/>
                </a:cubicBezTo>
                <a:cubicBezTo>
                  <a:pt x="256739" y="466368"/>
                  <a:pt x="254179" y="467826"/>
                  <a:pt x="251619" y="469106"/>
                </a:cubicBezTo>
                <a:cubicBezTo>
                  <a:pt x="249374" y="470228"/>
                  <a:pt x="246969" y="471194"/>
                  <a:pt x="244476" y="471487"/>
                </a:cubicBezTo>
                <a:cubicBezTo>
                  <a:pt x="233411" y="472789"/>
                  <a:pt x="222251" y="473075"/>
                  <a:pt x="211138" y="473869"/>
                </a:cubicBezTo>
                <a:cubicBezTo>
                  <a:pt x="208757" y="475456"/>
                  <a:pt x="206554" y="477351"/>
                  <a:pt x="203994" y="478631"/>
                </a:cubicBezTo>
                <a:cubicBezTo>
                  <a:pt x="201749" y="479753"/>
                  <a:pt x="198811" y="479444"/>
                  <a:pt x="196851" y="481012"/>
                </a:cubicBezTo>
                <a:cubicBezTo>
                  <a:pt x="194616" y="482800"/>
                  <a:pt x="193920" y="485957"/>
                  <a:pt x="192088" y="488156"/>
                </a:cubicBezTo>
                <a:cubicBezTo>
                  <a:pt x="189932" y="490743"/>
                  <a:pt x="187012" y="492642"/>
                  <a:pt x="184944" y="495300"/>
                </a:cubicBezTo>
                <a:cubicBezTo>
                  <a:pt x="181430" y="499818"/>
                  <a:pt x="175419" y="509587"/>
                  <a:pt x="175419" y="509587"/>
                </a:cubicBezTo>
                <a:cubicBezTo>
                  <a:pt x="175398" y="509669"/>
                  <a:pt x="171795" y="525117"/>
                  <a:pt x="170657" y="526256"/>
                </a:cubicBezTo>
                <a:cubicBezTo>
                  <a:pt x="168147" y="528766"/>
                  <a:pt x="164214" y="529258"/>
                  <a:pt x="161132" y="531019"/>
                </a:cubicBezTo>
                <a:cubicBezTo>
                  <a:pt x="158647" y="532439"/>
                  <a:pt x="156548" y="534501"/>
                  <a:pt x="153988" y="535781"/>
                </a:cubicBezTo>
                <a:cubicBezTo>
                  <a:pt x="151743" y="536903"/>
                  <a:pt x="149347" y="537969"/>
                  <a:pt x="146844" y="538162"/>
                </a:cubicBezTo>
                <a:cubicBezTo>
                  <a:pt x="128625" y="539564"/>
                  <a:pt x="110332" y="539750"/>
                  <a:pt x="92076" y="540544"/>
                </a:cubicBezTo>
                <a:cubicBezTo>
                  <a:pt x="68038" y="548556"/>
                  <a:pt x="105346" y="536324"/>
                  <a:pt x="75407" y="545306"/>
                </a:cubicBezTo>
                <a:cubicBezTo>
                  <a:pt x="68194" y="547470"/>
                  <a:pt x="61120" y="550069"/>
                  <a:pt x="53976" y="552450"/>
                </a:cubicBezTo>
                <a:lnTo>
                  <a:pt x="39688" y="557212"/>
                </a:lnTo>
                <a:lnTo>
                  <a:pt x="32544" y="559594"/>
                </a:lnTo>
                <a:cubicBezTo>
                  <a:pt x="31750" y="532606"/>
                  <a:pt x="32182" y="505555"/>
                  <a:pt x="30163" y="478631"/>
                </a:cubicBezTo>
                <a:cubicBezTo>
                  <a:pt x="29788" y="473625"/>
                  <a:pt x="26988" y="469106"/>
                  <a:pt x="25401" y="464344"/>
                </a:cubicBezTo>
                <a:cubicBezTo>
                  <a:pt x="24607" y="461963"/>
                  <a:pt x="25107" y="458593"/>
                  <a:pt x="23019" y="457200"/>
                </a:cubicBezTo>
                <a:lnTo>
                  <a:pt x="15876" y="452437"/>
                </a:lnTo>
                <a:cubicBezTo>
                  <a:pt x="14288" y="447675"/>
                  <a:pt x="11408" y="443161"/>
                  <a:pt x="11113" y="438150"/>
                </a:cubicBezTo>
                <a:cubicBezTo>
                  <a:pt x="8639" y="396084"/>
                  <a:pt x="0" y="405607"/>
                  <a:pt x="3969" y="397669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1" name="TextBox 30"/>
          <p:cNvSpPr txBox="1">
            <a:spLocks noChangeArrowheads="1"/>
          </p:cNvSpPr>
          <p:nvPr/>
        </p:nvSpPr>
        <p:spPr bwMode="auto">
          <a:xfrm rot="-2376241">
            <a:off x="1258888" y="4126018"/>
            <a:ext cx="6477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chemeClr val="bg1"/>
                </a:solidFill>
                <a:latin typeface="Ramabhadra" pitchFamily="2" charset="0"/>
                <a:cs typeface="Ramabhadra" pitchFamily="2" charset="0"/>
              </a:rPr>
              <a:t>ఒమన్</a:t>
            </a:r>
          </a:p>
        </p:txBody>
      </p:sp>
      <p:sp>
        <p:nvSpPr>
          <p:cNvPr id="32" name="Freeform 31"/>
          <p:cNvSpPr/>
          <p:nvPr/>
        </p:nvSpPr>
        <p:spPr>
          <a:xfrm>
            <a:off x="1171575" y="2963335"/>
            <a:ext cx="947738" cy="977900"/>
          </a:xfrm>
          <a:custGeom>
            <a:avLst/>
            <a:gdLst>
              <a:gd name="connsiteX0" fmla="*/ 92869 w 947738"/>
              <a:gd name="connsiteY0" fmla="*/ 643736 h 977111"/>
              <a:gd name="connsiteX1" fmla="*/ 85725 w 947738"/>
              <a:gd name="connsiteY1" fmla="*/ 629448 h 977111"/>
              <a:gd name="connsiteX2" fmla="*/ 78581 w 947738"/>
              <a:gd name="connsiteY2" fmla="*/ 624686 h 977111"/>
              <a:gd name="connsiteX3" fmla="*/ 76200 w 947738"/>
              <a:gd name="connsiteY3" fmla="*/ 615161 h 977111"/>
              <a:gd name="connsiteX4" fmla="*/ 66675 w 947738"/>
              <a:gd name="connsiteY4" fmla="*/ 600873 h 977111"/>
              <a:gd name="connsiteX5" fmla="*/ 61913 w 947738"/>
              <a:gd name="connsiteY5" fmla="*/ 586586 h 977111"/>
              <a:gd name="connsiteX6" fmla="*/ 59531 w 947738"/>
              <a:gd name="connsiteY6" fmla="*/ 579442 h 977111"/>
              <a:gd name="connsiteX7" fmla="*/ 69056 w 947738"/>
              <a:gd name="connsiteY7" fmla="*/ 550867 h 977111"/>
              <a:gd name="connsiteX8" fmla="*/ 71438 w 947738"/>
              <a:gd name="connsiteY8" fmla="*/ 543723 h 977111"/>
              <a:gd name="connsiteX9" fmla="*/ 73819 w 947738"/>
              <a:gd name="connsiteY9" fmla="*/ 536580 h 977111"/>
              <a:gd name="connsiteX10" fmla="*/ 69056 w 947738"/>
              <a:gd name="connsiteY10" fmla="*/ 498480 h 977111"/>
              <a:gd name="connsiteX11" fmla="*/ 64294 w 947738"/>
              <a:gd name="connsiteY11" fmla="*/ 491336 h 977111"/>
              <a:gd name="connsiteX12" fmla="*/ 42863 w 947738"/>
              <a:gd name="connsiteY12" fmla="*/ 472286 h 977111"/>
              <a:gd name="connsiteX13" fmla="*/ 38100 w 947738"/>
              <a:gd name="connsiteY13" fmla="*/ 465142 h 977111"/>
              <a:gd name="connsiteX14" fmla="*/ 23813 w 947738"/>
              <a:gd name="connsiteY14" fmla="*/ 460380 h 977111"/>
              <a:gd name="connsiteX15" fmla="*/ 16669 w 947738"/>
              <a:gd name="connsiteY15" fmla="*/ 453236 h 977111"/>
              <a:gd name="connsiteX16" fmla="*/ 11906 w 947738"/>
              <a:gd name="connsiteY16" fmla="*/ 438948 h 977111"/>
              <a:gd name="connsiteX17" fmla="*/ 4763 w 947738"/>
              <a:gd name="connsiteY17" fmla="*/ 405611 h 977111"/>
              <a:gd name="connsiteX18" fmla="*/ 0 w 947738"/>
              <a:gd name="connsiteY18" fmla="*/ 398467 h 977111"/>
              <a:gd name="connsiteX19" fmla="*/ 4763 w 947738"/>
              <a:gd name="connsiteY19" fmla="*/ 377036 h 977111"/>
              <a:gd name="connsiteX20" fmla="*/ 11906 w 947738"/>
              <a:gd name="connsiteY20" fmla="*/ 369892 h 977111"/>
              <a:gd name="connsiteX21" fmla="*/ 21431 w 947738"/>
              <a:gd name="connsiteY21" fmla="*/ 355605 h 977111"/>
              <a:gd name="connsiteX22" fmla="*/ 26194 w 947738"/>
              <a:gd name="connsiteY22" fmla="*/ 348461 h 977111"/>
              <a:gd name="connsiteX23" fmla="*/ 40481 w 947738"/>
              <a:gd name="connsiteY23" fmla="*/ 336555 h 977111"/>
              <a:gd name="connsiteX24" fmla="*/ 47625 w 947738"/>
              <a:gd name="connsiteY24" fmla="*/ 334173 h 977111"/>
              <a:gd name="connsiteX25" fmla="*/ 57150 w 947738"/>
              <a:gd name="connsiteY25" fmla="*/ 312742 h 977111"/>
              <a:gd name="connsiteX26" fmla="*/ 59531 w 947738"/>
              <a:gd name="connsiteY26" fmla="*/ 305598 h 977111"/>
              <a:gd name="connsiteX27" fmla="*/ 80963 w 947738"/>
              <a:gd name="connsiteY27" fmla="*/ 296073 h 977111"/>
              <a:gd name="connsiteX28" fmla="*/ 88106 w 947738"/>
              <a:gd name="connsiteY28" fmla="*/ 293692 h 977111"/>
              <a:gd name="connsiteX29" fmla="*/ 95250 w 947738"/>
              <a:gd name="connsiteY29" fmla="*/ 288930 h 977111"/>
              <a:gd name="connsiteX30" fmla="*/ 102394 w 947738"/>
              <a:gd name="connsiteY30" fmla="*/ 274642 h 977111"/>
              <a:gd name="connsiteX31" fmla="*/ 100013 w 947738"/>
              <a:gd name="connsiteY31" fmla="*/ 262736 h 977111"/>
              <a:gd name="connsiteX32" fmla="*/ 95250 w 947738"/>
              <a:gd name="connsiteY32" fmla="*/ 255592 h 977111"/>
              <a:gd name="connsiteX33" fmla="*/ 80963 w 947738"/>
              <a:gd name="connsiteY33" fmla="*/ 250830 h 977111"/>
              <a:gd name="connsiteX34" fmla="*/ 73819 w 947738"/>
              <a:gd name="connsiteY34" fmla="*/ 248448 h 977111"/>
              <a:gd name="connsiteX35" fmla="*/ 66675 w 947738"/>
              <a:gd name="connsiteY35" fmla="*/ 246067 h 977111"/>
              <a:gd name="connsiteX36" fmla="*/ 54769 w 947738"/>
              <a:gd name="connsiteY36" fmla="*/ 231780 h 977111"/>
              <a:gd name="connsiteX37" fmla="*/ 50006 w 947738"/>
              <a:gd name="connsiteY37" fmla="*/ 217492 h 977111"/>
              <a:gd name="connsiteX38" fmla="*/ 47625 w 947738"/>
              <a:gd name="connsiteY38" fmla="*/ 210348 h 977111"/>
              <a:gd name="connsiteX39" fmla="*/ 45244 w 947738"/>
              <a:gd name="connsiteY39" fmla="*/ 203205 h 977111"/>
              <a:gd name="connsiteX40" fmla="*/ 40481 w 947738"/>
              <a:gd name="connsiteY40" fmla="*/ 184155 h 977111"/>
              <a:gd name="connsiteX41" fmla="*/ 42863 w 947738"/>
              <a:gd name="connsiteY41" fmla="*/ 136530 h 977111"/>
              <a:gd name="connsiteX42" fmla="*/ 50006 w 947738"/>
              <a:gd name="connsiteY42" fmla="*/ 131767 h 977111"/>
              <a:gd name="connsiteX43" fmla="*/ 52388 w 947738"/>
              <a:gd name="connsiteY43" fmla="*/ 122242 h 977111"/>
              <a:gd name="connsiteX44" fmla="*/ 50006 w 947738"/>
              <a:gd name="connsiteY44" fmla="*/ 107955 h 977111"/>
              <a:gd name="connsiteX45" fmla="*/ 50006 w 947738"/>
              <a:gd name="connsiteY45" fmla="*/ 88905 h 977111"/>
              <a:gd name="connsiteX46" fmla="*/ 54769 w 947738"/>
              <a:gd name="connsiteY46" fmla="*/ 81761 h 977111"/>
              <a:gd name="connsiteX47" fmla="*/ 59531 w 947738"/>
              <a:gd name="connsiteY47" fmla="*/ 67473 h 977111"/>
              <a:gd name="connsiteX48" fmla="*/ 61913 w 947738"/>
              <a:gd name="connsiteY48" fmla="*/ 60330 h 977111"/>
              <a:gd name="connsiteX49" fmla="*/ 66675 w 947738"/>
              <a:gd name="connsiteY49" fmla="*/ 53186 h 977111"/>
              <a:gd name="connsiteX50" fmla="*/ 69056 w 947738"/>
              <a:gd name="connsiteY50" fmla="*/ 34136 h 977111"/>
              <a:gd name="connsiteX51" fmla="*/ 71438 w 947738"/>
              <a:gd name="connsiteY51" fmla="*/ 26992 h 977111"/>
              <a:gd name="connsiteX52" fmla="*/ 85725 w 947738"/>
              <a:gd name="connsiteY52" fmla="*/ 17467 h 977111"/>
              <a:gd name="connsiteX53" fmla="*/ 107156 w 947738"/>
              <a:gd name="connsiteY53" fmla="*/ 798 h 977111"/>
              <a:gd name="connsiteX54" fmla="*/ 121444 w 947738"/>
              <a:gd name="connsiteY54" fmla="*/ 3180 h 977111"/>
              <a:gd name="connsiteX55" fmla="*/ 135731 w 947738"/>
              <a:gd name="connsiteY55" fmla="*/ 31755 h 977111"/>
              <a:gd name="connsiteX56" fmla="*/ 150019 w 947738"/>
              <a:gd name="connsiteY56" fmla="*/ 36517 h 977111"/>
              <a:gd name="connsiteX57" fmla="*/ 157163 w 947738"/>
              <a:gd name="connsiteY57" fmla="*/ 41280 h 977111"/>
              <a:gd name="connsiteX58" fmla="*/ 171450 w 947738"/>
              <a:gd name="connsiteY58" fmla="*/ 43661 h 977111"/>
              <a:gd name="connsiteX59" fmla="*/ 180975 w 947738"/>
              <a:gd name="connsiteY59" fmla="*/ 46042 h 977111"/>
              <a:gd name="connsiteX60" fmla="*/ 207169 w 947738"/>
              <a:gd name="connsiteY60" fmla="*/ 38898 h 977111"/>
              <a:gd name="connsiteX61" fmla="*/ 214313 w 947738"/>
              <a:gd name="connsiteY61" fmla="*/ 36517 h 977111"/>
              <a:gd name="connsiteX62" fmla="*/ 230981 w 947738"/>
              <a:gd name="connsiteY62" fmla="*/ 15086 h 977111"/>
              <a:gd name="connsiteX63" fmla="*/ 238125 w 947738"/>
              <a:gd name="connsiteY63" fmla="*/ 10323 h 977111"/>
              <a:gd name="connsiteX64" fmla="*/ 257175 w 947738"/>
              <a:gd name="connsiteY64" fmla="*/ 5561 h 977111"/>
              <a:gd name="connsiteX65" fmla="*/ 264319 w 947738"/>
              <a:gd name="connsiteY65" fmla="*/ 3180 h 977111"/>
              <a:gd name="connsiteX66" fmla="*/ 302419 w 947738"/>
              <a:gd name="connsiteY66" fmla="*/ 5561 h 977111"/>
              <a:gd name="connsiteX67" fmla="*/ 300038 w 947738"/>
              <a:gd name="connsiteY67" fmla="*/ 17467 h 977111"/>
              <a:gd name="connsiteX68" fmla="*/ 290513 w 947738"/>
              <a:gd name="connsiteY68" fmla="*/ 31755 h 977111"/>
              <a:gd name="connsiteX69" fmla="*/ 276225 w 947738"/>
              <a:gd name="connsiteY69" fmla="*/ 36517 h 977111"/>
              <a:gd name="connsiteX70" fmla="*/ 269081 w 947738"/>
              <a:gd name="connsiteY70" fmla="*/ 57948 h 977111"/>
              <a:gd name="connsiteX71" fmla="*/ 290513 w 947738"/>
              <a:gd name="connsiteY71" fmla="*/ 67473 h 977111"/>
              <a:gd name="connsiteX72" fmla="*/ 297656 w 947738"/>
              <a:gd name="connsiteY72" fmla="*/ 69855 h 977111"/>
              <a:gd name="connsiteX73" fmla="*/ 304800 w 947738"/>
              <a:gd name="connsiteY73" fmla="*/ 72236 h 977111"/>
              <a:gd name="connsiteX74" fmla="*/ 297656 w 947738"/>
              <a:gd name="connsiteY74" fmla="*/ 103192 h 977111"/>
              <a:gd name="connsiteX75" fmla="*/ 295275 w 947738"/>
              <a:gd name="connsiteY75" fmla="*/ 110336 h 977111"/>
              <a:gd name="connsiteX76" fmla="*/ 292894 w 947738"/>
              <a:gd name="connsiteY76" fmla="*/ 117480 h 977111"/>
              <a:gd name="connsiteX77" fmla="*/ 295275 w 947738"/>
              <a:gd name="connsiteY77" fmla="*/ 131767 h 977111"/>
              <a:gd name="connsiteX78" fmla="*/ 323850 w 947738"/>
              <a:gd name="connsiteY78" fmla="*/ 146055 h 977111"/>
              <a:gd name="connsiteX79" fmla="*/ 330994 w 947738"/>
              <a:gd name="connsiteY79" fmla="*/ 148436 h 977111"/>
              <a:gd name="connsiteX80" fmla="*/ 345281 w 947738"/>
              <a:gd name="connsiteY80" fmla="*/ 153198 h 977111"/>
              <a:gd name="connsiteX81" fmla="*/ 352425 w 947738"/>
              <a:gd name="connsiteY81" fmla="*/ 155580 h 977111"/>
              <a:gd name="connsiteX82" fmla="*/ 354806 w 947738"/>
              <a:gd name="connsiteY82" fmla="*/ 162723 h 977111"/>
              <a:gd name="connsiteX83" fmla="*/ 359569 w 947738"/>
              <a:gd name="connsiteY83" fmla="*/ 169867 h 977111"/>
              <a:gd name="connsiteX84" fmla="*/ 364331 w 947738"/>
              <a:gd name="connsiteY84" fmla="*/ 186536 h 977111"/>
              <a:gd name="connsiteX85" fmla="*/ 381000 w 947738"/>
              <a:gd name="connsiteY85" fmla="*/ 191298 h 977111"/>
              <a:gd name="connsiteX86" fmla="*/ 388144 w 947738"/>
              <a:gd name="connsiteY86" fmla="*/ 193680 h 977111"/>
              <a:gd name="connsiteX87" fmla="*/ 402431 w 947738"/>
              <a:gd name="connsiteY87" fmla="*/ 196061 h 977111"/>
              <a:gd name="connsiteX88" fmla="*/ 416719 w 947738"/>
              <a:gd name="connsiteY88" fmla="*/ 200823 h 977111"/>
              <a:gd name="connsiteX89" fmla="*/ 423863 w 947738"/>
              <a:gd name="connsiteY89" fmla="*/ 203205 h 977111"/>
              <a:gd name="connsiteX90" fmla="*/ 435769 w 947738"/>
              <a:gd name="connsiteY90" fmla="*/ 205586 h 977111"/>
              <a:gd name="connsiteX91" fmla="*/ 483394 w 947738"/>
              <a:gd name="connsiteY91" fmla="*/ 203205 h 977111"/>
              <a:gd name="connsiteX92" fmla="*/ 504825 w 947738"/>
              <a:gd name="connsiteY92" fmla="*/ 198442 h 977111"/>
              <a:gd name="connsiteX93" fmla="*/ 511969 w 947738"/>
              <a:gd name="connsiteY93" fmla="*/ 196061 h 977111"/>
              <a:gd name="connsiteX94" fmla="*/ 535781 w 947738"/>
              <a:gd name="connsiteY94" fmla="*/ 188917 h 977111"/>
              <a:gd name="connsiteX95" fmla="*/ 542925 w 947738"/>
              <a:gd name="connsiteY95" fmla="*/ 186536 h 977111"/>
              <a:gd name="connsiteX96" fmla="*/ 550069 w 947738"/>
              <a:gd name="connsiteY96" fmla="*/ 181773 h 977111"/>
              <a:gd name="connsiteX97" fmla="*/ 554831 w 947738"/>
              <a:gd name="connsiteY97" fmla="*/ 167486 h 977111"/>
              <a:gd name="connsiteX98" fmla="*/ 557213 w 947738"/>
              <a:gd name="connsiteY98" fmla="*/ 146055 h 977111"/>
              <a:gd name="connsiteX99" fmla="*/ 583406 w 947738"/>
              <a:gd name="connsiteY99" fmla="*/ 143673 h 977111"/>
              <a:gd name="connsiteX100" fmla="*/ 604838 w 947738"/>
              <a:gd name="connsiteY100" fmla="*/ 131767 h 977111"/>
              <a:gd name="connsiteX101" fmla="*/ 626269 w 947738"/>
              <a:gd name="connsiteY101" fmla="*/ 122242 h 977111"/>
              <a:gd name="connsiteX102" fmla="*/ 633413 w 947738"/>
              <a:gd name="connsiteY102" fmla="*/ 119861 h 977111"/>
              <a:gd name="connsiteX103" fmla="*/ 654844 w 947738"/>
              <a:gd name="connsiteY103" fmla="*/ 107955 h 977111"/>
              <a:gd name="connsiteX104" fmla="*/ 671513 w 947738"/>
              <a:gd name="connsiteY104" fmla="*/ 105573 h 977111"/>
              <a:gd name="connsiteX105" fmla="*/ 709613 w 947738"/>
              <a:gd name="connsiteY105" fmla="*/ 105573 h 977111"/>
              <a:gd name="connsiteX106" fmla="*/ 711994 w 947738"/>
              <a:gd name="connsiteY106" fmla="*/ 98430 h 977111"/>
              <a:gd name="connsiteX107" fmla="*/ 721519 w 947738"/>
              <a:gd name="connsiteY107" fmla="*/ 93667 h 977111"/>
              <a:gd name="connsiteX108" fmla="*/ 769144 w 947738"/>
              <a:gd name="connsiteY108" fmla="*/ 96048 h 977111"/>
              <a:gd name="connsiteX109" fmla="*/ 778669 w 947738"/>
              <a:gd name="connsiteY109" fmla="*/ 110336 h 977111"/>
              <a:gd name="connsiteX110" fmla="*/ 792956 w 947738"/>
              <a:gd name="connsiteY110" fmla="*/ 117480 h 977111"/>
              <a:gd name="connsiteX111" fmla="*/ 797719 w 947738"/>
              <a:gd name="connsiteY111" fmla="*/ 124623 h 977111"/>
              <a:gd name="connsiteX112" fmla="*/ 804863 w 947738"/>
              <a:gd name="connsiteY112" fmla="*/ 127005 h 977111"/>
              <a:gd name="connsiteX113" fmla="*/ 812006 w 947738"/>
              <a:gd name="connsiteY113" fmla="*/ 131767 h 977111"/>
              <a:gd name="connsiteX114" fmla="*/ 859631 w 947738"/>
              <a:gd name="connsiteY114" fmla="*/ 134148 h 977111"/>
              <a:gd name="connsiteX115" fmla="*/ 866775 w 947738"/>
              <a:gd name="connsiteY115" fmla="*/ 174630 h 977111"/>
              <a:gd name="connsiteX116" fmla="*/ 869156 w 947738"/>
              <a:gd name="connsiteY116" fmla="*/ 181773 h 977111"/>
              <a:gd name="connsiteX117" fmla="*/ 890588 w 947738"/>
              <a:gd name="connsiteY117" fmla="*/ 193680 h 977111"/>
              <a:gd name="connsiteX118" fmla="*/ 902494 w 947738"/>
              <a:gd name="connsiteY118" fmla="*/ 196061 h 977111"/>
              <a:gd name="connsiteX119" fmla="*/ 923925 w 947738"/>
              <a:gd name="connsiteY119" fmla="*/ 203205 h 977111"/>
              <a:gd name="connsiteX120" fmla="*/ 931069 w 947738"/>
              <a:gd name="connsiteY120" fmla="*/ 205586 h 977111"/>
              <a:gd name="connsiteX121" fmla="*/ 947738 w 947738"/>
              <a:gd name="connsiteY121" fmla="*/ 210348 h 977111"/>
              <a:gd name="connsiteX122" fmla="*/ 945356 w 947738"/>
              <a:gd name="connsiteY122" fmla="*/ 227017 h 977111"/>
              <a:gd name="connsiteX123" fmla="*/ 933450 w 947738"/>
              <a:gd name="connsiteY123" fmla="*/ 241305 h 977111"/>
              <a:gd name="connsiteX124" fmla="*/ 923925 w 947738"/>
              <a:gd name="connsiteY124" fmla="*/ 255592 h 977111"/>
              <a:gd name="connsiteX125" fmla="*/ 919163 w 947738"/>
              <a:gd name="connsiteY125" fmla="*/ 281786 h 977111"/>
              <a:gd name="connsiteX126" fmla="*/ 914400 w 947738"/>
              <a:gd name="connsiteY126" fmla="*/ 296073 h 977111"/>
              <a:gd name="connsiteX127" fmla="*/ 909638 w 947738"/>
              <a:gd name="connsiteY127" fmla="*/ 303217 h 977111"/>
              <a:gd name="connsiteX128" fmla="*/ 907256 w 947738"/>
              <a:gd name="connsiteY128" fmla="*/ 310361 h 977111"/>
              <a:gd name="connsiteX129" fmla="*/ 890588 w 947738"/>
              <a:gd name="connsiteY129" fmla="*/ 331792 h 977111"/>
              <a:gd name="connsiteX130" fmla="*/ 881063 w 947738"/>
              <a:gd name="connsiteY130" fmla="*/ 353223 h 977111"/>
              <a:gd name="connsiteX131" fmla="*/ 866775 w 947738"/>
              <a:gd name="connsiteY131" fmla="*/ 357986 h 977111"/>
              <a:gd name="connsiteX132" fmla="*/ 859631 w 947738"/>
              <a:gd name="connsiteY132" fmla="*/ 362748 h 977111"/>
              <a:gd name="connsiteX133" fmla="*/ 854869 w 947738"/>
              <a:gd name="connsiteY133" fmla="*/ 377036 h 977111"/>
              <a:gd name="connsiteX134" fmla="*/ 852488 w 947738"/>
              <a:gd name="connsiteY134" fmla="*/ 384180 h 977111"/>
              <a:gd name="connsiteX135" fmla="*/ 862013 w 947738"/>
              <a:gd name="connsiteY135" fmla="*/ 396086 h 977111"/>
              <a:gd name="connsiteX136" fmla="*/ 864394 w 947738"/>
              <a:gd name="connsiteY136" fmla="*/ 403230 h 977111"/>
              <a:gd name="connsiteX137" fmla="*/ 854869 w 947738"/>
              <a:gd name="connsiteY137" fmla="*/ 419898 h 977111"/>
              <a:gd name="connsiteX138" fmla="*/ 847725 w 947738"/>
              <a:gd name="connsiteY138" fmla="*/ 441330 h 977111"/>
              <a:gd name="connsiteX139" fmla="*/ 845344 w 947738"/>
              <a:gd name="connsiteY139" fmla="*/ 448473 h 977111"/>
              <a:gd name="connsiteX140" fmla="*/ 840581 w 947738"/>
              <a:gd name="connsiteY140" fmla="*/ 455617 h 977111"/>
              <a:gd name="connsiteX141" fmla="*/ 835819 w 947738"/>
              <a:gd name="connsiteY141" fmla="*/ 469905 h 977111"/>
              <a:gd name="connsiteX142" fmla="*/ 831056 w 947738"/>
              <a:gd name="connsiteY142" fmla="*/ 510386 h 977111"/>
              <a:gd name="connsiteX143" fmla="*/ 833438 w 947738"/>
              <a:gd name="connsiteY143" fmla="*/ 534198 h 977111"/>
              <a:gd name="connsiteX144" fmla="*/ 838200 w 947738"/>
              <a:gd name="connsiteY144" fmla="*/ 541342 h 977111"/>
              <a:gd name="connsiteX145" fmla="*/ 852488 w 947738"/>
              <a:gd name="connsiteY145" fmla="*/ 555630 h 977111"/>
              <a:gd name="connsiteX146" fmla="*/ 866775 w 947738"/>
              <a:gd name="connsiteY146" fmla="*/ 565155 h 977111"/>
              <a:gd name="connsiteX147" fmla="*/ 869156 w 947738"/>
              <a:gd name="connsiteY147" fmla="*/ 572298 h 977111"/>
              <a:gd name="connsiteX148" fmla="*/ 862013 w 947738"/>
              <a:gd name="connsiteY148" fmla="*/ 586586 h 977111"/>
              <a:gd name="connsiteX149" fmla="*/ 854869 w 947738"/>
              <a:gd name="connsiteY149" fmla="*/ 591348 h 977111"/>
              <a:gd name="connsiteX150" fmla="*/ 842963 w 947738"/>
              <a:gd name="connsiteY150" fmla="*/ 603255 h 977111"/>
              <a:gd name="connsiteX151" fmla="*/ 828675 w 947738"/>
              <a:gd name="connsiteY151" fmla="*/ 615161 h 977111"/>
              <a:gd name="connsiteX152" fmla="*/ 814388 w 947738"/>
              <a:gd name="connsiteY152" fmla="*/ 643736 h 977111"/>
              <a:gd name="connsiteX153" fmla="*/ 812006 w 947738"/>
              <a:gd name="connsiteY153" fmla="*/ 650880 h 977111"/>
              <a:gd name="connsiteX154" fmla="*/ 809625 w 947738"/>
              <a:gd name="connsiteY154" fmla="*/ 658023 h 977111"/>
              <a:gd name="connsiteX155" fmla="*/ 795338 w 947738"/>
              <a:gd name="connsiteY155" fmla="*/ 672311 h 977111"/>
              <a:gd name="connsiteX156" fmla="*/ 792956 w 947738"/>
              <a:gd name="connsiteY156" fmla="*/ 681836 h 977111"/>
              <a:gd name="connsiteX157" fmla="*/ 800100 w 947738"/>
              <a:gd name="connsiteY157" fmla="*/ 717555 h 977111"/>
              <a:gd name="connsiteX158" fmla="*/ 809625 w 947738"/>
              <a:gd name="connsiteY158" fmla="*/ 731842 h 977111"/>
              <a:gd name="connsiteX159" fmla="*/ 823913 w 947738"/>
              <a:gd name="connsiteY159" fmla="*/ 738986 h 977111"/>
              <a:gd name="connsiteX160" fmla="*/ 831056 w 947738"/>
              <a:gd name="connsiteY160" fmla="*/ 743748 h 977111"/>
              <a:gd name="connsiteX161" fmla="*/ 840581 w 947738"/>
              <a:gd name="connsiteY161" fmla="*/ 748511 h 977111"/>
              <a:gd name="connsiteX162" fmla="*/ 854869 w 947738"/>
              <a:gd name="connsiteY162" fmla="*/ 758036 h 977111"/>
              <a:gd name="connsiteX163" fmla="*/ 864394 w 947738"/>
              <a:gd name="connsiteY163" fmla="*/ 767561 h 977111"/>
              <a:gd name="connsiteX164" fmla="*/ 876300 w 947738"/>
              <a:gd name="connsiteY164" fmla="*/ 777086 h 977111"/>
              <a:gd name="connsiteX165" fmla="*/ 876300 w 947738"/>
              <a:gd name="connsiteY165" fmla="*/ 812805 h 977111"/>
              <a:gd name="connsiteX166" fmla="*/ 878681 w 947738"/>
              <a:gd name="connsiteY166" fmla="*/ 831855 h 977111"/>
              <a:gd name="connsiteX167" fmla="*/ 892969 w 947738"/>
              <a:gd name="connsiteY167" fmla="*/ 836617 h 977111"/>
              <a:gd name="connsiteX168" fmla="*/ 900113 w 947738"/>
              <a:gd name="connsiteY168" fmla="*/ 841380 h 977111"/>
              <a:gd name="connsiteX169" fmla="*/ 890588 w 947738"/>
              <a:gd name="connsiteY169" fmla="*/ 850905 h 977111"/>
              <a:gd name="connsiteX170" fmla="*/ 883444 w 947738"/>
              <a:gd name="connsiteY170" fmla="*/ 858048 h 977111"/>
              <a:gd name="connsiteX171" fmla="*/ 869156 w 947738"/>
              <a:gd name="connsiteY171" fmla="*/ 867573 h 977111"/>
              <a:gd name="connsiteX172" fmla="*/ 854869 w 947738"/>
              <a:gd name="connsiteY172" fmla="*/ 879480 h 977111"/>
              <a:gd name="connsiteX173" fmla="*/ 847725 w 947738"/>
              <a:gd name="connsiteY173" fmla="*/ 886623 h 977111"/>
              <a:gd name="connsiteX174" fmla="*/ 840581 w 947738"/>
              <a:gd name="connsiteY174" fmla="*/ 889005 h 977111"/>
              <a:gd name="connsiteX175" fmla="*/ 826294 w 947738"/>
              <a:gd name="connsiteY175" fmla="*/ 896148 h 977111"/>
              <a:gd name="connsiteX176" fmla="*/ 812006 w 947738"/>
              <a:gd name="connsiteY176" fmla="*/ 908055 h 977111"/>
              <a:gd name="connsiteX177" fmla="*/ 807244 w 947738"/>
              <a:gd name="connsiteY177" fmla="*/ 922342 h 977111"/>
              <a:gd name="connsiteX178" fmla="*/ 802481 w 947738"/>
              <a:gd name="connsiteY178" fmla="*/ 929486 h 977111"/>
              <a:gd name="connsiteX179" fmla="*/ 800100 w 947738"/>
              <a:gd name="connsiteY179" fmla="*/ 936630 h 977111"/>
              <a:gd name="connsiteX180" fmla="*/ 790575 w 947738"/>
              <a:gd name="connsiteY180" fmla="*/ 950917 h 977111"/>
              <a:gd name="connsiteX181" fmla="*/ 771525 w 947738"/>
              <a:gd name="connsiteY181" fmla="*/ 967586 h 977111"/>
              <a:gd name="connsiteX182" fmla="*/ 747713 w 947738"/>
              <a:gd name="connsiteY182" fmla="*/ 974730 h 977111"/>
              <a:gd name="connsiteX183" fmla="*/ 740569 w 947738"/>
              <a:gd name="connsiteY183" fmla="*/ 977111 h 977111"/>
              <a:gd name="connsiteX184" fmla="*/ 676275 w 947738"/>
              <a:gd name="connsiteY184" fmla="*/ 974730 h 977111"/>
              <a:gd name="connsiteX185" fmla="*/ 657225 w 947738"/>
              <a:gd name="connsiteY185" fmla="*/ 969967 h 977111"/>
              <a:gd name="connsiteX186" fmla="*/ 635794 w 947738"/>
              <a:gd name="connsiteY186" fmla="*/ 965205 h 977111"/>
              <a:gd name="connsiteX187" fmla="*/ 621506 w 947738"/>
              <a:gd name="connsiteY187" fmla="*/ 960442 h 977111"/>
              <a:gd name="connsiteX188" fmla="*/ 614363 w 947738"/>
              <a:gd name="connsiteY188" fmla="*/ 958061 h 977111"/>
              <a:gd name="connsiteX189" fmla="*/ 604838 w 947738"/>
              <a:gd name="connsiteY189" fmla="*/ 955680 h 977111"/>
              <a:gd name="connsiteX190" fmla="*/ 590550 w 947738"/>
              <a:gd name="connsiteY190" fmla="*/ 950917 h 977111"/>
              <a:gd name="connsiteX191" fmla="*/ 554831 w 947738"/>
              <a:gd name="connsiteY191" fmla="*/ 946155 h 977111"/>
              <a:gd name="connsiteX192" fmla="*/ 547688 w 947738"/>
              <a:gd name="connsiteY192" fmla="*/ 943773 h 977111"/>
              <a:gd name="connsiteX193" fmla="*/ 540544 w 947738"/>
              <a:gd name="connsiteY193" fmla="*/ 924723 h 977111"/>
              <a:gd name="connsiteX194" fmla="*/ 533400 w 947738"/>
              <a:gd name="connsiteY194" fmla="*/ 910436 h 977111"/>
              <a:gd name="connsiteX195" fmla="*/ 528638 w 947738"/>
              <a:gd name="connsiteY195" fmla="*/ 896148 h 977111"/>
              <a:gd name="connsiteX196" fmla="*/ 523875 w 947738"/>
              <a:gd name="connsiteY196" fmla="*/ 855667 h 977111"/>
              <a:gd name="connsiteX197" fmla="*/ 521494 w 947738"/>
              <a:gd name="connsiteY197" fmla="*/ 848523 h 977111"/>
              <a:gd name="connsiteX198" fmla="*/ 514350 w 947738"/>
              <a:gd name="connsiteY198" fmla="*/ 841380 h 977111"/>
              <a:gd name="connsiteX199" fmla="*/ 485775 w 947738"/>
              <a:gd name="connsiteY199" fmla="*/ 843761 h 977111"/>
              <a:gd name="connsiteX200" fmla="*/ 478631 w 947738"/>
              <a:gd name="connsiteY200" fmla="*/ 846142 h 977111"/>
              <a:gd name="connsiteX201" fmla="*/ 464344 w 947738"/>
              <a:gd name="connsiteY201" fmla="*/ 855667 h 977111"/>
              <a:gd name="connsiteX202" fmla="*/ 442913 w 947738"/>
              <a:gd name="connsiteY202" fmla="*/ 865192 h 977111"/>
              <a:gd name="connsiteX203" fmla="*/ 414338 w 947738"/>
              <a:gd name="connsiteY203" fmla="*/ 874717 h 977111"/>
              <a:gd name="connsiteX204" fmla="*/ 392906 w 947738"/>
              <a:gd name="connsiteY204" fmla="*/ 881861 h 977111"/>
              <a:gd name="connsiteX205" fmla="*/ 385763 w 947738"/>
              <a:gd name="connsiteY205" fmla="*/ 884242 h 977111"/>
              <a:gd name="connsiteX206" fmla="*/ 361950 w 947738"/>
              <a:gd name="connsiteY206" fmla="*/ 881861 h 977111"/>
              <a:gd name="connsiteX207" fmla="*/ 347663 w 947738"/>
              <a:gd name="connsiteY207" fmla="*/ 874717 h 977111"/>
              <a:gd name="connsiteX208" fmla="*/ 326231 w 947738"/>
              <a:gd name="connsiteY208" fmla="*/ 869955 h 977111"/>
              <a:gd name="connsiteX209" fmla="*/ 319088 w 947738"/>
              <a:gd name="connsiteY209" fmla="*/ 855667 h 977111"/>
              <a:gd name="connsiteX210" fmla="*/ 314325 w 947738"/>
              <a:gd name="connsiteY210" fmla="*/ 848523 h 977111"/>
              <a:gd name="connsiteX211" fmla="*/ 309563 w 947738"/>
              <a:gd name="connsiteY211" fmla="*/ 834236 h 977111"/>
              <a:gd name="connsiteX212" fmla="*/ 302419 w 947738"/>
              <a:gd name="connsiteY212" fmla="*/ 829473 h 977111"/>
              <a:gd name="connsiteX213" fmla="*/ 290513 w 947738"/>
              <a:gd name="connsiteY213" fmla="*/ 827092 h 977111"/>
              <a:gd name="connsiteX214" fmla="*/ 283369 w 947738"/>
              <a:gd name="connsiteY214" fmla="*/ 824711 h 977111"/>
              <a:gd name="connsiteX215" fmla="*/ 271463 w 947738"/>
              <a:gd name="connsiteY215" fmla="*/ 803280 h 977111"/>
              <a:gd name="connsiteX216" fmla="*/ 264319 w 947738"/>
              <a:gd name="connsiteY216" fmla="*/ 805661 h 977111"/>
              <a:gd name="connsiteX217" fmla="*/ 250031 w 947738"/>
              <a:gd name="connsiteY217" fmla="*/ 803280 h 977111"/>
              <a:gd name="connsiteX218" fmla="*/ 228600 w 947738"/>
              <a:gd name="connsiteY218" fmla="*/ 791373 h 977111"/>
              <a:gd name="connsiteX219" fmla="*/ 221456 w 947738"/>
              <a:gd name="connsiteY219" fmla="*/ 784230 h 977111"/>
              <a:gd name="connsiteX220" fmla="*/ 216694 w 947738"/>
              <a:gd name="connsiteY220" fmla="*/ 777086 h 977111"/>
              <a:gd name="connsiteX221" fmla="*/ 216694 w 947738"/>
              <a:gd name="connsiteY221" fmla="*/ 743748 h 977111"/>
              <a:gd name="connsiteX222" fmla="*/ 211931 w 947738"/>
              <a:gd name="connsiteY222" fmla="*/ 729461 h 977111"/>
              <a:gd name="connsiteX223" fmla="*/ 207169 w 947738"/>
              <a:gd name="connsiteY223" fmla="*/ 722317 h 977111"/>
              <a:gd name="connsiteX224" fmla="*/ 202406 w 947738"/>
              <a:gd name="connsiteY224" fmla="*/ 708030 h 977111"/>
              <a:gd name="connsiteX225" fmla="*/ 200025 w 947738"/>
              <a:gd name="connsiteY225" fmla="*/ 700886 h 977111"/>
              <a:gd name="connsiteX226" fmla="*/ 200025 w 947738"/>
              <a:gd name="connsiteY226" fmla="*/ 679455 h 977111"/>
              <a:gd name="connsiteX227" fmla="*/ 185738 w 947738"/>
              <a:gd name="connsiteY227" fmla="*/ 674692 h 977111"/>
              <a:gd name="connsiteX228" fmla="*/ 188119 w 947738"/>
              <a:gd name="connsiteY228" fmla="*/ 650880 h 977111"/>
              <a:gd name="connsiteX229" fmla="*/ 185738 w 947738"/>
              <a:gd name="connsiteY229" fmla="*/ 643736 h 977111"/>
              <a:gd name="connsiteX230" fmla="*/ 166688 w 947738"/>
              <a:gd name="connsiteY230" fmla="*/ 648498 h 977111"/>
              <a:gd name="connsiteX231" fmla="*/ 159544 w 947738"/>
              <a:gd name="connsiteY231" fmla="*/ 653261 h 977111"/>
              <a:gd name="connsiteX232" fmla="*/ 145256 w 947738"/>
              <a:gd name="connsiteY232" fmla="*/ 638973 h 977111"/>
              <a:gd name="connsiteX233" fmla="*/ 138113 w 947738"/>
              <a:gd name="connsiteY233" fmla="*/ 631830 h 977111"/>
              <a:gd name="connsiteX234" fmla="*/ 114300 w 947738"/>
              <a:gd name="connsiteY234" fmla="*/ 634211 h 977111"/>
              <a:gd name="connsiteX235" fmla="*/ 100013 w 947738"/>
              <a:gd name="connsiteY235" fmla="*/ 638973 h 977111"/>
              <a:gd name="connsiteX236" fmla="*/ 92869 w 947738"/>
              <a:gd name="connsiteY236" fmla="*/ 646117 h 977111"/>
              <a:gd name="connsiteX237" fmla="*/ 92869 w 947738"/>
              <a:gd name="connsiteY237" fmla="*/ 643736 h 977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</a:cxnLst>
            <a:rect l="l" t="t" r="r" b="b"/>
            <a:pathLst>
              <a:path w="947738" h="977111">
                <a:moveTo>
                  <a:pt x="92869" y="643736"/>
                </a:moveTo>
                <a:cubicBezTo>
                  <a:pt x="91678" y="640958"/>
                  <a:pt x="90342" y="634065"/>
                  <a:pt x="85725" y="629448"/>
                </a:cubicBezTo>
                <a:cubicBezTo>
                  <a:pt x="83701" y="627424"/>
                  <a:pt x="80962" y="626273"/>
                  <a:pt x="78581" y="624686"/>
                </a:cubicBezTo>
                <a:cubicBezTo>
                  <a:pt x="77787" y="621511"/>
                  <a:pt x="77664" y="618088"/>
                  <a:pt x="76200" y="615161"/>
                </a:cubicBezTo>
                <a:cubicBezTo>
                  <a:pt x="73640" y="610041"/>
                  <a:pt x="66675" y="600873"/>
                  <a:pt x="66675" y="600873"/>
                </a:cubicBezTo>
                <a:lnTo>
                  <a:pt x="61913" y="586586"/>
                </a:lnTo>
                <a:lnTo>
                  <a:pt x="59531" y="579442"/>
                </a:lnTo>
                <a:lnTo>
                  <a:pt x="69056" y="550867"/>
                </a:lnTo>
                <a:lnTo>
                  <a:pt x="71438" y="543723"/>
                </a:lnTo>
                <a:lnTo>
                  <a:pt x="73819" y="536580"/>
                </a:lnTo>
                <a:cubicBezTo>
                  <a:pt x="73363" y="530651"/>
                  <a:pt x="74199" y="508764"/>
                  <a:pt x="69056" y="498480"/>
                </a:cubicBezTo>
                <a:cubicBezTo>
                  <a:pt x="67776" y="495920"/>
                  <a:pt x="66318" y="493360"/>
                  <a:pt x="64294" y="491336"/>
                </a:cubicBezTo>
                <a:cubicBezTo>
                  <a:pt x="49976" y="477017"/>
                  <a:pt x="62868" y="502292"/>
                  <a:pt x="42863" y="472286"/>
                </a:cubicBezTo>
                <a:cubicBezTo>
                  <a:pt x="41275" y="469905"/>
                  <a:pt x="40527" y="466659"/>
                  <a:pt x="38100" y="465142"/>
                </a:cubicBezTo>
                <a:cubicBezTo>
                  <a:pt x="33843" y="462481"/>
                  <a:pt x="23813" y="460380"/>
                  <a:pt x="23813" y="460380"/>
                </a:cubicBezTo>
                <a:cubicBezTo>
                  <a:pt x="21432" y="457999"/>
                  <a:pt x="18305" y="456180"/>
                  <a:pt x="16669" y="453236"/>
                </a:cubicBezTo>
                <a:cubicBezTo>
                  <a:pt x="14231" y="448847"/>
                  <a:pt x="11906" y="438948"/>
                  <a:pt x="11906" y="438948"/>
                </a:cubicBezTo>
                <a:cubicBezTo>
                  <a:pt x="10899" y="430889"/>
                  <a:pt x="9983" y="413440"/>
                  <a:pt x="4763" y="405611"/>
                </a:cubicBezTo>
                <a:lnTo>
                  <a:pt x="0" y="398467"/>
                </a:lnTo>
                <a:cubicBezTo>
                  <a:pt x="289" y="396732"/>
                  <a:pt x="2156" y="380947"/>
                  <a:pt x="4763" y="377036"/>
                </a:cubicBezTo>
                <a:cubicBezTo>
                  <a:pt x="6631" y="374234"/>
                  <a:pt x="9839" y="372550"/>
                  <a:pt x="11906" y="369892"/>
                </a:cubicBezTo>
                <a:cubicBezTo>
                  <a:pt x="15420" y="365374"/>
                  <a:pt x="18256" y="360367"/>
                  <a:pt x="21431" y="355605"/>
                </a:cubicBezTo>
                <a:cubicBezTo>
                  <a:pt x="23019" y="353224"/>
                  <a:pt x="24170" y="350485"/>
                  <a:pt x="26194" y="348461"/>
                </a:cubicBezTo>
                <a:cubicBezTo>
                  <a:pt x="31461" y="343194"/>
                  <a:pt x="33850" y="339870"/>
                  <a:pt x="40481" y="336555"/>
                </a:cubicBezTo>
                <a:cubicBezTo>
                  <a:pt x="42726" y="335432"/>
                  <a:pt x="45244" y="334967"/>
                  <a:pt x="47625" y="334173"/>
                </a:cubicBezTo>
                <a:cubicBezTo>
                  <a:pt x="55173" y="322853"/>
                  <a:pt x="51483" y="329745"/>
                  <a:pt x="57150" y="312742"/>
                </a:cubicBezTo>
                <a:cubicBezTo>
                  <a:pt x="57944" y="310361"/>
                  <a:pt x="57442" y="306990"/>
                  <a:pt x="59531" y="305598"/>
                </a:cubicBezTo>
                <a:cubicBezTo>
                  <a:pt x="70852" y="298052"/>
                  <a:pt x="63960" y="301741"/>
                  <a:pt x="80963" y="296073"/>
                </a:cubicBezTo>
                <a:cubicBezTo>
                  <a:pt x="83344" y="295279"/>
                  <a:pt x="86018" y="295084"/>
                  <a:pt x="88106" y="293692"/>
                </a:cubicBezTo>
                <a:lnTo>
                  <a:pt x="95250" y="288930"/>
                </a:lnTo>
                <a:cubicBezTo>
                  <a:pt x="97659" y="285317"/>
                  <a:pt x="102394" y="279573"/>
                  <a:pt x="102394" y="274642"/>
                </a:cubicBezTo>
                <a:cubicBezTo>
                  <a:pt x="102394" y="270595"/>
                  <a:pt x="101434" y="266526"/>
                  <a:pt x="100013" y="262736"/>
                </a:cubicBezTo>
                <a:cubicBezTo>
                  <a:pt x="99008" y="260056"/>
                  <a:pt x="97677" y="257109"/>
                  <a:pt x="95250" y="255592"/>
                </a:cubicBezTo>
                <a:cubicBezTo>
                  <a:pt x="90993" y="252931"/>
                  <a:pt x="85725" y="252417"/>
                  <a:pt x="80963" y="250830"/>
                </a:cubicBezTo>
                <a:lnTo>
                  <a:pt x="73819" y="248448"/>
                </a:lnTo>
                <a:lnTo>
                  <a:pt x="66675" y="246067"/>
                </a:lnTo>
                <a:cubicBezTo>
                  <a:pt x="62189" y="241581"/>
                  <a:pt x="57421" y="237747"/>
                  <a:pt x="54769" y="231780"/>
                </a:cubicBezTo>
                <a:cubicBezTo>
                  <a:pt x="52730" y="227192"/>
                  <a:pt x="51594" y="222255"/>
                  <a:pt x="50006" y="217492"/>
                </a:cubicBezTo>
                <a:lnTo>
                  <a:pt x="47625" y="210348"/>
                </a:lnTo>
                <a:cubicBezTo>
                  <a:pt x="46831" y="207967"/>
                  <a:pt x="45736" y="205666"/>
                  <a:pt x="45244" y="203205"/>
                </a:cubicBezTo>
                <a:cubicBezTo>
                  <a:pt x="42371" y="188837"/>
                  <a:pt x="44143" y="195138"/>
                  <a:pt x="40481" y="184155"/>
                </a:cubicBezTo>
                <a:cubicBezTo>
                  <a:pt x="41275" y="168280"/>
                  <a:pt x="40020" y="152168"/>
                  <a:pt x="42863" y="136530"/>
                </a:cubicBezTo>
                <a:cubicBezTo>
                  <a:pt x="43375" y="133714"/>
                  <a:pt x="48419" y="134148"/>
                  <a:pt x="50006" y="131767"/>
                </a:cubicBezTo>
                <a:cubicBezTo>
                  <a:pt x="51821" y="129044"/>
                  <a:pt x="51594" y="125417"/>
                  <a:pt x="52388" y="122242"/>
                </a:cubicBezTo>
                <a:cubicBezTo>
                  <a:pt x="51594" y="117480"/>
                  <a:pt x="51053" y="112668"/>
                  <a:pt x="50006" y="107955"/>
                </a:cubicBezTo>
                <a:cubicBezTo>
                  <a:pt x="47691" y="97541"/>
                  <a:pt x="44962" y="102354"/>
                  <a:pt x="50006" y="88905"/>
                </a:cubicBezTo>
                <a:cubicBezTo>
                  <a:pt x="51011" y="86225"/>
                  <a:pt x="53181" y="84142"/>
                  <a:pt x="54769" y="81761"/>
                </a:cubicBezTo>
                <a:lnTo>
                  <a:pt x="59531" y="67473"/>
                </a:lnTo>
                <a:cubicBezTo>
                  <a:pt x="60325" y="65092"/>
                  <a:pt x="60521" y="62418"/>
                  <a:pt x="61913" y="60330"/>
                </a:cubicBezTo>
                <a:lnTo>
                  <a:pt x="66675" y="53186"/>
                </a:lnTo>
                <a:cubicBezTo>
                  <a:pt x="67469" y="46836"/>
                  <a:pt x="67911" y="40432"/>
                  <a:pt x="69056" y="34136"/>
                </a:cubicBezTo>
                <a:cubicBezTo>
                  <a:pt x="69505" y="31666"/>
                  <a:pt x="69663" y="28767"/>
                  <a:pt x="71438" y="26992"/>
                </a:cubicBezTo>
                <a:cubicBezTo>
                  <a:pt x="75485" y="22945"/>
                  <a:pt x="81678" y="21514"/>
                  <a:pt x="85725" y="17467"/>
                </a:cubicBezTo>
                <a:cubicBezTo>
                  <a:pt x="101788" y="1405"/>
                  <a:pt x="93624" y="5311"/>
                  <a:pt x="107156" y="798"/>
                </a:cubicBezTo>
                <a:cubicBezTo>
                  <a:pt x="111919" y="1592"/>
                  <a:pt x="117810" y="0"/>
                  <a:pt x="121444" y="3180"/>
                </a:cubicBezTo>
                <a:cubicBezTo>
                  <a:pt x="130547" y="11145"/>
                  <a:pt x="120536" y="26691"/>
                  <a:pt x="135731" y="31755"/>
                </a:cubicBezTo>
                <a:lnTo>
                  <a:pt x="150019" y="36517"/>
                </a:lnTo>
                <a:cubicBezTo>
                  <a:pt x="152400" y="38105"/>
                  <a:pt x="154448" y="40375"/>
                  <a:pt x="157163" y="41280"/>
                </a:cubicBezTo>
                <a:cubicBezTo>
                  <a:pt x="161743" y="42807"/>
                  <a:pt x="166716" y="42714"/>
                  <a:pt x="171450" y="43661"/>
                </a:cubicBezTo>
                <a:cubicBezTo>
                  <a:pt x="174659" y="44303"/>
                  <a:pt x="177800" y="45248"/>
                  <a:pt x="180975" y="46042"/>
                </a:cubicBezTo>
                <a:cubicBezTo>
                  <a:pt x="197806" y="42676"/>
                  <a:pt x="189038" y="44942"/>
                  <a:pt x="207169" y="38898"/>
                </a:cubicBezTo>
                <a:lnTo>
                  <a:pt x="214313" y="36517"/>
                </a:lnTo>
                <a:cubicBezTo>
                  <a:pt x="220948" y="26564"/>
                  <a:pt x="222590" y="22079"/>
                  <a:pt x="230981" y="15086"/>
                </a:cubicBezTo>
                <a:cubicBezTo>
                  <a:pt x="233180" y="13254"/>
                  <a:pt x="235435" y="11301"/>
                  <a:pt x="238125" y="10323"/>
                </a:cubicBezTo>
                <a:cubicBezTo>
                  <a:pt x="244276" y="8086"/>
                  <a:pt x="250965" y="7631"/>
                  <a:pt x="257175" y="5561"/>
                </a:cubicBezTo>
                <a:lnTo>
                  <a:pt x="264319" y="3180"/>
                </a:lnTo>
                <a:cubicBezTo>
                  <a:pt x="277019" y="3974"/>
                  <a:pt x="290604" y="835"/>
                  <a:pt x="302419" y="5561"/>
                </a:cubicBezTo>
                <a:cubicBezTo>
                  <a:pt x="306177" y="7064"/>
                  <a:pt x="301020" y="13541"/>
                  <a:pt x="300038" y="17467"/>
                </a:cubicBezTo>
                <a:cubicBezTo>
                  <a:pt x="298450" y="23817"/>
                  <a:pt x="296936" y="28186"/>
                  <a:pt x="290513" y="31755"/>
                </a:cubicBezTo>
                <a:cubicBezTo>
                  <a:pt x="286125" y="34193"/>
                  <a:pt x="276225" y="36517"/>
                  <a:pt x="276225" y="36517"/>
                </a:cubicBezTo>
                <a:cubicBezTo>
                  <a:pt x="271390" y="43769"/>
                  <a:pt x="262223" y="49376"/>
                  <a:pt x="269081" y="57948"/>
                </a:cubicBezTo>
                <a:cubicBezTo>
                  <a:pt x="273199" y="63095"/>
                  <a:pt x="286144" y="66017"/>
                  <a:pt x="290513" y="67473"/>
                </a:cubicBezTo>
                <a:lnTo>
                  <a:pt x="297656" y="69855"/>
                </a:lnTo>
                <a:lnTo>
                  <a:pt x="304800" y="72236"/>
                </a:lnTo>
                <a:cubicBezTo>
                  <a:pt x="301709" y="93878"/>
                  <a:pt x="304195" y="83577"/>
                  <a:pt x="297656" y="103192"/>
                </a:cubicBezTo>
                <a:lnTo>
                  <a:pt x="295275" y="110336"/>
                </a:lnTo>
                <a:lnTo>
                  <a:pt x="292894" y="117480"/>
                </a:lnTo>
                <a:cubicBezTo>
                  <a:pt x="293688" y="122242"/>
                  <a:pt x="292506" y="127812"/>
                  <a:pt x="295275" y="131767"/>
                </a:cubicBezTo>
                <a:cubicBezTo>
                  <a:pt x="300894" y="139794"/>
                  <a:pt x="315399" y="143238"/>
                  <a:pt x="323850" y="146055"/>
                </a:cubicBezTo>
                <a:lnTo>
                  <a:pt x="330994" y="148436"/>
                </a:lnTo>
                <a:lnTo>
                  <a:pt x="345281" y="153198"/>
                </a:lnTo>
                <a:lnTo>
                  <a:pt x="352425" y="155580"/>
                </a:lnTo>
                <a:cubicBezTo>
                  <a:pt x="353219" y="157961"/>
                  <a:pt x="353684" y="160478"/>
                  <a:pt x="354806" y="162723"/>
                </a:cubicBezTo>
                <a:cubicBezTo>
                  <a:pt x="356086" y="165283"/>
                  <a:pt x="358442" y="167236"/>
                  <a:pt x="359569" y="169867"/>
                </a:cubicBezTo>
                <a:cubicBezTo>
                  <a:pt x="359615" y="169975"/>
                  <a:pt x="363173" y="185378"/>
                  <a:pt x="364331" y="186536"/>
                </a:cubicBezTo>
                <a:cubicBezTo>
                  <a:pt x="365473" y="187678"/>
                  <a:pt x="380914" y="191273"/>
                  <a:pt x="381000" y="191298"/>
                </a:cubicBezTo>
                <a:cubicBezTo>
                  <a:pt x="383414" y="191988"/>
                  <a:pt x="385694" y="193135"/>
                  <a:pt x="388144" y="193680"/>
                </a:cubicBezTo>
                <a:cubicBezTo>
                  <a:pt x="392857" y="194727"/>
                  <a:pt x="397747" y="194890"/>
                  <a:pt x="402431" y="196061"/>
                </a:cubicBezTo>
                <a:cubicBezTo>
                  <a:pt x="407301" y="197278"/>
                  <a:pt x="411956" y="199235"/>
                  <a:pt x="416719" y="200823"/>
                </a:cubicBezTo>
                <a:cubicBezTo>
                  <a:pt x="419100" y="201617"/>
                  <a:pt x="421402" y="202713"/>
                  <a:pt x="423863" y="203205"/>
                </a:cubicBezTo>
                <a:lnTo>
                  <a:pt x="435769" y="205586"/>
                </a:lnTo>
                <a:cubicBezTo>
                  <a:pt x="451644" y="204792"/>
                  <a:pt x="467550" y="204473"/>
                  <a:pt x="483394" y="203205"/>
                </a:cubicBezTo>
                <a:cubicBezTo>
                  <a:pt x="486798" y="202933"/>
                  <a:pt x="500843" y="199579"/>
                  <a:pt x="504825" y="198442"/>
                </a:cubicBezTo>
                <a:cubicBezTo>
                  <a:pt x="507239" y="197752"/>
                  <a:pt x="509555" y="196751"/>
                  <a:pt x="511969" y="196061"/>
                </a:cubicBezTo>
                <a:cubicBezTo>
                  <a:pt x="537154" y="188866"/>
                  <a:pt x="501838" y="200232"/>
                  <a:pt x="535781" y="188917"/>
                </a:cubicBezTo>
                <a:lnTo>
                  <a:pt x="542925" y="186536"/>
                </a:lnTo>
                <a:cubicBezTo>
                  <a:pt x="545306" y="184948"/>
                  <a:pt x="548552" y="184200"/>
                  <a:pt x="550069" y="181773"/>
                </a:cubicBezTo>
                <a:cubicBezTo>
                  <a:pt x="552730" y="177516"/>
                  <a:pt x="554831" y="167486"/>
                  <a:pt x="554831" y="167486"/>
                </a:cubicBezTo>
                <a:cubicBezTo>
                  <a:pt x="555625" y="160342"/>
                  <a:pt x="551691" y="150656"/>
                  <a:pt x="557213" y="146055"/>
                </a:cubicBezTo>
                <a:cubicBezTo>
                  <a:pt x="563948" y="140442"/>
                  <a:pt x="574727" y="144913"/>
                  <a:pt x="583406" y="143673"/>
                </a:cubicBezTo>
                <a:cubicBezTo>
                  <a:pt x="591409" y="142530"/>
                  <a:pt x="598886" y="135735"/>
                  <a:pt x="604838" y="131767"/>
                </a:cubicBezTo>
                <a:cubicBezTo>
                  <a:pt x="616158" y="124220"/>
                  <a:pt x="609267" y="127909"/>
                  <a:pt x="626269" y="122242"/>
                </a:cubicBezTo>
                <a:lnTo>
                  <a:pt x="633413" y="119861"/>
                </a:lnTo>
                <a:cubicBezTo>
                  <a:pt x="641601" y="114402"/>
                  <a:pt x="645861" y="109752"/>
                  <a:pt x="654844" y="107955"/>
                </a:cubicBezTo>
                <a:cubicBezTo>
                  <a:pt x="660348" y="106854"/>
                  <a:pt x="665957" y="106367"/>
                  <a:pt x="671513" y="105573"/>
                </a:cubicBezTo>
                <a:cubicBezTo>
                  <a:pt x="682667" y="106968"/>
                  <a:pt x="698459" y="110530"/>
                  <a:pt x="709613" y="105573"/>
                </a:cubicBezTo>
                <a:cubicBezTo>
                  <a:pt x="711906" y="104554"/>
                  <a:pt x="710219" y="100205"/>
                  <a:pt x="711994" y="98430"/>
                </a:cubicBezTo>
                <a:cubicBezTo>
                  <a:pt x="714504" y="95920"/>
                  <a:pt x="718344" y="95255"/>
                  <a:pt x="721519" y="93667"/>
                </a:cubicBezTo>
                <a:cubicBezTo>
                  <a:pt x="737394" y="94461"/>
                  <a:pt x="753885" y="91597"/>
                  <a:pt x="769144" y="96048"/>
                </a:cubicBezTo>
                <a:cubicBezTo>
                  <a:pt x="774639" y="97651"/>
                  <a:pt x="773906" y="107161"/>
                  <a:pt x="778669" y="110336"/>
                </a:cubicBezTo>
                <a:cubicBezTo>
                  <a:pt x="787901" y="116490"/>
                  <a:pt x="783098" y="114193"/>
                  <a:pt x="792956" y="117480"/>
                </a:cubicBezTo>
                <a:cubicBezTo>
                  <a:pt x="794544" y="119861"/>
                  <a:pt x="795484" y="122835"/>
                  <a:pt x="797719" y="124623"/>
                </a:cubicBezTo>
                <a:cubicBezTo>
                  <a:pt x="799679" y="126191"/>
                  <a:pt x="802618" y="125882"/>
                  <a:pt x="804863" y="127005"/>
                </a:cubicBezTo>
                <a:cubicBezTo>
                  <a:pt x="807422" y="128285"/>
                  <a:pt x="809168" y="131397"/>
                  <a:pt x="812006" y="131767"/>
                </a:cubicBezTo>
                <a:cubicBezTo>
                  <a:pt x="827767" y="133823"/>
                  <a:pt x="843756" y="133354"/>
                  <a:pt x="859631" y="134148"/>
                </a:cubicBezTo>
                <a:cubicBezTo>
                  <a:pt x="871096" y="151344"/>
                  <a:pt x="862159" y="135391"/>
                  <a:pt x="866775" y="174630"/>
                </a:cubicBezTo>
                <a:cubicBezTo>
                  <a:pt x="867068" y="177123"/>
                  <a:pt x="867381" y="179998"/>
                  <a:pt x="869156" y="181773"/>
                </a:cubicBezTo>
                <a:cubicBezTo>
                  <a:pt x="875065" y="187682"/>
                  <a:pt x="882604" y="191684"/>
                  <a:pt x="890588" y="193680"/>
                </a:cubicBezTo>
                <a:cubicBezTo>
                  <a:pt x="894514" y="194662"/>
                  <a:pt x="898589" y="194996"/>
                  <a:pt x="902494" y="196061"/>
                </a:cubicBezTo>
                <a:cubicBezTo>
                  <a:pt x="902534" y="196072"/>
                  <a:pt x="920334" y="202008"/>
                  <a:pt x="923925" y="203205"/>
                </a:cubicBezTo>
                <a:cubicBezTo>
                  <a:pt x="926306" y="203999"/>
                  <a:pt x="928634" y="204977"/>
                  <a:pt x="931069" y="205586"/>
                </a:cubicBezTo>
                <a:cubicBezTo>
                  <a:pt x="943029" y="208576"/>
                  <a:pt x="937489" y="206932"/>
                  <a:pt x="947738" y="210348"/>
                </a:cubicBezTo>
                <a:cubicBezTo>
                  <a:pt x="946944" y="215904"/>
                  <a:pt x="946969" y="221641"/>
                  <a:pt x="945356" y="227017"/>
                </a:cubicBezTo>
                <a:cubicBezTo>
                  <a:pt x="943574" y="232955"/>
                  <a:pt x="936912" y="236853"/>
                  <a:pt x="933450" y="241305"/>
                </a:cubicBezTo>
                <a:cubicBezTo>
                  <a:pt x="929936" y="245823"/>
                  <a:pt x="923925" y="255592"/>
                  <a:pt x="923925" y="255592"/>
                </a:cubicBezTo>
                <a:cubicBezTo>
                  <a:pt x="922249" y="267327"/>
                  <a:pt x="922224" y="271582"/>
                  <a:pt x="919163" y="281786"/>
                </a:cubicBezTo>
                <a:cubicBezTo>
                  <a:pt x="917720" y="286594"/>
                  <a:pt x="917184" y="291896"/>
                  <a:pt x="914400" y="296073"/>
                </a:cubicBezTo>
                <a:cubicBezTo>
                  <a:pt x="912813" y="298454"/>
                  <a:pt x="910918" y="300657"/>
                  <a:pt x="909638" y="303217"/>
                </a:cubicBezTo>
                <a:cubicBezTo>
                  <a:pt x="908515" y="305462"/>
                  <a:pt x="908475" y="308167"/>
                  <a:pt x="907256" y="310361"/>
                </a:cubicBezTo>
                <a:cubicBezTo>
                  <a:pt x="900136" y="323177"/>
                  <a:pt x="899264" y="323115"/>
                  <a:pt x="890588" y="331792"/>
                </a:cubicBezTo>
                <a:cubicBezTo>
                  <a:pt x="889798" y="334161"/>
                  <a:pt x="885829" y="350244"/>
                  <a:pt x="881063" y="353223"/>
                </a:cubicBezTo>
                <a:cubicBezTo>
                  <a:pt x="876806" y="355884"/>
                  <a:pt x="870952" y="355201"/>
                  <a:pt x="866775" y="357986"/>
                </a:cubicBezTo>
                <a:lnTo>
                  <a:pt x="859631" y="362748"/>
                </a:lnTo>
                <a:lnTo>
                  <a:pt x="854869" y="377036"/>
                </a:lnTo>
                <a:lnTo>
                  <a:pt x="852488" y="384180"/>
                </a:lnTo>
                <a:cubicBezTo>
                  <a:pt x="858473" y="402135"/>
                  <a:pt x="849703" y="380698"/>
                  <a:pt x="862013" y="396086"/>
                </a:cubicBezTo>
                <a:cubicBezTo>
                  <a:pt x="863581" y="398046"/>
                  <a:pt x="863600" y="400849"/>
                  <a:pt x="864394" y="403230"/>
                </a:cubicBezTo>
                <a:cubicBezTo>
                  <a:pt x="857855" y="429390"/>
                  <a:pt x="867766" y="396685"/>
                  <a:pt x="854869" y="419898"/>
                </a:cubicBezTo>
                <a:cubicBezTo>
                  <a:pt x="854866" y="419904"/>
                  <a:pt x="848917" y="437755"/>
                  <a:pt x="847725" y="441330"/>
                </a:cubicBezTo>
                <a:cubicBezTo>
                  <a:pt x="846931" y="443711"/>
                  <a:pt x="846736" y="446385"/>
                  <a:pt x="845344" y="448473"/>
                </a:cubicBezTo>
                <a:lnTo>
                  <a:pt x="840581" y="455617"/>
                </a:lnTo>
                <a:cubicBezTo>
                  <a:pt x="838994" y="460380"/>
                  <a:pt x="836177" y="464898"/>
                  <a:pt x="835819" y="469905"/>
                </a:cubicBezTo>
                <a:cubicBezTo>
                  <a:pt x="833259" y="505746"/>
                  <a:pt x="836962" y="492673"/>
                  <a:pt x="831056" y="510386"/>
                </a:cubicBezTo>
                <a:cubicBezTo>
                  <a:pt x="831850" y="518323"/>
                  <a:pt x="831644" y="526425"/>
                  <a:pt x="833438" y="534198"/>
                </a:cubicBezTo>
                <a:cubicBezTo>
                  <a:pt x="834082" y="536987"/>
                  <a:pt x="836299" y="539203"/>
                  <a:pt x="838200" y="541342"/>
                </a:cubicBezTo>
                <a:cubicBezTo>
                  <a:pt x="842675" y="546376"/>
                  <a:pt x="846884" y="551894"/>
                  <a:pt x="852488" y="555630"/>
                </a:cubicBezTo>
                <a:lnTo>
                  <a:pt x="866775" y="565155"/>
                </a:lnTo>
                <a:cubicBezTo>
                  <a:pt x="867569" y="567536"/>
                  <a:pt x="869156" y="569788"/>
                  <a:pt x="869156" y="572298"/>
                </a:cubicBezTo>
                <a:cubicBezTo>
                  <a:pt x="869156" y="576171"/>
                  <a:pt x="864421" y="584178"/>
                  <a:pt x="862013" y="586586"/>
                </a:cubicBezTo>
                <a:cubicBezTo>
                  <a:pt x="859989" y="588610"/>
                  <a:pt x="857250" y="589761"/>
                  <a:pt x="854869" y="591348"/>
                </a:cubicBezTo>
                <a:cubicBezTo>
                  <a:pt x="842167" y="610399"/>
                  <a:pt x="858838" y="587379"/>
                  <a:pt x="842963" y="603255"/>
                </a:cubicBezTo>
                <a:cubicBezTo>
                  <a:pt x="829990" y="616229"/>
                  <a:pt x="842318" y="610614"/>
                  <a:pt x="828675" y="615161"/>
                </a:cubicBezTo>
                <a:cubicBezTo>
                  <a:pt x="816363" y="633628"/>
                  <a:pt x="820962" y="624015"/>
                  <a:pt x="814388" y="643736"/>
                </a:cubicBezTo>
                <a:lnTo>
                  <a:pt x="812006" y="650880"/>
                </a:lnTo>
                <a:cubicBezTo>
                  <a:pt x="811212" y="653261"/>
                  <a:pt x="811400" y="656248"/>
                  <a:pt x="809625" y="658023"/>
                </a:cubicBezTo>
                <a:lnTo>
                  <a:pt x="795338" y="672311"/>
                </a:lnTo>
                <a:cubicBezTo>
                  <a:pt x="794544" y="675486"/>
                  <a:pt x="792956" y="678563"/>
                  <a:pt x="792956" y="681836"/>
                </a:cubicBezTo>
                <a:cubicBezTo>
                  <a:pt x="792956" y="688739"/>
                  <a:pt x="795116" y="710080"/>
                  <a:pt x="800100" y="717555"/>
                </a:cubicBezTo>
                <a:cubicBezTo>
                  <a:pt x="803275" y="722317"/>
                  <a:pt x="804863" y="728667"/>
                  <a:pt x="809625" y="731842"/>
                </a:cubicBezTo>
                <a:cubicBezTo>
                  <a:pt x="818857" y="737997"/>
                  <a:pt x="814054" y="735700"/>
                  <a:pt x="823913" y="738986"/>
                </a:cubicBezTo>
                <a:cubicBezTo>
                  <a:pt x="826294" y="740573"/>
                  <a:pt x="828571" y="742328"/>
                  <a:pt x="831056" y="743748"/>
                </a:cubicBezTo>
                <a:cubicBezTo>
                  <a:pt x="834138" y="745509"/>
                  <a:pt x="837692" y="746448"/>
                  <a:pt x="840581" y="748511"/>
                </a:cubicBezTo>
                <a:cubicBezTo>
                  <a:pt x="856187" y="759659"/>
                  <a:pt x="839546" y="752929"/>
                  <a:pt x="854869" y="758036"/>
                </a:cubicBezTo>
                <a:cubicBezTo>
                  <a:pt x="858044" y="761211"/>
                  <a:pt x="860740" y="764951"/>
                  <a:pt x="864394" y="767561"/>
                </a:cubicBezTo>
                <a:cubicBezTo>
                  <a:pt x="879032" y="778016"/>
                  <a:pt x="864697" y="759679"/>
                  <a:pt x="876300" y="777086"/>
                </a:cubicBezTo>
                <a:cubicBezTo>
                  <a:pt x="872810" y="811994"/>
                  <a:pt x="872713" y="789490"/>
                  <a:pt x="876300" y="812805"/>
                </a:cubicBezTo>
                <a:cubicBezTo>
                  <a:pt x="877273" y="819130"/>
                  <a:pt x="875011" y="826612"/>
                  <a:pt x="878681" y="831855"/>
                </a:cubicBezTo>
                <a:cubicBezTo>
                  <a:pt x="881560" y="835968"/>
                  <a:pt x="892969" y="836617"/>
                  <a:pt x="892969" y="836617"/>
                </a:cubicBezTo>
                <a:cubicBezTo>
                  <a:pt x="895350" y="838205"/>
                  <a:pt x="899050" y="838723"/>
                  <a:pt x="900113" y="841380"/>
                </a:cubicBezTo>
                <a:cubicBezTo>
                  <a:pt x="903100" y="848849"/>
                  <a:pt x="893949" y="849784"/>
                  <a:pt x="890588" y="850905"/>
                </a:cubicBezTo>
                <a:cubicBezTo>
                  <a:pt x="888207" y="853286"/>
                  <a:pt x="886102" y="855981"/>
                  <a:pt x="883444" y="858048"/>
                </a:cubicBezTo>
                <a:cubicBezTo>
                  <a:pt x="878926" y="861562"/>
                  <a:pt x="873203" y="863525"/>
                  <a:pt x="869156" y="867573"/>
                </a:cubicBezTo>
                <a:cubicBezTo>
                  <a:pt x="848307" y="888425"/>
                  <a:pt x="874744" y="862918"/>
                  <a:pt x="854869" y="879480"/>
                </a:cubicBezTo>
                <a:cubicBezTo>
                  <a:pt x="852282" y="881636"/>
                  <a:pt x="850527" y="884755"/>
                  <a:pt x="847725" y="886623"/>
                </a:cubicBezTo>
                <a:cubicBezTo>
                  <a:pt x="845636" y="888015"/>
                  <a:pt x="842826" y="887882"/>
                  <a:pt x="840581" y="889005"/>
                </a:cubicBezTo>
                <a:cubicBezTo>
                  <a:pt x="822124" y="898234"/>
                  <a:pt x="844245" y="890165"/>
                  <a:pt x="826294" y="896148"/>
                </a:cubicBezTo>
                <a:cubicBezTo>
                  <a:pt x="821848" y="899112"/>
                  <a:pt x="814702" y="903202"/>
                  <a:pt x="812006" y="908055"/>
                </a:cubicBezTo>
                <a:cubicBezTo>
                  <a:pt x="809568" y="912443"/>
                  <a:pt x="810029" y="918165"/>
                  <a:pt x="807244" y="922342"/>
                </a:cubicBezTo>
                <a:lnTo>
                  <a:pt x="802481" y="929486"/>
                </a:lnTo>
                <a:cubicBezTo>
                  <a:pt x="801687" y="931867"/>
                  <a:pt x="801319" y="934436"/>
                  <a:pt x="800100" y="936630"/>
                </a:cubicBezTo>
                <a:cubicBezTo>
                  <a:pt x="797320" y="941633"/>
                  <a:pt x="793750" y="946155"/>
                  <a:pt x="790575" y="950917"/>
                </a:cubicBezTo>
                <a:cubicBezTo>
                  <a:pt x="785415" y="958657"/>
                  <a:pt x="782640" y="964807"/>
                  <a:pt x="771525" y="967586"/>
                </a:cubicBezTo>
                <a:cubicBezTo>
                  <a:pt x="757126" y="971185"/>
                  <a:pt x="765111" y="968930"/>
                  <a:pt x="747713" y="974730"/>
                </a:cubicBezTo>
                <a:lnTo>
                  <a:pt x="740569" y="977111"/>
                </a:lnTo>
                <a:cubicBezTo>
                  <a:pt x="719138" y="976317"/>
                  <a:pt x="697679" y="976068"/>
                  <a:pt x="676275" y="974730"/>
                </a:cubicBezTo>
                <a:cubicBezTo>
                  <a:pt x="664580" y="973999"/>
                  <a:pt x="666552" y="972298"/>
                  <a:pt x="657225" y="969967"/>
                </a:cubicBezTo>
                <a:cubicBezTo>
                  <a:pt x="643642" y="966572"/>
                  <a:pt x="648007" y="968869"/>
                  <a:pt x="635794" y="965205"/>
                </a:cubicBezTo>
                <a:cubicBezTo>
                  <a:pt x="630985" y="963762"/>
                  <a:pt x="626269" y="962030"/>
                  <a:pt x="621506" y="960442"/>
                </a:cubicBezTo>
                <a:cubicBezTo>
                  <a:pt x="619125" y="959648"/>
                  <a:pt x="616798" y="958670"/>
                  <a:pt x="614363" y="958061"/>
                </a:cubicBezTo>
                <a:cubicBezTo>
                  <a:pt x="611188" y="957267"/>
                  <a:pt x="607973" y="956620"/>
                  <a:pt x="604838" y="955680"/>
                </a:cubicBezTo>
                <a:cubicBezTo>
                  <a:pt x="600029" y="954237"/>
                  <a:pt x="595520" y="951627"/>
                  <a:pt x="590550" y="950917"/>
                </a:cubicBezTo>
                <a:cubicBezTo>
                  <a:pt x="567546" y="947631"/>
                  <a:pt x="579450" y="949232"/>
                  <a:pt x="554831" y="946155"/>
                </a:cubicBezTo>
                <a:cubicBezTo>
                  <a:pt x="552450" y="945361"/>
                  <a:pt x="549648" y="945341"/>
                  <a:pt x="547688" y="943773"/>
                </a:cubicBezTo>
                <a:cubicBezTo>
                  <a:pt x="541561" y="938872"/>
                  <a:pt x="542239" y="931503"/>
                  <a:pt x="540544" y="924723"/>
                </a:cubicBezTo>
                <a:cubicBezTo>
                  <a:pt x="538573" y="916837"/>
                  <a:pt x="538056" y="917420"/>
                  <a:pt x="533400" y="910436"/>
                </a:cubicBezTo>
                <a:cubicBezTo>
                  <a:pt x="531813" y="905673"/>
                  <a:pt x="529023" y="901153"/>
                  <a:pt x="528638" y="896148"/>
                </a:cubicBezTo>
                <a:cubicBezTo>
                  <a:pt x="526819" y="872513"/>
                  <a:pt x="528508" y="871885"/>
                  <a:pt x="523875" y="855667"/>
                </a:cubicBezTo>
                <a:cubicBezTo>
                  <a:pt x="523185" y="853253"/>
                  <a:pt x="522886" y="850612"/>
                  <a:pt x="521494" y="848523"/>
                </a:cubicBezTo>
                <a:cubicBezTo>
                  <a:pt x="519626" y="845721"/>
                  <a:pt x="516731" y="843761"/>
                  <a:pt x="514350" y="841380"/>
                </a:cubicBezTo>
                <a:cubicBezTo>
                  <a:pt x="504825" y="842174"/>
                  <a:pt x="495249" y="842498"/>
                  <a:pt x="485775" y="843761"/>
                </a:cubicBezTo>
                <a:cubicBezTo>
                  <a:pt x="483287" y="844093"/>
                  <a:pt x="480720" y="844750"/>
                  <a:pt x="478631" y="846142"/>
                </a:cubicBezTo>
                <a:cubicBezTo>
                  <a:pt x="460794" y="858034"/>
                  <a:pt x="481331" y="850005"/>
                  <a:pt x="464344" y="855667"/>
                </a:cubicBezTo>
                <a:cubicBezTo>
                  <a:pt x="453024" y="863215"/>
                  <a:pt x="459915" y="859525"/>
                  <a:pt x="442913" y="865192"/>
                </a:cubicBezTo>
                <a:lnTo>
                  <a:pt x="414338" y="874717"/>
                </a:lnTo>
                <a:lnTo>
                  <a:pt x="392906" y="881861"/>
                </a:lnTo>
                <a:lnTo>
                  <a:pt x="385763" y="884242"/>
                </a:lnTo>
                <a:cubicBezTo>
                  <a:pt x="377825" y="883448"/>
                  <a:pt x="369835" y="883074"/>
                  <a:pt x="361950" y="881861"/>
                </a:cubicBezTo>
                <a:cubicBezTo>
                  <a:pt x="353301" y="880531"/>
                  <a:pt x="355515" y="878643"/>
                  <a:pt x="347663" y="874717"/>
                </a:cubicBezTo>
                <a:cubicBezTo>
                  <a:pt x="341803" y="871787"/>
                  <a:pt x="331715" y="870869"/>
                  <a:pt x="326231" y="869955"/>
                </a:cubicBezTo>
                <a:cubicBezTo>
                  <a:pt x="312578" y="849472"/>
                  <a:pt x="328951" y="875393"/>
                  <a:pt x="319088" y="855667"/>
                </a:cubicBezTo>
                <a:cubicBezTo>
                  <a:pt x="317808" y="853107"/>
                  <a:pt x="315913" y="850904"/>
                  <a:pt x="314325" y="848523"/>
                </a:cubicBezTo>
                <a:cubicBezTo>
                  <a:pt x="312738" y="843761"/>
                  <a:pt x="313740" y="837021"/>
                  <a:pt x="309563" y="834236"/>
                </a:cubicBezTo>
                <a:cubicBezTo>
                  <a:pt x="307182" y="832648"/>
                  <a:pt x="305099" y="830478"/>
                  <a:pt x="302419" y="829473"/>
                </a:cubicBezTo>
                <a:cubicBezTo>
                  <a:pt x="298629" y="828052"/>
                  <a:pt x="294439" y="828074"/>
                  <a:pt x="290513" y="827092"/>
                </a:cubicBezTo>
                <a:cubicBezTo>
                  <a:pt x="288078" y="826483"/>
                  <a:pt x="285750" y="825505"/>
                  <a:pt x="283369" y="824711"/>
                </a:cubicBezTo>
                <a:cubicBezTo>
                  <a:pt x="277997" y="803226"/>
                  <a:pt x="284816" y="807731"/>
                  <a:pt x="271463" y="803280"/>
                </a:cubicBezTo>
                <a:cubicBezTo>
                  <a:pt x="269082" y="804074"/>
                  <a:pt x="266829" y="805661"/>
                  <a:pt x="264319" y="805661"/>
                </a:cubicBezTo>
                <a:cubicBezTo>
                  <a:pt x="259491" y="805661"/>
                  <a:pt x="254744" y="804328"/>
                  <a:pt x="250031" y="803280"/>
                </a:cubicBezTo>
                <a:cubicBezTo>
                  <a:pt x="242333" y="801569"/>
                  <a:pt x="233858" y="796630"/>
                  <a:pt x="228600" y="791373"/>
                </a:cubicBezTo>
                <a:cubicBezTo>
                  <a:pt x="226219" y="788992"/>
                  <a:pt x="223612" y="786817"/>
                  <a:pt x="221456" y="784230"/>
                </a:cubicBezTo>
                <a:cubicBezTo>
                  <a:pt x="219624" y="782031"/>
                  <a:pt x="218281" y="779467"/>
                  <a:pt x="216694" y="777086"/>
                </a:cubicBezTo>
                <a:cubicBezTo>
                  <a:pt x="220454" y="762044"/>
                  <a:pt x="220754" y="765402"/>
                  <a:pt x="216694" y="743748"/>
                </a:cubicBezTo>
                <a:cubicBezTo>
                  <a:pt x="215769" y="738814"/>
                  <a:pt x="214715" y="733638"/>
                  <a:pt x="211931" y="729461"/>
                </a:cubicBezTo>
                <a:cubicBezTo>
                  <a:pt x="210344" y="727080"/>
                  <a:pt x="208331" y="724932"/>
                  <a:pt x="207169" y="722317"/>
                </a:cubicBezTo>
                <a:cubicBezTo>
                  <a:pt x="205130" y="717730"/>
                  <a:pt x="203994" y="712792"/>
                  <a:pt x="202406" y="708030"/>
                </a:cubicBezTo>
                <a:lnTo>
                  <a:pt x="200025" y="700886"/>
                </a:lnTo>
                <a:cubicBezTo>
                  <a:pt x="201432" y="695257"/>
                  <a:pt x="205466" y="684896"/>
                  <a:pt x="200025" y="679455"/>
                </a:cubicBezTo>
                <a:cubicBezTo>
                  <a:pt x="196475" y="675905"/>
                  <a:pt x="185738" y="674692"/>
                  <a:pt x="185738" y="674692"/>
                </a:cubicBezTo>
                <a:cubicBezTo>
                  <a:pt x="186532" y="666755"/>
                  <a:pt x="188119" y="658857"/>
                  <a:pt x="188119" y="650880"/>
                </a:cubicBezTo>
                <a:cubicBezTo>
                  <a:pt x="188119" y="648370"/>
                  <a:pt x="188119" y="644530"/>
                  <a:pt x="185738" y="643736"/>
                </a:cubicBezTo>
                <a:cubicBezTo>
                  <a:pt x="182864" y="642778"/>
                  <a:pt x="170544" y="647213"/>
                  <a:pt x="166688" y="648498"/>
                </a:cubicBezTo>
                <a:cubicBezTo>
                  <a:pt x="164307" y="650086"/>
                  <a:pt x="162384" y="652906"/>
                  <a:pt x="159544" y="653261"/>
                </a:cubicBezTo>
                <a:cubicBezTo>
                  <a:pt x="141616" y="655503"/>
                  <a:pt x="150485" y="649432"/>
                  <a:pt x="145256" y="638973"/>
                </a:cubicBezTo>
                <a:cubicBezTo>
                  <a:pt x="143750" y="635961"/>
                  <a:pt x="140494" y="634211"/>
                  <a:pt x="138113" y="631830"/>
                </a:cubicBezTo>
                <a:cubicBezTo>
                  <a:pt x="130175" y="632624"/>
                  <a:pt x="122141" y="632741"/>
                  <a:pt x="114300" y="634211"/>
                </a:cubicBezTo>
                <a:cubicBezTo>
                  <a:pt x="109366" y="635136"/>
                  <a:pt x="100013" y="638973"/>
                  <a:pt x="100013" y="638973"/>
                </a:cubicBezTo>
                <a:cubicBezTo>
                  <a:pt x="97632" y="641354"/>
                  <a:pt x="95671" y="644249"/>
                  <a:pt x="92869" y="646117"/>
                </a:cubicBezTo>
                <a:cubicBezTo>
                  <a:pt x="90780" y="647509"/>
                  <a:pt x="94060" y="646514"/>
                  <a:pt x="92869" y="643736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3" name="Rectangle 4"/>
          <p:cNvSpPr>
            <a:spLocks noChangeArrowheads="1"/>
          </p:cNvSpPr>
          <p:nvPr/>
        </p:nvSpPr>
        <p:spPr bwMode="auto">
          <a:xfrm>
            <a:off x="1258888" y="3213100"/>
            <a:ext cx="76676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2000">
                <a:solidFill>
                  <a:srgbClr val="FFFF00"/>
                </a:solidFill>
                <a:latin typeface="Ramabhadra" pitchFamily="2" charset="0"/>
                <a:cs typeface="Ramabhadra" pitchFamily="2" charset="0"/>
              </a:rPr>
              <a:t>ఇరాన్</a:t>
            </a:r>
          </a:p>
        </p:txBody>
      </p:sp>
      <p:sp>
        <p:nvSpPr>
          <p:cNvPr id="34" name="Freeform 33"/>
          <p:cNvSpPr/>
          <p:nvPr/>
        </p:nvSpPr>
        <p:spPr>
          <a:xfrm>
            <a:off x="1730375" y="2762251"/>
            <a:ext cx="719138" cy="495300"/>
          </a:xfrm>
          <a:custGeom>
            <a:avLst/>
            <a:gdLst>
              <a:gd name="connsiteX0" fmla="*/ 9815 w 719427"/>
              <a:gd name="connsiteY0" fmla="*/ 335756 h 495300"/>
              <a:gd name="connsiteX1" fmla="*/ 9815 w 719427"/>
              <a:gd name="connsiteY1" fmla="*/ 302419 h 495300"/>
              <a:gd name="connsiteX2" fmla="*/ 16959 w 719427"/>
              <a:gd name="connsiteY2" fmla="*/ 297656 h 495300"/>
              <a:gd name="connsiteX3" fmla="*/ 16959 w 719427"/>
              <a:gd name="connsiteY3" fmla="*/ 278606 h 495300"/>
              <a:gd name="connsiteX4" fmla="*/ 26484 w 719427"/>
              <a:gd name="connsiteY4" fmla="*/ 273844 h 495300"/>
              <a:gd name="connsiteX5" fmla="*/ 36009 w 719427"/>
              <a:gd name="connsiteY5" fmla="*/ 252413 h 495300"/>
              <a:gd name="connsiteX6" fmla="*/ 43152 w 719427"/>
              <a:gd name="connsiteY6" fmla="*/ 247650 h 495300"/>
              <a:gd name="connsiteX7" fmla="*/ 36009 w 719427"/>
              <a:gd name="connsiteY7" fmla="*/ 242888 h 495300"/>
              <a:gd name="connsiteX8" fmla="*/ 28865 w 719427"/>
              <a:gd name="connsiteY8" fmla="*/ 240506 h 495300"/>
              <a:gd name="connsiteX9" fmla="*/ 16959 w 719427"/>
              <a:gd name="connsiteY9" fmla="*/ 221456 h 495300"/>
              <a:gd name="connsiteX10" fmla="*/ 24102 w 719427"/>
              <a:gd name="connsiteY10" fmla="*/ 216694 h 495300"/>
              <a:gd name="connsiteX11" fmla="*/ 31246 w 719427"/>
              <a:gd name="connsiteY11" fmla="*/ 214313 h 495300"/>
              <a:gd name="connsiteX12" fmla="*/ 36009 w 719427"/>
              <a:gd name="connsiteY12" fmla="*/ 200025 h 495300"/>
              <a:gd name="connsiteX13" fmla="*/ 38390 w 719427"/>
              <a:gd name="connsiteY13" fmla="*/ 192881 h 495300"/>
              <a:gd name="connsiteX14" fmla="*/ 52677 w 719427"/>
              <a:gd name="connsiteY14" fmla="*/ 188119 h 495300"/>
              <a:gd name="connsiteX15" fmla="*/ 31246 w 719427"/>
              <a:gd name="connsiteY15" fmla="*/ 180975 h 495300"/>
              <a:gd name="connsiteX16" fmla="*/ 24102 w 719427"/>
              <a:gd name="connsiteY16" fmla="*/ 178594 h 495300"/>
              <a:gd name="connsiteX17" fmla="*/ 5052 w 719427"/>
              <a:gd name="connsiteY17" fmla="*/ 173831 h 495300"/>
              <a:gd name="connsiteX18" fmla="*/ 5052 w 719427"/>
              <a:gd name="connsiteY18" fmla="*/ 157163 h 495300"/>
              <a:gd name="connsiteX19" fmla="*/ 19340 w 719427"/>
              <a:gd name="connsiteY19" fmla="*/ 147638 h 495300"/>
              <a:gd name="connsiteX20" fmla="*/ 24102 w 719427"/>
              <a:gd name="connsiteY20" fmla="*/ 133350 h 495300"/>
              <a:gd name="connsiteX21" fmla="*/ 26484 w 719427"/>
              <a:gd name="connsiteY21" fmla="*/ 126206 h 495300"/>
              <a:gd name="connsiteX22" fmla="*/ 28865 w 719427"/>
              <a:gd name="connsiteY22" fmla="*/ 102394 h 495300"/>
              <a:gd name="connsiteX23" fmla="*/ 36009 w 719427"/>
              <a:gd name="connsiteY23" fmla="*/ 100013 h 495300"/>
              <a:gd name="connsiteX24" fmla="*/ 38390 w 719427"/>
              <a:gd name="connsiteY24" fmla="*/ 92869 h 495300"/>
              <a:gd name="connsiteX25" fmla="*/ 36009 w 719427"/>
              <a:gd name="connsiteY25" fmla="*/ 76200 h 495300"/>
              <a:gd name="connsiteX26" fmla="*/ 40771 w 719427"/>
              <a:gd name="connsiteY26" fmla="*/ 59531 h 495300"/>
              <a:gd name="connsiteX27" fmla="*/ 47915 w 719427"/>
              <a:gd name="connsiteY27" fmla="*/ 57150 h 495300"/>
              <a:gd name="connsiteX28" fmla="*/ 55059 w 719427"/>
              <a:gd name="connsiteY28" fmla="*/ 52388 h 495300"/>
              <a:gd name="connsiteX29" fmla="*/ 66965 w 719427"/>
              <a:gd name="connsiteY29" fmla="*/ 50006 h 495300"/>
              <a:gd name="connsiteX30" fmla="*/ 74109 w 719427"/>
              <a:gd name="connsiteY30" fmla="*/ 47625 h 495300"/>
              <a:gd name="connsiteX31" fmla="*/ 81252 w 719427"/>
              <a:gd name="connsiteY31" fmla="*/ 42863 h 495300"/>
              <a:gd name="connsiteX32" fmla="*/ 90777 w 719427"/>
              <a:gd name="connsiteY32" fmla="*/ 40481 h 495300"/>
              <a:gd name="connsiteX33" fmla="*/ 105065 w 719427"/>
              <a:gd name="connsiteY33" fmla="*/ 35719 h 495300"/>
              <a:gd name="connsiteX34" fmla="*/ 114590 w 719427"/>
              <a:gd name="connsiteY34" fmla="*/ 33338 h 495300"/>
              <a:gd name="connsiteX35" fmla="*/ 128877 w 719427"/>
              <a:gd name="connsiteY35" fmla="*/ 28575 h 495300"/>
              <a:gd name="connsiteX36" fmla="*/ 152690 w 719427"/>
              <a:gd name="connsiteY36" fmla="*/ 30956 h 495300"/>
              <a:gd name="connsiteX37" fmla="*/ 157452 w 719427"/>
              <a:gd name="connsiteY37" fmla="*/ 45244 h 495300"/>
              <a:gd name="connsiteX38" fmla="*/ 159834 w 719427"/>
              <a:gd name="connsiteY38" fmla="*/ 52388 h 495300"/>
              <a:gd name="connsiteX39" fmla="*/ 169359 w 719427"/>
              <a:gd name="connsiteY39" fmla="*/ 66675 h 495300"/>
              <a:gd name="connsiteX40" fmla="*/ 174121 w 719427"/>
              <a:gd name="connsiteY40" fmla="*/ 73819 h 495300"/>
              <a:gd name="connsiteX41" fmla="*/ 176502 w 719427"/>
              <a:gd name="connsiteY41" fmla="*/ 80963 h 495300"/>
              <a:gd name="connsiteX42" fmla="*/ 190790 w 719427"/>
              <a:gd name="connsiteY42" fmla="*/ 88106 h 495300"/>
              <a:gd name="connsiteX43" fmla="*/ 202696 w 719427"/>
              <a:gd name="connsiteY43" fmla="*/ 85725 h 495300"/>
              <a:gd name="connsiteX44" fmla="*/ 209840 w 719427"/>
              <a:gd name="connsiteY44" fmla="*/ 83344 h 495300"/>
              <a:gd name="connsiteX45" fmla="*/ 226509 w 719427"/>
              <a:gd name="connsiteY45" fmla="*/ 85725 h 495300"/>
              <a:gd name="connsiteX46" fmla="*/ 276515 w 719427"/>
              <a:gd name="connsiteY46" fmla="*/ 83344 h 495300"/>
              <a:gd name="connsiteX47" fmla="*/ 281277 w 719427"/>
              <a:gd name="connsiteY47" fmla="*/ 59531 h 495300"/>
              <a:gd name="connsiteX48" fmla="*/ 288421 w 719427"/>
              <a:gd name="connsiteY48" fmla="*/ 54769 h 495300"/>
              <a:gd name="connsiteX49" fmla="*/ 302709 w 719427"/>
              <a:gd name="connsiteY49" fmla="*/ 50006 h 495300"/>
              <a:gd name="connsiteX50" fmla="*/ 316996 w 719427"/>
              <a:gd name="connsiteY50" fmla="*/ 40481 h 495300"/>
              <a:gd name="connsiteX51" fmla="*/ 324140 w 719427"/>
              <a:gd name="connsiteY51" fmla="*/ 35719 h 495300"/>
              <a:gd name="connsiteX52" fmla="*/ 333665 w 719427"/>
              <a:gd name="connsiteY52" fmla="*/ 33338 h 495300"/>
              <a:gd name="connsiteX53" fmla="*/ 340809 w 719427"/>
              <a:gd name="connsiteY53" fmla="*/ 28575 h 495300"/>
              <a:gd name="connsiteX54" fmla="*/ 347952 w 719427"/>
              <a:gd name="connsiteY54" fmla="*/ 26194 h 495300"/>
              <a:gd name="connsiteX55" fmla="*/ 357477 w 719427"/>
              <a:gd name="connsiteY55" fmla="*/ 19050 h 495300"/>
              <a:gd name="connsiteX56" fmla="*/ 376527 w 719427"/>
              <a:gd name="connsiteY56" fmla="*/ 14288 h 495300"/>
              <a:gd name="connsiteX57" fmla="*/ 378909 w 719427"/>
              <a:gd name="connsiteY57" fmla="*/ 7144 h 495300"/>
              <a:gd name="connsiteX58" fmla="*/ 393196 w 719427"/>
              <a:gd name="connsiteY58" fmla="*/ 0 h 495300"/>
              <a:gd name="connsiteX59" fmla="*/ 402721 w 719427"/>
              <a:gd name="connsiteY59" fmla="*/ 2381 h 495300"/>
              <a:gd name="connsiteX60" fmla="*/ 407484 w 719427"/>
              <a:gd name="connsiteY60" fmla="*/ 9525 h 495300"/>
              <a:gd name="connsiteX61" fmla="*/ 428915 w 719427"/>
              <a:gd name="connsiteY61" fmla="*/ 21431 h 495300"/>
              <a:gd name="connsiteX62" fmla="*/ 443202 w 719427"/>
              <a:gd name="connsiteY62" fmla="*/ 28575 h 495300"/>
              <a:gd name="connsiteX63" fmla="*/ 450346 w 719427"/>
              <a:gd name="connsiteY63" fmla="*/ 33338 h 495300"/>
              <a:gd name="connsiteX64" fmla="*/ 452727 w 719427"/>
              <a:gd name="connsiteY64" fmla="*/ 40481 h 495300"/>
              <a:gd name="connsiteX65" fmla="*/ 445584 w 719427"/>
              <a:gd name="connsiteY65" fmla="*/ 64294 h 495300"/>
              <a:gd name="connsiteX66" fmla="*/ 443202 w 719427"/>
              <a:gd name="connsiteY66" fmla="*/ 71438 h 495300"/>
              <a:gd name="connsiteX67" fmla="*/ 440821 w 719427"/>
              <a:gd name="connsiteY67" fmla="*/ 78581 h 495300"/>
              <a:gd name="connsiteX68" fmla="*/ 455109 w 719427"/>
              <a:gd name="connsiteY68" fmla="*/ 85725 h 495300"/>
              <a:gd name="connsiteX69" fmla="*/ 462252 w 719427"/>
              <a:gd name="connsiteY69" fmla="*/ 88106 h 495300"/>
              <a:gd name="connsiteX70" fmla="*/ 469396 w 719427"/>
              <a:gd name="connsiteY70" fmla="*/ 95250 h 495300"/>
              <a:gd name="connsiteX71" fmla="*/ 486065 w 719427"/>
              <a:gd name="connsiteY71" fmla="*/ 95250 h 495300"/>
              <a:gd name="connsiteX72" fmla="*/ 500352 w 719427"/>
              <a:gd name="connsiteY72" fmla="*/ 92869 h 495300"/>
              <a:gd name="connsiteX73" fmla="*/ 519402 w 719427"/>
              <a:gd name="connsiteY73" fmla="*/ 88106 h 495300"/>
              <a:gd name="connsiteX74" fmla="*/ 536071 w 719427"/>
              <a:gd name="connsiteY74" fmla="*/ 90488 h 495300"/>
              <a:gd name="connsiteX75" fmla="*/ 536071 w 719427"/>
              <a:gd name="connsiteY75" fmla="*/ 107156 h 495300"/>
              <a:gd name="connsiteX76" fmla="*/ 538452 w 719427"/>
              <a:gd name="connsiteY76" fmla="*/ 140494 h 495300"/>
              <a:gd name="connsiteX77" fmla="*/ 543215 w 719427"/>
              <a:gd name="connsiteY77" fmla="*/ 147638 h 495300"/>
              <a:gd name="connsiteX78" fmla="*/ 552740 w 719427"/>
              <a:gd name="connsiteY78" fmla="*/ 192881 h 495300"/>
              <a:gd name="connsiteX79" fmla="*/ 559884 w 719427"/>
              <a:gd name="connsiteY79" fmla="*/ 197644 h 495300"/>
              <a:gd name="connsiteX80" fmla="*/ 567027 w 719427"/>
              <a:gd name="connsiteY80" fmla="*/ 211931 h 495300"/>
              <a:gd name="connsiteX81" fmla="*/ 574171 w 719427"/>
              <a:gd name="connsiteY81" fmla="*/ 216694 h 495300"/>
              <a:gd name="connsiteX82" fmla="*/ 588459 w 719427"/>
              <a:gd name="connsiteY82" fmla="*/ 226219 h 495300"/>
              <a:gd name="connsiteX83" fmla="*/ 600365 w 719427"/>
              <a:gd name="connsiteY83" fmla="*/ 238125 h 495300"/>
              <a:gd name="connsiteX84" fmla="*/ 602746 w 719427"/>
              <a:gd name="connsiteY84" fmla="*/ 247650 h 495300"/>
              <a:gd name="connsiteX85" fmla="*/ 605127 w 719427"/>
              <a:gd name="connsiteY85" fmla="*/ 254794 h 495300"/>
              <a:gd name="connsiteX86" fmla="*/ 619415 w 719427"/>
              <a:gd name="connsiteY86" fmla="*/ 259556 h 495300"/>
              <a:gd name="connsiteX87" fmla="*/ 626559 w 719427"/>
              <a:gd name="connsiteY87" fmla="*/ 261938 h 495300"/>
              <a:gd name="connsiteX88" fmla="*/ 633702 w 719427"/>
              <a:gd name="connsiteY88" fmla="*/ 269081 h 495300"/>
              <a:gd name="connsiteX89" fmla="*/ 638465 w 719427"/>
              <a:gd name="connsiteY89" fmla="*/ 283369 h 495300"/>
              <a:gd name="connsiteX90" fmla="*/ 652752 w 719427"/>
              <a:gd name="connsiteY90" fmla="*/ 288131 h 495300"/>
              <a:gd name="connsiteX91" fmla="*/ 669421 w 719427"/>
              <a:gd name="connsiteY91" fmla="*/ 297656 h 495300"/>
              <a:gd name="connsiteX92" fmla="*/ 671802 w 719427"/>
              <a:gd name="connsiteY92" fmla="*/ 304800 h 495300"/>
              <a:gd name="connsiteX93" fmla="*/ 681327 w 719427"/>
              <a:gd name="connsiteY93" fmla="*/ 309563 h 495300"/>
              <a:gd name="connsiteX94" fmla="*/ 719427 w 719427"/>
              <a:gd name="connsiteY94" fmla="*/ 314325 h 495300"/>
              <a:gd name="connsiteX95" fmla="*/ 712284 w 719427"/>
              <a:gd name="connsiteY95" fmla="*/ 328613 h 495300"/>
              <a:gd name="connsiteX96" fmla="*/ 705140 w 719427"/>
              <a:gd name="connsiteY96" fmla="*/ 330994 h 495300"/>
              <a:gd name="connsiteX97" fmla="*/ 695615 w 719427"/>
              <a:gd name="connsiteY97" fmla="*/ 352425 h 495300"/>
              <a:gd name="connsiteX98" fmla="*/ 688471 w 719427"/>
              <a:gd name="connsiteY98" fmla="*/ 354806 h 495300"/>
              <a:gd name="connsiteX99" fmla="*/ 676565 w 719427"/>
              <a:gd name="connsiteY99" fmla="*/ 352425 h 495300"/>
              <a:gd name="connsiteX100" fmla="*/ 669421 w 719427"/>
              <a:gd name="connsiteY100" fmla="*/ 350044 h 495300"/>
              <a:gd name="connsiteX101" fmla="*/ 650371 w 719427"/>
              <a:gd name="connsiteY101" fmla="*/ 354806 h 495300"/>
              <a:gd name="connsiteX102" fmla="*/ 643227 w 719427"/>
              <a:gd name="connsiteY102" fmla="*/ 359569 h 495300"/>
              <a:gd name="connsiteX103" fmla="*/ 638465 w 719427"/>
              <a:gd name="connsiteY103" fmla="*/ 366713 h 495300"/>
              <a:gd name="connsiteX104" fmla="*/ 631321 w 719427"/>
              <a:gd name="connsiteY104" fmla="*/ 369094 h 495300"/>
              <a:gd name="connsiteX105" fmla="*/ 600365 w 719427"/>
              <a:gd name="connsiteY105" fmla="*/ 371475 h 495300"/>
              <a:gd name="connsiteX106" fmla="*/ 593221 w 719427"/>
              <a:gd name="connsiteY106" fmla="*/ 373856 h 495300"/>
              <a:gd name="connsiteX107" fmla="*/ 581315 w 719427"/>
              <a:gd name="connsiteY107" fmla="*/ 388144 h 495300"/>
              <a:gd name="connsiteX108" fmla="*/ 576552 w 719427"/>
              <a:gd name="connsiteY108" fmla="*/ 404813 h 495300"/>
              <a:gd name="connsiteX109" fmla="*/ 569409 w 719427"/>
              <a:gd name="connsiteY109" fmla="*/ 411956 h 495300"/>
              <a:gd name="connsiteX110" fmla="*/ 567027 w 719427"/>
              <a:gd name="connsiteY110" fmla="*/ 419100 h 495300"/>
              <a:gd name="connsiteX111" fmla="*/ 559884 w 719427"/>
              <a:gd name="connsiteY111" fmla="*/ 421481 h 495300"/>
              <a:gd name="connsiteX112" fmla="*/ 543215 w 719427"/>
              <a:gd name="connsiteY112" fmla="*/ 428625 h 495300"/>
              <a:gd name="connsiteX113" fmla="*/ 528927 w 719427"/>
              <a:gd name="connsiteY113" fmla="*/ 435769 h 495300"/>
              <a:gd name="connsiteX114" fmla="*/ 512259 w 719427"/>
              <a:gd name="connsiteY114" fmla="*/ 442913 h 495300"/>
              <a:gd name="connsiteX115" fmla="*/ 490827 w 719427"/>
              <a:gd name="connsiteY115" fmla="*/ 454819 h 495300"/>
              <a:gd name="connsiteX116" fmla="*/ 483684 w 719427"/>
              <a:gd name="connsiteY116" fmla="*/ 459581 h 495300"/>
              <a:gd name="connsiteX117" fmla="*/ 469396 w 719427"/>
              <a:gd name="connsiteY117" fmla="*/ 473869 h 495300"/>
              <a:gd name="connsiteX118" fmla="*/ 467015 w 719427"/>
              <a:gd name="connsiteY118" fmla="*/ 481013 h 495300"/>
              <a:gd name="connsiteX119" fmla="*/ 443202 w 719427"/>
              <a:gd name="connsiteY119" fmla="*/ 490538 h 495300"/>
              <a:gd name="connsiteX120" fmla="*/ 436059 w 719427"/>
              <a:gd name="connsiteY120" fmla="*/ 492919 h 495300"/>
              <a:gd name="connsiteX121" fmla="*/ 428915 w 719427"/>
              <a:gd name="connsiteY121" fmla="*/ 495300 h 495300"/>
              <a:gd name="connsiteX122" fmla="*/ 388434 w 719427"/>
              <a:gd name="connsiteY122" fmla="*/ 492919 h 495300"/>
              <a:gd name="connsiteX123" fmla="*/ 381290 w 719427"/>
              <a:gd name="connsiteY123" fmla="*/ 490538 h 495300"/>
              <a:gd name="connsiteX124" fmla="*/ 374146 w 719427"/>
              <a:gd name="connsiteY124" fmla="*/ 483394 h 495300"/>
              <a:gd name="connsiteX125" fmla="*/ 371765 w 719427"/>
              <a:gd name="connsiteY125" fmla="*/ 454819 h 495300"/>
              <a:gd name="connsiteX126" fmla="*/ 386052 w 719427"/>
              <a:gd name="connsiteY126" fmla="*/ 445294 h 495300"/>
              <a:gd name="connsiteX127" fmla="*/ 393196 w 719427"/>
              <a:gd name="connsiteY127" fmla="*/ 440531 h 495300"/>
              <a:gd name="connsiteX128" fmla="*/ 395577 w 719427"/>
              <a:gd name="connsiteY128" fmla="*/ 433388 h 495300"/>
              <a:gd name="connsiteX129" fmla="*/ 388434 w 719427"/>
              <a:gd name="connsiteY129" fmla="*/ 431006 h 495300"/>
              <a:gd name="connsiteX130" fmla="*/ 383671 w 719427"/>
              <a:gd name="connsiteY130" fmla="*/ 423863 h 495300"/>
              <a:gd name="connsiteX131" fmla="*/ 376527 w 719427"/>
              <a:gd name="connsiteY131" fmla="*/ 419100 h 495300"/>
              <a:gd name="connsiteX132" fmla="*/ 371765 w 719427"/>
              <a:gd name="connsiteY132" fmla="*/ 411956 h 495300"/>
              <a:gd name="connsiteX133" fmla="*/ 352715 w 719427"/>
              <a:gd name="connsiteY133" fmla="*/ 407194 h 495300"/>
              <a:gd name="connsiteX134" fmla="*/ 331284 w 719427"/>
              <a:gd name="connsiteY134" fmla="*/ 397669 h 495300"/>
              <a:gd name="connsiteX135" fmla="*/ 326521 w 719427"/>
              <a:gd name="connsiteY135" fmla="*/ 390525 h 495300"/>
              <a:gd name="connsiteX136" fmla="*/ 316996 w 719427"/>
              <a:gd name="connsiteY136" fmla="*/ 369094 h 495300"/>
              <a:gd name="connsiteX137" fmla="*/ 309852 w 719427"/>
              <a:gd name="connsiteY137" fmla="*/ 354806 h 495300"/>
              <a:gd name="connsiteX138" fmla="*/ 288421 w 719427"/>
              <a:gd name="connsiteY138" fmla="*/ 345281 h 495300"/>
              <a:gd name="connsiteX139" fmla="*/ 271752 w 719427"/>
              <a:gd name="connsiteY139" fmla="*/ 340519 h 495300"/>
              <a:gd name="connsiteX140" fmla="*/ 264609 w 719427"/>
              <a:gd name="connsiteY140" fmla="*/ 338138 h 495300"/>
              <a:gd name="connsiteX141" fmla="*/ 257465 w 719427"/>
              <a:gd name="connsiteY141" fmla="*/ 333375 h 495300"/>
              <a:gd name="connsiteX142" fmla="*/ 243177 w 719427"/>
              <a:gd name="connsiteY142" fmla="*/ 328613 h 495300"/>
              <a:gd name="connsiteX143" fmla="*/ 236034 w 719427"/>
              <a:gd name="connsiteY143" fmla="*/ 326231 h 495300"/>
              <a:gd name="connsiteX144" fmla="*/ 228890 w 719427"/>
              <a:gd name="connsiteY144" fmla="*/ 321469 h 495300"/>
              <a:gd name="connsiteX145" fmla="*/ 226509 w 719427"/>
              <a:gd name="connsiteY145" fmla="*/ 314325 h 495300"/>
              <a:gd name="connsiteX146" fmla="*/ 219365 w 719427"/>
              <a:gd name="connsiteY146" fmla="*/ 300038 h 495300"/>
              <a:gd name="connsiteX147" fmla="*/ 209840 w 719427"/>
              <a:gd name="connsiteY147" fmla="*/ 283369 h 495300"/>
              <a:gd name="connsiteX148" fmla="*/ 183646 w 719427"/>
              <a:gd name="connsiteY148" fmla="*/ 288131 h 495300"/>
              <a:gd name="connsiteX149" fmla="*/ 169359 w 719427"/>
              <a:gd name="connsiteY149" fmla="*/ 292894 h 495300"/>
              <a:gd name="connsiteX150" fmla="*/ 162215 w 719427"/>
              <a:gd name="connsiteY150" fmla="*/ 300038 h 495300"/>
              <a:gd name="connsiteX151" fmla="*/ 116971 w 719427"/>
              <a:gd name="connsiteY151" fmla="*/ 316706 h 495300"/>
              <a:gd name="connsiteX152" fmla="*/ 100302 w 719427"/>
              <a:gd name="connsiteY152" fmla="*/ 321469 h 495300"/>
              <a:gd name="connsiteX153" fmla="*/ 90777 w 719427"/>
              <a:gd name="connsiteY153" fmla="*/ 323850 h 495300"/>
              <a:gd name="connsiteX154" fmla="*/ 76490 w 719427"/>
              <a:gd name="connsiteY154" fmla="*/ 328613 h 495300"/>
              <a:gd name="connsiteX155" fmla="*/ 62202 w 719427"/>
              <a:gd name="connsiteY155" fmla="*/ 333375 h 495300"/>
              <a:gd name="connsiteX156" fmla="*/ 40771 w 719427"/>
              <a:gd name="connsiteY156" fmla="*/ 340519 h 495300"/>
              <a:gd name="connsiteX157" fmla="*/ 33627 w 719427"/>
              <a:gd name="connsiteY157" fmla="*/ 342900 h 495300"/>
              <a:gd name="connsiteX158" fmla="*/ 16959 w 719427"/>
              <a:gd name="connsiteY158" fmla="*/ 345281 h 495300"/>
              <a:gd name="connsiteX159" fmla="*/ 9815 w 719427"/>
              <a:gd name="connsiteY159" fmla="*/ 347663 h 495300"/>
              <a:gd name="connsiteX160" fmla="*/ 9815 w 719427"/>
              <a:gd name="connsiteY160" fmla="*/ 335756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</a:cxnLst>
            <a:rect l="l" t="t" r="r" b="b"/>
            <a:pathLst>
              <a:path w="719427" h="495300">
                <a:moveTo>
                  <a:pt x="9815" y="335756"/>
                </a:moveTo>
                <a:cubicBezTo>
                  <a:pt x="9815" y="328215"/>
                  <a:pt x="3972" y="321409"/>
                  <a:pt x="9815" y="302419"/>
                </a:cubicBezTo>
                <a:cubicBezTo>
                  <a:pt x="10657" y="299683"/>
                  <a:pt x="14578" y="299244"/>
                  <a:pt x="16959" y="297656"/>
                </a:cubicBezTo>
                <a:cubicBezTo>
                  <a:pt x="16053" y="293126"/>
                  <a:pt x="12076" y="283488"/>
                  <a:pt x="16959" y="278606"/>
                </a:cubicBezTo>
                <a:cubicBezTo>
                  <a:pt x="19469" y="276096"/>
                  <a:pt x="23309" y="275431"/>
                  <a:pt x="26484" y="273844"/>
                </a:cubicBezTo>
                <a:cubicBezTo>
                  <a:pt x="28843" y="266765"/>
                  <a:pt x="30346" y="258076"/>
                  <a:pt x="36009" y="252413"/>
                </a:cubicBezTo>
                <a:cubicBezTo>
                  <a:pt x="38033" y="250389"/>
                  <a:pt x="40771" y="249238"/>
                  <a:pt x="43152" y="247650"/>
                </a:cubicBezTo>
                <a:cubicBezTo>
                  <a:pt x="40771" y="246063"/>
                  <a:pt x="38568" y="244168"/>
                  <a:pt x="36009" y="242888"/>
                </a:cubicBezTo>
                <a:cubicBezTo>
                  <a:pt x="33764" y="241765"/>
                  <a:pt x="30324" y="242549"/>
                  <a:pt x="28865" y="240506"/>
                </a:cubicBezTo>
                <a:cubicBezTo>
                  <a:pt x="10829" y="215257"/>
                  <a:pt x="35329" y="233705"/>
                  <a:pt x="16959" y="221456"/>
                </a:cubicBezTo>
                <a:cubicBezTo>
                  <a:pt x="19340" y="219869"/>
                  <a:pt x="21542" y="217974"/>
                  <a:pt x="24102" y="216694"/>
                </a:cubicBezTo>
                <a:cubicBezTo>
                  <a:pt x="26347" y="215572"/>
                  <a:pt x="29787" y="216356"/>
                  <a:pt x="31246" y="214313"/>
                </a:cubicBezTo>
                <a:cubicBezTo>
                  <a:pt x="34164" y="210228"/>
                  <a:pt x="34421" y="204788"/>
                  <a:pt x="36009" y="200025"/>
                </a:cubicBezTo>
                <a:cubicBezTo>
                  <a:pt x="36803" y="197644"/>
                  <a:pt x="36009" y="193675"/>
                  <a:pt x="38390" y="192881"/>
                </a:cubicBezTo>
                <a:lnTo>
                  <a:pt x="52677" y="188119"/>
                </a:lnTo>
                <a:lnTo>
                  <a:pt x="31246" y="180975"/>
                </a:lnTo>
                <a:cubicBezTo>
                  <a:pt x="28865" y="180181"/>
                  <a:pt x="26537" y="179203"/>
                  <a:pt x="24102" y="178594"/>
                </a:cubicBezTo>
                <a:lnTo>
                  <a:pt x="5052" y="173831"/>
                </a:lnTo>
                <a:cubicBezTo>
                  <a:pt x="3218" y="168328"/>
                  <a:pt x="0" y="162936"/>
                  <a:pt x="5052" y="157163"/>
                </a:cubicBezTo>
                <a:cubicBezTo>
                  <a:pt x="8821" y="152855"/>
                  <a:pt x="19340" y="147638"/>
                  <a:pt x="19340" y="147638"/>
                </a:cubicBezTo>
                <a:lnTo>
                  <a:pt x="24102" y="133350"/>
                </a:lnTo>
                <a:lnTo>
                  <a:pt x="26484" y="126206"/>
                </a:lnTo>
                <a:cubicBezTo>
                  <a:pt x="27278" y="118269"/>
                  <a:pt x="26139" y="109891"/>
                  <a:pt x="28865" y="102394"/>
                </a:cubicBezTo>
                <a:cubicBezTo>
                  <a:pt x="29723" y="100035"/>
                  <a:pt x="34234" y="101788"/>
                  <a:pt x="36009" y="100013"/>
                </a:cubicBezTo>
                <a:cubicBezTo>
                  <a:pt x="37784" y="98238"/>
                  <a:pt x="37596" y="95250"/>
                  <a:pt x="38390" y="92869"/>
                </a:cubicBezTo>
                <a:cubicBezTo>
                  <a:pt x="37596" y="87313"/>
                  <a:pt x="35609" y="81798"/>
                  <a:pt x="36009" y="76200"/>
                </a:cubicBezTo>
                <a:cubicBezTo>
                  <a:pt x="36421" y="70436"/>
                  <a:pt x="37708" y="64431"/>
                  <a:pt x="40771" y="59531"/>
                </a:cubicBezTo>
                <a:cubicBezTo>
                  <a:pt x="42101" y="57402"/>
                  <a:pt x="45670" y="58272"/>
                  <a:pt x="47915" y="57150"/>
                </a:cubicBezTo>
                <a:cubicBezTo>
                  <a:pt x="50475" y="55870"/>
                  <a:pt x="52379" y="53393"/>
                  <a:pt x="55059" y="52388"/>
                </a:cubicBezTo>
                <a:cubicBezTo>
                  <a:pt x="58849" y="50967"/>
                  <a:pt x="63039" y="50988"/>
                  <a:pt x="66965" y="50006"/>
                </a:cubicBezTo>
                <a:cubicBezTo>
                  <a:pt x="69400" y="49397"/>
                  <a:pt x="71728" y="48419"/>
                  <a:pt x="74109" y="47625"/>
                </a:cubicBezTo>
                <a:cubicBezTo>
                  <a:pt x="76490" y="46038"/>
                  <a:pt x="78622" y="43990"/>
                  <a:pt x="81252" y="42863"/>
                </a:cubicBezTo>
                <a:cubicBezTo>
                  <a:pt x="84260" y="41574"/>
                  <a:pt x="87642" y="41421"/>
                  <a:pt x="90777" y="40481"/>
                </a:cubicBezTo>
                <a:cubicBezTo>
                  <a:pt x="95585" y="39038"/>
                  <a:pt x="100195" y="36936"/>
                  <a:pt x="105065" y="35719"/>
                </a:cubicBezTo>
                <a:cubicBezTo>
                  <a:pt x="108240" y="34925"/>
                  <a:pt x="111455" y="34278"/>
                  <a:pt x="114590" y="33338"/>
                </a:cubicBezTo>
                <a:cubicBezTo>
                  <a:pt x="119398" y="31895"/>
                  <a:pt x="128877" y="28575"/>
                  <a:pt x="128877" y="28575"/>
                </a:cubicBezTo>
                <a:lnTo>
                  <a:pt x="152690" y="30956"/>
                </a:lnTo>
                <a:cubicBezTo>
                  <a:pt x="157026" y="33486"/>
                  <a:pt x="155864" y="40481"/>
                  <a:pt x="157452" y="45244"/>
                </a:cubicBezTo>
                <a:lnTo>
                  <a:pt x="159834" y="52388"/>
                </a:lnTo>
                <a:cubicBezTo>
                  <a:pt x="164020" y="64943"/>
                  <a:pt x="159448" y="54781"/>
                  <a:pt x="169359" y="66675"/>
                </a:cubicBezTo>
                <a:cubicBezTo>
                  <a:pt x="171191" y="68874"/>
                  <a:pt x="172841" y="71259"/>
                  <a:pt x="174121" y="73819"/>
                </a:cubicBezTo>
                <a:cubicBezTo>
                  <a:pt x="175243" y="76064"/>
                  <a:pt x="174934" y="79003"/>
                  <a:pt x="176502" y="80963"/>
                </a:cubicBezTo>
                <a:cubicBezTo>
                  <a:pt x="179859" y="85159"/>
                  <a:pt x="186085" y="86538"/>
                  <a:pt x="190790" y="88106"/>
                </a:cubicBezTo>
                <a:cubicBezTo>
                  <a:pt x="194759" y="87312"/>
                  <a:pt x="198770" y="86707"/>
                  <a:pt x="202696" y="85725"/>
                </a:cubicBezTo>
                <a:cubicBezTo>
                  <a:pt x="205131" y="85116"/>
                  <a:pt x="207330" y="83344"/>
                  <a:pt x="209840" y="83344"/>
                </a:cubicBezTo>
                <a:cubicBezTo>
                  <a:pt x="215453" y="83344"/>
                  <a:pt x="220953" y="84931"/>
                  <a:pt x="226509" y="85725"/>
                </a:cubicBezTo>
                <a:cubicBezTo>
                  <a:pt x="243178" y="84931"/>
                  <a:pt x="261461" y="90544"/>
                  <a:pt x="276515" y="83344"/>
                </a:cubicBezTo>
                <a:cubicBezTo>
                  <a:pt x="283818" y="79851"/>
                  <a:pt x="274541" y="64021"/>
                  <a:pt x="281277" y="59531"/>
                </a:cubicBezTo>
                <a:cubicBezTo>
                  <a:pt x="283658" y="57944"/>
                  <a:pt x="285806" y="55931"/>
                  <a:pt x="288421" y="54769"/>
                </a:cubicBezTo>
                <a:cubicBezTo>
                  <a:pt x="293009" y="52730"/>
                  <a:pt x="298532" y="52791"/>
                  <a:pt x="302709" y="50006"/>
                </a:cubicBezTo>
                <a:lnTo>
                  <a:pt x="316996" y="40481"/>
                </a:lnTo>
                <a:cubicBezTo>
                  <a:pt x="319377" y="38894"/>
                  <a:pt x="321364" y="36413"/>
                  <a:pt x="324140" y="35719"/>
                </a:cubicBezTo>
                <a:lnTo>
                  <a:pt x="333665" y="33338"/>
                </a:lnTo>
                <a:cubicBezTo>
                  <a:pt x="336046" y="31750"/>
                  <a:pt x="338249" y="29855"/>
                  <a:pt x="340809" y="28575"/>
                </a:cubicBezTo>
                <a:cubicBezTo>
                  <a:pt x="343054" y="27453"/>
                  <a:pt x="345773" y="27439"/>
                  <a:pt x="347952" y="26194"/>
                </a:cubicBezTo>
                <a:cubicBezTo>
                  <a:pt x="351398" y="24225"/>
                  <a:pt x="354031" y="21019"/>
                  <a:pt x="357477" y="19050"/>
                </a:cubicBezTo>
                <a:cubicBezTo>
                  <a:pt x="361419" y="16798"/>
                  <a:pt x="373514" y="14891"/>
                  <a:pt x="376527" y="14288"/>
                </a:cubicBezTo>
                <a:cubicBezTo>
                  <a:pt x="377321" y="11907"/>
                  <a:pt x="377341" y="9104"/>
                  <a:pt x="378909" y="7144"/>
                </a:cubicBezTo>
                <a:cubicBezTo>
                  <a:pt x="382267" y="2946"/>
                  <a:pt x="388488" y="1569"/>
                  <a:pt x="393196" y="0"/>
                </a:cubicBezTo>
                <a:cubicBezTo>
                  <a:pt x="396371" y="794"/>
                  <a:pt x="399998" y="566"/>
                  <a:pt x="402721" y="2381"/>
                </a:cubicBezTo>
                <a:cubicBezTo>
                  <a:pt x="405102" y="3969"/>
                  <a:pt x="405330" y="7640"/>
                  <a:pt x="407484" y="9525"/>
                </a:cubicBezTo>
                <a:cubicBezTo>
                  <a:pt x="417562" y="18344"/>
                  <a:pt x="419103" y="18161"/>
                  <a:pt x="428915" y="21431"/>
                </a:cubicBezTo>
                <a:cubicBezTo>
                  <a:pt x="449391" y="35082"/>
                  <a:pt x="423484" y="18715"/>
                  <a:pt x="443202" y="28575"/>
                </a:cubicBezTo>
                <a:cubicBezTo>
                  <a:pt x="445762" y="29855"/>
                  <a:pt x="447965" y="31750"/>
                  <a:pt x="450346" y="33338"/>
                </a:cubicBezTo>
                <a:cubicBezTo>
                  <a:pt x="451140" y="35719"/>
                  <a:pt x="452727" y="37971"/>
                  <a:pt x="452727" y="40481"/>
                </a:cubicBezTo>
                <a:cubicBezTo>
                  <a:pt x="452727" y="44079"/>
                  <a:pt x="445861" y="63463"/>
                  <a:pt x="445584" y="64294"/>
                </a:cubicBezTo>
                <a:lnTo>
                  <a:pt x="443202" y="71438"/>
                </a:lnTo>
                <a:lnTo>
                  <a:pt x="440821" y="78581"/>
                </a:lnTo>
                <a:cubicBezTo>
                  <a:pt x="458782" y="84570"/>
                  <a:pt x="436640" y="76491"/>
                  <a:pt x="455109" y="85725"/>
                </a:cubicBezTo>
                <a:cubicBezTo>
                  <a:pt x="457354" y="86847"/>
                  <a:pt x="459871" y="87312"/>
                  <a:pt x="462252" y="88106"/>
                </a:cubicBezTo>
                <a:cubicBezTo>
                  <a:pt x="464633" y="90487"/>
                  <a:pt x="466594" y="93382"/>
                  <a:pt x="469396" y="95250"/>
                </a:cubicBezTo>
                <a:cubicBezTo>
                  <a:pt x="476232" y="99807"/>
                  <a:pt x="478555" y="96752"/>
                  <a:pt x="486065" y="95250"/>
                </a:cubicBezTo>
                <a:cubicBezTo>
                  <a:pt x="490799" y="94303"/>
                  <a:pt x="495631" y="93881"/>
                  <a:pt x="500352" y="92869"/>
                </a:cubicBezTo>
                <a:cubicBezTo>
                  <a:pt x="506752" y="91497"/>
                  <a:pt x="519402" y="88106"/>
                  <a:pt x="519402" y="88106"/>
                </a:cubicBezTo>
                <a:cubicBezTo>
                  <a:pt x="524958" y="88900"/>
                  <a:pt x="531051" y="87978"/>
                  <a:pt x="536071" y="90488"/>
                </a:cubicBezTo>
                <a:cubicBezTo>
                  <a:pt x="541384" y="93145"/>
                  <a:pt x="536586" y="105095"/>
                  <a:pt x="536071" y="107156"/>
                </a:cubicBezTo>
                <a:cubicBezTo>
                  <a:pt x="536865" y="118269"/>
                  <a:pt x="536516" y="129523"/>
                  <a:pt x="538452" y="140494"/>
                </a:cubicBezTo>
                <a:cubicBezTo>
                  <a:pt x="538949" y="143313"/>
                  <a:pt x="542688" y="144825"/>
                  <a:pt x="543215" y="147638"/>
                </a:cubicBezTo>
                <a:cubicBezTo>
                  <a:pt x="545683" y="160801"/>
                  <a:pt x="541243" y="181385"/>
                  <a:pt x="552740" y="192881"/>
                </a:cubicBezTo>
                <a:cubicBezTo>
                  <a:pt x="554764" y="194905"/>
                  <a:pt x="557503" y="196056"/>
                  <a:pt x="559884" y="197644"/>
                </a:cubicBezTo>
                <a:cubicBezTo>
                  <a:pt x="561820" y="203454"/>
                  <a:pt x="562411" y="207315"/>
                  <a:pt x="567027" y="211931"/>
                </a:cubicBezTo>
                <a:cubicBezTo>
                  <a:pt x="569051" y="213955"/>
                  <a:pt x="571972" y="214862"/>
                  <a:pt x="574171" y="216694"/>
                </a:cubicBezTo>
                <a:cubicBezTo>
                  <a:pt x="586062" y="226603"/>
                  <a:pt x="575905" y="222035"/>
                  <a:pt x="588459" y="226219"/>
                </a:cubicBezTo>
                <a:cubicBezTo>
                  <a:pt x="594808" y="230452"/>
                  <a:pt x="597190" y="230717"/>
                  <a:pt x="600365" y="238125"/>
                </a:cubicBezTo>
                <a:cubicBezTo>
                  <a:pt x="601654" y="241133"/>
                  <a:pt x="601847" y="244503"/>
                  <a:pt x="602746" y="247650"/>
                </a:cubicBezTo>
                <a:cubicBezTo>
                  <a:pt x="603436" y="250064"/>
                  <a:pt x="603084" y="253335"/>
                  <a:pt x="605127" y="254794"/>
                </a:cubicBezTo>
                <a:cubicBezTo>
                  <a:pt x="609212" y="257712"/>
                  <a:pt x="614652" y="257968"/>
                  <a:pt x="619415" y="259556"/>
                </a:cubicBezTo>
                <a:lnTo>
                  <a:pt x="626559" y="261938"/>
                </a:lnTo>
                <a:cubicBezTo>
                  <a:pt x="628940" y="264319"/>
                  <a:pt x="632067" y="266137"/>
                  <a:pt x="633702" y="269081"/>
                </a:cubicBezTo>
                <a:cubicBezTo>
                  <a:pt x="636140" y="273470"/>
                  <a:pt x="633702" y="281782"/>
                  <a:pt x="638465" y="283369"/>
                </a:cubicBezTo>
                <a:cubicBezTo>
                  <a:pt x="643227" y="284956"/>
                  <a:pt x="648262" y="285886"/>
                  <a:pt x="652752" y="288131"/>
                </a:cubicBezTo>
                <a:cubicBezTo>
                  <a:pt x="664837" y="294174"/>
                  <a:pt x="659323" y="290925"/>
                  <a:pt x="669421" y="297656"/>
                </a:cubicBezTo>
                <a:cubicBezTo>
                  <a:pt x="670215" y="300037"/>
                  <a:pt x="670027" y="303025"/>
                  <a:pt x="671802" y="304800"/>
                </a:cubicBezTo>
                <a:cubicBezTo>
                  <a:pt x="674312" y="307310"/>
                  <a:pt x="678064" y="308165"/>
                  <a:pt x="681327" y="309563"/>
                </a:cubicBezTo>
                <a:cubicBezTo>
                  <a:pt x="693693" y="314863"/>
                  <a:pt x="704919" y="313209"/>
                  <a:pt x="719427" y="314325"/>
                </a:cubicBezTo>
                <a:cubicBezTo>
                  <a:pt x="717859" y="319030"/>
                  <a:pt x="716480" y="325256"/>
                  <a:pt x="712284" y="328613"/>
                </a:cubicBezTo>
                <a:cubicBezTo>
                  <a:pt x="710324" y="330181"/>
                  <a:pt x="707521" y="330200"/>
                  <a:pt x="705140" y="330994"/>
                </a:cubicBezTo>
                <a:cubicBezTo>
                  <a:pt x="703686" y="335356"/>
                  <a:pt x="700759" y="348310"/>
                  <a:pt x="695615" y="352425"/>
                </a:cubicBezTo>
                <a:cubicBezTo>
                  <a:pt x="693655" y="353993"/>
                  <a:pt x="690852" y="354012"/>
                  <a:pt x="688471" y="354806"/>
                </a:cubicBezTo>
                <a:cubicBezTo>
                  <a:pt x="684502" y="354012"/>
                  <a:pt x="680491" y="353407"/>
                  <a:pt x="676565" y="352425"/>
                </a:cubicBezTo>
                <a:cubicBezTo>
                  <a:pt x="674130" y="351816"/>
                  <a:pt x="671931" y="350044"/>
                  <a:pt x="669421" y="350044"/>
                </a:cubicBezTo>
                <a:cubicBezTo>
                  <a:pt x="663675" y="350044"/>
                  <a:pt x="656008" y="352927"/>
                  <a:pt x="650371" y="354806"/>
                </a:cubicBezTo>
                <a:cubicBezTo>
                  <a:pt x="647990" y="356394"/>
                  <a:pt x="645251" y="357545"/>
                  <a:pt x="643227" y="359569"/>
                </a:cubicBezTo>
                <a:cubicBezTo>
                  <a:pt x="641203" y="361593"/>
                  <a:pt x="640700" y="364925"/>
                  <a:pt x="638465" y="366713"/>
                </a:cubicBezTo>
                <a:cubicBezTo>
                  <a:pt x="636505" y="368281"/>
                  <a:pt x="633812" y="368783"/>
                  <a:pt x="631321" y="369094"/>
                </a:cubicBezTo>
                <a:cubicBezTo>
                  <a:pt x="621052" y="370378"/>
                  <a:pt x="610684" y="370681"/>
                  <a:pt x="600365" y="371475"/>
                </a:cubicBezTo>
                <a:cubicBezTo>
                  <a:pt x="597984" y="372269"/>
                  <a:pt x="595310" y="372464"/>
                  <a:pt x="593221" y="373856"/>
                </a:cubicBezTo>
                <a:cubicBezTo>
                  <a:pt x="587720" y="377523"/>
                  <a:pt x="584829" y="382872"/>
                  <a:pt x="581315" y="388144"/>
                </a:cubicBezTo>
                <a:cubicBezTo>
                  <a:pt x="580996" y="389418"/>
                  <a:pt x="577920" y="402761"/>
                  <a:pt x="576552" y="404813"/>
                </a:cubicBezTo>
                <a:cubicBezTo>
                  <a:pt x="574684" y="407615"/>
                  <a:pt x="571790" y="409575"/>
                  <a:pt x="569409" y="411956"/>
                </a:cubicBezTo>
                <a:cubicBezTo>
                  <a:pt x="568615" y="414337"/>
                  <a:pt x="568802" y="417325"/>
                  <a:pt x="567027" y="419100"/>
                </a:cubicBezTo>
                <a:cubicBezTo>
                  <a:pt x="565252" y="420875"/>
                  <a:pt x="562191" y="420492"/>
                  <a:pt x="559884" y="421481"/>
                </a:cubicBezTo>
                <a:cubicBezTo>
                  <a:pt x="539292" y="430307"/>
                  <a:pt x="559965" y="423042"/>
                  <a:pt x="543215" y="428625"/>
                </a:cubicBezTo>
                <a:cubicBezTo>
                  <a:pt x="522746" y="442272"/>
                  <a:pt x="548641" y="425913"/>
                  <a:pt x="528927" y="435769"/>
                </a:cubicBezTo>
                <a:cubicBezTo>
                  <a:pt x="512479" y="443992"/>
                  <a:pt x="532088" y="437954"/>
                  <a:pt x="512259" y="442913"/>
                </a:cubicBezTo>
                <a:cubicBezTo>
                  <a:pt x="495882" y="453830"/>
                  <a:pt x="503401" y="450628"/>
                  <a:pt x="490827" y="454819"/>
                </a:cubicBezTo>
                <a:cubicBezTo>
                  <a:pt x="488446" y="456406"/>
                  <a:pt x="485823" y="457680"/>
                  <a:pt x="483684" y="459581"/>
                </a:cubicBezTo>
                <a:cubicBezTo>
                  <a:pt x="478650" y="464056"/>
                  <a:pt x="469396" y="473869"/>
                  <a:pt x="469396" y="473869"/>
                </a:cubicBezTo>
                <a:cubicBezTo>
                  <a:pt x="468602" y="476250"/>
                  <a:pt x="468790" y="479238"/>
                  <a:pt x="467015" y="481013"/>
                </a:cubicBezTo>
                <a:cubicBezTo>
                  <a:pt x="463513" y="484515"/>
                  <a:pt x="445989" y="489609"/>
                  <a:pt x="443202" y="490538"/>
                </a:cubicBezTo>
                <a:lnTo>
                  <a:pt x="436059" y="492919"/>
                </a:lnTo>
                <a:lnTo>
                  <a:pt x="428915" y="495300"/>
                </a:lnTo>
                <a:cubicBezTo>
                  <a:pt x="415421" y="494506"/>
                  <a:pt x="401884" y="494264"/>
                  <a:pt x="388434" y="492919"/>
                </a:cubicBezTo>
                <a:cubicBezTo>
                  <a:pt x="385936" y="492669"/>
                  <a:pt x="383379" y="491930"/>
                  <a:pt x="381290" y="490538"/>
                </a:cubicBezTo>
                <a:cubicBezTo>
                  <a:pt x="378488" y="488670"/>
                  <a:pt x="376527" y="485775"/>
                  <a:pt x="374146" y="483394"/>
                </a:cubicBezTo>
                <a:cubicBezTo>
                  <a:pt x="371299" y="474851"/>
                  <a:pt x="365249" y="464128"/>
                  <a:pt x="371765" y="454819"/>
                </a:cubicBezTo>
                <a:cubicBezTo>
                  <a:pt x="375047" y="450130"/>
                  <a:pt x="381290" y="448469"/>
                  <a:pt x="386052" y="445294"/>
                </a:cubicBezTo>
                <a:lnTo>
                  <a:pt x="393196" y="440531"/>
                </a:lnTo>
                <a:cubicBezTo>
                  <a:pt x="393990" y="438150"/>
                  <a:pt x="396699" y="435633"/>
                  <a:pt x="395577" y="433388"/>
                </a:cubicBezTo>
                <a:cubicBezTo>
                  <a:pt x="394455" y="431143"/>
                  <a:pt x="390394" y="432574"/>
                  <a:pt x="388434" y="431006"/>
                </a:cubicBezTo>
                <a:cubicBezTo>
                  <a:pt x="386199" y="429218"/>
                  <a:pt x="385695" y="425887"/>
                  <a:pt x="383671" y="423863"/>
                </a:cubicBezTo>
                <a:cubicBezTo>
                  <a:pt x="381647" y="421839"/>
                  <a:pt x="378908" y="420688"/>
                  <a:pt x="376527" y="419100"/>
                </a:cubicBezTo>
                <a:cubicBezTo>
                  <a:pt x="374940" y="416719"/>
                  <a:pt x="374000" y="413744"/>
                  <a:pt x="371765" y="411956"/>
                </a:cubicBezTo>
                <a:cubicBezTo>
                  <a:pt x="369274" y="409963"/>
                  <a:pt x="353389" y="407378"/>
                  <a:pt x="352715" y="407194"/>
                </a:cubicBezTo>
                <a:cubicBezTo>
                  <a:pt x="338329" y="403270"/>
                  <a:pt x="341113" y="404221"/>
                  <a:pt x="331284" y="397669"/>
                </a:cubicBezTo>
                <a:cubicBezTo>
                  <a:pt x="329696" y="395288"/>
                  <a:pt x="327683" y="393140"/>
                  <a:pt x="326521" y="390525"/>
                </a:cubicBezTo>
                <a:cubicBezTo>
                  <a:pt x="315186" y="365021"/>
                  <a:pt x="327775" y="385262"/>
                  <a:pt x="316996" y="369094"/>
                </a:cubicBezTo>
                <a:cubicBezTo>
                  <a:pt x="315059" y="363282"/>
                  <a:pt x="314469" y="359423"/>
                  <a:pt x="309852" y="354806"/>
                </a:cubicBezTo>
                <a:cubicBezTo>
                  <a:pt x="304192" y="349146"/>
                  <a:pt x="295493" y="347638"/>
                  <a:pt x="288421" y="345281"/>
                </a:cubicBezTo>
                <a:cubicBezTo>
                  <a:pt x="271303" y="339575"/>
                  <a:pt x="292668" y="346495"/>
                  <a:pt x="271752" y="340519"/>
                </a:cubicBezTo>
                <a:cubicBezTo>
                  <a:pt x="269339" y="339830"/>
                  <a:pt x="266990" y="338932"/>
                  <a:pt x="264609" y="338138"/>
                </a:cubicBezTo>
                <a:cubicBezTo>
                  <a:pt x="262228" y="336550"/>
                  <a:pt x="260080" y="334537"/>
                  <a:pt x="257465" y="333375"/>
                </a:cubicBezTo>
                <a:cubicBezTo>
                  <a:pt x="252877" y="331336"/>
                  <a:pt x="247940" y="330201"/>
                  <a:pt x="243177" y="328613"/>
                </a:cubicBezTo>
                <a:cubicBezTo>
                  <a:pt x="240796" y="327819"/>
                  <a:pt x="238122" y="327623"/>
                  <a:pt x="236034" y="326231"/>
                </a:cubicBezTo>
                <a:lnTo>
                  <a:pt x="228890" y="321469"/>
                </a:lnTo>
                <a:cubicBezTo>
                  <a:pt x="228096" y="319088"/>
                  <a:pt x="227632" y="316570"/>
                  <a:pt x="226509" y="314325"/>
                </a:cubicBezTo>
                <a:cubicBezTo>
                  <a:pt x="217275" y="295858"/>
                  <a:pt x="225350" y="317994"/>
                  <a:pt x="219365" y="300038"/>
                </a:cubicBezTo>
                <a:cubicBezTo>
                  <a:pt x="217824" y="290791"/>
                  <a:pt x="220913" y="283369"/>
                  <a:pt x="209840" y="283369"/>
                </a:cubicBezTo>
                <a:cubicBezTo>
                  <a:pt x="203692" y="283369"/>
                  <a:pt x="190592" y="286047"/>
                  <a:pt x="183646" y="288131"/>
                </a:cubicBezTo>
                <a:cubicBezTo>
                  <a:pt x="178838" y="289574"/>
                  <a:pt x="169359" y="292894"/>
                  <a:pt x="169359" y="292894"/>
                </a:cubicBezTo>
                <a:cubicBezTo>
                  <a:pt x="166978" y="295275"/>
                  <a:pt x="164283" y="297380"/>
                  <a:pt x="162215" y="300038"/>
                </a:cubicBezTo>
                <a:cubicBezTo>
                  <a:pt x="143233" y="324443"/>
                  <a:pt x="164317" y="313550"/>
                  <a:pt x="116971" y="316706"/>
                </a:cubicBezTo>
                <a:cubicBezTo>
                  <a:pt x="87142" y="324166"/>
                  <a:pt x="124256" y="314626"/>
                  <a:pt x="100302" y="321469"/>
                </a:cubicBezTo>
                <a:cubicBezTo>
                  <a:pt x="97155" y="322368"/>
                  <a:pt x="93912" y="322910"/>
                  <a:pt x="90777" y="323850"/>
                </a:cubicBezTo>
                <a:cubicBezTo>
                  <a:pt x="85969" y="325293"/>
                  <a:pt x="81252" y="327025"/>
                  <a:pt x="76490" y="328613"/>
                </a:cubicBezTo>
                <a:lnTo>
                  <a:pt x="62202" y="333375"/>
                </a:lnTo>
                <a:lnTo>
                  <a:pt x="40771" y="340519"/>
                </a:lnTo>
                <a:cubicBezTo>
                  <a:pt x="38390" y="341313"/>
                  <a:pt x="36112" y="342545"/>
                  <a:pt x="33627" y="342900"/>
                </a:cubicBezTo>
                <a:lnTo>
                  <a:pt x="16959" y="345281"/>
                </a:lnTo>
                <a:cubicBezTo>
                  <a:pt x="14578" y="346075"/>
                  <a:pt x="12146" y="348595"/>
                  <a:pt x="9815" y="347663"/>
                </a:cubicBezTo>
                <a:cubicBezTo>
                  <a:pt x="4612" y="345582"/>
                  <a:pt x="9815" y="343297"/>
                  <a:pt x="9815" y="335756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5" name="TextBox 110"/>
          <p:cNvSpPr txBox="1">
            <a:spLocks noChangeArrowheads="1"/>
          </p:cNvSpPr>
          <p:nvPr/>
        </p:nvSpPr>
        <p:spPr bwMode="auto">
          <a:xfrm rot="1020878">
            <a:off x="1668463" y="2938163"/>
            <a:ext cx="7731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800">
                <a:latin typeface="Ramabhadra" pitchFamily="2" charset="0"/>
                <a:cs typeface="Ramabhadra" pitchFamily="2" charset="0"/>
              </a:rPr>
              <a:t>టర్కిమెనిస్తాన్</a:t>
            </a:r>
          </a:p>
        </p:txBody>
      </p:sp>
      <p:sp>
        <p:nvSpPr>
          <p:cNvPr id="36" name="Freeform 35"/>
          <p:cNvSpPr/>
          <p:nvPr/>
        </p:nvSpPr>
        <p:spPr>
          <a:xfrm>
            <a:off x="1978025" y="3045884"/>
            <a:ext cx="742950" cy="609600"/>
          </a:xfrm>
          <a:custGeom>
            <a:avLst/>
            <a:gdLst>
              <a:gd name="connsiteX0" fmla="*/ 3315 w 743594"/>
              <a:gd name="connsiteY0" fmla="*/ 578644 h 609600"/>
              <a:gd name="connsiteX1" fmla="*/ 15221 w 743594"/>
              <a:gd name="connsiteY1" fmla="*/ 542925 h 609600"/>
              <a:gd name="connsiteX2" fmla="*/ 22365 w 743594"/>
              <a:gd name="connsiteY2" fmla="*/ 540544 h 609600"/>
              <a:gd name="connsiteX3" fmla="*/ 36653 w 743594"/>
              <a:gd name="connsiteY3" fmla="*/ 528637 h 609600"/>
              <a:gd name="connsiteX4" fmla="*/ 46178 w 743594"/>
              <a:gd name="connsiteY4" fmla="*/ 514350 h 609600"/>
              <a:gd name="connsiteX5" fmla="*/ 48559 w 743594"/>
              <a:gd name="connsiteY5" fmla="*/ 507206 h 609600"/>
              <a:gd name="connsiteX6" fmla="*/ 58084 w 743594"/>
              <a:gd name="connsiteY6" fmla="*/ 492919 h 609600"/>
              <a:gd name="connsiteX7" fmla="*/ 48559 w 743594"/>
              <a:gd name="connsiteY7" fmla="*/ 483394 h 609600"/>
              <a:gd name="connsiteX8" fmla="*/ 34271 w 743594"/>
              <a:gd name="connsiteY8" fmla="*/ 473869 h 609600"/>
              <a:gd name="connsiteX9" fmla="*/ 29509 w 743594"/>
              <a:gd name="connsiteY9" fmla="*/ 466725 h 609600"/>
              <a:gd name="connsiteX10" fmla="*/ 22365 w 743594"/>
              <a:gd name="connsiteY10" fmla="*/ 459581 h 609600"/>
              <a:gd name="connsiteX11" fmla="*/ 19984 w 743594"/>
              <a:gd name="connsiteY11" fmla="*/ 452437 h 609600"/>
              <a:gd name="connsiteX12" fmla="*/ 22365 w 743594"/>
              <a:gd name="connsiteY12" fmla="*/ 404812 h 609600"/>
              <a:gd name="connsiteX13" fmla="*/ 31890 w 743594"/>
              <a:gd name="connsiteY13" fmla="*/ 383381 h 609600"/>
              <a:gd name="connsiteX14" fmla="*/ 36653 w 743594"/>
              <a:gd name="connsiteY14" fmla="*/ 369094 h 609600"/>
              <a:gd name="connsiteX15" fmla="*/ 41415 w 743594"/>
              <a:gd name="connsiteY15" fmla="*/ 361950 h 609600"/>
              <a:gd name="connsiteX16" fmla="*/ 46178 w 743594"/>
              <a:gd name="connsiteY16" fmla="*/ 345281 h 609600"/>
              <a:gd name="connsiteX17" fmla="*/ 48559 w 743594"/>
              <a:gd name="connsiteY17" fmla="*/ 338137 h 609600"/>
              <a:gd name="connsiteX18" fmla="*/ 62846 w 743594"/>
              <a:gd name="connsiteY18" fmla="*/ 330994 h 609600"/>
              <a:gd name="connsiteX19" fmla="*/ 65228 w 743594"/>
              <a:gd name="connsiteY19" fmla="*/ 314325 h 609600"/>
              <a:gd name="connsiteX20" fmla="*/ 50940 w 743594"/>
              <a:gd name="connsiteY20" fmla="*/ 304800 h 609600"/>
              <a:gd name="connsiteX21" fmla="*/ 53321 w 743594"/>
              <a:gd name="connsiteY21" fmla="*/ 283369 h 609600"/>
              <a:gd name="connsiteX22" fmla="*/ 60465 w 743594"/>
              <a:gd name="connsiteY22" fmla="*/ 280987 h 609600"/>
              <a:gd name="connsiteX23" fmla="*/ 67609 w 743594"/>
              <a:gd name="connsiteY23" fmla="*/ 276225 h 609600"/>
              <a:gd name="connsiteX24" fmla="*/ 81896 w 743594"/>
              <a:gd name="connsiteY24" fmla="*/ 271462 h 609600"/>
              <a:gd name="connsiteX25" fmla="*/ 86659 w 743594"/>
              <a:gd name="connsiteY25" fmla="*/ 257175 h 609600"/>
              <a:gd name="connsiteX26" fmla="*/ 91421 w 743594"/>
              <a:gd name="connsiteY26" fmla="*/ 240506 h 609600"/>
              <a:gd name="connsiteX27" fmla="*/ 105709 w 743594"/>
              <a:gd name="connsiteY27" fmla="*/ 219075 h 609600"/>
              <a:gd name="connsiteX28" fmla="*/ 110471 w 743594"/>
              <a:gd name="connsiteY28" fmla="*/ 211931 h 609600"/>
              <a:gd name="connsiteX29" fmla="*/ 112853 w 743594"/>
              <a:gd name="connsiteY29" fmla="*/ 204787 h 609600"/>
              <a:gd name="connsiteX30" fmla="*/ 119996 w 743594"/>
              <a:gd name="connsiteY30" fmla="*/ 202406 h 609600"/>
              <a:gd name="connsiteX31" fmla="*/ 141428 w 743594"/>
              <a:gd name="connsiteY31" fmla="*/ 207169 h 609600"/>
              <a:gd name="connsiteX32" fmla="*/ 155715 w 743594"/>
              <a:gd name="connsiteY32" fmla="*/ 211931 h 609600"/>
              <a:gd name="connsiteX33" fmla="*/ 162859 w 743594"/>
              <a:gd name="connsiteY33" fmla="*/ 214312 h 609600"/>
              <a:gd name="connsiteX34" fmla="*/ 198578 w 743594"/>
              <a:gd name="connsiteY34" fmla="*/ 211931 h 609600"/>
              <a:gd name="connsiteX35" fmla="*/ 222390 w 743594"/>
              <a:gd name="connsiteY35" fmla="*/ 197644 h 609600"/>
              <a:gd name="connsiteX36" fmla="*/ 236678 w 743594"/>
              <a:gd name="connsiteY36" fmla="*/ 188119 h 609600"/>
              <a:gd name="connsiteX37" fmla="*/ 243821 w 743594"/>
              <a:gd name="connsiteY37" fmla="*/ 183356 h 609600"/>
              <a:gd name="connsiteX38" fmla="*/ 265253 w 743594"/>
              <a:gd name="connsiteY38" fmla="*/ 166687 h 609600"/>
              <a:gd name="connsiteX39" fmla="*/ 289065 w 743594"/>
              <a:gd name="connsiteY39" fmla="*/ 161925 h 609600"/>
              <a:gd name="connsiteX40" fmla="*/ 308115 w 743594"/>
              <a:gd name="connsiteY40" fmla="*/ 145256 h 609600"/>
              <a:gd name="connsiteX41" fmla="*/ 327165 w 743594"/>
              <a:gd name="connsiteY41" fmla="*/ 123825 h 609600"/>
              <a:gd name="connsiteX42" fmla="*/ 329546 w 743594"/>
              <a:gd name="connsiteY42" fmla="*/ 116681 h 609600"/>
              <a:gd name="connsiteX43" fmla="*/ 339071 w 743594"/>
              <a:gd name="connsiteY43" fmla="*/ 102394 h 609600"/>
              <a:gd name="connsiteX44" fmla="*/ 343834 w 743594"/>
              <a:gd name="connsiteY44" fmla="*/ 95250 h 609600"/>
              <a:gd name="connsiteX45" fmla="*/ 360503 w 743594"/>
              <a:gd name="connsiteY45" fmla="*/ 90487 h 609600"/>
              <a:gd name="connsiteX46" fmla="*/ 367646 w 743594"/>
              <a:gd name="connsiteY46" fmla="*/ 88106 h 609600"/>
              <a:gd name="connsiteX47" fmla="*/ 400984 w 743594"/>
              <a:gd name="connsiteY47" fmla="*/ 85725 h 609600"/>
              <a:gd name="connsiteX48" fmla="*/ 422415 w 743594"/>
              <a:gd name="connsiteY48" fmla="*/ 78581 h 609600"/>
              <a:gd name="connsiteX49" fmla="*/ 429559 w 743594"/>
              <a:gd name="connsiteY49" fmla="*/ 76200 h 609600"/>
              <a:gd name="connsiteX50" fmla="*/ 436703 w 743594"/>
              <a:gd name="connsiteY50" fmla="*/ 73819 h 609600"/>
              <a:gd name="connsiteX51" fmla="*/ 455753 w 743594"/>
              <a:gd name="connsiteY51" fmla="*/ 76200 h 609600"/>
              <a:gd name="connsiteX52" fmla="*/ 505759 w 743594"/>
              <a:gd name="connsiteY52" fmla="*/ 76200 h 609600"/>
              <a:gd name="connsiteX53" fmla="*/ 512903 w 743594"/>
              <a:gd name="connsiteY53" fmla="*/ 83344 h 609600"/>
              <a:gd name="connsiteX54" fmla="*/ 517665 w 743594"/>
              <a:gd name="connsiteY54" fmla="*/ 90487 h 609600"/>
              <a:gd name="connsiteX55" fmla="*/ 531953 w 743594"/>
              <a:gd name="connsiteY55" fmla="*/ 95250 h 609600"/>
              <a:gd name="connsiteX56" fmla="*/ 541478 w 743594"/>
              <a:gd name="connsiteY56" fmla="*/ 92869 h 609600"/>
              <a:gd name="connsiteX57" fmla="*/ 565290 w 743594"/>
              <a:gd name="connsiteY57" fmla="*/ 85725 h 609600"/>
              <a:gd name="connsiteX58" fmla="*/ 601009 w 743594"/>
              <a:gd name="connsiteY58" fmla="*/ 85725 h 609600"/>
              <a:gd name="connsiteX59" fmla="*/ 608153 w 743594"/>
              <a:gd name="connsiteY59" fmla="*/ 80962 h 609600"/>
              <a:gd name="connsiteX60" fmla="*/ 615296 w 743594"/>
              <a:gd name="connsiteY60" fmla="*/ 78581 h 609600"/>
              <a:gd name="connsiteX61" fmla="*/ 622440 w 743594"/>
              <a:gd name="connsiteY61" fmla="*/ 73819 h 609600"/>
              <a:gd name="connsiteX62" fmla="*/ 629584 w 743594"/>
              <a:gd name="connsiteY62" fmla="*/ 71437 h 609600"/>
              <a:gd name="connsiteX63" fmla="*/ 643871 w 743594"/>
              <a:gd name="connsiteY63" fmla="*/ 64294 h 609600"/>
              <a:gd name="connsiteX64" fmla="*/ 646253 w 743594"/>
              <a:gd name="connsiteY64" fmla="*/ 57150 h 609600"/>
              <a:gd name="connsiteX65" fmla="*/ 660540 w 743594"/>
              <a:gd name="connsiteY65" fmla="*/ 47625 h 609600"/>
              <a:gd name="connsiteX66" fmla="*/ 674828 w 743594"/>
              <a:gd name="connsiteY66" fmla="*/ 26194 h 609600"/>
              <a:gd name="connsiteX67" fmla="*/ 679590 w 743594"/>
              <a:gd name="connsiteY67" fmla="*/ 19050 h 609600"/>
              <a:gd name="connsiteX68" fmla="*/ 686734 w 743594"/>
              <a:gd name="connsiteY68" fmla="*/ 14287 h 609600"/>
              <a:gd name="connsiteX69" fmla="*/ 689115 w 743594"/>
              <a:gd name="connsiteY69" fmla="*/ 7144 h 609600"/>
              <a:gd name="connsiteX70" fmla="*/ 712928 w 743594"/>
              <a:gd name="connsiteY70" fmla="*/ 0 h 609600"/>
              <a:gd name="connsiteX71" fmla="*/ 724834 w 743594"/>
              <a:gd name="connsiteY71" fmla="*/ 2381 h 609600"/>
              <a:gd name="connsiteX72" fmla="*/ 731978 w 743594"/>
              <a:gd name="connsiteY72" fmla="*/ 4762 h 609600"/>
              <a:gd name="connsiteX73" fmla="*/ 734359 w 743594"/>
              <a:gd name="connsiteY73" fmla="*/ 11906 h 609600"/>
              <a:gd name="connsiteX74" fmla="*/ 741503 w 743594"/>
              <a:gd name="connsiteY74" fmla="*/ 26194 h 609600"/>
              <a:gd name="connsiteX75" fmla="*/ 734359 w 743594"/>
              <a:gd name="connsiteY75" fmla="*/ 78581 h 609600"/>
              <a:gd name="connsiteX76" fmla="*/ 729596 w 743594"/>
              <a:gd name="connsiteY76" fmla="*/ 85725 h 609600"/>
              <a:gd name="connsiteX77" fmla="*/ 727215 w 743594"/>
              <a:gd name="connsiteY77" fmla="*/ 111919 h 609600"/>
              <a:gd name="connsiteX78" fmla="*/ 734359 w 743594"/>
              <a:gd name="connsiteY78" fmla="*/ 119062 h 609600"/>
              <a:gd name="connsiteX79" fmla="*/ 741503 w 743594"/>
              <a:gd name="connsiteY79" fmla="*/ 121444 h 609600"/>
              <a:gd name="connsiteX80" fmla="*/ 729596 w 743594"/>
              <a:gd name="connsiteY80" fmla="*/ 130969 h 609600"/>
              <a:gd name="connsiteX81" fmla="*/ 715309 w 743594"/>
              <a:gd name="connsiteY81" fmla="*/ 135731 h 609600"/>
              <a:gd name="connsiteX82" fmla="*/ 701021 w 743594"/>
              <a:gd name="connsiteY82" fmla="*/ 145256 h 609600"/>
              <a:gd name="connsiteX83" fmla="*/ 693878 w 743594"/>
              <a:gd name="connsiteY83" fmla="*/ 150019 h 609600"/>
              <a:gd name="connsiteX84" fmla="*/ 689115 w 743594"/>
              <a:gd name="connsiteY84" fmla="*/ 157162 h 609600"/>
              <a:gd name="connsiteX85" fmla="*/ 689115 w 743594"/>
              <a:gd name="connsiteY85" fmla="*/ 183356 h 609600"/>
              <a:gd name="connsiteX86" fmla="*/ 693878 w 743594"/>
              <a:gd name="connsiteY86" fmla="*/ 197644 h 609600"/>
              <a:gd name="connsiteX87" fmla="*/ 691496 w 743594"/>
              <a:gd name="connsiteY87" fmla="*/ 228600 h 609600"/>
              <a:gd name="connsiteX88" fmla="*/ 677209 w 743594"/>
              <a:gd name="connsiteY88" fmla="*/ 238125 h 609600"/>
              <a:gd name="connsiteX89" fmla="*/ 670065 w 743594"/>
              <a:gd name="connsiteY89" fmla="*/ 242887 h 609600"/>
              <a:gd name="connsiteX90" fmla="*/ 665303 w 743594"/>
              <a:gd name="connsiteY90" fmla="*/ 250031 h 609600"/>
              <a:gd name="connsiteX91" fmla="*/ 658159 w 743594"/>
              <a:gd name="connsiteY91" fmla="*/ 257175 h 609600"/>
              <a:gd name="connsiteX92" fmla="*/ 655778 w 743594"/>
              <a:gd name="connsiteY92" fmla="*/ 264319 h 609600"/>
              <a:gd name="connsiteX93" fmla="*/ 653396 w 743594"/>
              <a:gd name="connsiteY93" fmla="*/ 273844 h 609600"/>
              <a:gd name="connsiteX94" fmla="*/ 651015 w 743594"/>
              <a:gd name="connsiteY94" fmla="*/ 280987 h 609600"/>
              <a:gd name="connsiteX95" fmla="*/ 648634 w 743594"/>
              <a:gd name="connsiteY95" fmla="*/ 290512 h 609600"/>
              <a:gd name="connsiteX96" fmla="*/ 641490 w 743594"/>
              <a:gd name="connsiteY96" fmla="*/ 292894 h 609600"/>
              <a:gd name="connsiteX97" fmla="*/ 631965 w 743594"/>
              <a:gd name="connsiteY97" fmla="*/ 295275 h 609600"/>
              <a:gd name="connsiteX98" fmla="*/ 579578 w 743594"/>
              <a:gd name="connsiteY98" fmla="*/ 300037 h 609600"/>
              <a:gd name="connsiteX99" fmla="*/ 572434 w 743594"/>
              <a:gd name="connsiteY99" fmla="*/ 302419 h 609600"/>
              <a:gd name="connsiteX100" fmla="*/ 572434 w 743594"/>
              <a:gd name="connsiteY100" fmla="*/ 316706 h 609600"/>
              <a:gd name="connsiteX101" fmla="*/ 579578 w 743594"/>
              <a:gd name="connsiteY101" fmla="*/ 321469 h 609600"/>
              <a:gd name="connsiteX102" fmla="*/ 586721 w 743594"/>
              <a:gd name="connsiteY102" fmla="*/ 328612 h 609600"/>
              <a:gd name="connsiteX103" fmla="*/ 584340 w 743594"/>
              <a:gd name="connsiteY103" fmla="*/ 345281 h 609600"/>
              <a:gd name="connsiteX104" fmla="*/ 562909 w 743594"/>
              <a:gd name="connsiteY104" fmla="*/ 352425 h 609600"/>
              <a:gd name="connsiteX105" fmla="*/ 548621 w 743594"/>
              <a:gd name="connsiteY105" fmla="*/ 359569 h 609600"/>
              <a:gd name="connsiteX106" fmla="*/ 541478 w 743594"/>
              <a:gd name="connsiteY106" fmla="*/ 364331 h 609600"/>
              <a:gd name="connsiteX107" fmla="*/ 534334 w 743594"/>
              <a:gd name="connsiteY107" fmla="*/ 378619 h 609600"/>
              <a:gd name="connsiteX108" fmla="*/ 527190 w 743594"/>
              <a:gd name="connsiteY108" fmla="*/ 383381 h 609600"/>
              <a:gd name="connsiteX109" fmla="*/ 520046 w 743594"/>
              <a:gd name="connsiteY109" fmla="*/ 400050 h 609600"/>
              <a:gd name="connsiteX110" fmla="*/ 512903 w 743594"/>
              <a:gd name="connsiteY110" fmla="*/ 404812 h 609600"/>
              <a:gd name="connsiteX111" fmla="*/ 505759 w 743594"/>
              <a:gd name="connsiteY111" fmla="*/ 440531 h 609600"/>
              <a:gd name="connsiteX112" fmla="*/ 496234 w 743594"/>
              <a:gd name="connsiteY112" fmla="*/ 450056 h 609600"/>
              <a:gd name="connsiteX113" fmla="*/ 493853 w 743594"/>
              <a:gd name="connsiteY113" fmla="*/ 457200 h 609600"/>
              <a:gd name="connsiteX114" fmla="*/ 477184 w 743594"/>
              <a:gd name="connsiteY114" fmla="*/ 464344 h 609600"/>
              <a:gd name="connsiteX115" fmla="*/ 448609 w 743594"/>
              <a:gd name="connsiteY115" fmla="*/ 461962 h 609600"/>
              <a:gd name="connsiteX116" fmla="*/ 439084 w 743594"/>
              <a:gd name="connsiteY116" fmla="*/ 459581 h 609600"/>
              <a:gd name="connsiteX117" fmla="*/ 420034 w 743594"/>
              <a:gd name="connsiteY117" fmla="*/ 461962 h 609600"/>
              <a:gd name="connsiteX118" fmla="*/ 412890 w 743594"/>
              <a:gd name="connsiteY118" fmla="*/ 466725 h 609600"/>
              <a:gd name="connsiteX119" fmla="*/ 403365 w 743594"/>
              <a:gd name="connsiteY119" fmla="*/ 481012 h 609600"/>
              <a:gd name="connsiteX120" fmla="*/ 400984 w 743594"/>
              <a:gd name="connsiteY120" fmla="*/ 488156 h 609600"/>
              <a:gd name="connsiteX121" fmla="*/ 358121 w 743594"/>
              <a:gd name="connsiteY121" fmla="*/ 490537 h 609600"/>
              <a:gd name="connsiteX122" fmla="*/ 350978 w 743594"/>
              <a:gd name="connsiteY122" fmla="*/ 492919 h 609600"/>
              <a:gd name="connsiteX123" fmla="*/ 339071 w 743594"/>
              <a:gd name="connsiteY123" fmla="*/ 507206 h 609600"/>
              <a:gd name="connsiteX124" fmla="*/ 334309 w 743594"/>
              <a:gd name="connsiteY124" fmla="*/ 521494 h 609600"/>
              <a:gd name="connsiteX125" fmla="*/ 331928 w 743594"/>
              <a:gd name="connsiteY125" fmla="*/ 528637 h 609600"/>
              <a:gd name="connsiteX126" fmla="*/ 322403 w 743594"/>
              <a:gd name="connsiteY126" fmla="*/ 542925 h 609600"/>
              <a:gd name="connsiteX127" fmla="*/ 317640 w 743594"/>
              <a:gd name="connsiteY127" fmla="*/ 550069 h 609600"/>
              <a:gd name="connsiteX128" fmla="*/ 312878 w 743594"/>
              <a:gd name="connsiteY128" fmla="*/ 564356 h 609600"/>
              <a:gd name="connsiteX129" fmla="*/ 296209 w 743594"/>
              <a:gd name="connsiteY129" fmla="*/ 576262 h 609600"/>
              <a:gd name="connsiteX130" fmla="*/ 281921 w 743594"/>
              <a:gd name="connsiteY130" fmla="*/ 585787 h 609600"/>
              <a:gd name="connsiteX131" fmla="*/ 265253 w 743594"/>
              <a:gd name="connsiteY131" fmla="*/ 590550 h 609600"/>
              <a:gd name="connsiteX132" fmla="*/ 258109 w 743594"/>
              <a:gd name="connsiteY132" fmla="*/ 592931 h 609600"/>
              <a:gd name="connsiteX133" fmla="*/ 248584 w 743594"/>
              <a:gd name="connsiteY133" fmla="*/ 595312 h 609600"/>
              <a:gd name="connsiteX134" fmla="*/ 234296 w 743594"/>
              <a:gd name="connsiteY134" fmla="*/ 600075 h 609600"/>
              <a:gd name="connsiteX135" fmla="*/ 227153 w 743594"/>
              <a:gd name="connsiteY135" fmla="*/ 602456 h 609600"/>
              <a:gd name="connsiteX136" fmla="*/ 210484 w 743594"/>
              <a:gd name="connsiteY136" fmla="*/ 609600 h 609600"/>
              <a:gd name="connsiteX137" fmla="*/ 84278 w 743594"/>
              <a:gd name="connsiteY137" fmla="*/ 607219 h 609600"/>
              <a:gd name="connsiteX138" fmla="*/ 77134 w 743594"/>
              <a:gd name="connsiteY138" fmla="*/ 604837 h 609600"/>
              <a:gd name="connsiteX139" fmla="*/ 53321 w 743594"/>
              <a:gd name="connsiteY139" fmla="*/ 600075 h 609600"/>
              <a:gd name="connsiteX140" fmla="*/ 39034 w 743594"/>
              <a:gd name="connsiteY140" fmla="*/ 595312 h 609600"/>
              <a:gd name="connsiteX141" fmla="*/ 31890 w 743594"/>
              <a:gd name="connsiteY141" fmla="*/ 592931 h 609600"/>
              <a:gd name="connsiteX142" fmla="*/ 8078 w 743594"/>
              <a:gd name="connsiteY142" fmla="*/ 585787 h 609600"/>
              <a:gd name="connsiteX143" fmla="*/ 3315 w 743594"/>
              <a:gd name="connsiteY143" fmla="*/ 578644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743594" h="609600">
                <a:moveTo>
                  <a:pt x="3315" y="578644"/>
                </a:moveTo>
                <a:cubicBezTo>
                  <a:pt x="4044" y="572082"/>
                  <a:pt x="3527" y="546822"/>
                  <a:pt x="15221" y="542925"/>
                </a:cubicBezTo>
                <a:lnTo>
                  <a:pt x="22365" y="540544"/>
                </a:lnTo>
                <a:cubicBezTo>
                  <a:pt x="28715" y="536310"/>
                  <a:pt x="31717" y="534984"/>
                  <a:pt x="36653" y="528637"/>
                </a:cubicBezTo>
                <a:cubicBezTo>
                  <a:pt x="40167" y="524119"/>
                  <a:pt x="46178" y="514350"/>
                  <a:pt x="46178" y="514350"/>
                </a:cubicBezTo>
                <a:cubicBezTo>
                  <a:pt x="46972" y="511969"/>
                  <a:pt x="47340" y="509400"/>
                  <a:pt x="48559" y="507206"/>
                </a:cubicBezTo>
                <a:cubicBezTo>
                  <a:pt x="51339" y="502203"/>
                  <a:pt x="58084" y="492919"/>
                  <a:pt x="58084" y="492919"/>
                </a:cubicBezTo>
                <a:cubicBezTo>
                  <a:pt x="53549" y="479311"/>
                  <a:pt x="59445" y="490651"/>
                  <a:pt x="48559" y="483394"/>
                </a:cubicBezTo>
                <a:cubicBezTo>
                  <a:pt x="30721" y="471503"/>
                  <a:pt x="51258" y="479530"/>
                  <a:pt x="34271" y="473869"/>
                </a:cubicBezTo>
                <a:cubicBezTo>
                  <a:pt x="32684" y="471488"/>
                  <a:pt x="31341" y="468924"/>
                  <a:pt x="29509" y="466725"/>
                </a:cubicBezTo>
                <a:cubicBezTo>
                  <a:pt x="27353" y="464138"/>
                  <a:pt x="24233" y="462383"/>
                  <a:pt x="22365" y="459581"/>
                </a:cubicBezTo>
                <a:cubicBezTo>
                  <a:pt x="20973" y="457492"/>
                  <a:pt x="20778" y="454818"/>
                  <a:pt x="19984" y="452437"/>
                </a:cubicBezTo>
                <a:cubicBezTo>
                  <a:pt x="20778" y="436562"/>
                  <a:pt x="20543" y="420602"/>
                  <a:pt x="22365" y="404812"/>
                </a:cubicBezTo>
                <a:cubicBezTo>
                  <a:pt x="24574" y="385668"/>
                  <a:pt x="26316" y="395923"/>
                  <a:pt x="31890" y="383381"/>
                </a:cubicBezTo>
                <a:cubicBezTo>
                  <a:pt x="33929" y="378794"/>
                  <a:pt x="33869" y="373271"/>
                  <a:pt x="36653" y="369094"/>
                </a:cubicBezTo>
                <a:cubicBezTo>
                  <a:pt x="38240" y="366713"/>
                  <a:pt x="40135" y="364510"/>
                  <a:pt x="41415" y="361950"/>
                </a:cubicBezTo>
                <a:cubicBezTo>
                  <a:pt x="43316" y="358148"/>
                  <a:pt x="45162" y="348836"/>
                  <a:pt x="46178" y="345281"/>
                </a:cubicBezTo>
                <a:cubicBezTo>
                  <a:pt x="46868" y="342867"/>
                  <a:pt x="46991" y="340097"/>
                  <a:pt x="48559" y="338137"/>
                </a:cubicBezTo>
                <a:cubicBezTo>
                  <a:pt x="51915" y="333942"/>
                  <a:pt x="58141" y="332562"/>
                  <a:pt x="62846" y="330994"/>
                </a:cubicBezTo>
                <a:cubicBezTo>
                  <a:pt x="65428" y="325831"/>
                  <a:pt x="71068" y="320165"/>
                  <a:pt x="65228" y="314325"/>
                </a:cubicBezTo>
                <a:cubicBezTo>
                  <a:pt x="61181" y="310278"/>
                  <a:pt x="50940" y="304800"/>
                  <a:pt x="50940" y="304800"/>
                </a:cubicBezTo>
                <a:cubicBezTo>
                  <a:pt x="47982" y="295925"/>
                  <a:pt x="45745" y="293976"/>
                  <a:pt x="53321" y="283369"/>
                </a:cubicBezTo>
                <a:cubicBezTo>
                  <a:pt x="54780" y="281326"/>
                  <a:pt x="58220" y="282110"/>
                  <a:pt x="60465" y="280987"/>
                </a:cubicBezTo>
                <a:cubicBezTo>
                  <a:pt x="63025" y="279707"/>
                  <a:pt x="64994" y="277387"/>
                  <a:pt x="67609" y="276225"/>
                </a:cubicBezTo>
                <a:cubicBezTo>
                  <a:pt x="72196" y="274186"/>
                  <a:pt x="81896" y="271462"/>
                  <a:pt x="81896" y="271462"/>
                </a:cubicBezTo>
                <a:cubicBezTo>
                  <a:pt x="83484" y="266700"/>
                  <a:pt x="85442" y="262045"/>
                  <a:pt x="86659" y="257175"/>
                </a:cubicBezTo>
                <a:cubicBezTo>
                  <a:pt x="87219" y="254934"/>
                  <a:pt x="89869" y="243300"/>
                  <a:pt x="91421" y="240506"/>
                </a:cubicBezTo>
                <a:cubicBezTo>
                  <a:pt x="91425" y="240498"/>
                  <a:pt x="103325" y="222650"/>
                  <a:pt x="105709" y="219075"/>
                </a:cubicBezTo>
                <a:cubicBezTo>
                  <a:pt x="107296" y="216694"/>
                  <a:pt x="109566" y="214646"/>
                  <a:pt x="110471" y="211931"/>
                </a:cubicBezTo>
                <a:cubicBezTo>
                  <a:pt x="111265" y="209550"/>
                  <a:pt x="111078" y="206562"/>
                  <a:pt x="112853" y="204787"/>
                </a:cubicBezTo>
                <a:cubicBezTo>
                  <a:pt x="114628" y="203012"/>
                  <a:pt x="117615" y="203200"/>
                  <a:pt x="119996" y="202406"/>
                </a:cubicBezTo>
                <a:cubicBezTo>
                  <a:pt x="126809" y="203768"/>
                  <a:pt x="134690" y="205148"/>
                  <a:pt x="141428" y="207169"/>
                </a:cubicBezTo>
                <a:cubicBezTo>
                  <a:pt x="146236" y="208612"/>
                  <a:pt x="150953" y="210344"/>
                  <a:pt x="155715" y="211931"/>
                </a:cubicBezTo>
                <a:lnTo>
                  <a:pt x="162859" y="214312"/>
                </a:lnTo>
                <a:cubicBezTo>
                  <a:pt x="174765" y="213518"/>
                  <a:pt x="186791" y="213792"/>
                  <a:pt x="198578" y="211931"/>
                </a:cubicBezTo>
                <a:cubicBezTo>
                  <a:pt x="203377" y="211173"/>
                  <a:pt x="221025" y="198554"/>
                  <a:pt x="222390" y="197644"/>
                </a:cubicBezTo>
                <a:lnTo>
                  <a:pt x="236678" y="188119"/>
                </a:lnTo>
                <a:cubicBezTo>
                  <a:pt x="239059" y="186532"/>
                  <a:pt x="241797" y="185380"/>
                  <a:pt x="243821" y="183356"/>
                </a:cubicBezTo>
                <a:cubicBezTo>
                  <a:pt x="249985" y="177192"/>
                  <a:pt x="256707" y="169536"/>
                  <a:pt x="265253" y="166687"/>
                </a:cubicBezTo>
                <a:cubicBezTo>
                  <a:pt x="277721" y="162531"/>
                  <a:pt x="269911" y="164661"/>
                  <a:pt x="289065" y="161925"/>
                </a:cubicBezTo>
                <a:cubicBezTo>
                  <a:pt x="318730" y="142149"/>
                  <a:pt x="293681" y="161494"/>
                  <a:pt x="308115" y="145256"/>
                </a:cubicBezTo>
                <a:cubicBezTo>
                  <a:pt x="315332" y="137137"/>
                  <a:pt x="322532" y="133092"/>
                  <a:pt x="327165" y="123825"/>
                </a:cubicBezTo>
                <a:cubicBezTo>
                  <a:pt x="328287" y="121580"/>
                  <a:pt x="328327" y="118875"/>
                  <a:pt x="329546" y="116681"/>
                </a:cubicBezTo>
                <a:cubicBezTo>
                  <a:pt x="332326" y="111678"/>
                  <a:pt x="335896" y="107156"/>
                  <a:pt x="339071" y="102394"/>
                </a:cubicBezTo>
                <a:cubicBezTo>
                  <a:pt x="340659" y="100013"/>
                  <a:pt x="341119" y="96155"/>
                  <a:pt x="343834" y="95250"/>
                </a:cubicBezTo>
                <a:cubicBezTo>
                  <a:pt x="360969" y="89539"/>
                  <a:pt x="339565" y="96470"/>
                  <a:pt x="360503" y="90487"/>
                </a:cubicBezTo>
                <a:cubicBezTo>
                  <a:pt x="362916" y="89797"/>
                  <a:pt x="365153" y="88399"/>
                  <a:pt x="367646" y="88106"/>
                </a:cubicBezTo>
                <a:cubicBezTo>
                  <a:pt x="378711" y="86804"/>
                  <a:pt x="389871" y="86519"/>
                  <a:pt x="400984" y="85725"/>
                </a:cubicBezTo>
                <a:lnTo>
                  <a:pt x="422415" y="78581"/>
                </a:lnTo>
                <a:lnTo>
                  <a:pt x="429559" y="76200"/>
                </a:lnTo>
                <a:lnTo>
                  <a:pt x="436703" y="73819"/>
                </a:lnTo>
                <a:cubicBezTo>
                  <a:pt x="443053" y="74613"/>
                  <a:pt x="449354" y="76200"/>
                  <a:pt x="455753" y="76200"/>
                </a:cubicBezTo>
                <a:cubicBezTo>
                  <a:pt x="511061" y="76200"/>
                  <a:pt x="477187" y="70486"/>
                  <a:pt x="505759" y="76200"/>
                </a:cubicBezTo>
                <a:cubicBezTo>
                  <a:pt x="508140" y="78581"/>
                  <a:pt x="510747" y="80757"/>
                  <a:pt x="512903" y="83344"/>
                </a:cubicBezTo>
                <a:cubicBezTo>
                  <a:pt x="514735" y="85542"/>
                  <a:pt x="515238" y="88970"/>
                  <a:pt x="517665" y="90487"/>
                </a:cubicBezTo>
                <a:cubicBezTo>
                  <a:pt x="521922" y="93148"/>
                  <a:pt x="531953" y="95250"/>
                  <a:pt x="531953" y="95250"/>
                </a:cubicBezTo>
                <a:cubicBezTo>
                  <a:pt x="535128" y="94456"/>
                  <a:pt x="538343" y="93809"/>
                  <a:pt x="541478" y="92869"/>
                </a:cubicBezTo>
                <a:cubicBezTo>
                  <a:pt x="570465" y="84173"/>
                  <a:pt x="543336" y="91213"/>
                  <a:pt x="565290" y="85725"/>
                </a:cubicBezTo>
                <a:cubicBezTo>
                  <a:pt x="580617" y="87914"/>
                  <a:pt x="585142" y="90052"/>
                  <a:pt x="601009" y="85725"/>
                </a:cubicBezTo>
                <a:cubicBezTo>
                  <a:pt x="603770" y="84972"/>
                  <a:pt x="605593" y="82242"/>
                  <a:pt x="608153" y="80962"/>
                </a:cubicBezTo>
                <a:cubicBezTo>
                  <a:pt x="610398" y="79840"/>
                  <a:pt x="613051" y="79703"/>
                  <a:pt x="615296" y="78581"/>
                </a:cubicBezTo>
                <a:cubicBezTo>
                  <a:pt x="617856" y="77301"/>
                  <a:pt x="619880" y="75099"/>
                  <a:pt x="622440" y="73819"/>
                </a:cubicBezTo>
                <a:cubicBezTo>
                  <a:pt x="624685" y="72696"/>
                  <a:pt x="627339" y="72560"/>
                  <a:pt x="629584" y="71437"/>
                </a:cubicBezTo>
                <a:cubicBezTo>
                  <a:pt x="648044" y="62207"/>
                  <a:pt x="625921" y="70277"/>
                  <a:pt x="643871" y="64294"/>
                </a:cubicBezTo>
                <a:cubicBezTo>
                  <a:pt x="644665" y="61913"/>
                  <a:pt x="644478" y="58925"/>
                  <a:pt x="646253" y="57150"/>
                </a:cubicBezTo>
                <a:cubicBezTo>
                  <a:pt x="650300" y="53103"/>
                  <a:pt x="660540" y="47625"/>
                  <a:pt x="660540" y="47625"/>
                </a:cubicBezTo>
                <a:lnTo>
                  <a:pt x="674828" y="26194"/>
                </a:lnTo>
                <a:cubicBezTo>
                  <a:pt x="676416" y="23813"/>
                  <a:pt x="677209" y="20638"/>
                  <a:pt x="679590" y="19050"/>
                </a:cubicBezTo>
                <a:lnTo>
                  <a:pt x="686734" y="14287"/>
                </a:lnTo>
                <a:cubicBezTo>
                  <a:pt x="687528" y="11906"/>
                  <a:pt x="687073" y="8603"/>
                  <a:pt x="689115" y="7144"/>
                </a:cubicBezTo>
                <a:cubicBezTo>
                  <a:pt x="692239" y="4913"/>
                  <a:pt x="707834" y="1273"/>
                  <a:pt x="712928" y="0"/>
                </a:cubicBezTo>
                <a:cubicBezTo>
                  <a:pt x="716897" y="794"/>
                  <a:pt x="720908" y="1399"/>
                  <a:pt x="724834" y="2381"/>
                </a:cubicBezTo>
                <a:cubicBezTo>
                  <a:pt x="727269" y="2990"/>
                  <a:pt x="730203" y="2987"/>
                  <a:pt x="731978" y="4762"/>
                </a:cubicBezTo>
                <a:cubicBezTo>
                  <a:pt x="733753" y="6537"/>
                  <a:pt x="733237" y="9661"/>
                  <a:pt x="734359" y="11906"/>
                </a:cubicBezTo>
                <a:cubicBezTo>
                  <a:pt x="743594" y="30379"/>
                  <a:pt x="735513" y="8230"/>
                  <a:pt x="741503" y="26194"/>
                </a:cubicBezTo>
                <a:cubicBezTo>
                  <a:pt x="741113" y="32434"/>
                  <a:pt x="742235" y="66767"/>
                  <a:pt x="734359" y="78581"/>
                </a:cubicBezTo>
                <a:lnTo>
                  <a:pt x="729596" y="85725"/>
                </a:lnTo>
                <a:cubicBezTo>
                  <a:pt x="726059" y="96337"/>
                  <a:pt x="721830" y="101149"/>
                  <a:pt x="727215" y="111919"/>
                </a:cubicBezTo>
                <a:cubicBezTo>
                  <a:pt x="728721" y="114931"/>
                  <a:pt x="731557" y="117194"/>
                  <a:pt x="734359" y="119062"/>
                </a:cubicBezTo>
                <a:cubicBezTo>
                  <a:pt x="736448" y="120454"/>
                  <a:pt x="739122" y="120650"/>
                  <a:pt x="741503" y="121444"/>
                </a:cubicBezTo>
                <a:cubicBezTo>
                  <a:pt x="737916" y="132201"/>
                  <a:pt x="741777" y="127314"/>
                  <a:pt x="729596" y="130969"/>
                </a:cubicBezTo>
                <a:cubicBezTo>
                  <a:pt x="724788" y="132412"/>
                  <a:pt x="715309" y="135731"/>
                  <a:pt x="715309" y="135731"/>
                </a:cubicBezTo>
                <a:lnTo>
                  <a:pt x="701021" y="145256"/>
                </a:lnTo>
                <a:lnTo>
                  <a:pt x="693878" y="150019"/>
                </a:lnTo>
                <a:cubicBezTo>
                  <a:pt x="692290" y="152400"/>
                  <a:pt x="690395" y="154602"/>
                  <a:pt x="689115" y="157162"/>
                </a:cubicBezTo>
                <a:cubicBezTo>
                  <a:pt x="684578" y="166236"/>
                  <a:pt x="686761" y="172373"/>
                  <a:pt x="689115" y="183356"/>
                </a:cubicBezTo>
                <a:cubicBezTo>
                  <a:pt x="690167" y="188265"/>
                  <a:pt x="693878" y="197644"/>
                  <a:pt x="693878" y="197644"/>
                </a:cubicBezTo>
                <a:cubicBezTo>
                  <a:pt x="693084" y="207963"/>
                  <a:pt x="695437" y="219030"/>
                  <a:pt x="691496" y="228600"/>
                </a:cubicBezTo>
                <a:cubicBezTo>
                  <a:pt x="689317" y="233893"/>
                  <a:pt x="681971" y="234950"/>
                  <a:pt x="677209" y="238125"/>
                </a:cubicBezTo>
                <a:lnTo>
                  <a:pt x="670065" y="242887"/>
                </a:lnTo>
                <a:cubicBezTo>
                  <a:pt x="668478" y="245268"/>
                  <a:pt x="667135" y="247832"/>
                  <a:pt x="665303" y="250031"/>
                </a:cubicBezTo>
                <a:cubicBezTo>
                  <a:pt x="663147" y="252618"/>
                  <a:pt x="660027" y="254373"/>
                  <a:pt x="658159" y="257175"/>
                </a:cubicBezTo>
                <a:cubicBezTo>
                  <a:pt x="656767" y="259264"/>
                  <a:pt x="656468" y="261905"/>
                  <a:pt x="655778" y="264319"/>
                </a:cubicBezTo>
                <a:cubicBezTo>
                  <a:pt x="654879" y="267466"/>
                  <a:pt x="654295" y="270697"/>
                  <a:pt x="653396" y="273844"/>
                </a:cubicBezTo>
                <a:cubicBezTo>
                  <a:pt x="652706" y="276257"/>
                  <a:pt x="651704" y="278574"/>
                  <a:pt x="651015" y="280987"/>
                </a:cubicBezTo>
                <a:cubicBezTo>
                  <a:pt x="650116" y="284134"/>
                  <a:pt x="650678" y="287956"/>
                  <a:pt x="648634" y="290512"/>
                </a:cubicBezTo>
                <a:cubicBezTo>
                  <a:pt x="647066" y="292472"/>
                  <a:pt x="643904" y="292204"/>
                  <a:pt x="641490" y="292894"/>
                </a:cubicBezTo>
                <a:cubicBezTo>
                  <a:pt x="638343" y="293793"/>
                  <a:pt x="635205" y="294812"/>
                  <a:pt x="631965" y="295275"/>
                </a:cubicBezTo>
                <a:cubicBezTo>
                  <a:pt x="622634" y="296608"/>
                  <a:pt x="587356" y="299389"/>
                  <a:pt x="579578" y="300037"/>
                </a:cubicBezTo>
                <a:cubicBezTo>
                  <a:pt x="577197" y="300831"/>
                  <a:pt x="574209" y="300644"/>
                  <a:pt x="572434" y="302419"/>
                </a:cubicBezTo>
                <a:cubicBezTo>
                  <a:pt x="568907" y="305946"/>
                  <a:pt x="569612" y="313179"/>
                  <a:pt x="572434" y="316706"/>
                </a:cubicBezTo>
                <a:cubicBezTo>
                  <a:pt x="574222" y="318941"/>
                  <a:pt x="577379" y="319637"/>
                  <a:pt x="579578" y="321469"/>
                </a:cubicBezTo>
                <a:cubicBezTo>
                  <a:pt x="582165" y="323625"/>
                  <a:pt x="584340" y="326231"/>
                  <a:pt x="586721" y="328612"/>
                </a:cubicBezTo>
                <a:cubicBezTo>
                  <a:pt x="588838" y="334963"/>
                  <a:pt x="592188" y="339395"/>
                  <a:pt x="584340" y="345281"/>
                </a:cubicBezTo>
                <a:cubicBezTo>
                  <a:pt x="555792" y="366693"/>
                  <a:pt x="580756" y="340529"/>
                  <a:pt x="562909" y="352425"/>
                </a:cubicBezTo>
                <a:cubicBezTo>
                  <a:pt x="542431" y="366075"/>
                  <a:pt x="568343" y="349707"/>
                  <a:pt x="548621" y="359569"/>
                </a:cubicBezTo>
                <a:cubicBezTo>
                  <a:pt x="546062" y="360849"/>
                  <a:pt x="543859" y="362744"/>
                  <a:pt x="541478" y="364331"/>
                </a:cubicBezTo>
                <a:cubicBezTo>
                  <a:pt x="539541" y="370139"/>
                  <a:pt x="538948" y="374005"/>
                  <a:pt x="534334" y="378619"/>
                </a:cubicBezTo>
                <a:cubicBezTo>
                  <a:pt x="532310" y="380643"/>
                  <a:pt x="529571" y="381794"/>
                  <a:pt x="527190" y="383381"/>
                </a:cubicBezTo>
                <a:cubicBezTo>
                  <a:pt x="525535" y="388346"/>
                  <a:pt x="523317" y="396125"/>
                  <a:pt x="520046" y="400050"/>
                </a:cubicBezTo>
                <a:cubicBezTo>
                  <a:pt x="518214" y="402248"/>
                  <a:pt x="515284" y="403225"/>
                  <a:pt x="512903" y="404812"/>
                </a:cubicBezTo>
                <a:cubicBezTo>
                  <a:pt x="498779" y="425997"/>
                  <a:pt x="521934" y="388771"/>
                  <a:pt x="505759" y="440531"/>
                </a:cubicBezTo>
                <a:cubicBezTo>
                  <a:pt x="504420" y="444817"/>
                  <a:pt x="499409" y="446881"/>
                  <a:pt x="496234" y="450056"/>
                </a:cubicBezTo>
                <a:cubicBezTo>
                  <a:pt x="495440" y="452437"/>
                  <a:pt x="495421" y="455240"/>
                  <a:pt x="493853" y="457200"/>
                </a:cubicBezTo>
                <a:cubicBezTo>
                  <a:pt x="489743" y="462337"/>
                  <a:pt x="482902" y="462914"/>
                  <a:pt x="477184" y="464344"/>
                </a:cubicBezTo>
                <a:cubicBezTo>
                  <a:pt x="467659" y="463550"/>
                  <a:pt x="458093" y="463148"/>
                  <a:pt x="448609" y="461962"/>
                </a:cubicBezTo>
                <a:cubicBezTo>
                  <a:pt x="445362" y="461556"/>
                  <a:pt x="442357" y="459581"/>
                  <a:pt x="439084" y="459581"/>
                </a:cubicBezTo>
                <a:cubicBezTo>
                  <a:pt x="432685" y="459581"/>
                  <a:pt x="426384" y="461168"/>
                  <a:pt x="420034" y="461962"/>
                </a:cubicBezTo>
                <a:cubicBezTo>
                  <a:pt x="417653" y="463550"/>
                  <a:pt x="414775" y="464571"/>
                  <a:pt x="412890" y="466725"/>
                </a:cubicBezTo>
                <a:cubicBezTo>
                  <a:pt x="409121" y="471032"/>
                  <a:pt x="403365" y="481012"/>
                  <a:pt x="403365" y="481012"/>
                </a:cubicBezTo>
                <a:cubicBezTo>
                  <a:pt x="402571" y="483393"/>
                  <a:pt x="403440" y="487639"/>
                  <a:pt x="400984" y="488156"/>
                </a:cubicBezTo>
                <a:cubicBezTo>
                  <a:pt x="386981" y="491104"/>
                  <a:pt x="372366" y="489180"/>
                  <a:pt x="358121" y="490537"/>
                </a:cubicBezTo>
                <a:cubicBezTo>
                  <a:pt x="355622" y="490775"/>
                  <a:pt x="353359" y="492125"/>
                  <a:pt x="350978" y="492919"/>
                </a:cubicBezTo>
                <a:cubicBezTo>
                  <a:pt x="346492" y="497405"/>
                  <a:pt x="341723" y="501238"/>
                  <a:pt x="339071" y="507206"/>
                </a:cubicBezTo>
                <a:cubicBezTo>
                  <a:pt x="337032" y="511794"/>
                  <a:pt x="335896" y="516731"/>
                  <a:pt x="334309" y="521494"/>
                </a:cubicBezTo>
                <a:cubicBezTo>
                  <a:pt x="333515" y="523875"/>
                  <a:pt x="333320" y="526549"/>
                  <a:pt x="331928" y="528637"/>
                </a:cubicBezTo>
                <a:lnTo>
                  <a:pt x="322403" y="542925"/>
                </a:lnTo>
                <a:lnTo>
                  <a:pt x="317640" y="550069"/>
                </a:lnTo>
                <a:cubicBezTo>
                  <a:pt x="316053" y="554831"/>
                  <a:pt x="316428" y="560806"/>
                  <a:pt x="312878" y="564356"/>
                </a:cubicBezTo>
                <a:cubicBezTo>
                  <a:pt x="300250" y="576984"/>
                  <a:pt x="311881" y="566859"/>
                  <a:pt x="296209" y="576262"/>
                </a:cubicBezTo>
                <a:cubicBezTo>
                  <a:pt x="291301" y="579207"/>
                  <a:pt x="287351" y="583976"/>
                  <a:pt x="281921" y="585787"/>
                </a:cubicBezTo>
                <a:cubicBezTo>
                  <a:pt x="264821" y="591489"/>
                  <a:pt x="286148" y="584581"/>
                  <a:pt x="265253" y="590550"/>
                </a:cubicBezTo>
                <a:cubicBezTo>
                  <a:pt x="262839" y="591240"/>
                  <a:pt x="260523" y="592241"/>
                  <a:pt x="258109" y="592931"/>
                </a:cubicBezTo>
                <a:cubicBezTo>
                  <a:pt x="254962" y="593830"/>
                  <a:pt x="251719" y="594372"/>
                  <a:pt x="248584" y="595312"/>
                </a:cubicBezTo>
                <a:cubicBezTo>
                  <a:pt x="243775" y="596755"/>
                  <a:pt x="239059" y="598487"/>
                  <a:pt x="234296" y="600075"/>
                </a:cubicBezTo>
                <a:cubicBezTo>
                  <a:pt x="231915" y="600869"/>
                  <a:pt x="229398" y="601333"/>
                  <a:pt x="227153" y="602456"/>
                </a:cubicBezTo>
                <a:cubicBezTo>
                  <a:pt x="215383" y="608342"/>
                  <a:pt x="220996" y="606097"/>
                  <a:pt x="210484" y="609600"/>
                </a:cubicBezTo>
                <a:lnTo>
                  <a:pt x="84278" y="607219"/>
                </a:lnTo>
                <a:cubicBezTo>
                  <a:pt x="81769" y="607129"/>
                  <a:pt x="79580" y="605401"/>
                  <a:pt x="77134" y="604837"/>
                </a:cubicBezTo>
                <a:cubicBezTo>
                  <a:pt x="69246" y="603017"/>
                  <a:pt x="61000" y="602635"/>
                  <a:pt x="53321" y="600075"/>
                </a:cubicBezTo>
                <a:lnTo>
                  <a:pt x="39034" y="595312"/>
                </a:lnTo>
                <a:cubicBezTo>
                  <a:pt x="36653" y="594518"/>
                  <a:pt x="34325" y="593540"/>
                  <a:pt x="31890" y="592931"/>
                </a:cubicBezTo>
                <a:cubicBezTo>
                  <a:pt x="26563" y="591599"/>
                  <a:pt x="11560" y="588108"/>
                  <a:pt x="8078" y="585787"/>
                </a:cubicBezTo>
                <a:cubicBezTo>
                  <a:pt x="0" y="580402"/>
                  <a:pt x="2958" y="583049"/>
                  <a:pt x="3315" y="578644"/>
                </a:cubicBezTo>
                <a:close/>
              </a:path>
            </a:pathLst>
          </a:custGeom>
          <a:solidFill>
            <a:srgbClr val="FF33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auto">
          <a:xfrm rot="-2165363">
            <a:off x="1892300" y="3255581"/>
            <a:ext cx="8397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ఆఫ్గనిస్తాన్</a:t>
            </a:r>
          </a:p>
        </p:txBody>
      </p:sp>
      <p:sp>
        <p:nvSpPr>
          <p:cNvPr id="38" name="Freeform 37"/>
          <p:cNvSpPr/>
          <p:nvPr/>
        </p:nvSpPr>
        <p:spPr>
          <a:xfrm>
            <a:off x="1935169" y="2575984"/>
            <a:ext cx="928687" cy="548216"/>
          </a:xfrm>
          <a:custGeom>
            <a:avLst/>
            <a:gdLst>
              <a:gd name="connsiteX0" fmla="*/ 10259 w 927973"/>
              <a:gd name="connsiteY0" fmla="*/ 257175 h 547687"/>
              <a:gd name="connsiteX1" fmla="*/ 29309 w 927973"/>
              <a:gd name="connsiteY1" fmla="*/ 250031 h 547687"/>
              <a:gd name="connsiteX2" fmla="*/ 34072 w 927973"/>
              <a:gd name="connsiteY2" fmla="*/ 240506 h 547687"/>
              <a:gd name="connsiteX3" fmla="*/ 41216 w 927973"/>
              <a:gd name="connsiteY3" fmla="*/ 233362 h 547687"/>
              <a:gd name="connsiteX4" fmla="*/ 45978 w 927973"/>
              <a:gd name="connsiteY4" fmla="*/ 219075 h 547687"/>
              <a:gd name="connsiteX5" fmla="*/ 50741 w 927973"/>
              <a:gd name="connsiteY5" fmla="*/ 202406 h 547687"/>
              <a:gd name="connsiteX6" fmla="*/ 53122 w 927973"/>
              <a:gd name="connsiteY6" fmla="*/ 166687 h 547687"/>
              <a:gd name="connsiteX7" fmla="*/ 57884 w 927973"/>
              <a:gd name="connsiteY7" fmla="*/ 152400 h 547687"/>
              <a:gd name="connsiteX8" fmla="*/ 60266 w 927973"/>
              <a:gd name="connsiteY8" fmla="*/ 142875 h 547687"/>
              <a:gd name="connsiteX9" fmla="*/ 65028 w 927973"/>
              <a:gd name="connsiteY9" fmla="*/ 128587 h 547687"/>
              <a:gd name="connsiteX10" fmla="*/ 72172 w 927973"/>
              <a:gd name="connsiteY10" fmla="*/ 107156 h 547687"/>
              <a:gd name="connsiteX11" fmla="*/ 79316 w 927973"/>
              <a:gd name="connsiteY11" fmla="*/ 85725 h 547687"/>
              <a:gd name="connsiteX12" fmla="*/ 81697 w 927973"/>
              <a:gd name="connsiteY12" fmla="*/ 78581 h 547687"/>
              <a:gd name="connsiteX13" fmla="*/ 93603 w 927973"/>
              <a:gd name="connsiteY13" fmla="*/ 64293 h 547687"/>
              <a:gd name="connsiteX14" fmla="*/ 95984 w 927973"/>
              <a:gd name="connsiteY14" fmla="*/ 57150 h 547687"/>
              <a:gd name="connsiteX15" fmla="*/ 107891 w 927973"/>
              <a:gd name="connsiteY15" fmla="*/ 42862 h 547687"/>
              <a:gd name="connsiteX16" fmla="*/ 115034 w 927973"/>
              <a:gd name="connsiteY16" fmla="*/ 40481 h 547687"/>
              <a:gd name="connsiteX17" fmla="*/ 122178 w 927973"/>
              <a:gd name="connsiteY17" fmla="*/ 35718 h 547687"/>
              <a:gd name="connsiteX18" fmla="*/ 126941 w 927973"/>
              <a:gd name="connsiteY18" fmla="*/ 28575 h 547687"/>
              <a:gd name="connsiteX19" fmla="*/ 134084 w 927973"/>
              <a:gd name="connsiteY19" fmla="*/ 26193 h 547687"/>
              <a:gd name="connsiteX20" fmla="*/ 143609 w 927973"/>
              <a:gd name="connsiteY20" fmla="*/ 21431 h 547687"/>
              <a:gd name="connsiteX21" fmla="*/ 160278 w 927973"/>
              <a:gd name="connsiteY21" fmla="*/ 16668 h 547687"/>
              <a:gd name="connsiteX22" fmla="*/ 181709 w 927973"/>
              <a:gd name="connsiteY22" fmla="*/ 9525 h 547687"/>
              <a:gd name="connsiteX23" fmla="*/ 188853 w 927973"/>
              <a:gd name="connsiteY23" fmla="*/ 7143 h 547687"/>
              <a:gd name="connsiteX24" fmla="*/ 205522 w 927973"/>
              <a:gd name="connsiteY24" fmla="*/ 0 h 547687"/>
              <a:gd name="connsiteX25" fmla="*/ 243622 w 927973"/>
              <a:gd name="connsiteY25" fmla="*/ 2381 h 547687"/>
              <a:gd name="connsiteX26" fmla="*/ 250766 w 927973"/>
              <a:gd name="connsiteY26" fmla="*/ 4762 h 547687"/>
              <a:gd name="connsiteX27" fmla="*/ 265053 w 927973"/>
              <a:gd name="connsiteY27" fmla="*/ 7143 h 547687"/>
              <a:gd name="connsiteX28" fmla="*/ 293628 w 927973"/>
              <a:gd name="connsiteY28" fmla="*/ 11906 h 547687"/>
              <a:gd name="connsiteX29" fmla="*/ 317441 w 927973"/>
              <a:gd name="connsiteY29" fmla="*/ 14287 h 547687"/>
              <a:gd name="connsiteX30" fmla="*/ 331728 w 927973"/>
              <a:gd name="connsiteY30" fmla="*/ 21431 h 547687"/>
              <a:gd name="connsiteX31" fmla="*/ 334109 w 927973"/>
              <a:gd name="connsiteY31" fmla="*/ 28575 h 547687"/>
              <a:gd name="connsiteX32" fmla="*/ 338872 w 927973"/>
              <a:gd name="connsiteY32" fmla="*/ 35718 h 547687"/>
              <a:gd name="connsiteX33" fmla="*/ 348397 w 927973"/>
              <a:gd name="connsiteY33" fmla="*/ 64293 h 547687"/>
              <a:gd name="connsiteX34" fmla="*/ 350778 w 927973"/>
              <a:gd name="connsiteY34" fmla="*/ 71437 h 547687"/>
              <a:gd name="connsiteX35" fmla="*/ 369828 w 927973"/>
              <a:gd name="connsiteY35" fmla="*/ 92868 h 547687"/>
              <a:gd name="connsiteX36" fmla="*/ 376972 w 927973"/>
              <a:gd name="connsiteY36" fmla="*/ 109537 h 547687"/>
              <a:gd name="connsiteX37" fmla="*/ 386497 w 927973"/>
              <a:gd name="connsiteY37" fmla="*/ 130968 h 547687"/>
              <a:gd name="connsiteX38" fmla="*/ 396022 w 927973"/>
              <a:gd name="connsiteY38" fmla="*/ 142875 h 547687"/>
              <a:gd name="connsiteX39" fmla="*/ 400784 w 927973"/>
              <a:gd name="connsiteY39" fmla="*/ 135731 h 547687"/>
              <a:gd name="connsiteX40" fmla="*/ 415072 w 927973"/>
              <a:gd name="connsiteY40" fmla="*/ 126206 h 547687"/>
              <a:gd name="connsiteX41" fmla="*/ 429359 w 927973"/>
              <a:gd name="connsiteY41" fmla="*/ 119062 h 547687"/>
              <a:gd name="connsiteX42" fmla="*/ 526991 w 927973"/>
              <a:gd name="connsiteY42" fmla="*/ 116681 h 547687"/>
              <a:gd name="connsiteX43" fmla="*/ 572234 w 927973"/>
              <a:gd name="connsiteY43" fmla="*/ 114300 h 547687"/>
              <a:gd name="connsiteX44" fmla="*/ 586522 w 927973"/>
              <a:gd name="connsiteY44" fmla="*/ 121443 h 547687"/>
              <a:gd name="connsiteX45" fmla="*/ 591284 w 927973"/>
              <a:gd name="connsiteY45" fmla="*/ 135731 h 547687"/>
              <a:gd name="connsiteX46" fmla="*/ 593666 w 927973"/>
              <a:gd name="connsiteY46" fmla="*/ 142875 h 547687"/>
              <a:gd name="connsiteX47" fmla="*/ 591284 w 927973"/>
              <a:gd name="connsiteY47" fmla="*/ 195262 h 547687"/>
              <a:gd name="connsiteX48" fmla="*/ 584141 w 927973"/>
              <a:gd name="connsiteY48" fmla="*/ 221456 h 547687"/>
              <a:gd name="connsiteX49" fmla="*/ 593666 w 927973"/>
              <a:gd name="connsiteY49" fmla="*/ 240506 h 547687"/>
              <a:gd name="connsiteX50" fmla="*/ 600809 w 927973"/>
              <a:gd name="connsiteY50" fmla="*/ 254793 h 547687"/>
              <a:gd name="connsiteX51" fmla="*/ 607953 w 927973"/>
              <a:gd name="connsiteY51" fmla="*/ 257175 h 547687"/>
              <a:gd name="connsiteX52" fmla="*/ 615097 w 927973"/>
              <a:gd name="connsiteY52" fmla="*/ 261937 h 547687"/>
              <a:gd name="connsiteX53" fmla="*/ 627003 w 927973"/>
              <a:gd name="connsiteY53" fmla="*/ 280987 h 547687"/>
              <a:gd name="connsiteX54" fmla="*/ 655578 w 927973"/>
              <a:gd name="connsiteY54" fmla="*/ 278606 h 547687"/>
              <a:gd name="connsiteX55" fmla="*/ 662722 w 927973"/>
              <a:gd name="connsiteY55" fmla="*/ 273843 h 547687"/>
              <a:gd name="connsiteX56" fmla="*/ 679391 w 927973"/>
              <a:gd name="connsiteY56" fmla="*/ 269081 h 547687"/>
              <a:gd name="connsiteX57" fmla="*/ 686534 w 927973"/>
              <a:gd name="connsiteY57" fmla="*/ 266700 h 547687"/>
              <a:gd name="connsiteX58" fmla="*/ 741303 w 927973"/>
              <a:gd name="connsiteY58" fmla="*/ 264318 h 547687"/>
              <a:gd name="connsiteX59" fmla="*/ 750828 w 927973"/>
              <a:gd name="connsiteY59" fmla="*/ 261937 h 547687"/>
              <a:gd name="connsiteX60" fmla="*/ 757972 w 927973"/>
              <a:gd name="connsiteY60" fmla="*/ 259556 h 547687"/>
              <a:gd name="connsiteX61" fmla="*/ 800834 w 927973"/>
              <a:gd name="connsiteY61" fmla="*/ 261937 h 547687"/>
              <a:gd name="connsiteX62" fmla="*/ 807978 w 927973"/>
              <a:gd name="connsiteY62" fmla="*/ 264318 h 547687"/>
              <a:gd name="connsiteX63" fmla="*/ 812741 w 927973"/>
              <a:gd name="connsiteY63" fmla="*/ 271462 h 547687"/>
              <a:gd name="connsiteX64" fmla="*/ 836553 w 927973"/>
              <a:gd name="connsiteY64" fmla="*/ 278606 h 547687"/>
              <a:gd name="connsiteX65" fmla="*/ 853222 w 927973"/>
              <a:gd name="connsiteY65" fmla="*/ 276225 h 547687"/>
              <a:gd name="connsiteX66" fmla="*/ 855603 w 927973"/>
              <a:gd name="connsiteY66" fmla="*/ 269081 h 547687"/>
              <a:gd name="connsiteX67" fmla="*/ 869891 w 927973"/>
              <a:gd name="connsiteY67" fmla="*/ 271462 h 547687"/>
              <a:gd name="connsiteX68" fmla="*/ 888941 w 927973"/>
              <a:gd name="connsiteY68" fmla="*/ 288131 h 547687"/>
              <a:gd name="connsiteX69" fmla="*/ 903228 w 927973"/>
              <a:gd name="connsiteY69" fmla="*/ 292893 h 547687"/>
              <a:gd name="connsiteX70" fmla="*/ 910372 w 927973"/>
              <a:gd name="connsiteY70" fmla="*/ 300037 h 547687"/>
              <a:gd name="connsiteX71" fmla="*/ 924659 w 927973"/>
              <a:gd name="connsiteY71" fmla="*/ 304800 h 547687"/>
              <a:gd name="connsiteX72" fmla="*/ 927041 w 927973"/>
              <a:gd name="connsiteY72" fmla="*/ 311943 h 547687"/>
              <a:gd name="connsiteX73" fmla="*/ 919897 w 927973"/>
              <a:gd name="connsiteY73" fmla="*/ 316706 h 547687"/>
              <a:gd name="connsiteX74" fmla="*/ 905609 w 927973"/>
              <a:gd name="connsiteY74" fmla="*/ 321468 h 547687"/>
              <a:gd name="connsiteX75" fmla="*/ 898466 w 927973"/>
              <a:gd name="connsiteY75" fmla="*/ 323850 h 547687"/>
              <a:gd name="connsiteX76" fmla="*/ 881797 w 927973"/>
              <a:gd name="connsiteY76" fmla="*/ 326231 h 547687"/>
              <a:gd name="connsiteX77" fmla="*/ 860366 w 927973"/>
              <a:gd name="connsiteY77" fmla="*/ 340518 h 547687"/>
              <a:gd name="connsiteX78" fmla="*/ 853222 w 927973"/>
              <a:gd name="connsiteY78" fmla="*/ 345281 h 547687"/>
              <a:gd name="connsiteX79" fmla="*/ 777022 w 927973"/>
              <a:gd name="connsiteY79" fmla="*/ 342900 h 547687"/>
              <a:gd name="connsiteX80" fmla="*/ 774641 w 927973"/>
              <a:gd name="connsiteY80" fmla="*/ 335756 h 547687"/>
              <a:gd name="connsiteX81" fmla="*/ 781784 w 927973"/>
              <a:gd name="connsiteY81" fmla="*/ 321468 h 547687"/>
              <a:gd name="connsiteX82" fmla="*/ 800834 w 927973"/>
              <a:gd name="connsiteY82" fmla="*/ 316706 h 547687"/>
              <a:gd name="connsiteX83" fmla="*/ 805597 w 927973"/>
              <a:gd name="connsiteY83" fmla="*/ 309562 h 547687"/>
              <a:gd name="connsiteX84" fmla="*/ 803216 w 927973"/>
              <a:gd name="connsiteY84" fmla="*/ 300037 h 547687"/>
              <a:gd name="connsiteX85" fmla="*/ 750828 w 927973"/>
              <a:gd name="connsiteY85" fmla="*/ 302418 h 547687"/>
              <a:gd name="connsiteX86" fmla="*/ 729397 w 927973"/>
              <a:gd name="connsiteY86" fmla="*/ 309562 h 547687"/>
              <a:gd name="connsiteX87" fmla="*/ 722253 w 927973"/>
              <a:gd name="connsiteY87" fmla="*/ 311943 h 547687"/>
              <a:gd name="connsiteX88" fmla="*/ 717491 w 927973"/>
              <a:gd name="connsiteY88" fmla="*/ 319087 h 547687"/>
              <a:gd name="connsiteX89" fmla="*/ 710347 w 927973"/>
              <a:gd name="connsiteY89" fmla="*/ 321468 h 547687"/>
              <a:gd name="connsiteX90" fmla="*/ 700822 w 927973"/>
              <a:gd name="connsiteY90" fmla="*/ 335756 h 547687"/>
              <a:gd name="connsiteX91" fmla="*/ 696059 w 927973"/>
              <a:gd name="connsiteY91" fmla="*/ 350043 h 547687"/>
              <a:gd name="connsiteX92" fmla="*/ 681772 w 927973"/>
              <a:gd name="connsiteY92" fmla="*/ 357187 h 547687"/>
              <a:gd name="connsiteX93" fmla="*/ 660341 w 927973"/>
              <a:gd name="connsiteY93" fmla="*/ 373856 h 547687"/>
              <a:gd name="connsiteX94" fmla="*/ 655578 w 927973"/>
              <a:gd name="connsiteY94" fmla="*/ 381000 h 547687"/>
              <a:gd name="connsiteX95" fmla="*/ 648434 w 927973"/>
              <a:gd name="connsiteY95" fmla="*/ 383381 h 547687"/>
              <a:gd name="connsiteX96" fmla="*/ 605572 w 927973"/>
              <a:gd name="connsiteY96" fmla="*/ 385762 h 547687"/>
              <a:gd name="connsiteX97" fmla="*/ 598428 w 927973"/>
              <a:gd name="connsiteY97" fmla="*/ 390525 h 547687"/>
              <a:gd name="connsiteX98" fmla="*/ 591284 w 927973"/>
              <a:gd name="connsiteY98" fmla="*/ 392906 h 547687"/>
              <a:gd name="connsiteX99" fmla="*/ 586522 w 927973"/>
              <a:gd name="connsiteY99" fmla="*/ 400050 h 547687"/>
              <a:gd name="connsiteX100" fmla="*/ 588903 w 927973"/>
              <a:gd name="connsiteY100" fmla="*/ 414337 h 547687"/>
              <a:gd name="connsiteX101" fmla="*/ 596047 w 927973"/>
              <a:gd name="connsiteY101" fmla="*/ 416718 h 547687"/>
              <a:gd name="connsiteX102" fmla="*/ 603191 w 927973"/>
              <a:gd name="connsiteY102" fmla="*/ 423862 h 547687"/>
              <a:gd name="connsiteX103" fmla="*/ 600809 w 927973"/>
              <a:gd name="connsiteY103" fmla="*/ 445293 h 547687"/>
              <a:gd name="connsiteX104" fmla="*/ 598428 w 927973"/>
              <a:gd name="connsiteY104" fmla="*/ 457200 h 547687"/>
              <a:gd name="connsiteX105" fmla="*/ 596047 w 927973"/>
              <a:gd name="connsiteY105" fmla="*/ 500062 h 547687"/>
              <a:gd name="connsiteX106" fmla="*/ 586522 w 927973"/>
              <a:gd name="connsiteY106" fmla="*/ 504825 h 547687"/>
              <a:gd name="connsiteX107" fmla="*/ 579378 w 927973"/>
              <a:gd name="connsiteY107" fmla="*/ 509587 h 547687"/>
              <a:gd name="connsiteX108" fmla="*/ 576997 w 927973"/>
              <a:gd name="connsiteY108" fmla="*/ 516731 h 547687"/>
              <a:gd name="connsiteX109" fmla="*/ 562709 w 927973"/>
              <a:gd name="connsiteY109" fmla="*/ 528637 h 547687"/>
              <a:gd name="connsiteX110" fmla="*/ 557947 w 927973"/>
              <a:gd name="connsiteY110" fmla="*/ 535781 h 547687"/>
              <a:gd name="connsiteX111" fmla="*/ 555566 w 927973"/>
              <a:gd name="connsiteY111" fmla="*/ 542925 h 547687"/>
              <a:gd name="connsiteX112" fmla="*/ 548422 w 927973"/>
              <a:gd name="connsiteY112" fmla="*/ 547687 h 547687"/>
              <a:gd name="connsiteX113" fmla="*/ 534134 w 927973"/>
              <a:gd name="connsiteY113" fmla="*/ 545306 h 547687"/>
              <a:gd name="connsiteX114" fmla="*/ 486509 w 927973"/>
              <a:gd name="connsiteY114" fmla="*/ 542925 h 547687"/>
              <a:gd name="connsiteX115" fmla="*/ 488891 w 927973"/>
              <a:gd name="connsiteY115" fmla="*/ 535781 h 547687"/>
              <a:gd name="connsiteX116" fmla="*/ 496034 w 927973"/>
              <a:gd name="connsiteY116" fmla="*/ 531018 h 547687"/>
              <a:gd name="connsiteX117" fmla="*/ 498416 w 927973"/>
              <a:gd name="connsiteY117" fmla="*/ 523875 h 547687"/>
              <a:gd name="connsiteX118" fmla="*/ 507941 w 927973"/>
              <a:gd name="connsiteY118" fmla="*/ 509587 h 547687"/>
              <a:gd name="connsiteX119" fmla="*/ 505559 w 927973"/>
              <a:gd name="connsiteY119" fmla="*/ 502443 h 547687"/>
              <a:gd name="connsiteX120" fmla="*/ 498416 w 927973"/>
              <a:gd name="connsiteY120" fmla="*/ 497681 h 547687"/>
              <a:gd name="connsiteX121" fmla="*/ 481747 w 927973"/>
              <a:gd name="connsiteY121" fmla="*/ 492918 h 547687"/>
              <a:gd name="connsiteX122" fmla="*/ 474603 w 927973"/>
              <a:gd name="connsiteY122" fmla="*/ 490537 h 547687"/>
              <a:gd name="connsiteX123" fmla="*/ 467459 w 927973"/>
              <a:gd name="connsiteY123" fmla="*/ 483393 h 547687"/>
              <a:gd name="connsiteX124" fmla="*/ 457934 w 927973"/>
              <a:gd name="connsiteY124" fmla="*/ 476250 h 547687"/>
              <a:gd name="connsiteX125" fmla="*/ 450791 w 927973"/>
              <a:gd name="connsiteY125" fmla="*/ 471487 h 547687"/>
              <a:gd name="connsiteX126" fmla="*/ 443647 w 927973"/>
              <a:gd name="connsiteY126" fmla="*/ 464343 h 547687"/>
              <a:gd name="connsiteX127" fmla="*/ 426978 w 927973"/>
              <a:gd name="connsiteY127" fmla="*/ 454818 h 547687"/>
              <a:gd name="connsiteX128" fmla="*/ 412691 w 927973"/>
              <a:gd name="connsiteY128" fmla="*/ 442912 h 547687"/>
              <a:gd name="connsiteX129" fmla="*/ 403166 w 927973"/>
              <a:gd name="connsiteY129" fmla="*/ 433387 h 547687"/>
              <a:gd name="connsiteX130" fmla="*/ 388878 w 927973"/>
              <a:gd name="connsiteY130" fmla="*/ 423862 h 547687"/>
              <a:gd name="connsiteX131" fmla="*/ 381734 w 927973"/>
              <a:gd name="connsiteY131" fmla="*/ 419100 h 547687"/>
              <a:gd name="connsiteX132" fmla="*/ 374591 w 927973"/>
              <a:gd name="connsiteY132" fmla="*/ 411956 h 547687"/>
              <a:gd name="connsiteX133" fmla="*/ 372209 w 927973"/>
              <a:gd name="connsiteY133" fmla="*/ 404812 h 547687"/>
              <a:gd name="connsiteX134" fmla="*/ 362684 w 927973"/>
              <a:gd name="connsiteY134" fmla="*/ 390525 h 547687"/>
              <a:gd name="connsiteX135" fmla="*/ 350778 w 927973"/>
              <a:gd name="connsiteY135" fmla="*/ 369093 h 547687"/>
              <a:gd name="connsiteX136" fmla="*/ 341253 w 927973"/>
              <a:gd name="connsiteY136" fmla="*/ 364331 h 547687"/>
              <a:gd name="connsiteX137" fmla="*/ 336491 w 927973"/>
              <a:gd name="connsiteY137" fmla="*/ 311943 h 547687"/>
              <a:gd name="connsiteX138" fmla="*/ 331728 w 927973"/>
              <a:gd name="connsiteY138" fmla="*/ 297656 h 547687"/>
              <a:gd name="connsiteX139" fmla="*/ 329347 w 927973"/>
              <a:gd name="connsiteY139" fmla="*/ 278606 h 547687"/>
              <a:gd name="connsiteX140" fmla="*/ 238859 w 927973"/>
              <a:gd name="connsiteY140" fmla="*/ 276225 h 547687"/>
              <a:gd name="connsiteX141" fmla="*/ 241241 w 927973"/>
              <a:gd name="connsiteY141" fmla="*/ 269081 h 547687"/>
              <a:gd name="connsiteX142" fmla="*/ 246003 w 927973"/>
              <a:gd name="connsiteY142" fmla="*/ 252412 h 547687"/>
              <a:gd name="connsiteX143" fmla="*/ 250766 w 927973"/>
              <a:gd name="connsiteY143" fmla="*/ 245268 h 547687"/>
              <a:gd name="connsiteX144" fmla="*/ 250766 w 927973"/>
              <a:gd name="connsiteY144" fmla="*/ 226218 h 547687"/>
              <a:gd name="connsiteX145" fmla="*/ 243622 w 927973"/>
              <a:gd name="connsiteY145" fmla="*/ 223837 h 547687"/>
              <a:gd name="connsiteX146" fmla="*/ 236478 w 927973"/>
              <a:gd name="connsiteY146" fmla="*/ 219075 h 547687"/>
              <a:gd name="connsiteX147" fmla="*/ 219809 w 927973"/>
              <a:gd name="connsiteY147" fmla="*/ 214312 h 547687"/>
              <a:gd name="connsiteX148" fmla="*/ 205522 w 927973"/>
              <a:gd name="connsiteY148" fmla="*/ 207168 h 547687"/>
              <a:gd name="connsiteX149" fmla="*/ 188853 w 927973"/>
              <a:gd name="connsiteY149" fmla="*/ 200025 h 547687"/>
              <a:gd name="connsiteX150" fmla="*/ 169803 w 927973"/>
              <a:gd name="connsiteY150" fmla="*/ 204787 h 547687"/>
              <a:gd name="connsiteX151" fmla="*/ 153134 w 927973"/>
              <a:gd name="connsiteY151" fmla="*/ 209550 h 547687"/>
              <a:gd name="connsiteX152" fmla="*/ 145991 w 927973"/>
              <a:gd name="connsiteY152" fmla="*/ 214312 h 547687"/>
              <a:gd name="connsiteX153" fmla="*/ 136466 w 927973"/>
              <a:gd name="connsiteY153" fmla="*/ 216693 h 547687"/>
              <a:gd name="connsiteX154" fmla="*/ 129322 w 927973"/>
              <a:gd name="connsiteY154" fmla="*/ 219075 h 547687"/>
              <a:gd name="connsiteX155" fmla="*/ 115034 w 927973"/>
              <a:gd name="connsiteY155" fmla="*/ 221456 h 547687"/>
              <a:gd name="connsiteX156" fmla="*/ 103128 w 927973"/>
              <a:gd name="connsiteY156" fmla="*/ 223837 h 547687"/>
              <a:gd name="connsiteX157" fmla="*/ 88841 w 927973"/>
              <a:gd name="connsiteY157" fmla="*/ 233362 h 547687"/>
              <a:gd name="connsiteX158" fmla="*/ 76934 w 927973"/>
              <a:gd name="connsiteY158" fmla="*/ 247650 h 547687"/>
              <a:gd name="connsiteX159" fmla="*/ 74553 w 927973"/>
              <a:gd name="connsiteY159" fmla="*/ 264318 h 547687"/>
              <a:gd name="connsiteX160" fmla="*/ 60266 w 927973"/>
              <a:gd name="connsiteY160" fmla="*/ 271462 h 547687"/>
              <a:gd name="connsiteX161" fmla="*/ 19784 w 927973"/>
              <a:gd name="connsiteY161" fmla="*/ 269081 h 547687"/>
              <a:gd name="connsiteX162" fmla="*/ 12641 w 927973"/>
              <a:gd name="connsiteY162" fmla="*/ 266700 h 547687"/>
              <a:gd name="connsiteX163" fmla="*/ 10259 w 927973"/>
              <a:gd name="connsiteY163" fmla="*/ 257175 h 547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</a:cxnLst>
            <a:rect l="l" t="t" r="r" b="b"/>
            <a:pathLst>
              <a:path w="927973" h="547687">
                <a:moveTo>
                  <a:pt x="10259" y="257175"/>
                </a:moveTo>
                <a:cubicBezTo>
                  <a:pt x="13037" y="254397"/>
                  <a:pt x="23753" y="253920"/>
                  <a:pt x="29309" y="250031"/>
                </a:cubicBezTo>
                <a:cubicBezTo>
                  <a:pt x="32217" y="247995"/>
                  <a:pt x="32009" y="243395"/>
                  <a:pt x="34072" y="240506"/>
                </a:cubicBezTo>
                <a:cubicBezTo>
                  <a:pt x="36030" y="237766"/>
                  <a:pt x="38835" y="235743"/>
                  <a:pt x="41216" y="233362"/>
                </a:cubicBezTo>
                <a:cubicBezTo>
                  <a:pt x="42803" y="228600"/>
                  <a:pt x="44761" y="223945"/>
                  <a:pt x="45978" y="219075"/>
                </a:cubicBezTo>
                <a:cubicBezTo>
                  <a:pt x="48968" y="207115"/>
                  <a:pt x="47324" y="212655"/>
                  <a:pt x="50741" y="202406"/>
                </a:cubicBezTo>
                <a:cubicBezTo>
                  <a:pt x="51535" y="190500"/>
                  <a:pt x="51435" y="178500"/>
                  <a:pt x="53122" y="166687"/>
                </a:cubicBezTo>
                <a:cubicBezTo>
                  <a:pt x="53832" y="161718"/>
                  <a:pt x="56666" y="157270"/>
                  <a:pt x="57884" y="152400"/>
                </a:cubicBezTo>
                <a:cubicBezTo>
                  <a:pt x="58678" y="149225"/>
                  <a:pt x="59326" y="146010"/>
                  <a:pt x="60266" y="142875"/>
                </a:cubicBezTo>
                <a:cubicBezTo>
                  <a:pt x="61709" y="138067"/>
                  <a:pt x="63441" y="133350"/>
                  <a:pt x="65028" y="128587"/>
                </a:cubicBezTo>
                <a:lnTo>
                  <a:pt x="72172" y="107156"/>
                </a:lnTo>
                <a:lnTo>
                  <a:pt x="79316" y="85725"/>
                </a:lnTo>
                <a:cubicBezTo>
                  <a:pt x="80110" y="83344"/>
                  <a:pt x="80305" y="80670"/>
                  <a:pt x="81697" y="78581"/>
                </a:cubicBezTo>
                <a:cubicBezTo>
                  <a:pt x="88327" y="68635"/>
                  <a:pt x="84435" y="73461"/>
                  <a:pt x="93603" y="64293"/>
                </a:cubicBezTo>
                <a:cubicBezTo>
                  <a:pt x="94397" y="61912"/>
                  <a:pt x="94862" y="59395"/>
                  <a:pt x="95984" y="57150"/>
                </a:cubicBezTo>
                <a:cubicBezTo>
                  <a:pt x="98180" y="52757"/>
                  <a:pt x="103941" y="45495"/>
                  <a:pt x="107891" y="42862"/>
                </a:cubicBezTo>
                <a:cubicBezTo>
                  <a:pt x="109979" y="41470"/>
                  <a:pt x="112653" y="41275"/>
                  <a:pt x="115034" y="40481"/>
                </a:cubicBezTo>
                <a:cubicBezTo>
                  <a:pt x="117415" y="38893"/>
                  <a:pt x="120154" y="37742"/>
                  <a:pt x="122178" y="35718"/>
                </a:cubicBezTo>
                <a:cubicBezTo>
                  <a:pt x="124202" y="33694"/>
                  <a:pt x="124706" y="30363"/>
                  <a:pt x="126941" y="28575"/>
                </a:cubicBezTo>
                <a:cubicBezTo>
                  <a:pt x="128901" y="27007"/>
                  <a:pt x="131777" y="27182"/>
                  <a:pt x="134084" y="26193"/>
                </a:cubicBezTo>
                <a:cubicBezTo>
                  <a:pt x="137347" y="24795"/>
                  <a:pt x="140346" y="22829"/>
                  <a:pt x="143609" y="21431"/>
                </a:cubicBezTo>
                <a:cubicBezTo>
                  <a:pt x="149827" y="18767"/>
                  <a:pt x="153574" y="18679"/>
                  <a:pt x="160278" y="16668"/>
                </a:cubicBezTo>
                <a:cubicBezTo>
                  <a:pt x="160291" y="16664"/>
                  <a:pt x="178130" y="10718"/>
                  <a:pt x="181709" y="9525"/>
                </a:cubicBezTo>
                <a:cubicBezTo>
                  <a:pt x="184090" y="8731"/>
                  <a:pt x="186608" y="8266"/>
                  <a:pt x="188853" y="7143"/>
                </a:cubicBezTo>
                <a:cubicBezTo>
                  <a:pt x="200623" y="1259"/>
                  <a:pt x="195010" y="3503"/>
                  <a:pt x="205522" y="0"/>
                </a:cubicBezTo>
                <a:cubicBezTo>
                  <a:pt x="218222" y="794"/>
                  <a:pt x="230967" y="1049"/>
                  <a:pt x="243622" y="2381"/>
                </a:cubicBezTo>
                <a:cubicBezTo>
                  <a:pt x="246118" y="2644"/>
                  <a:pt x="248316" y="4218"/>
                  <a:pt x="250766" y="4762"/>
                </a:cubicBezTo>
                <a:cubicBezTo>
                  <a:pt x="255479" y="5809"/>
                  <a:pt x="260291" y="6349"/>
                  <a:pt x="265053" y="7143"/>
                </a:cubicBezTo>
                <a:cubicBezTo>
                  <a:pt x="278801" y="11727"/>
                  <a:pt x="270315" y="9452"/>
                  <a:pt x="293628" y="11906"/>
                </a:cubicBezTo>
                <a:lnTo>
                  <a:pt x="317441" y="14287"/>
                </a:lnTo>
                <a:cubicBezTo>
                  <a:pt x="322147" y="15856"/>
                  <a:pt x="328371" y="17234"/>
                  <a:pt x="331728" y="21431"/>
                </a:cubicBezTo>
                <a:cubicBezTo>
                  <a:pt x="333296" y="23391"/>
                  <a:pt x="332986" y="26330"/>
                  <a:pt x="334109" y="28575"/>
                </a:cubicBezTo>
                <a:cubicBezTo>
                  <a:pt x="335389" y="31135"/>
                  <a:pt x="337284" y="33337"/>
                  <a:pt x="338872" y="35718"/>
                </a:cubicBezTo>
                <a:lnTo>
                  <a:pt x="348397" y="64293"/>
                </a:lnTo>
                <a:cubicBezTo>
                  <a:pt x="349191" y="66674"/>
                  <a:pt x="349003" y="69662"/>
                  <a:pt x="350778" y="71437"/>
                </a:cubicBezTo>
                <a:cubicBezTo>
                  <a:pt x="367089" y="87748"/>
                  <a:pt x="361330" y="80121"/>
                  <a:pt x="369828" y="92868"/>
                </a:cubicBezTo>
                <a:cubicBezTo>
                  <a:pt x="377492" y="115864"/>
                  <a:pt x="365202" y="80111"/>
                  <a:pt x="376972" y="109537"/>
                </a:cubicBezTo>
                <a:cubicBezTo>
                  <a:pt x="385473" y="130791"/>
                  <a:pt x="377333" y="117225"/>
                  <a:pt x="386497" y="130968"/>
                </a:cubicBezTo>
                <a:cubicBezTo>
                  <a:pt x="387260" y="134020"/>
                  <a:pt x="387481" y="146291"/>
                  <a:pt x="396022" y="142875"/>
                </a:cubicBezTo>
                <a:cubicBezTo>
                  <a:pt x="398679" y="141812"/>
                  <a:pt x="398630" y="137616"/>
                  <a:pt x="400784" y="135731"/>
                </a:cubicBezTo>
                <a:cubicBezTo>
                  <a:pt x="405092" y="131962"/>
                  <a:pt x="410309" y="129381"/>
                  <a:pt x="415072" y="126206"/>
                </a:cubicBezTo>
                <a:cubicBezTo>
                  <a:pt x="419095" y="123524"/>
                  <a:pt x="424069" y="119302"/>
                  <a:pt x="429359" y="119062"/>
                </a:cubicBezTo>
                <a:cubicBezTo>
                  <a:pt x="461879" y="117584"/>
                  <a:pt x="494447" y="117475"/>
                  <a:pt x="526991" y="116681"/>
                </a:cubicBezTo>
                <a:cubicBezTo>
                  <a:pt x="551096" y="108645"/>
                  <a:pt x="536273" y="111533"/>
                  <a:pt x="572234" y="114300"/>
                </a:cubicBezTo>
                <a:cubicBezTo>
                  <a:pt x="576126" y="115597"/>
                  <a:pt x="584093" y="117556"/>
                  <a:pt x="586522" y="121443"/>
                </a:cubicBezTo>
                <a:cubicBezTo>
                  <a:pt x="589183" y="125700"/>
                  <a:pt x="589696" y="130968"/>
                  <a:pt x="591284" y="135731"/>
                </a:cubicBezTo>
                <a:lnTo>
                  <a:pt x="593666" y="142875"/>
                </a:lnTo>
                <a:cubicBezTo>
                  <a:pt x="592872" y="160337"/>
                  <a:pt x="593023" y="177868"/>
                  <a:pt x="591284" y="195262"/>
                </a:cubicBezTo>
                <a:cubicBezTo>
                  <a:pt x="590517" y="202935"/>
                  <a:pt x="586826" y="213399"/>
                  <a:pt x="584141" y="221456"/>
                </a:cubicBezTo>
                <a:cubicBezTo>
                  <a:pt x="589305" y="252440"/>
                  <a:pt x="581134" y="224840"/>
                  <a:pt x="593666" y="240506"/>
                </a:cubicBezTo>
                <a:cubicBezTo>
                  <a:pt x="601335" y="250092"/>
                  <a:pt x="589658" y="245872"/>
                  <a:pt x="600809" y="254793"/>
                </a:cubicBezTo>
                <a:cubicBezTo>
                  <a:pt x="602769" y="256361"/>
                  <a:pt x="605708" y="256052"/>
                  <a:pt x="607953" y="257175"/>
                </a:cubicBezTo>
                <a:cubicBezTo>
                  <a:pt x="610513" y="258455"/>
                  <a:pt x="612716" y="260350"/>
                  <a:pt x="615097" y="261937"/>
                </a:cubicBezTo>
                <a:cubicBezTo>
                  <a:pt x="620764" y="278940"/>
                  <a:pt x="615682" y="273441"/>
                  <a:pt x="627003" y="280987"/>
                </a:cubicBezTo>
                <a:cubicBezTo>
                  <a:pt x="636528" y="280193"/>
                  <a:pt x="646206" y="280481"/>
                  <a:pt x="655578" y="278606"/>
                </a:cubicBezTo>
                <a:cubicBezTo>
                  <a:pt x="658384" y="278045"/>
                  <a:pt x="660162" y="275123"/>
                  <a:pt x="662722" y="273843"/>
                </a:cubicBezTo>
                <a:cubicBezTo>
                  <a:pt x="666527" y="271940"/>
                  <a:pt x="675832" y="270098"/>
                  <a:pt x="679391" y="269081"/>
                </a:cubicBezTo>
                <a:cubicBezTo>
                  <a:pt x="681804" y="268392"/>
                  <a:pt x="684032" y="266893"/>
                  <a:pt x="686534" y="266700"/>
                </a:cubicBezTo>
                <a:cubicBezTo>
                  <a:pt x="704754" y="265298"/>
                  <a:pt x="723047" y="265112"/>
                  <a:pt x="741303" y="264318"/>
                </a:cubicBezTo>
                <a:cubicBezTo>
                  <a:pt x="744478" y="263524"/>
                  <a:pt x="747681" y="262836"/>
                  <a:pt x="750828" y="261937"/>
                </a:cubicBezTo>
                <a:cubicBezTo>
                  <a:pt x="753242" y="261247"/>
                  <a:pt x="755462" y="259556"/>
                  <a:pt x="757972" y="259556"/>
                </a:cubicBezTo>
                <a:cubicBezTo>
                  <a:pt x="772281" y="259556"/>
                  <a:pt x="786547" y="261143"/>
                  <a:pt x="800834" y="261937"/>
                </a:cubicBezTo>
                <a:cubicBezTo>
                  <a:pt x="803215" y="262731"/>
                  <a:pt x="806018" y="262750"/>
                  <a:pt x="807978" y="264318"/>
                </a:cubicBezTo>
                <a:cubicBezTo>
                  <a:pt x="810213" y="266106"/>
                  <a:pt x="810314" y="269945"/>
                  <a:pt x="812741" y="271462"/>
                </a:cubicBezTo>
                <a:cubicBezTo>
                  <a:pt x="816609" y="273879"/>
                  <a:pt x="830975" y="277212"/>
                  <a:pt x="836553" y="278606"/>
                </a:cubicBezTo>
                <a:cubicBezTo>
                  <a:pt x="842109" y="277812"/>
                  <a:pt x="848202" y="278735"/>
                  <a:pt x="853222" y="276225"/>
                </a:cubicBezTo>
                <a:cubicBezTo>
                  <a:pt x="855467" y="275102"/>
                  <a:pt x="853189" y="269771"/>
                  <a:pt x="855603" y="269081"/>
                </a:cubicBezTo>
                <a:cubicBezTo>
                  <a:pt x="860246" y="267754"/>
                  <a:pt x="865128" y="270668"/>
                  <a:pt x="869891" y="271462"/>
                </a:cubicBezTo>
                <a:cubicBezTo>
                  <a:pt x="875447" y="279797"/>
                  <a:pt x="877033" y="284162"/>
                  <a:pt x="888941" y="288131"/>
                </a:cubicBezTo>
                <a:lnTo>
                  <a:pt x="903228" y="292893"/>
                </a:lnTo>
                <a:cubicBezTo>
                  <a:pt x="905609" y="295274"/>
                  <a:pt x="907428" y="298401"/>
                  <a:pt x="910372" y="300037"/>
                </a:cubicBezTo>
                <a:cubicBezTo>
                  <a:pt x="914760" y="302475"/>
                  <a:pt x="924659" y="304800"/>
                  <a:pt x="924659" y="304800"/>
                </a:cubicBezTo>
                <a:cubicBezTo>
                  <a:pt x="925453" y="307181"/>
                  <a:pt x="927973" y="309613"/>
                  <a:pt x="927041" y="311943"/>
                </a:cubicBezTo>
                <a:cubicBezTo>
                  <a:pt x="925978" y="314600"/>
                  <a:pt x="922512" y="315544"/>
                  <a:pt x="919897" y="316706"/>
                </a:cubicBezTo>
                <a:cubicBezTo>
                  <a:pt x="915309" y="318745"/>
                  <a:pt x="910372" y="319880"/>
                  <a:pt x="905609" y="321468"/>
                </a:cubicBezTo>
                <a:cubicBezTo>
                  <a:pt x="903228" y="322262"/>
                  <a:pt x="900951" y="323495"/>
                  <a:pt x="898466" y="323850"/>
                </a:cubicBezTo>
                <a:lnTo>
                  <a:pt x="881797" y="326231"/>
                </a:lnTo>
                <a:lnTo>
                  <a:pt x="860366" y="340518"/>
                </a:lnTo>
                <a:lnTo>
                  <a:pt x="853222" y="345281"/>
                </a:lnTo>
                <a:cubicBezTo>
                  <a:pt x="827822" y="344487"/>
                  <a:pt x="802250" y="345958"/>
                  <a:pt x="777022" y="342900"/>
                </a:cubicBezTo>
                <a:cubicBezTo>
                  <a:pt x="774530" y="342598"/>
                  <a:pt x="774641" y="338266"/>
                  <a:pt x="774641" y="335756"/>
                </a:cubicBezTo>
                <a:cubicBezTo>
                  <a:pt x="774641" y="332939"/>
                  <a:pt x="779376" y="322672"/>
                  <a:pt x="781784" y="321468"/>
                </a:cubicBezTo>
                <a:cubicBezTo>
                  <a:pt x="787638" y="318541"/>
                  <a:pt x="800834" y="316706"/>
                  <a:pt x="800834" y="316706"/>
                </a:cubicBezTo>
                <a:cubicBezTo>
                  <a:pt x="802422" y="314325"/>
                  <a:pt x="805192" y="312395"/>
                  <a:pt x="805597" y="309562"/>
                </a:cubicBezTo>
                <a:cubicBezTo>
                  <a:pt x="806060" y="306322"/>
                  <a:pt x="806461" y="300460"/>
                  <a:pt x="803216" y="300037"/>
                </a:cubicBezTo>
                <a:cubicBezTo>
                  <a:pt x="785882" y="297776"/>
                  <a:pt x="768291" y="301624"/>
                  <a:pt x="750828" y="302418"/>
                </a:cubicBezTo>
                <a:lnTo>
                  <a:pt x="729397" y="309562"/>
                </a:lnTo>
                <a:lnTo>
                  <a:pt x="722253" y="311943"/>
                </a:lnTo>
                <a:cubicBezTo>
                  <a:pt x="720666" y="314324"/>
                  <a:pt x="719726" y="317299"/>
                  <a:pt x="717491" y="319087"/>
                </a:cubicBezTo>
                <a:cubicBezTo>
                  <a:pt x="715531" y="320655"/>
                  <a:pt x="712122" y="319693"/>
                  <a:pt x="710347" y="321468"/>
                </a:cubicBezTo>
                <a:cubicBezTo>
                  <a:pt x="706300" y="325515"/>
                  <a:pt x="702632" y="330326"/>
                  <a:pt x="700822" y="335756"/>
                </a:cubicBezTo>
                <a:cubicBezTo>
                  <a:pt x="699234" y="340518"/>
                  <a:pt x="700236" y="347258"/>
                  <a:pt x="696059" y="350043"/>
                </a:cubicBezTo>
                <a:cubicBezTo>
                  <a:pt x="686828" y="356199"/>
                  <a:pt x="691631" y="353901"/>
                  <a:pt x="681772" y="357187"/>
                </a:cubicBezTo>
                <a:cubicBezTo>
                  <a:pt x="665709" y="373250"/>
                  <a:pt x="673874" y="369345"/>
                  <a:pt x="660341" y="373856"/>
                </a:cubicBezTo>
                <a:cubicBezTo>
                  <a:pt x="658753" y="376237"/>
                  <a:pt x="657813" y="379212"/>
                  <a:pt x="655578" y="381000"/>
                </a:cubicBezTo>
                <a:cubicBezTo>
                  <a:pt x="653618" y="382568"/>
                  <a:pt x="650933" y="383143"/>
                  <a:pt x="648434" y="383381"/>
                </a:cubicBezTo>
                <a:cubicBezTo>
                  <a:pt x="634189" y="384738"/>
                  <a:pt x="619859" y="384968"/>
                  <a:pt x="605572" y="385762"/>
                </a:cubicBezTo>
                <a:cubicBezTo>
                  <a:pt x="603191" y="387350"/>
                  <a:pt x="600988" y="389245"/>
                  <a:pt x="598428" y="390525"/>
                </a:cubicBezTo>
                <a:cubicBezTo>
                  <a:pt x="596183" y="391648"/>
                  <a:pt x="593244" y="391338"/>
                  <a:pt x="591284" y="392906"/>
                </a:cubicBezTo>
                <a:cubicBezTo>
                  <a:pt x="589049" y="394694"/>
                  <a:pt x="588109" y="397669"/>
                  <a:pt x="586522" y="400050"/>
                </a:cubicBezTo>
                <a:cubicBezTo>
                  <a:pt x="587316" y="404812"/>
                  <a:pt x="586508" y="410145"/>
                  <a:pt x="588903" y="414337"/>
                </a:cubicBezTo>
                <a:cubicBezTo>
                  <a:pt x="590148" y="416516"/>
                  <a:pt x="593958" y="415326"/>
                  <a:pt x="596047" y="416718"/>
                </a:cubicBezTo>
                <a:cubicBezTo>
                  <a:pt x="598849" y="418586"/>
                  <a:pt x="600810" y="421481"/>
                  <a:pt x="603191" y="423862"/>
                </a:cubicBezTo>
                <a:cubicBezTo>
                  <a:pt x="602397" y="431006"/>
                  <a:pt x="601826" y="438178"/>
                  <a:pt x="600809" y="445293"/>
                </a:cubicBezTo>
                <a:cubicBezTo>
                  <a:pt x="600237" y="449300"/>
                  <a:pt x="598779" y="453168"/>
                  <a:pt x="598428" y="457200"/>
                </a:cubicBezTo>
                <a:cubicBezTo>
                  <a:pt x="597189" y="471456"/>
                  <a:pt x="599517" y="486180"/>
                  <a:pt x="596047" y="500062"/>
                </a:cubicBezTo>
                <a:cubicBezTo>
                  <a:pt x="595186" y="503506"/>
                  <a:pt x="589604" y="503064"/>
                  <a:pt x="586522" y="504825"/>
                </a:cubicBezTo>
                <a:cubicBezTo>
                  <a:pt x="584037" y="506245"/>
                  <a:pt x="581759" y="508000"/>
                  <a:pt x="579378" y="509587"/>
                </a:cubicBezTo>
                <a:cubicBezTo>
                  <a:pt x="578584" y="511968"/>
                  <a:pt x="578389" y="514642"/>
                  <a:pt x="576997" y="516731"/>
                </a:cubicBezTo>
                <a:cubicBezTo>
                  <a:pt x="573330" y="522232"/>
                  <a:pt x="567981" y="525123"/>
                  <a:pt x="562709" y="528637"/>
                </a:cubicBezTo>
                <a:cubicBezTo>
                  <a:pt x="561122" y="531018"/>
                  <a:pt x="559227" y="533221"/>
                  <a:pt x="557947" y="535781"/>
                </a:cubicBezTo>
                <a:cubicBezTo>
                  <a:pt x="556825" y="538026"/>
                  <a:pt x="557134" y="540965"/>
                  <a:pt x="555566" y="542925"/>
                </a:cubicBezTo>
                <a:cubicBezTo>
                  <a:pt x="553778" y="545160"/>
                  <a:pt x="550803" y="546100"/>
                  <a:pt x="548422" y="547687"/>
                </a:cubicBezTo>
                <a:cubicBezTo>
                  <a:pt x="543659" y="546893"/>
                  <a:pt x="538948" y="545676"/>
                  <a:pt x="534134" y="545306"/>
                </a:cubicBezTo>
                <a:cubicBezTo>
                  <a:pt x="518286" y="544087"/>
                  <a:pt x="502063" y="546200"/>
                  <a:pt x="486509" y="542925"/>
                </a:cubicBezTo>
                <a:cubicBezTo>
                  <a:pt x="484053" y="542408"/>
                  <a:pt x="487323" y="537741"/>
                  <a:pt x="488891" y="535781"/>
                </a:cubicBezTo>
                <a:cubicBezTo>
                  <a:pt x="490679" y="533546"/>
                  <a:pt x="493653" y="532606"/>
                  <a:pt x="496034" y="531018"/>
                </a:cubicBezTo>
                <a:cubicBezTo>
                  <a:pt x="496828" y="528637"/>
                  <a:pt x="497197" y="526069"/>
                  <a:pt x="498416" y="523875"/>
                </a:cubicBezTo>
                <a:cubicBezTo>
                  <a:pt x="501196" y="518871"/>
                  <a:pt x="507941" y="509587"/>
                  <a:pt x="507941" y="509587"/>
                </a:cubicBezTo>
                <a:cubicBezTo>
                  <a:pt x="507147" y="507206"/>
                  <a:pt x="507127" y="504403"/>
                  <a:pt x="505559" y="502443"/>
                </a:cubicBezTo>
                <a:cubicBezTo>
                  <a:pt x="503771" y="500208"/>
                  <a:pt x="500976" y="498961"/>
                  <a:pt x="498416" y="497681"/>
                </a:cubicBezTo>
                <a:cubicBezTo>
                  <a:pt x="494614" y="495780"/>
                  <a:pt x="485301" y="493934"/>
                  <a:pt x="481747" y="492918"/>
                </a:cubicBezTo>
                <a:cubicBezTo>
                  <a:pt x="479333" y="492228"/>
                  <a:pt x="476984" y="491331"/>
                  <a:pt x="474603" y="490537"/>
                </a:cubicBezTo>
                <a:cubicBezTo>
                  <a:pt x="472222" y="488156"/>
                  <a:pt x="470016" y="485585"/>
                  <a:pt x="467459" y="483393"/>
                </a:cubicBezTo>
                <a:cubicBezTo>
                  <a:pt x="464446" y="480810"/>
                  <a:pt x="461163" y="478557"/>
                  <a:pt x="457934" y="476250"/>
                </a:cubicBezTo>
                <a:cubicBezTo>
                  <a:pt x="455605" y="474587"/>
                  <a:pt x="452989" y="473319"/>
                  <a:pt x="450791" y="471487"/>
                </a:cubicBezTo>
                <a:cubicBezTo>
                  <a:pt x="448204" y="469331"/>
                  <a:pt x="446234" y="466499"/>
                  <a:pt x="443647" y="464343"/>
                </a:cubicBezTo>
                <a:cubicBezTo>
                  <a:pt x="437323" y="459073"/>
                  <a:pt x="434382" y="459049"/>
                  <a:pt x="426978" y="454818"/>
                </a:cubicBezTo>
                <a:cubicBezTo>
                  <a:pt x="419239" y="450396"/>
                  <a:pt x="419260" y="449482"/>
                  <a:pt x="412691" y="442912"/>
                </a:cubicBezTo>
                <a:cubicBezTo>
                  <a:pt x="408649" y="430789"/>
                  <a:pt x="413557" y="439159"/>
                  <a:pt x="403166" y="433387"/>
                </a:cubicBezTo>
                <a:cubicBezTo>
                  <a:pt x="398162" y="430607"/>
                  <a:pt x="393641" y="427037"/>
                  <a:pt x="388878" y="423862"/>
                </a:cubicBezTo>
                <a:cubicBezTo>
                  <a:pt x="386497" y="422275"/>
                  <a:pt x="383758" y="421124"/>
                  <a:pt x="381734" y="419100"/>
                </a:cubicBezTo>
                <a:lnTo>
                  <a:pt x="374591" y="411956"/>
                </a:lnTo>
                <a:cubicBezTo>
                  <a:pt x="373797" y="409575"/>
                  <a:pt x="373428" y="407006"/>
                  <a:pt x="372209" y="404812"/>
                </a:cubicBezTo>
                <a:cubicBezTo>
                  <a:pt x="369429" y="399809"/>
                  <a:pt x="362684" y="390525"/>
                  <a:pt x="362684" y="390525"/>
                </a:cubicBezTo>
                <a:cubicBezTo>
                  <a:pt x="358850" y="379020"/>
                  <a:pt x="360135" y="375777"/>
                  <a:pt x="350778" y="369093"/>
                </a:cubicBezTo>
                <a:cubicBezTo>
                  <a:pt x="347889" y="367030"/>
                  <a:pt x="344428" y="365918"/>
                  <a:pt x="341253" y="364331"/>
                </a:cubicBezTo>
                <a:cubicBezTo>
                  <a:pt x="333261" y="340352"/>
                  <a:pt x="344032" y="374779"/>
                  <a:pt x="336491" y="311943"/>
                </a:cubicBezTo>
                <a:cubicBezTo>
                  <a:pt x="335893" y="306959"/>
                  <a:pt x="331728" y="297656"/>
                  <a:pt x="331728" y="297656"/>
                </a:cubicBezTo>
                <a:cubicBezTo>
                  <a:pt x="330934" y="291306"/>
                  <a:pt x="335583" y="280045"/>
                  <a:pt x="329347" y="278606"/>
                </a:cubicBezTo>
                <a:cubicBezTo>
                  <a:pt x="299947" y="271821"/>
                  <a:pt x="268857" y="279468"/>
                  <a:pt x="238859" y="276225"/>
                </a:cubicBezTo>
                <a:cubicBezTo>
                  <a:pt x="236363" y="275955"/>
                  <a:pt x="240551" y="271495"/>
                  <a:pt x="241241" y="269081"/>
                </a:cubicBezTo>
                <a:cubicBezTo>
                  <a:pt x="242258" y="265521"/>
                  <a:pt x="244100" y="256218"/>
                  <a:pt x="246003" y="252412"/>
                </a:cubicBezTo>
                <a:cubicBezTo>
                  <a:pt x="247283" y="249852"/>
                  <a:pt x="249178" y="247649"/>
                  <a:pt x="250766" y="245268"/>
                </a:cubicBezTo>
                <a:cubicBezTo>
                  <a:pt x="253041" y="238443"/>
                  <a:pt x="255874" y="233881"/>
                  <a:pt x="250766" y="226218"/>
                </a:cubicBezTo>
                <a:cubicBezTo>
                  <a:pt x="249374" y="224129"/>
                  <a:pt x="245867" y="224959"/>
                  <a:pt x="243622" y="223837"/>
                </a:cubicBezTo>
                <a:cubicBezTo>
                  <a:pt x="241062" y="222557"/>
                  <a:pt x="239038" y="220355"/>
                  <a:pt x="236478" y="219075"/>
                </a:cubicBezTo>
                <a:cubicBezTo>
                  <a:pt x="233057" y="217365"/>
                  <a:pt x="222867" y="215077"/>
                  <a:pt x="219809" y="214312"/>
                </a:cubicBezTo>
                <a:cubicBezTo>
                  <a:pt x="206086" y="205163"/>
                  <a:pt x="219321" y="213082"/>
                  <a:pt x="205522" y="207168"/>
                </a:cubicBezTo>
                <a:cubicBezTo>
                  <a:pt x="184937" y="198346"/>
                  <a:pt x="205598" y="205606"/>
                  <a:pt x="188853" y="200025"/>
                </a:cubicBezTo>
                <a:cubicBezTo>
                  <a:pt x="164647" y="204866"/>
                  <a:pt x="186888" y="199906"/>
                  <a:pt x="169803" y="204787"/>
                </a:cubicBezTo>
                <a:cubicBezTo>
                  <a:pt x="166236" y="205806"/>
                  <a:pt x="156945" y="207644"/>
                  <a:pt x="153134" y="209550"/>
                </a:cubicBezTo>
                <a:cubicBezTo>
                  <a:pt x="150575" y="210830"/>
                  <a:pt x="148621" y="213185"/>
                  <a:pt x="145991" y="214312"/>
                </a:cubicBezTo>
                <a:cubicBezTo>
                  <a:pt x="142983" y="215601"/>
                  <a:pt x="139613" y="215794"/>
                  <a:pt x="136466" y="216693"/>
                </a:cubicBezTo>
                <a:cubicBezTo>
                  <a:pt x="134052" y="217383"/>
                  <a:pt x="131772" y="218530"/>
                  <a:pt x="129322" y="219075"/>
                </a:cubicBezTo>
                <a:cubicBezTo>
                  <a:pt x="124609" y="220122"/>
                  <a:pt x="119784" y="220592"/>
                  <a:pt x="115034" y="221456"/>
                </a:cubicBezTo>
                <a:cubicBezTo>
                  <a:pt x="111052" y="222180"/>
                  <a:pt x="107097" y="223043"/>
                  <a:pt x="103128" y="223837"/>
                </a:cubicBezTo>
                <a:cubicBezTo>
                  <a:pt x="98366" y="227012"/>
                  <a:pt x="92016" y="228600"/>
                  <a:pt x="88841" y="233362"/>
                </a:cubicBezTo>
                <a:cubicBezTo>
                  <a:pt x="82210" y="243308"/>
                  <a:pt x="86102" y="238482"/>
                  <a:pt x="76934" y="247650"/>
                </a:cubicBezTo>
                <a:cubicBezTo>
                  <a:pt x="76140" y="253206"/>
                  <a:pt x="76832" y="259189"/>
                  <a:pt x="74553" y="264318"/>
                </a:cubicBezTo>
                <a:cubicBezTo>
                  <a:pt x="72947" y="267931"/>
                  <a:pt x="63437" y="270405"/>
                  <a:pt x="60266" y="271462"/>
                </a:cubicBezTo>
                <a:cubicBezTo>
                  <a:pt x="46772" y="270668"/>
                  <a:pt x="33234" y="270426"/>
                  <a:pt x="19784" y="269081"/>
                </a:cubicBezTo>
                <a:cubicBezTo>
                  <a:pt x="17287" y="268831"/>
                  <a:pt x="15076" y="267309"/>
                  <a:pt x="12641" y="266700"/>
                </a:cubicBezTo>
                <a:cubicBezTo>
                  <a:pt x="0" y="263539"/>
                  <a:pt x="7481" y="259953"/>
                  <a:pt x="10259" y="257175"/>
                </a:cubicBezTo>
                <a:close/>
              </a:path>
            </a:pathLst>
          </a:custGeom>
          <a:solidFill>
            <a:srgbClr val="00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9" name="TextBox 109"/>
          <p:cNvSpPr txBox="1">
            <a:spLocks noChangeArrowheads="1"/>
          </p:cNvSpPr>
          <p:nvPr/>
        </p:nvSpPr>
        <p:spPr bwMode="auto">
          <a:xfrm rot="1470305">
            <a:off x="1776413" y="2623552"/>
            <a:ext cx="86836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900">
                <a:latin typeface="Ramabhadra" pitchFamily="2" charset="0"/>
                <a:cs typeface="Ramabhadra" pitchFamily="2" charset="0"/>
              </a:rPr>
              <a:t>ఉజ్బెకిస్థాన్</a:t>
            </a:r>
            <a:endParaRPr lang="en-US" sz="10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0" name="Freeform 39"/>
          <p:cNvSpPr/>
          <p:nvPr/>
        </p:nvSpPr>
        <p:spPr>
          <a:xfrm>
            <a:off x="2484439" y="2878667"/>
            <a:ext cx="419100" cy="292100"/>
          </a:xfrm>
          <a:custGeom>
            <a:avLst/>
            <a:gdLst>
              <a:gd name="connsiteX0" fmla="*/ 242887 w 420188"/>
              <a:gd name="connsiteY0" fmla="*/ 290833 h 291178"/>
              <a:gd name="connsiteX1" fmla="*/ 226219 w 420188"/>
              <a:gd name="connsiteY1" fmla="*/ 288452 h 291178"/>
              <a:gd name="connsiteX2" fmla="*/ 219075 w 420188"/>
              <a:gd name="connsiteY2" fmla="*/ 271783 h 291178"/>
              <a:gd name="connsiteX3" fmla="*/ 226219 w 420188"/>
              <a:gd name="connsiteY3" fmla="*/ 245589 h 291178"/>
              <a:gd name="connsiteX4" fmla="*/ 228600 w 420188"/>
              <a:gd name="connsiteY4" fmla="*/ 238445 h 291178"/>
              <a:gd name="connsiteX5" fmla="*/ 233362 w 420188"/>
              <a:gd name="connsiteY5" fmla="*/ 231302 h 291178"/>
              <a:gd name="connsiteX6" fmla="*/ 228600 w 420188"/>
              <a:gd name="connsiteY6" fmla="*/ 183677 h 291178"/>
              <a:gd name="connsiteX7" fmla="*/ 223837 w 420188"/>
              <a:gd name="connsiteY7" fmla="*/ 176533 h 291178"/>
              <a:gd name="connsiteX8" fmla="*/ 188119 w 420188"/>
              <a:gd name="connsiteY8" fmla="*/ 178914 h 291178"/>
              <a:gd name="connsiteX9" fmla="*/ 180975 w 420188"/>
              <a:gd name="connsiteY9" fmla="*/ 186058 h 291178"/>
              <a:gd name="connsiteX10" fmla="*/ 173831 w 420188"/>
              <a:gd name="connsiteY10" fmla="*/ 190820 h 291178"/>
              <a:gd name="connsiteX11" fmla="*/ 157162 w 420188"/>
              <a:gd name="connsiteY11" fmla="*/ 212252 h 291178"/>
              <a:gd name="connsiteX12" fmla="*/ 135731 w 420188"/>
              <a:gd name="connsiteY12" fmla="*/ 224158 h 291178"/>
              <a:gd name="connsiteX13" fmla="*/ 128587 w 420188"/>
              <a:gd name="connsiteY13" fmla="*/ 228920 h 291178"/>
              <a:gd name="connsiteX14" fmla="*/ 121444 w 420188"/>
              <a:gd name="connsiteY14" fmla="*/ 231302 h 291178"/>
              <a:gd name="connsiteX15" fmla="*/ 107156 w 420188"/>
              <a:gd name="connsiteY15" fmla="*/ 240827 h 291178"/>
              <a:gd name="connsiteX16" fmla="*/ 92869 w 420188"/>
              <a:gd name="connsiteY16" fmla="*/ 245589 h 291178"/>
              <a:gd name="connsiteX17" fmla="*/ 85725 w 420188"/>
              <a:gd name="connsiteY17" fmla="*/ 247970 h 291178"/>
              <a:gd name="connsiteX18" fmla="*/ 76200 w 420188"/>
              <a:gd name="connsiteY18" fmla="*/ 250352 h 291178"/>
              <a:gd name="connsiteX19" fmla="*/ 61912 w 420188"/>
              <a:gd name="connsiteY19" fmla="*/ 255114 h 291178"/>
              <a:gd name="connsiteX20" fmla="*/ 54769 w 420188"/>
              <a:gd name="connsiteY20" fmla="*/ 257495 h 291178"/>
              <a:gd name="connsiteX21" fmla="*/ 45244 w 420188"/>
              <a:gd name="connsiteY21" fmla="*/ 259877 h 291178"/>
              <a:gd name="connsiteX22" fmla="*/ 7144 w 420188"/>
              <a:gd name="connsiteY22" fmla="*/ 255114 h 291178"/>
              <a:gd name="connsiteX23" fmla="*/ 0 w 420188"/>
              <a:gd name="connsiteY23" fmla="*/ 250352 h 291178"/>
              <a:gd name="connsiteX24" fmla="*/ 9525 w 420188"/>
              <a:gd name="connsiteY24" fmla="*/ 228920 h 291178"/>
              <a:gd name="connsiteX25" fmla="*/ 16669 w 420188"/>
              <a:gd name="connsiteY25" fmla="*/ 226539 h 291178"/>
              <a:gd name="connsiteX26" fmla="*/ 30956 w 420188"/>
              <a:gd name="connsiteY26" fmla="*/ 217014 h 291178"/>
              <a:gd name="connsiteX27" fmla="*/ 40481 w 420188"/>
              <a:gd name="connsiteY27" fmla="*/ 188439 h 291178"/>
              <a:gd name="connsiteX28" fmla="*/ 42862 w 420188"/>
              <a:gd name="connsiteY28" fmla="*/ 181295 h 291178"/>
              <a:gd name="connsiteX29" fmla="*/ 47625 w 420188"/>
              <a:gd name="connsiteY29" fmla="*/ 174152 h 291178"/>
              <a:gd name="connsiteX30" fmla="*/ 50006 w 420188"/>
              <a:gd name="connsiteY30" fmla="*/ 138433 h 291178"/>
              <a:gd name="connsiteX31" fmla="*/ 50006 w 420188"/>
              <a:gd name="connsiteY31" fmla="*/ 114620 h 291178"/>
              <a:gd name="connsiteX32" fmla="*/ 42862 w 420188"/>
              <a:gd name="connsiteY32" fmla="*/ 112239 h 291178"/>
              <a:gd name="connsiteX33" fmla="*/ 40481 w 420188"/>
              <a:gd name="connsiteY33" fmla="*/ 88427 h 291178"/>
              <a:gd name="connsiteX34" fmla="*/ 47625 w 420188"/>
              <a:gd name="connsiteY34" fmla="*/ 83664 h 291178"/>
              <a:gd name="connsiteX35" fmla="*/ 59531 w 420188"/>
              <a:gd name="connsiteY35" fmla="*/ 86045 h 291178"/>
              <a:gd name="connsiteX36" fmla="*/ 100012 w 420188"/>
              <a:gd name="connsiteY36" fmla="*/ 78902 h 291178"/>
              <a:gd name="connsiteX37" fmla="*/ 114300 w 420188"/>
              <a:gd name="connsiteY37" fmla="*/ 74139 h 291178"/>
              <a:gd name="connsiteX38" fmla="*/ 121444 w 420188"/>
              <a:gd name="connsiteY38" fmla="*/ 71758 h 291178"/>
              <a:gd name="connsiteX39" fmla="*/ 128587 w 420188"/>
              <a:gd name="connsiteY39" fmla="*/ 64614 h 291178"/>
              <a:gd name="connsiteX40" fmla="*/ 138112 w 420188"/>
              <a:gd name="connsiteY40" fmla="*/ 50327 h 291178"/>
              <a:gd name="connsiteX41" fmla="*/ 159544 w 420188"/>
              <a:gd name="connsiteY41" fmla="*/ 38420 h 291178"/>
              <a:gd name="connsiteX42" fmla="*/ 161925 w 420188"/>
              <a:gd name="connsiteY42" fmla="*/ 16989 h 291178"/>
              <a:gd name="connsiteX43" fmla="*/ 169069 w 420188"/>
              <a:gd name="connsiteY43" fmla="*/ 14608 h 291178"/>
              <a:gd name="connsiteX44" fmla="*/ 178594 w 420188"/>
              <a:gd name="connsiteY44" fmla="*/ 9845 h 291178"/>
              <a:gd name="connsiteX45" fmla="*/ 200025 w 420188"/>
              <a:gd name="connsiteY45" fmla="*/ 2702 h 291178"/>
              <a:gd name="connsiteX46" fmla="*/ 207169 w 420188"/>
              <a:gd name="connsiteY46" fmla="*/ 320 h 291178"/>
              <a:gd name="connsiteX47" fmla="*/ 240506 w 420188"/>
              <a:gd name="connsiteY47" fmla="*/ 2702 h 291178"/>
              <a:gd name="connsiteX48" fmla="*/ 242887 w 420188"/>
              <a:gd name="connsiteY48" fmla="*/ 16989 h 291178"/>
              <a:gd name="connsiteX49" fmla="*/ 235744 w 420188"/>
              <a:gd name="connsiteY49" fmla="*/ 24133 h 291178"/>
              <a:gd name="connsiteX50" fmla="*/ 230981 w 420188"/>
              <a:gd name="connsiteY50" fmla="*/ 33658 h 291178"/>
              <a:gd name="connsiteX51" fmla="*/ 226219 w 420188"/>
              <a:gd name="connsiteY51" fmla="*/ 40802 h 291178"/>
              <a:gd name="connsiteX52" fmla="*/ 223837 w 420188"/>
              <a:gd name="connsiteY52" fmla="*/ 52708 h 291178"/>
              <a:gd name="connsiteX53" fmla="*/ 164306 w 420188"/>
              <a:gd name="connsiteY53" fmla="*/ 55089 h 291178"/>
              <a:gd name="connsiteX54" fmla="*/ 157162 w 420188"/>
              <a:gd name="connsiteY54" fmla="*/ 57470 h 291178"/>
              <a:gd name="connsiteX55" fmla="*/ 150019 w 420188"/>
              <a:gd name="connsiteY55" fmla="*/ 64614 h 291178"/>
              <a:gd name="connsiteX56" fmla="*/ 166687 w 420188"/>
              <a:gd name="connsiteY56" fmla="*/ 88427 h 291178"/>
              <a:gd name="connsiteX57" fmla="*/ 271462 w 420188"/>
              <a:gd name="connsiteY57" fmla="*/ 93189 h 291178"/>
              <a:gd name="connsiteX58" fmla="*/ 273844 w 420188"/>
              <a:gd name="connsiteY58" fmla="*/ 105095 h 291178"/>
              <a:gd name="connsiteX59" fmla="*/ 307181 w 420188"/>
              <a:gd name="connsiteY59" fmla="*/ 107477 h 291178"/>
              <a:gd name="connsiteX60" fmla="*/ 350044 w 420188"/>
              <a:gd name="connsiteY60" fmla="*/ 102714 h 291178"/>
              <a:gd name="connsiteX61" fmla="*/ 364331 w 420188"/>
              <a:gd name="connsiteY61" fmla="*/ 97952 h 291178"/>
              <a:gd name="connsiteX62" fmla="*/ 371475 w 420188"/>
              <a:gd name="connsiteY62" fmla="*/ 95570 h 291178"/>
              <a:gd name="connsiteX63" fmla="*/ 385762 w 420188"/>
              <a:gd name="connsiteY63" fmla="*/ 97952 h 291178"/>
              <a:gd name="connsiteX64" fmla="*/ 376237 w 420188"/>
              <a:gd name="connsiteY64" fmla="*/ 117002 h 291178"/>
              <a:gd name="connsiteX65" fmla="*/ 378619 w 420188"/>
              <a:gd name="connsiteY65" fmla="*/ 150339 h 291178"/>
              <a:gd name="connsiteX66" fmla="*/ 381000 w 420188"/>
              <a:gd name="connsiteY66" fmla="*/ 157483 h 291178"/>
              <a:gd name="connsiteX67" fmla="*/ 402431 w 420188"/>
              <a:gd name="connsiteY67" fmla="*/ 167008 h 291178"/>
              <a:gd name="connsiteX68" fmla="*/ 409575 w 420188"/>
              <a:gd name="connsiteY68" fmla="*/ 169389 h 291178"/>
              <a:gd name="connsiteX69" fmla="*/ 416719 w 420188"/>
              <a:gd name="connsiteY69" fmla="*/ 174152 h 291178"/>
              <a:gd name="connsiteX70" fmla="*/ 419100 w 420188"/>
              <a:gd name="connsiteY70" fmla="*/ 181295 h 291178"/>
              <a:gd name="connsiteX71" fmla="*/ 411956 w 420188"/>
              <a:gd name="connsiteY71" fmla="*/ 212252 h 291178"/>
              <a:gd name="connsiteX72" fmla="*/ 409575 w 420188"/>
              <a:gd name="connsiteY72" fmla="*/ 219395 h 291178"/>
              <a:gd name="connsiteX73" fmla="*/ 404812 w 420188"/>
              <a:gd name="connsiteY73" fmla="*/ 226539 h 291178"/>
              <a:gd name="connsiteX74" fmla="*/ 402431 w 420188"/>
              <a:gd name="connsiteY74" fmla="*/ 247970 h 291178"/>
              <a:gd name="connsiteX75" fmla="*/ 383381 w 420188"/>
              <a:gd name="connsiteY75" fmla="*/ 250352 h 291178"/>
              <a:gd name="connsiteX76" fmla="*/ 376237 w 420188"/>
              <a:gd name="connsiteY76" fmla="*/ 252733 h 291178"/>
              <a:gd name="connsiteX77" fmla="*/ 366712 w 420188"/>
              <a:gd name="connsiteY77" fmla="*/ 264639 h 291178"/>
              <a:gd name="connsiteX78" fmla="*/ 311944 w 420188"/>
              <a:gd name="connsiteY78" fmla="*/ 267020 h 291178"/>
              <a:gd name="connsiteX79" fmla="*/ 297656 w 420188"/>
              <a:gd name="connsiteY79" fmla="*/ 271783 h 291178"/>
              <a:gd name="connsiteX80" fmla="*/ 290512 w 420188"/>
              <a:gd name="connsiteY80" fmla="*/ 274164 h 291178"/>
              <a:gd name="connsiteX81" fmla="*/ 280987 w 420188"/>
              <a:gd name="connsiteY81" fmla="*/ 276545 h 291178"/>
              <a:gd name="connsiteX82" fmla="*/ 259556 w 420188"/>
              <a:gd name="connsiteY82" fmla="*/ 283689 h 291178"/>
              <a:gd name="connsiteX83" fmla="*/ 238125 w 420188"/>
              <a:gd name="connsiteY83" fmla="*/ 290833 h 291178"/>
              <a:gd name="connsiteX84" fmla="*/ 242887 w 420188"/>
              <a:gd name="connsiteY84" fmla="*/ 290833 h 291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420188" h="291178">
                <a:moveTo>
                  <a:pt x="242887" y="290833"/>
                </a:moveTo>
                <a:cubicBezTo>
                  <a:pt x="237331" y="290039"/>
                  <a:pt x="231125" y="291178"/>
                  <a:pt x="226219" y="288452"/>
                </a:cubicBezTo>
                <a:cubicBezTo>
                  <a:pt x="223810" y="287114"/>
                  <a:pt x="220120" y="274918"/>
                  <a:pt x="219075" y="271783"/>
                </a:cubicBezTo>
                <a:cubicBezTo>
                  <a:pt x="222441" y="254952"/>
                  <a:pt x="220175" y="263720"/>
                  <a:pt x="226219" y="245589"/>
                </a:cubicBezTo>
                <a:cubicBezTo>
                  <a:pt x="227013" y="243208"/>
                  <a:pt x="227208" y="240534"/>
                  <a:pt x="228600" y="238445"/>
                </a:cubicBezTo>
                <a:lnTo>
                  <a:pt x="233362" y="231302"/>
                </a:lnTo>
                <a:cubicBezTo>
                  <a:pt x="233288" y="230268"/>
                  <a:pt x="231664" y="192867"/>
                  <a:pt x="228600" y="183677"/>
                </a:cubicBezTo>
                <a:cubicBezTo>
                  <a:pt x="227695" y="180962"/>
                  <a:pt x="225425" y="178914"/>
                  <a:pt x="223837" y="176533"/>
                </a:cubicBezTo>
                <a:cubicBezTo>
                  <a:pt x="211931" y="177327"/>
                  <a:pt x="199767" y="176325"/>
                  <a:pt x="188119" y="178914"/>
                </a:cubicBezTo>
                <a:cubicBezTo>
                  <a:pt x="184831" y="179645"/>
                  <a:pt x="183562" y="183902"/>
                  <a:pt x="180975" y="186058"/>
                </a:cubicBezTo>
                <a:cubicBezTo>
                  <a:pt x="178776" y="187890"/>
                  <a:pt x="176212" y="189233"/>
                  <a:pt x="173831" y="190820"/>
                </a:cubicBezTo>
                <a:cubicBezTo>
                  <a:pt x="168290" y="199132"/>
                  <a:pt x="164910" y="206225"/>
                  <a:pt x="157162" y="212252"/>
                </a:cubicBezTo>
                <a:cubicBezTo>
                  <a:pt x="130139" y="233270"/>
                  <a:pt x="152974" y="215538"/>
                  <a:pt x="135731" y="224158"/>
                </a:cubicBezTo>
                <a:cubicBezTo>
                  <a:pt x="133171" y="225438"/>
                  <a:pt x="131147" y="227640"/>
                  <a:pt x="128587" y="228920"/>
                </a:cubicBezTo>
                <a:cubicBezTo>
                  <a:pt x="126342" y="230043"/>
                  <a:pt x="123638" y="230083"/>
                  <a:pt x="121444" y="231302"/>
                </a:cubicBezTo>
                <a:cubicBezTo>
                  <a:pt x="116440" y="234082"/>
                  <a:pt x="112586" y="239017"/>
                  <a:pt x="107156" y="240827"/>
                </a:cubicBezTo>
                <a:lnTo>
                  <a:pt x="92869" y="245589"/>
                </a:lnTo>
                <a:cubicBezTo>
                  <a:pt x="90488" y="246383"/>
                  <a:pt x="88160" y="247361"/>
                  <a:pt x="85725" y="247970"/>
                </a:cubicBezTo>
                <a:cubicBezTo>
                  <a:pt x="82550" y="248764"/>
                  <a:pt x="79335" y="249412"/>
                  <a:pt x="76200" y="250352"/>
                </a:cubicBezTo>
                <a:cubicBezTo>
                  <a:pt x="71392" y="251795"/>
                  <a:pt x="66675" y="253527"/>
                  <a:pt x="61912" y="255114"/>
                </a:cubicBezTo>
                <a:cubicBezTo>
                  <a:pt x="59531" y="255908"/>
                  <a:pt x="57204" y="256886"/>
                  <a:pt x="54769" y="257495"/>
                </a:cubicBezTo>
                <a:lnTo>
                  <a:pt x="45244" y="259877"/>
                </a:lnTo>
                <a:cubicBezTo>
                  <a:pt x="39336" y="259422"/>
                  <a:pt x="17424" y="260254"/>
                  <a:pt x="7144" y="255114"/>
                </a:cubicBezTo>
                <a:cubicBezTo>
                  <a:pt x="4584" y="253834"/>
                  <a:pt x="2381" y="251939"/>
                  <a:pt x="0" y="250352"/>
                </a:cubicBezTo>
                <a:cubicBezTo>
                  <a:pt x="1456" y="245984"/>
                  <a:pt x="4378" y="233037"/>
                  <a:pt x="9525" y="228920"/>
                </a:cubicBezTo>
                <a:cubicBezTo>
                  <a:pt x="11485" y="227352"/>
                  <a:pt x="14288" y="227333"/>
                  <a:pt x="16669" y="226539"/>
                </a:cubicBezTo>
                <a:cubicBezTo>
                  <a:pt x="21431" y="223364"/>
                  <a:pt x="29146" y="222444"/>
                  <a:pt x="30956" y="217014"/>
                </a:cubicBezTo>
                <a:lnTo>
                  <a:pt x="40481" y="188439"/>
                </a:lnTo>
                <a:cubicBezTo>
                  <a:pt x="41275" y="186058"/>
                  <a:pt x="41469" y="183383"/>
                  <a:pt x="42862" y="181295"/>
                </a:cubicBezTo>
                <a:lnTo>
                  <a:pt x="47625" y="174152"/>
                </a:lnTo>
                <a:cubicBezTo>
                  <a:pt x="48419" y="162246"/>
                  <a:pt x="48688" y="150293"/>
                  <a:pt x="50006" y="138433"/>
                </a:cubicBezTo>
                <a:cubicBezTo>
                  <a:pt x="51339" y="126437"/>
                  <a:pt x="59054" y="132716"/>
                  <a:pt x="50006" y="114620"/>
                </a:cubicBezTo>
                <a:cubicBezTo>
                  <a:pt x="48883" y="112375"/>
                  <a:pt x="45243" y="113033"/>
                  <a:pt x="42862" y="112239"/>
                </a:cubicBezTo>
                <a:cubicBezTo>
                  <a:pt x="40132" y="104048"/>
                  <a:pt x="34883" y="96824"/>
                  <a:pt x="40481" y="88427"/>
                </a:cubicBezTo>
                <a:cubicBezTo>
                  <a:pt x="42069" y="86046"/>
                  <a:pt x="45244" y="85252"/>
                  <a:pt x="47625" y="83664"/>
                </a:cubicBezTo>
                <a:cubicBezTo>
                  <a:pt x="51594" y="84458"/>
                  <a:pt x="55484" y="86045"/>
                  <a:pt x="59531" y="86045"/>
                </a:cubicBezTo>
                <a:cubicBezTo>
                  <a:pt x="71009" y="86045"/>
                  <a:pt x="88977" y="82581"/>
                  <a:pt x="100012" y="78902"/>
                </a:cubicBezTo>
                <a:lnTo>
                  <a:pt x="114300" y="74139"/>
                </a:lnTo>
                <a:lnTo>
                  <a:pt x="121444" y="71758"/>
                </a:lnTo>
                <a:cubicBezTo>
                  <a:pt x="123825" y="69377"/>
                  <a:pt x="126520" y="67272"/>
                  <a:pt x="128587" y="64614"/>
                </a:cubicBezTo>
                <a:cubicBezTo>
                  <a:pt x="132101" y="60096"/>
                  <a:pt x="133350" y="53502"/>
                  <a:pt x="138112" y="50327"/>
                </a:cubicBezTo>
                <a:cubicBezTo>
                  <a:pt x="154489" y="39410"/>
                  <a:pt x="146970" y="42613"/>
                  <a:pt x="159544" y="38420"/>
                </a:cubicBezTo>
                <a:cubicBezTo>
                  <a:pt x="160338" y="31276"/>
                  <a:pt x="159256" y="23663"/>
                  <a:pt x="161925" y="16989"/>
                </a:cubicBezTo>
                <a:cubicBezTo>
                  <a:pt x="162857" y="14658"/>
                  <a:pt x="166762" y="15597"/>
                  <a:pt x="169069" y="14608"/>
                </a:cubicBezTo>
                <a:cubicBezTo>
                  <a:pt x="172332" y="13210"/>
                  <a:pt x="175298" y="11163"/>
                  <a:pt x="178594" y="9845"/>
                </a:cubicBezTo>
                <a:cubicBezTo>
                  <a:pt x="178607" y="9840"/>
                  <a:pt x="196447" y="3895"/>
                  <a:pt x="200025" y="2702"/>
                </a:cubicBezTo>
                <a:lnTo>
                  <a:pt x="207169" y="320"/>
                </a:lnTo>
                <a:cubicBezTo>
                  <a:pt x="218281" y="1114"/>
                  <a:pt x="229698" y="0"/>
                  <a:pt x="240506" y="2702"/>
                </a:cubicBezTo>
                <a:cubicBezTo>
                  <a:pt x="247847" y="4537"/>
                  <a:pt x="245134" y="13618"/>
                  <a:pt x="242887" y="16989"/>
                </a:cubicBezTo>
                <a:cubicBezTo>
                  <a:pt x="241019" y="19791"/>
                  <a:pt x="237701" y="21393"/>
                  <a:pt x="235744" y="24133"/>
                </a:cubicBezTo>
                <a:cubicBezTo>
                  <a:pt x="233681" y="27022"/>
                  <a:pt x="232742" y="30576"/>
                  <a:pt x="230981" y="33658"/>
                </a:cubicBezTo>
                <a:cubicBezTo>
                  <a:pt x="229561" y="36143"/>
                  <a:pt x="227806" y="38421"/>
                  <a:pt x="226219" y="40802"/>
                </a:cubicBezTo>
                <a:cubicBezTo>
                  <a:pt x="225425" y="44771"/>
                  <a:pt x="227781" y="51798"/>
                  <a:pt x="223837" y="52708"/>
                </a:cubicBezTo>
                <a:cubicBezTo>
                  <a:pt x="204486" y="57173"/>
                  <a:pt x="184115" y="53674"/>
                  <a:pt x="164306" y="55089"/>
                </a:cubicBezTo>
                <a:cubicBezTo>
                  <a:pt x="161802" y="55268"/>
                  <a:pt x="159543" y="56676"/>
                  <a:pt x="157162" y="57470"/>
                </a:cubicBezTo>
                <a:cubicBezTo>
                  <a:pt x="154781" y="59851"/>
                  <a:pt x="150621" y="61301"/>
                  <a:pt x="150019" y="64614"/>
                </a:cubicBezTo>
                <a:cubicBezTo>
                  <a:pt x="147098" y="80684"/>
                  <a:pt x="150977" y="87885"/>
                  <a:pt x="166687" y="88427"/>
                </a:cubicBezTo>
                <a:cubicBezTo>
                  <a:pt x="247669" y="91219"/>
                  <a:pt x="212762" y="89276"/>
                  <a:pt x="271462" y="93189"/>
                </a:cubicBezTo>
                <a:cubicBezTo>
                  <a:pt x="272256" y="97158"/>
                  <a:pt x="271836" y="101581"/>
                  <a:pt x="273844" y="105095"/>
                </a:cubicBezTo>
                <a:cubicBezTo>
                  <a:pt x="279786" y="115494"/>
                  <a:pt x="304162" y="107751"/>
                  <a:pt x="307181" y="107477"/>
                </a:cubicBezTo>
                <a:cubicBezTo>
                  <a:pt x="328859" y="100249"/>
                  <a:pt x="296541" y="110357"/>
                  <a:pt x="350044" y="102714"/>
                </a:cubicBezTo>
                <a:cubicBezTo>
                  <a:pt x="355013" y="102004"/>
                  <a:pt x="359569" y="99539"/>
                  <a:pt x="364331" y="97952"/>
                </a:cubicBezTo>
                <a:lnTo>
                  <a:pt x="371475" y="95570"/>
                </a:lnTo>
                <a:cubicBezTo>
                  <a:pt x="376237" y="96364"/>
                  <a:pt x="382956" y="94023"/>
                  <a:pt x="385762" y="97952"/>
                </a:cubicBezTo>
                <a:cubicBezTo>
                  <a:pt x="393121" y="108255"/>
                  <a:pt x="381345" y="113596"/>
                  <a:pt x="376237" y="117002"/>
                </a:cubicBezTo>
                <a:cubicBezTo>
                  <a:pt x="377031" y="128114"/>
                  <a:pt x="377317" y="139275"/>
                  <a:pt x="378619" y="150339"/>
                </a:cubicBezTo>
                <a:cubicBezTo>
                  <a:pt x="378912" y="152832"/>
                  <a:pt x="379432" y="155523"/>
                  <a:pt x="381000" y="157483"/>
                </a:cubicBezTo>
                <a:cubicBezTo>
                  <a:pt x="385115" y="162627"/>
                  <a:pt x="398069" y="165554"/>
                  <a:pt x="402431" y="167008"/>
                </a:cubicBezTo>
                <a:lnTo>
                  <a:pt x="409575" y="169389"/>
                </a:lnTo>
                <a:cubicBezTo>
                  <a:pt x="411956" y="170977"/>
                  <a:pt x="414931" y="171917"/>
                  <a:pt x="416719" y="174152"/>
                </a:cubicBezTo>
                <a:cubicBezTo>
                  <a:pt x="418287" y="176112"/>
                  <a:pt x="419100" y="178785"/>
                  <a:pt x="419100" y="181295"/>
                </a:cubicBezTo>
                <a:cubicBezTo>
                  <a:pt x="419100" y="203958"/>
                  <a:pt x="420188" y="199905"/>
                  <a:pt x="411956" y="212252"/>
                </a:cubicBezTo>
                <a:cubicBezTo>
                  <a:pt x="411162" y="214633"/>
                  <a:pt x="410697" y="217150"/>
                  <a:pt x="409575" y="219395"/>
                </a:cubicBezTo>
                <a:cubicBezTo>
                  <a:pt x="408295" y="221955"/>
                  <a:pt x="405506" y="223762"/>
                  <a:pt x="404812" y="226539"/>
                </a:cubicBezTo>
                <a:cubicBezTo>
                  <a:pt x="403069" y="233512"/>
                  <a:pt x="407239" y="242627"/>
                  <a:pt x="402431" y="247970"/>
                </a:cubicBezTo>
                <a:cubicBezTo>
                  <a:pt x="398150" y="252727"/>
                  <a:pt x="389731" y="249558"/>
                  <a:pt x="383381" y="250352"/>
                </a:cubicBezTo>
                <a:cubicBezTo>
                  <a:pt x="381000" y="251146"/>
                  <a:pt x="378012" y="250958"/>
                  <a:pt x="376237" y="252733"/>
                </a:cubicBezTo>
                <a:cubicBezTo>
                  <a:pt x="370566" y="258404"/>
                  <a:pt x="378664" y="263260"/>
                  <a:pt x="366712" y="264639"/>
                </a:cubicBezTo>
                <a:cubicBezTo>
                  <a:pt x="348559" y="266733"/>
                  <a:pt x="330200" y="266226"/>
                  <a:pt x="311944" y="267020"/>
                </a:cubicBezTo>
                <a:lnTo>
                  <a:pt x="297656" y="271783"/>
                </a:lnTo>
                <a:cubicBezTo>
                  <a:pt x="295275" y="272577"/>
                  <a:pt x="292947" y="273555"/>
                  <a:pt x="290512" y="274164"/>
                </a:cubicBezTo>
                <a:cubicBezTo>
                  <a:pt x="287337" y="274958"/>
                  <a:pt x="284122" y="275605"/>
                  <a:pt x="280987" y="276545"/>
                </a:cubicBezTo>
                <a:cubicBezTo>
                  <a:pt x="273774" y="278709"/>
                  <a:pt x="266700" y="281308"/>
                  <a:pt x="259556" y="283689"/>
                </a:cubicBezTo>
                <a:lnTo>
                  <a:pt x="238125" y="290833"/>
                </a:lnTo>
                <a:lnTo>
                  <a:pt x="242887" y="290833"/>
                </a:ln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2625731" y="2719920"/>
            <a:ext cx="665163" cy="270933"/>
          </a:xfrm>
          <a:custGeom>
            <a:avLst/>
            <a:gdLst>
              <a:gd name="connsiteX0" fmla="*/ 236205 w 664830"/>
              <a:gd name="connsiteY0" fmla="*/ 251793 h 270843"/>
              <a:gd name="connsiteX1" fmla="*/ 243348 w 664830"/>
              <a:gd name="connsiteY1" fmla="*/ 247031 h 270843"/>
              <a:gd name="connsiteX2" fmla="*/ 250492 w 664830"/>
              <a:gd name="connsiteY2" fmla="*/ 239887 h 270843"/>
              <a:gd name="connsiteX3" fmla="*/ 257636 w 664830"/>
              <a:gd name="connsiteY3" fmla="*/ 237506 h 270843"/>
              <a:gd name="connsiteX4" fmla="*/ 271923 w 664830"/>
              <a:gd name="connsiteY4" fmla="*/ 227981 h 270843"/>
              <a:gd name="connsiteX5" fmla="*/ 279067 w 664830"/>
              <a:gd name="connsiteY5" fmla="*/ 223218 h 270843"/>
              <a:gd name="connsiteX6" fmla="*/ 286211 w 664830"/>
              <a:gd name="connsiteY6" fmla="*/ 220837 h 270843"/>
              <a:gd name="connsiteX7" fmla="*/ 293355 w 664830"/>
              <a:gd name="connsiteY7" fmla="*/ 213693 h 270843"/>
              <a:gd name="connsiteX8" fmla="*/ 300498 w 664830"/>
              <a:gd name="connsiteY8" fmla="*/ 211312 h 270843"/>
              <a:gd name="connsiteX9" fmla="*/ 305261 w 664830"/>
              <a:gd name="connsiteY9" fmla="*/ 204168 h 270843"/>
              <a:gd name="connsiteX10" fmla="*/ 333836 w 664830"/>
              <a:gd name="connsiteY10" fmla="*/ 201787 h 270843"/>
              <a:gd name="connsiteX11" fmla="*/ 340980 w 664830"/>
              <a:gd name="connsiteY11" fmla="*/ 199406 h 270843"/>
              <a:gd name="connsiteX12" fmla="*/ 348123 w 664830"/>
              <a:gd name="connsiteY12" fmla="*/ 194643 h 270843"/>
              <a:gd name="connsiteX13" fmla="*/ 367173 w 664830"/>
              <a:gd name="connsiteY13" fmla="*/ 197024 h 270843"/>
              <a:gd name="connsiteX14" fmla="*/ 383842 w 664830"/>
              <a:gd name="connsiteY14" fmla="*/ 201787 h 270843"/>
              <a:gd name="connsiteX15" fmla="*/ 405273 w 664830"/>
              <a:gd name="connsiteY15" fmla="*/ 199406 h 270843"/>
              <a:gd name="connsiteX16" fmla="*/ 426705 w 664830"/>
              <a:gd name="connsiteY16" fmla="*/ 185118 h 270843"/>
              <a:gd name="connsiteX17" fmla="*/ 433848 w 664830"/>
              <a:gd name="connsiteY17" fmla="*/ 180356 h 270843"/>
              <a:gd name="connsiteX18" fmla="*/ 438611 w 664830"/>
              <a:gd name="connsiteY18" fmla="*/ 173212 h 270843"/>
              <a:gd name="connsiteX19" fmla="*/ 452898 w 664830"/>
              <a:gd name="connsiteY19" fmla="*/ 163687 h 270843"/>
              <a:gd name="connsiteX20" fmla="*/ 462423 w 664830"/>
              <a:gd name="connsiteY20" fmla="*/ 161306 h 270843"/>
              <a:gd name="connsiteX21" fmla="*/ 469567 w 664830"/>
              <a:gd name="connsiteY21" fmla="*/ 158924 h 270843"/>
              <a:gd name="connsiteX22" fmla="*/ 493380 w 664830"/>
              <a:gd name="connsiteY22" fmla="*/ 154162 h 270843"/>
              <a:gd name="connsiteX23" fmla="*/ 514811 w 664830"/>
              <a:gd name="connsiteY23" fmla="*/ 147018 h 270843"/>
              <a:gd name="connsiteX24" fmla="*/ 521955 w 664830"/>
              <a:gd name="connsiteY24" fmla="*/ 142256 h 270843"/>
              <a:gd name="connsiteX25" fmla="*/ 536242 w 664830"/>
              <a:gd name="connsiteY25" fmla="*/ 137493 h 270843"/>
              <a:gd name="connsiteX26" fmla="*/ 571961 w 664830"/>
              <a:gd name="connsiteY26" fmla="*/ 111299 h 270843"/>
              <a:gd name="connsiteX27" fmla="*/ 588630 w 664830"/>
              <a:gd name="connsiteY27" fmla="*/ 108918 h 270843"/>
              <a:gd name="connsiteX28" fmla="*/ 602917 w 664830"/>
              <a:gd name="connsiteY28" fmla="*/ 104156 h 270843"/>
              <a:gd name="connsiteX29" fmla="*/ 610061 w 664830"/>
              <a:gd name="connsiteY29" fmla="*/ 101774 h 270843"/>
              <a:gd name="connsiteX30" fmla="*/ 631492 w 664830"/>
              <a:gd name="connsiteY30" fmla="*/ 87487 h 270843"/>
              <a:gd name="connsiteX31" fmla="*/ 638636 w 664830"/>
              <a:gd name="connsiteY31" fmla="*/ 82724 h 270843"/>
              <a:gd name="connsiteX32" fmla="*/ 655305 w 664830"/>
              <a:gd name="connsiteY32" fmla="*/ 77962 h 270843"/>
              <a:gd name="connsiteX33" fmla="*/ 662448 w 664830"/>
              <a:gd name="connsiteY33" fmla="*/ 75581 h 270843"/>
              <a:gd name="connsiteX34" fmla="*/ 664830 w 664830"/>
              <a:gd name="connsiteY34" fmla="*/ 68437 h 270843"/>
              <a:gd name="connsiteX35" fmla="*/ 662448 w 664830"/>
              <a:gd name="connsiteY35" fmla="*/ 56531 h 270843"/>
              <a:gd name="connsiteX36" fmla="*/ 600536 w 664830"/>
              <a:gd name="connsiteY36" fmla="*/ 47006 h 270843"/>
              <a:gd name="connsiteX37" fmla="*/ 588630 w 664830"/>
              <a:gd name="connsiteY37" fmla="*/ 44624 h 270843"/>
              <a:gd name="connsiteX38" fmla="*/ 581486 w 664830"/>
              <a:gd name="connsiteY38" fmla="*/ 42243 h 270843"/>
              <a:gd name="connsiteX39" fmla="*/ 510048 w 664830"/>
              <a:gd name="connsiteY39" fmla="*/ 39862 h 270843"/>
              <a:gd name="connsiteX40" fmla="*/ 488617 w 664830"/>
              <a:gd name="connsiteY40" fmla="*/ 37481 h 270843"/>
              <a:gd name="connsiteX41" fmla="*/ 481473 w 664830"/>
              <a:gd name="connsiteY41" fmla="*/ 32718 h 270843"/>
              <a:gd name="connsiteX42" fmla="*/ 471948 w 664830"/>
              <a:gd name="connsiteY42" fmla="*/ 30337 h 270843"/>
              <a:gd name="connsiteX43" fmla="*/ 457661 w 664830"/>
              <a:gd name="connsiteY43" fmla="*/ 25574 h 270843"/>
              <a:gd name="connsiteX44" fmla="*/ 433848 w 664830"/>
              <a:gd name="connsiteY44" fmla="*/ 20812 h 270843"/>
              <a:gd name="connsiteX45" fmla="*/ 419561 w 664830"/>
              <a:gd name="connsiteY45" fmla="*/ 16049 h 270843"/>
              <a:gd name="connsiteX46" fmla="*/ 412417 w 664830"/>
              <a:gd name="connsiteY46" fmla="*/ 13668 h 270843"/>
              <a:gd name="connsiteX47" fmla="*/ 402892 w 664830"/>
              <a:gd name="connsiteY47" fmla="*/ 11287 h 270843"/>
              <a:gd name="connsiteX48" fmla="*/ 388605 w 664830"/>
              <a:gd name="connsiteY48" fmla="*/ 6524 h 270843"/>
              <a:gd name="connsiteX49" fmla="*/ 331455 w 664830"/>
              <a:gd name="connsiteY49" fmla="*/ 13668 h 270843"/>
              <a:gd name="connsiteX50" fmla="*/ 326692 w 664830"/>
              <a:gd name="connsiteY50" fmla="*/ 20812 h 270843"/>
              <a:gd name="connsiteX51" fmla="*/ 321930 w 664830"/>
              <a:gd name="connsiteY51" fmla="*/ 35099 h 270843"/>
              <a:gd name="connsiteX52" fmla="*/ 319548 w 664830"/>
              <a:gd name="connsiteY52" fmla="*/ 42243 h 270843"/>
              <a:gd name="connsiteX53" fmla="*/ 312405 w 664830"/>
              <a:gd name="connsiteY53" fmla="*/ 44624 h 270843"/>
              <a:gd name="connsiteX54" fmla="*/ 269542 w 664830"/>
              <a:gd name="connsiteY54" fmla="*/ 42243 h 270843"/>
              <a:gd name="connsiteX55" fmla="*/ 255255 w 664830"/>
              <a:gd name="connsiteY55" fmla="*/ 37481 h 270843"/>
              <a:gd name="connsiteX56" fmla="*/ 238586 w 664830"/>
              <a:gd name="connsiteY56" fmla="*/ 32718 h 270843"/>
              <a:gd name="connsiteX57" fmla="*/ 221917 w 664830"/>
              <a:gd name="connsiteY57" fmla="*/ 27956 h 270843"/>
              <a:gd name="connsiteX58" fmla="*/ 179055 w 664830"/>
              <a:gd name="connsiteY58" fmla="*/ 42243 h 270843"/>
              <a:gd name="connsiteX59" fmla="*/ 164767 w 664830"/>
              <a:gd name="connsiteY59" fmla="*/ 47006 h 270843"/>
              <a:gd name="connsiteX60" fmla="*/ 157623 w 664830"/>
              <a:gd name="connsiteY60" fmla="*/ 49387 h 270843"/>
              <a:gd name="connsiteX61" fmla="*/ 148098 w 664830"/>
              <a:gd name="connsiteY61" fmla="*/ 70818 h 270843"/>
              <a:gd name="connsiteX62" fmla="*/ 140955 w 664830"/>
              <a:gd name="connsiteY62" fmla="*/ 87487 h 270843"/>
              <a:gd name="connsiteX63" fmla="*/ 131430 w 664830"/>
              <a:gd name="connsiteY63" fmla="*/ 92249 h 270843"/>
              <a:gd name="connsiteX64" fmla="*/ 117142 w 664830"/>
              <a:gd name="connsiteY64" fmla="*/ 97012 h 270843"/>
              <a:gd name="connsiteX65" fmla="*/ 109998 w 664830"/>
              <a:gd name="connsiteY65" fmla="*/ 104156 h 270843"/>
              <a:gd name="connsiteX66" fmla="*/ 102855 w 664830"/>
              <a:gd name="connsiteY66" fmla="*/ 108918 h 270843"/>
              <a:gd name="connsiteX67" fmla="*/ 100473 w 664830"/>
              <a:gd name="connsiteY67" fmla="*/ 116062 h 270843"/>
              <a:gd name="connsiteX68" fmla="*/ 102855 w 664830"/>
              <a:gd name="connsiteY68" fmla="*/ 125587 h 270843"/>
              <a:gd name="connsiteX69" fmla="*/ 136192 w 664830"/>
              <a:gd name="connsiteY69" fmla="*/ 132731 h 270843"/>
              <a:gd name="connsiteX70" fmla="*/ 171911 w 664830"/>
              <a:gd name="connsiteY70" fmla="*/ 135112 h 270843"/>
              <a:gd name="connsiteX71" fmla="*/ 174292 w 664830"/>
              <a:gd name="connsiteY71" fmla="*/ 127968 h 270843"/>
              <a:gd name="connsiteX72" fmla="*/ 195723 w 664830"/>
              <a:gd name="connsiteY72" fmla="*/ 132731 h 270843"/>
              <a:gd name="connsiteX73" fmla="*/ 210011 w 664830"/>
              <a:gd name="connsiteY73" fmla="*/ 142256 h 270843"/>
              <a:gd name="connsiteX74" fmla="*/ 224298 w 664830"/>
              <a:gd name="connsiteY74" fmla="*/ 147018 h 270843"/>
              <a:gd name="connsiteX75" fmla="*/ 231442 w 664830"/>
              <a:gd name="connsiteY75" fmla="*/ 151781 h 270843"/>
              <a:gd name="connsiteX76" fmla="*/ 236205 w 664830"/>
              <a:gd name="connsiteY76" fmla="*/ 158924 h 270843"/>
              <a:gd name="connsiteX77" fmla="*/ 226680 w 664830"/>
              <a:gd name="connsiteY77" fmla="*/ 173212 h 270843"/>
              <a:gd name="connsiteX78" fmla="*/ 202867 w 664830"/>
              <a:gd name="connsiteY78" fmla="*/ 180356 h 270843"/>
              <a:gd name="connsiteX79" fmla="*/ 188580 w 664830"/>
              <a:gd name="connsiteY79" fmla="*/ 189881 h 270843"/>
              <a:gd name="connsiteX80" fmla="*/ 181436 w 664830"/>
              <a:gd name="connsiteY80" fmla="*/ 194643 h 270843"/>
              <a:gd name="connsiteX81" fmla="*/ 164767 w 664830"/>
              <a:gd name="connsiteY81" fmla="*/ 199406 h 270843"/>
              <a:gd name="connsiteX82" fmla="*/ 157623 w 664830"/>
              <a:gd name="connsiteY82" fmla="*/ 201787 h 270843"/>
              <a:gd name="connsiteX83" fmla="*/ 90948 w 664830"/>
              <a:gd name="connsiteY83" fmla="*/ 204168 h 270843"/>
              <a:gd name="connsiteX84" fmla="*/ 83805 w 664830"/>
              <a:gd name="connsiteY84" fmla="*/ 206549 h 270843"/>
              <a:gd name="connsiteX85" fmla="*/ 76661 w 664830"/>
              <a:gd name="connsiteY85" fmla="*/ 213693 h 270843"/>
              <a:gd name="connsiteX86" fmla="*/ 12367 w 664830"/>
              <a:gd name="connsiteY86" fmla="*/ 216074 h 270843"/>
              <a:gd name="connsiteX87" fmla="*/ 5223 w 664830"/>
              <a:gd name="connsiteY87" fmla="*/ 218456 h 270843"/>
              <a:gd name="connsiteX88" fmla="*/ 7605 w 664830"/>
              <a:gd name="connsiteY88" fmla="*/ 232743 h 270843"/>
              <a:gd name="connsiteX89" fmla="*/ 14748 w 664830"/>
              <a:gd name="connsiteY89" fmla="*/ 237506 h 270843"/>
              <a:gd name="connsiteX90" fmla="*/ 21892 w 664830"/>
              <a:gd name="connsiteY90" fmla="*/ 244649 h 270843"/>
              <a:gd name="connsiteX91" fmla="*/ 36180 w 664830"/>
              <a:gd name="connsiteY91" fmla="*/ 249412 h 270843"/>
              <a:gd name="connsiteX92" fmla="*/ 131430 w 664830"/>
              <a:gd name="connsiteY92" fmla="*/ 254174 h 270843"/>
              <a:gd name="connsiteX93" fmla="*/ 148098 w 664830"/>
              <a:gd name="connsiteY93" fmla="*/ 270843 h 270843"/>
              <a:gd name="connsiteX94" fmla="*/ 193342 w 664830"/>
              <a:gd name="connsiteY94" fmla="*/ 266081 h 270843"/>
              <a:gd name="connsiteX95" fmla="*/ 217155 w 664830"/>
              <a:gd name="connsiteY95" fmla="*/ 258937 h 270843"/>
              <a:gd name="connsiteX96" fmla="*/ 224298 w 664830"/>
              <a:gd name="connsiteY96" fmla="*/ 256556 h 270843"/>
              <a:gd name="connsiteX97" fmla="*/ 236205 w 664830"/>
              <a:gd name="connsiteY97" fmla="*/ 251793 h 270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664830" h="270843">
                <a:moveTo>
                  <a:pt x="236205" y="251793"/>
                </a:moveTo>
                <a:cubicBezTo>
                  <a:pt x="238586" y="250206"/>
                  <a:pt x="241150" y="248863"/>
                  <a:pt x="243348" y="247031"/>
                </a:cubicBezTo>
                <a:cubicBezTo>
                  <a:pt x="245935" y="244875"/>
                  <a:pt x="247690" y="241755"/>
                  <a:pt x="250492" y="239887"/>
                </a:cubicBezTo>
                <a:cubicBezTo>
                  <a:pt x="252581" y="238495"/>
                  <a:pt x="255255" y="238300"/>
                  <a:pt x="257636" y="237506"/>
                </a:cubicBezTo>
                <a:lnTo>
                  <a:pt x="271923" y="227981"/>
                </a:lnTo>
                <a:cubicBezTo>
                  <a:pt x="274304" y="226393"/>
                  <a:pt x="276352" y="224123"/>
                  <a:pt x="279067" y="223218"/>
                </a:cubicBezTo>
                <a:lnTo>
                  <a:pt x="286211" y="220837"/>
                </a:lnTo>
                <a:cubicBezTo>
                  <a:pt x="288592" y="218456"/>
                  <a:pt x="290553" y="215561"/>
                  <a:pt x="293355" y="213693"/>
                </a:cubicBezTo>
                <a:cubicBezTo>
                  <a:pt x="295443" y="212301"/>
                  <a:pt x="298538" y="212880"/>
                  <a:pt x="300498" y="211312"/>
                </a:cubicBezTo>
                <a:cubicBezTo>
                  <a:pt x="302733" y="209524"/>
                  <a:pt x="302509" y="204954"/>
                  <a:pt x="305261" y="204168"/>
                </a:cubicBezTo>
                <a:cubicBezTo>
                  <a:pt x="314451" y="201542"/>
                  <a:pt x="324311" y="202581"/>
                  <a:pt x="333836" y="201787"/>
                </a:cubicBezTo>
                <a:cubicBezTo>
                  <a:pt x="336217" y="200993"/>
                  <a:pt x="338735" y="200529"/>
                  <a:pt x="340980" y="199406"/>
                </a:cubicBezTo>
                <a:cubicBezTo>
                  <a:pt x="343540" y="198126"/>
                  <a:pt x="345273" y="194902"/>
                  <a:pt x="348123" y="194643"/>
                </a:cubicBezTo>
                <a:cubicBezTo>
                  <a:pt x="354496" y="194063"/>
                  <a:pt x="360823" y="196230"/>
                  <a:pt x="367173" y="197024"/>
                </a:cubicBezTo>
                <a:cubicBezTo>
                  <a:pt x="370544" y="198148"/>
                  <a:pt x="380848" y="201787"/>
                  <a:pt x="383842" y="201787"/>
                </a:cubicBezTo>
                <a:cubicBezTo>
                  <a:pt x="391030" y="201787"/>
                  <a:pt x="398129" y="200200"/>
                  <a:pt x="405273" y="199406"/>
                </a:cubicBezTo>
                <a:lnTo>
                  <a:pt x="426705" y="185118"/>
                </a:lnTo>
                <a:lnTo>
                  <a:pt x="433848" y="180356"/>
                </a:lnTo>
                <a:cubicBezTo>
                  <a:pt x="435436" y="177975"/>
                  <a:pt x="436457" y="175097"/>
                  <a:pt x="438611" y="173212"/>
                </a:cubicBezTo>
                <a:cubicBezTo>
                  <a:pt x="442918" y="169443"/>
                  <a:pt x="447345" y="165075"/>
                  <a:pt x="452898" y="163687"/>
                </a:cubicBezTo>
                <a:cubicBezTo>
                  <a:pt x="456073" y="162893"/>
                  <a:pt x="459276" y="162205"/>
                  <a:pt x="462423" y="161306"/>
                </a:cubicBezTo>
                <a:cubicBezTo>
                  <a:pt x="464837" y="160616"/>
                  <a:pt x="467117" y="159469"/>
                  <a:pt x="469567" y="158924"/>
                </a:cubicBezTo>
                <a:cubicBezTo>
                  <a:pt x="484319" y="155646"/>
                  <a:pt x="481044" y="157958"/>
                  <a:pt x="493380" y="154162"/>
                </a:cubicBezTo>
                <a:cubicBezTo>
                  <a:pt x="500577" y="151947"/>
                  <a:pt x="508545" y="151195"/>
                  <a:pt x="514811" y="147018"/>
                </a:cubicBezTo>
                <a:cubicBezTo>
                  <a:pt x="517192" y="145431"/>
                  <a:pt x="519340" y="143418"/>
                  <a:pt x="521955" y="142256"/>
                </a:cubicBezTo>
                <a:cubicBezTo>
                  <a:pt x="526542" y="140217"/>
                  <a:pt x="536242" y="137493"/>
                  <a:pt x="536242" y="137493"/>
                </a:cubicBezTo>
                <a:cubicBezTo>
                  <a:pt x="546323" y="127412"/>
                  <a:pt x="557016" y="114288"/>
                  <a:pt x="571961" y="111299"/>
                </a:cubicBezTo>
                <a:cubicBezTo>
                  <a:pt x="577465" y="110198"/>
                  <a:pt x="583074" y="109712"/>
                  <a:pt x="588630" y="108918"/>
                </a:cubicBezTo>
                <a:lnTo>
                  <a:pt x="602917" y="104156"/>
                </a:lnTo>
                <a:cubicBezTo>
                  <a:pt x="605298" y="103362"/>
                  <a:pt x="607972" y="103166"/>
                  <a:pt x="610061" y="101774"/>
                </a:cubicBezTo>
                <a:lnTo>
                  <a:pt x="631492" y="87487"/>
                </a:lnTo>
                <a:cubicBezTo>
                  <a:pt x="633873" y="85899"/>
                  <a:pt x="635921" y="83629"/>
                  <a:pt x="638636" y="82724"/>
                </a:cubicBezTo>
                <a:cubicBezTo>
                  <a:pt x="655771" y="77013"/>
                  <a:pt x="634367" y="83944"/>
                  <a:pt x="655305" y="77962"/>
                </a:cubicBezTo>
                <a:cubicBezTo>
                  <a:pt x="657718" y="77273"/>
                  <a:pt x="660067" y="76375"/>
                  <a:pt x="662448" y="75581"/>
                </a:cubicBezTo>
                <a:cubicBezTo>
                  <a:pt x="663242" y="73200"/>
                  <a:pt x="664830" y="70947"/>
                  <a:pt x="664830" y="68437"/>
                </a:cubicBezTo>
                <a:cubicBezTo>
                  <a:pt x="664830" y="64390"/>
                  <a:pt x="663869" y="60321"/>
                  <a:pt x="662448" y="56531"/>
                </a:cubicBezTo>
                <a:cubicBezTo>
                  <a:pt x="653926" y="33806"/>
                  <a:pt x="615142" y="47615"/>
                  <a:pt x="600536" y="47006"/>
                </a:cubicBezTo>
                <a:cubicBezTo>
                  <a:pt x="596567" y="46212"/>
                  <a:pt x="592556" y="45606"/>
                  <a:pt x="588630" y="44624"/>
                </a:cubicBezTo>
                <a:cubicBezTo>
                  <a:pt x="586195" y="44015"/>
                  <a:pt x="583992" y="42395"/>
                  <a:pt x="581486" y="42243"/>
                </a:cubicBezTo>
                <a:cubicBezTo>
                  <a:pt x="557704" y="40802"/>
                  <a:pt x="533861" y="40656"/>
                  <a:pt x="510048" y="39862"/>
                </a:cubicBezTo>
                <a:cubicBezTo>
                  <a:pt x="502904" y="39068"/>
                  <a:pt x="495590" y="39224"/>
                  <a:pt x="488617" y="37481"/>
                </a:cubicBezTo>
                <a:cubicBezTo>
                  <a:pt x="485840" y="36787"/>
                  <a:pt x="484104" y="33845"/>
                  <a:pt x="481473" y="32718"/>
                </a:cubicBezTo>
                <a:cubicBezTo>
                  <a:pt x="478465" y="31429"/>
                  <a:pt x="475083" y="31277"/>
                  <a:pt x="471948" y="30337"/>
                </a:cubicBezTo>
                <a:cubicBezTo>
                  <a:pt x="467140" y="28894"/>
                  <a:pt x="462613" y="26399"/>
                  <a:pt x="457661" y="25574"/>
                </a:cubicBezTo>
                <a:cubicBezTo>
                  <a:pt x="448011" y="23966"/>
                  <a:pt x="442726" y="23475"/>
                  <a:pt x="433848" y="20812"/>
                </a:cubicBezTo>
                <a:cubicBezTo>
                  <a:pt x="429040" y="19369"/>
                  <a:pt x="424323" y="17637"/>
                  <a:pt x="419561" y="16049"/>
                </a:cubicBezTo>
                <a:cubicBezTo>
                  <a:pt x="417180" y="15255"/>
                  <a:pt x="414852" y="14277"/>
                  <a:pt x="412417" y="13668"/>
                </a:cubicBezTo>
                <a:cubicBezTo>
                  <a:pt x="409242" y="12874"/>
                  <a:pt x="406027" y="12227"/>
                  <a:pt x="402892" y="11287"/>
                </a:cubicBezTo>
                <a:cubicBezTo>
                  <a:pt x="398084" y="9844"/>
                  <a:pt x="388605" y="6524"/>
                  <a:pt x="388605" y="6524"/>
                </a:cubicBezTo>
                <a:cubicBezTo>
                  <a:pt x="378660" y="6998"/>
                  <a:pt x="345123" y="0"/>
                  <a:pt x="331455" y="13668"/>
                </a:cubicBezTo>
                <a:cubicBezTo>
                  <a:pt x="329431" y="15692"/>
                  <a:pt x="328280" y="18431"/>
                  <a:pt x="326692" y="20812"/>
                </a:cubicBezTo>
                <a:lnTo>
                  <a:pt x="321930" y="35099"/>
                </a:lnTo>
                <a:cubicBezTo>
                  <a:pt x="321136" y="37480"/>
                  <a:pt x="321929" y="41449"/>
                  <a:pt x="319548" y="42243"/>
                </a:cubicBezTo>
                <a:lnTo>
                  <a:pt x="312405" y="44624"/>
                </a:lnTo>
                <a:cubicBezTo>
                  <a:pt x="298117" y="43830"/>
                  <a:pt x="283741" y="44018"/>
                  <a:pt x="269542" y="42243"/>
                </a:cubicBezTo>
                <a:cubicBezTo>
                  <a:pt x="264561" y="41620"/>
                  <a:pt x="260017" y="39068"/>
                  <a:pt x="255255" y="37481"/>
                </a:cubicBezTo>
                <a:cubicBezTo>
                  <a:pt x="238118" y="31768"/>
                  <a:pt x="259527" y="38700"/>
                  <a:pt x="238586" y="32718"/>
                </a:cubicBezTo>
                <a:cubicBezTo>
                  <a:pt x="214673" y="25886"/>
                  <a:pt x="251693" y="35399"/>
                  <a:pt x="221917" y="27956"/>
                </a:cubicBezTo>
                <a:lnTo>
                  <a:pt x="179055" y="42243"/>
                </a:lnTo>
                <a:lnTo>
                  <a:pt x="164767" y="47006"/>
                </a:lnTo>
                <a:lnTo>
                  <a:pt x="157623" y="49387"/>
                </a:lnTo>
                <a:cubicBezTo>
                  <a:pt x="151370" y="58768"/>
                  <a:pt x="151497" y="57220"/>
                  <a:pt x="148098" y="70818"/>
                </a:cubicBezTo>
                <a:cubicBezTo>
                  <a:pt x="146607" y="76784"/>
                  <a:pt x="146147" y="83160"/>
                  <a:pt x="140955" y="87487"/>
                </a:cubicBezTo>
                <a:cubicBezTo>
                  <a:pt x="138228" y="89759"/>
                  <a:pt x="134726" y="90931"/>
                  <a:pt x="131430" y="92249"/>
                </a:cubicBezTo>
                <a:cubicBezTo>
                  <a:pt x="126769" y="94113"/>
                  <a:pt x="117142" y="97012"/>
                  <a:pt x="117142" y="97012"/>
                </a:cubicBezTo>
                <a:cubicBezTo>
                  <a:pt x="114761" y="99393"/>
                  <a:pt x="112585" y="102000"/>
                  <a:pt x="109998" y="104156"/>
                </a:cubicBezTo>
                <a:cubicBezTo>
                  <a:pt x="107800" y="105988"/>
                  <a:pt x="104643" y="106683"/>
                  <a:pt x="102855" y="108918"/>
                </a:cubicBezTo>
                <a:cubicBezTo>
                  <a:pt x="101287" y="110878"/>
                  <a:pt x="101267" y="113681"/>
                  <a:pt x="100473" y="116062"/>
                </a:cubicBezTo>
                <a:cubicBezTo>
                  <a:pt x="101267" y="119237"/>
                  <a:pt x="100370" y="123457"/>
                  <a:pt x="102855" y="125587"/>
                </a:cubicBezTo>
                <a:cubicBezTo>
                  <a:pt x="108647" y="130551"/>
                  <a:pt x="130730" y="132048"/>
                  <a:pt x="136192" y="132731"/>
                </a:cubicBezTo>
                <a:cubicBezTo>
                  <a:pt x="157299" y="139766"/>
                  <a:pt x="145490" y="138047"/>
                  <a:pt x="171911" y="135112"/>
                </a:cubicBezTo>
                <a:cubicBezTo>
                  <a:pt x="172705" y="132731"/>
                  <a:pt x="171878" y="128658"/>
                  <a:pt x="174292" y="127968"/>
                </a:cubicBezTo>
                <a:cubicBezTo>
                  <a:pt x="176088" y="127455"/>
                  <a:pt x="191780" y="130540"/>
                  <a:pt x="195723" y="132731"/>
                </a:cubicBezTo>
                <a:cubicBezTo>
                  <a:pt x="200727" y="135511"/>
                  <a:pt x="204581" y="140446"/>
                  <a:pt x="210011" y="142256"/>
                </a:cubicBezTo>
                <a:lnTo>
                  <a:pt x="224298" y="147018"/>
                </a:lnTo>
                <a:cubicBezTo>
                  <a:pt x="226679" y="148606"/>
                  <a:pt x="229418" y="149757"/>
                  <a:pt x="231442" y="151781"/>
                </a:cubicBezTo>
                <a:cubicBezTo>
                  <a:pt x="233466" y="153805"/>
                  <a:pt x="235850" y="156084"/>
                  <a:pt x="236205" y="158924"/>
                </a:cubicBezTo>
                <a:cubicBezTo>
                  <a:pt x="238073" y="173872"/>
                  <a:pt x="234722" y="169191"/>
                  <a:pt x="226680" y="173212"/>
                </a:cubicBezTo>
                <a:cubicBezTo>
                  <a:pt x="209353" y="181875"/>
                  <a:pt x="233181" y="176024"/>
                  <a:pt x="202867" y="180356"/>
                </a:cubicBezTo>
                <a:lnTo>
                  <a:pt x="188580" y="189881"/>
                </a:lnTo>
                <a:cubicBezTo>
                  <a:pt x="186199" y="191468"/>
                  <a:pt x="184151" y="193738"/>
                  <a:pt x="181436" y="194643"/>
                </a:cubicBezTo>
                <a:cubicBezTo>
                  <a:pt x="164307" y="200352"/>
                  <a:pt x="185698" y="193425"/>
                  <a:pt x="164767" y="199406"/>
                </a:cubicBezTo>
                <a:cubicBezTo>
                  <a:pt x="162353" y="200096"/>
                  <a:pt x="160128" y="201625"/>
                  <a:pt x="157623" y="201787"/>
                </a:cubicBezTo>
                <a:cubicBezTo>
                  <a:pt x="135430" y="203219"/>
                  <a:pt x="113173" y="203374"/>
                  <a:pt x="90948" y="204168"/>
                </a:cubicBezTo>
                <a:cubicBezTo>
                  <a:pt x="88567" y="204962"/>
                  <a:pt x="85893" y="205157"/>
                  <a:pt x="83805" y="206549"/>
                </a:cubicBezTo>
                <a:cubicBezTo>
                  <a:pt x="81003" y="208417"/>
                  <a:pt x="79999" y="213248"/>
                  <a:pt x="76661" y="213693"/>
                </a:cubicBezTo>
                <a:cubicBezTo>
                  <a:pt x="55403" y="216527"/>
                  <a:pt x="33798" y="215280"/>
                  <a:pt x="12367" y="216074"/>
                </a:cubicBezTo>
                <a:cubicBezTo>
                  <a:pt x="9986" y="216868"/>
                  <a:pt x="6998" y="216681"/>
                  <a:pt x="5223" y="218456"/>
                </a:cubicBezTo>
                <a:cubicBezTo>
                  <a:pt x="0" y="223679"/>
                  <a:pt x="3659" y="228796"/>
                  <a:pt x="7605" y="232743"/>
                </a:cubicBezTo>
                <a:cubicBezTo>
                  <a:pt x="9629" y="234767"/>
                  <a:pt x="12550" y="235674"/>
                  <a:pt x="14748" y="237506"/>
                </a:cubicBezTo>
                <a:cubicBezTo>
                  <a:pt x="17335" y="239662"/>
                  <a:pt x="18948" y="243014"/>
                  <a:pt x="21892" y="244649"/>
                </a:cubicBezTo>
                <a:cubicBezTo>
                  <a:pt x="26281" y="247087"/>
                  <a:pt x="31417" y="247824"/>
                  <a:pt x="36180" y="249412"/>
                </a:cubicBezTo>
                <a:cubicBezTo>
                  <a:pt x="71193" y="261084"/>
                  <a:pt x="40835" y="251726"/>
                  <a:pt x="131430" y="254174"/>
                </a:cubicBezTo>
                <a:cubicBezTo>
                  <a:pt x="142347" y="270550"/>
                  <a:pt x="135525" y="266652"/>
                  <a:pt x="148098" y="270843"/>
                </a:cubicBezTo>
                <a:cubicBezTo>
                  <a:pt x="164651" y="269464"/>
                  <a:pt x="177555" y="268952"/>
                  <a:pt x="193342" y="266081"/>
                </a:cubicBezTo>
                <a:cubicBezTo>
                  <a:pt x="201250" y="264643"/>
                  <a:pt x="209713" y="261418"/>
                  <a:pt x="217155" y="258937"/>
                </a:cubicBezTo>
                <a:cubicBezTo>
                  <a:pt x="219536" y="258143"/>
                  <a:pt x="221808" y="256867"/>
                  <a:pt x="224298" y="256556"/>
                </a:cubicBezTo>
                <a:lnTo>
                  <a:pt x="236205" y="251793"/>
                </a:ln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3" name="Freeform 42"/>
          <p:cNvSpPr/>
          <p:nvPr/>
        </p:nvSpPr>
        <p:spPr>
          <a:xfrm>
            <a:off x="2867031" y="2059523"/>
            <a:ext cx="3406775" cy="2205567"/>
          </a:xfrm>
          <a:custGeom>
            <a:avLst/>
            <a:gdLst>
              <a:gd name="connsiteX0" fmla="*/ 932688 w 3406445"/>
              <a:gd name="connsiteY0" fmla="*/ 277977 h 2205533"/>
              <a:gd name="connsiteX1" fmla="*/ 961949 w 3406445"/>
              <a:gd name="connsiteY1" fmla="*/ 292608 h 2205533"/>
              <a:gd name="connsiteX2" fmla="*/ 969264 w 3406445"/>
              <a:gd name="connsiteY2" fmla="*/ 303581 h 2205533"/>
              <a:gd name="connsiteX3" fmla="*/ 972922 w 3406445"/>
              <a:gd name="connsiteY3" fmla="*/ 318211 h 2205533"/>
              <a:gd name="connsiteX4" fmla="*/ 976580 w 3406445"/>
              <a:gd name="connsiteY4" fmla="*/ 351129 h 2205533"/>
              <a:gd name="connsiteX5" fmla="*/ 998525 w 3406445"/>
              <a:gd name="connsiteY5" fmla="*/ 358445 h 2205533"/>
              <a:gd name="connsiteX6" fmla="*/ 1038759 w 3406445"/>
              <a:gd name="connsiteY6" fmla="*/ 362102 h 2205533"/>
              <a:gd name="connsiteX7" fmla="*/ 1057047 w 3406445"/>
              <a:gd name="connsiteY7" fmla="*/ 384048 h 2205533"/>
              <a:gd name="connsiteX8" fmla="*/ 1060704 w 3406445"/>
              <a:gd name="connsiteY8" fmla="*/ 395021 h 2205533"/>
              <a:gd name="connsiteX9" fmla="*/ 1060704 w 3406445"/>
              <a:gd name="connsiteY9" fmla="*/ 508406 h 2205533"/>
              <a:gd name="connsiteX10" fmla="*/ 1057047 w 3406445"/>
              <a:gd name="connsiteY10" fmla="*/ 519379 h 2205533"/>
              <a:gd name="connsiteX11" fmla="*/ 1049732 w 3406445"/>
              <a:gd name="connsiteY11" fmla="*/ 544982 h 2205533"/>
              <a:gd name="connsiteX12" fmla="*/ 1203351 w 3406445"/>
              <a:gd name="connsiteY12" fmla="*/ 559613 h 2205533"/>
              <a:gd name="connsiteX13" fmla="*/ 1239927 w 3406445"/>
              <a:gd name="connsiteY13" fmla="*/ 563270 h 2205533"/>
              <a:gd name="connsiteX14" fmla="*/ 1254557 w 3406445"/>
              <a:gd name="connsiteY14" fmla="*/ 596189 h 2205533"/>
              <a:gd name="connsiteX15" fmla="*/ 1258215 w 3406445"/>
              <a:gd name="connsiteY15" fmla="*/ 607161 h 2205533"/>
              <a:gd name="connsiteX16" fmla="*/ 1261872 w 3406445"/>
              <a:gd name="connsiteY16" fmla="*/ 618134 h 2205533"/>
              <a:gd name="connsiteX17" fmla="*/ 1283818 w 3406445"/>
              <a:gd name="connsiteY17" fmla="*/ 647395 h 2205533"/>
              <a:gd name="connsiteX18" fmla="*/ 1291133 w 3406445"/>
              <a:gd name="connsiteY18" fmla="*/ 672998 h 2205533"/>
              <a:gd name="connsiteX19" fmla="*/ 1305764 w 3406445"/>
              <a:gd name="connsiteY19" fmla="*/ 702259 h 2205533"/>
              <a:gd name="connsiteX20" fmla="*/ 1327709 w 3406445"/>
              <a:gd name="connsiteY20" fmla="*/ 709574 h 2205533"/>
              <a:gd name="connsiteX21" fmla="*/ 1338682 w 3406445"/>
              <a:gd name="connsiteY21" fmla="*/ 716889 h 2205533"/>
              <a:gd name="connsiteX22" fmla="*/ 1408176 w 3406445"/>
              <a:gd name="connsiteY22" fmla="*/ 716889 h 2205533"/>
              <a:gd name="connsiteX23" fmla="*/ 1474013 w 3406445"/>
              <a:gd name="connsiteY23" fmla="*/ 713232 h 2205533"/>
              <a:gd name="connsiteX24" fmla="*/ 1484986 w 3406445"/>
              <a:gd name="connsiteY24" fmla="*/ 709574 h 2205533"/>
              <a:gd name="connsiteX25" fmla="*/ 1528877 w 3406445"/>
              <a:gd name="connsiteY25" fmla="*/ 702259 h 2205533"/>
              <a:gd name="connsiteX26" fmla="*/ 1594714 w 3406445"/>
              <a:gd name="connsiteY26" fmla="*/ 709574 h 2205533"/>
              <a:gd name="connsiteX27" fmla="*/ 1613002 w 3406445"/>
              <a:gd name="connsiteY27" fmla="*/ 724205 h 2205533"/>
              <a:gd name="connsiteX28" fmla="*/ 1623975 w 3406445"/>
              <a:gd name="connsiteY28" fmla="*/ 727862 h 2205533"/>
              <a:gd name="connsiteX29" fmla="*/ 1634948 w 3406445"/>
              <a:gd name="connsiteY29" fmla="*/ 735177 h 2205533"/>
              <a:gd name="connsiteX30" fmla="*/ 1660551 w 3406445"/>
              <a:gd name="connsiteY30" fmla="*/ 742493 h 2205533"/>
              <a:gd name="connsiteX31" fmla="*/ 1697127 w 3406445"/>
              <a:gd name="connsiteY31" fmla="*/ 760781 h 2205533"/>
              <a:gd name="connsiteX32" fmla="*/ 1708100 w 3406445"/>
              <a:gd name="connsiteY32" fmla="*/ 768096 h 2205533"/>
              <a:gd name="connsiteX33" fmla="*/ 1719072 w 3406445"/>
              <a:gd name="connsiteY33" fmla="*/ 771753 h 2205533"/>
              <a:gd name="connsiteX34" fmla="*/ 1726388 w 3406445"/>
              <a:gd name="connsiteY34" fmla="*/ 779069 h 2205533"/>
              <a:gd name="connsiteX35" fmla="*/ 1748333 w 3406445"/>
              <a:gd name="connsiteY35" fmla="*/ 786384 h 2205533"/>
              <a:gd name="connsiteX36" fmla="*/ 1759306 w 3406445"/>
              <a:gd name="connsiteY36" fmla="*/ 790041 h 2205533"/>
              <a:gd name="connsiteX37" fmla="*/ 1788567 w 3406445"/>
              <a:gd name="connsiteY37" fmla="*/ 786384 h 2205533"/>
              <a:gd name="connsiteX38" fmla="*/ 1803197 w 3406445"/>
              <a:gd name="connsiteY38" fmla="*/ 768096 h 2205533"/>
              <a:gd name="connsiteX39" fmla="*/ 1810512 w 3406445"/>
              <a:gd name="connsiteY39" fmla="*/ 757123 h 2205533"/>
              <a:gd name="connsiteX40" fmla="*/ 1817828 w 3406445"/>
              <a:gd name="connsiteY40" fmla="*/ 749808 h 2205533"/>
              <a:gd name="connsiteX41" fmla="*/ 1839773 w 3406445"/>
              <a:gd name="connsiteY41" fmla="*/ 742493 h 2205533"/>
              <a:gd name="connsiteX42" fmla="*/ 1847088 w 3406445"/>
              <a:gd name="connsiteY42" fmla="*/ 735177 h 2205533"/>
              <a:gd name="connsiteX43" fmla="*/ 1956816 w 3406445"/>
              <a:gd name="connsiteY43" fmla="*/ 738835 h 2205533"/>
              <a:gd name="connsiteX44" fmla="*/ 1967789 w 3406445"/>
              <a:gd name="connsiteY44" fmla="*/ 742493 h 2205533"/>
              <a:gd name="connsiteX45" fmla="*/ 1982420 w 3406445"/>
              <a:gd name="connsiteY45" fmla="*/ 746150 h 2205533"/>
              <a:gd name="connsiteX46" fmla="*/ 2022653 w 3406445"/>
              <a:gd name="connsiteY46" fmla="*/ 742493 h 2205533"/>
              <a:gd name="connsiteX47" fmla="*/ 2033626 w 3406445"/>
              <a:gd name="connsiteY47" fmla="*/ 738835 h 2205533"/>
              <a:gd name="connsiteX48" fmla="*/ 2044599 w 3406445"/>
              <a:gd name="connsiteY48" fmla="*/ 727862 h 2205533"/>
              <a:gd name="connsiteX49" fmla="*/ 2055572 w 3406445"/>
              <a:gd name="connsiteY49" fmla="*/ 720547 h 2205533"/>
              <a:gd name="connsiteX50" fmla="*/ 2084832 w 3406445"/>
              <a:gd name="connsiteY50" fmla="*/ 694944 h 2205533"/>
              <a:gd name="connsiteX51" fmla="*/ 2092148 w 3406445"/>
              <a:gd name="connsiteY51" fmla="*/ 687629 h 2205533"/>
              <a:gd name="connsiteX52" fmla="*/ 2106778 w 3406445"/>
              <a:gd name="connsiteY52" fmla="*/ 683971 h 2205533"/>
              <a:gd name="connsiteX53" fmla="*/ 2114093 w 3406445"/>
              <a:gd name="connsiteY53" fmla="*/ 672998 h 2205533"/>
              <a:gd name="connsiteX54" fmla="*/ 2125066 w 3406445"/>
              <a:gd name="connsiteY54" fmla="*/ 669341 h 2205533"/>
              <a:gd name="connsiteX55" fmla="*/ 2143354 w 3406445"/>
              <a:gd name="connsiteY55" fmla="*/ 651053 h 2205533"/>
              <a:gd name="connsiteX56" fmla="*/ 2143354 w 3406445"/>
              <a:gd name="connsiteY56" fmla="*/ 651053 h 2205533"/>
              <a:gd name="connsiteX57" fmla="*/ 2150669 w 3406445"/>
              <a:gd name="connsiteY57" fmla="*/ 640080 h 2205533"/>
              <a:gd name="connsiteX58" fmla="*/ 2157984 w 3406445"/>
              <a:gd name="connsiteY58" fmla="*/ 618134 h 2205533"/>
              <a:gd name="connsiteX59" fmla="*/ 2161642 w 3406445"/>
              <a:gd name="connsiteY59" fmla="*/ 566928 h 2205533"/>
              <a:gd name="connsiteX60" fmla="*/ 2172615 w 3406445"/>
              <a:gd name="connsiteY60" fmla="*/ 563270 h 2205533"/>
              <a:gd name="connsiteX61" fmla="*/ 2205533 w 3406445"/>
              <a:gd name="connsiteY61" fmla="*/ 555955 h 2205533"/>
              <a:gd name="connsiteX62" fmla="*/ 2227479 w 3406445"/>
              <a:gd name="connsiteY62" fmla="*/ 548640 h 2205533"/>
              <a:gd name="connsiteX63" fmla="*/ 2249424 w 3406445"/>
              <a:gd name="connsiteY63" fmla="*/ 541325 h 2205533"/>
              <a:gd name="connsiteX64" fmla="*/ 2260397 w 3406445"/>
              <a:gd name="connsiteY64" fmla="*/ 537667 h 2205533"/>
              <a:gd name="connsiteX65" fmla="*/ 2271370 w 3406445"/>
              <a:gd name="connsiteY65" fmla="*/ 534009 h 2205533"/>
              <a:gd name="connsiteX66" fmla="*/ 2311604 w 3406445"/>
              <a:gd name="connsiteY66" fmla="*/ 530352 h 2205533"/>
              <a:gd name="connsiteX67" fmla="*/ 2322576 w 3406445"/>
              <a:gd name="connsiteY67" fmla="*/ 526694 h 2205533"/>
              <a:gd name="connsiteX68" fmla="*/ 2340864 w 3406445"/>
              <a:gd name="connsiteY68" fmla="*/ 508406 h 2205533"/>
              <a:gd name="connsiteX69" fmla="*/ 2362810 w 3406445"/>
              <a:gd name="connsiteY69" fmla="*/ 501091 h 2205533"/>
              <a:gd name="connsiteX70" fmla="*/ 2373783 w 3406445"/>
              <a:gd name="connsiteY70" fmla="*/ 497433 h 2205533"/>
              <a:gd name="connsiteX71" fmla="*/ 2410359 w 3406445"/>
              <a:gd name="connsiteY71" fmla="*/ 486461 h 2205533"/>
              <a:gd name="connsiteX72" fmla="*/ 2432304 w 3406445"/>
              <a:gd name="connsiteY72" fmla="*/ 479145 h 2205533"/>
              <a:gd name="connsiteX73" fmla="*/ 2443277 w 3406445"/>
              <a:gd name="connsiteY73" fmla="*/ 475488 h 2205533"/>
              <a:gd name="connsiteX74" fmla="*/ 2457908 w 3406445"/>
              <a:gd name="connsiteY74" fmla="*/ 468173 h 2205533"/>
              <a:gd name="connsiteX75" fmla="*/ 2479853 w 3406445"/>
              <a:gd name="connsiteY75" fmla="*/ 460857 h 2205533"/>
              <a:gd name="connsiteX76" fmla="*/ 2512772 w 3406445"/>
              <a:gd name="connsiteY76" fmla="*/ 449885 h 2205533"/>
              <a:gd name="connsiteX77" fmla="*/ 2534717 w 3406445"/>
              <a:gd name="connsiteY77" fmla="*/ 442569 h 2205533"/>
              <a:gd name="connsiteX78" fmla="*/ 2600554 w 3406445"/>
              <a:gd name="connsiteY78" fmla="*/ 438912 h 2205533"/>
              <a:gd name="connsiteX79" fmla="*/ 2604212 w 3406445"/>
              <a:gd name="connsiteY79" fmla="*/ 427939 h 2205533"/>
              <a:gd name="connsiteX80" fmla="*/ 2600554 w 3406445"/>
              <a:gd name="connsiteY80" fmla="*/ 405993 h 2205533"/>
              <a:gd name="connsiteX81" fmla="*/ 2589581 w 3406445"/>
              <a:gd name="connsiteY81" fmla="*/ 387705 h 2205533"/>
              <a:gd name="connsiteX82" fmla="*/ 2567636 w 3406445"/>
              <a:gd name="connsiteY82" fmla="*/ 380390 h 2205533"/>
              <a:gd name="connsiteX83" fmla="*/ 2545690 w 3406445"/>
              <a:gd name="connsiteY83" fmla="*/ 373075 h 2205533"/>
              <a:gd name="connsiteX84" fmla="*/ 2534717 w 3406445"/>
              <a:gd name="connsiteY84" fmla="*/ 369417 h 2205533"/>
              <a:gd name="connsiteX85" fmla="*/ 2512772 w 3406445"/>
              <a:gd name="connsiteY85" fmla="*/ 365760 h 2205533"/>
              <a:gd name="connsiteX86" fmla="*/ 2454250 w 3406445"/>
              <a:gd name="connsiteY86" fmla="*/ 362102 h 2205533"/>
              <a:gd name="connsiteX87" fmla="*/ 2439620 w 3406445"/>
              <a:gd name="connsiteY87" fmla="*/ 358445 h 2205533"/>
              <a:gd name="connsiteX88" fmla="*/ 2410359 w 3406445"/>
              <a:gd name="connsiteY88" fmla="*/ 354787 h 2205533"/>
              <a:gd name="connsiteX89" fmla="*/ 2414016 w 3406445"/>
              <a:gd name="connsiteY89" fmla="*/ 325526 h 2205533"/>
              <a:gd name="connsiteX90" fmla="*/ 2424989 w 3406445"/>
              <a:gd name="connsiteY90" fmla="*/ 285293 h 2205533"/>
              <a:gd name="connsiteX91" fmla="*/ 2428647 w 3406445"/>
              <a:gd name="connsiteY91" fmla="*/ 237744 h 2205533"/>
              <a:gd name="connsiteX92" fmla="*/ 2439620 w 3406445"/>
              <a:gd name="connsiteY92" fmla="*/ 234086 h 2205533"/>
              <a:gd name="connsiteX93" fmla="*/ 2545690 w 3406445"/>
              <a:gd name="connsiteY93" fmla="*/ 230429 h 2205533"/>
              <a:gd name="connsiteX94" fmla="*/ 2571293 w 3406445"/>
              <a:gd name="connsiteY94" fmla="*/ 223113 h 2205533"/>
              <a:gd name="connsiteX95" fmla="*/ 2600554 w 3406445"/>
              <a:gd name="connsiteY95" fmla="*/ 190195 h 2205533"/>
              <a:gd name="connsiteX96" fmla="*/ 2607869 w 3406445"/>
              <a:gd name="connsiteY96" fmla="*/ 164592 h 2205533"/>
              <a:gd name="connsiteX97" fmla="*/ 2611527 w 3406445"/>
              <a:gd name="connsiteY97" fmla="*/ 153619 h 2205533"/>
              <a:gd name="connsiteX98" fmla="*/ 2633472 w 3406445"/>
              <a:gd name="connsiteY98" fmla="*/ 138989 h 2205533"/>
              <a:gd name="connsiteX99" fmla="*/ 2659076 w 3406445"/>
              <a:gd name="connsiteY99" fmla="*/ 131673 h 2205533"/>
              <a:gd name="connsiteX100" fmla="*/ 2677364 w 3406445"/>
              <a:gd name="connsiteY100" fmla="*/ 117043 h 2205533"/>
              <a:gd name="connsiteX101" fmla="*/ 2688336 w 3406445"/>
              <a:gd name="connsiteY101" fmla="*/ 109728 h 2205533"/>
              <a:gd name="connsiteX102" fmla="*/ 2691994 w 3406445"/>
              <a:gd name="connsiteY102" fmla="*/ 98755 h 2205533"/>
              <a:gd name="connsiteX103" fmla="*/ 2695652 w 3406445"/>
              <a:gd name="connsiteY103" fmla="*/ 73152 h 2205533"/>
              <a:gd name="connsiteX104" fmla="*/ 2684679 w 3406445"/>
              <a:gd name="connsiteY104" fmla="*/ 69494 h 2205533"/>
              <a:gd name="connsiteX105" fmla="*/ 2673706 w 3406445"/>
              <a:gd name="connsiteY105" fmla="*/ 62179 h 2205533"/>
              <a:gd name="connsiteX106" fmla="*/ 2677364 w 3406445"/>
              <a:gd name="connsiteY106" fmla="*/ 29261 h 2205533"/>
              <a:gd name="connsiteX107" fmla="*/ 2699309 w 3406445"/>
              <a:gd name="connsiteY107" fmla="*/ 18288 h 2205533"/>
              <a:gd name="connsiteX108" fmla="*/ 2713940 w 3406445"/>
              <a:gd name="connsiteY108" fmla="*/ 14630 h 2205533"/>
              <a:gd name="connsiteX109" fmla="*/ 2735885 w 3406445"/>
              <a:gd name="connsiteY109" fmla="*/ 7315 h 2205533"/>
              <a:gd name="connsiteX110" fmla="*/ 2765146 w 3406445"/>
              <a:gd name="connsiteY110" fmla="*/ 0 h 2205533"/>
              <a:gd name="connsiteX111" fmla="*/ 2849271 w 3406445"/>
              <a:gd name="connsiteY111" fmla="*/ 3657 h 2205533"/>
              <a:gd name="connsiteX112" fmla="*/ 2860244 w 3406445"/>
              <a:gd name="connsiteY112" fmla="*/ 7315 h 2205533"/>
              <a:gd name="connsiteX113" fmla="*/ 2878532 w 3406445"/>
              <a:gd name="connsiteY113" fmla="*/ 10973 h 2205533"/>
              <a:gd name="connsiteX114" fmla="*/ 2911450 w 3406445"/>
              <a:gd name="connsiteY114" fmla="*/ 21945 h 2205533"/>
              <a:gd name="connsiteX115" fmla="*/ 2933396 w 3406445"/>
              <a:gd name="connsiteY115" fmla="*/ 29261 h 2205533"/>
              <a:gd name="connsiteX116" fmla="*/ 2955341 w 3406445"/>
              <a:gd name="connsiteY116" fmla="*/ 36576 h 2205533"/>
              <a:gd name="connsiteX117" fmla="*/ 2966314 w 3406445"/>
              <a:gd name="connsiteY117" fmla="*/ 40233 h 2205533"/>
              <a:gd name="connsiteX118" fmla="*/ 2984602 w 3406445"/>
              <a:gd name="connsiteY118" fmla="*/ 43891 h 2205533"/>
              <a:gd name="connsiteX119" fmla="*/ 2995575 w 3406445"/>
              <a:gd name="connsiteY119" fmla="*/ 54864 h 2205533"/>
              <a:gd name="connsiteX120" fmla="*/ 3010205 w 3406445"/>
              <a:gd name="connsiteY120" fmla="*/ 91440 h 2205533"/>
              <a:gd name="connsiteX121" fmla="*/ 3017520 w 3406445"/>
              <a:gd name="connsiteY121" fmla="*/ 113385 h 2205533"/>
              <a:gd name="connsiteX122" fmla="*/ 3021178 w 3406445"/>
              <a:gd name="connsiteY122" fmla="*/ 128016 h 2205533"/>
              <a:gd name="connsiteX123" fmla="*/ 3028493 w 3406445"/>
              <a:gd name="connsiteY123" fmla="*/ 149961 h 2205533"/>
              <a:gd name="connsiteX124" fmla="*/ 3032151 w 3406445"/>
              <a:gd name="connsiteY124" fmla="*/ 160934 h 2205533"/>
              <a:gd name="connsiteX125" fmla="*/ 3035808 w 3406445"/>
              <a:gd name="connsiteY125" fmla="*/ 175565 h 2205533"/>
              <a:gd name="connsiteX126" fmla="*/ 3039466 w 3406445"/>
              <a:gd name="connsiteY126" fmla="*/ 186537 h 2205533"/>
              <a:gd name="connsiteX127" fmla="*/ 3046781 w 3406445"/>
              <a:gd name="connsiteY127" fmla="*/ 234086 h 2205533"/>
              <a:gd name="connsiteX128" fmla="*/ 3050439 w 3406445"/>
              <a:gd name="connsiteY128" fmla="*/ 245059 h 2205533"/>
              <a:gd name="connsiteX129" fmla="*/ 3076042 w 3406445"/>
              <a:gd name="connsiteY129" fmla="*/ 267005 h 2205533"/>
              <a:gd name="connsiteX130" fmla="*/ 3097988 w 3406445"/>
              <a:gd name="connsiteY130" fmla="*/ 281635 h 2205533"/>
              <a:gd name="connsiteX131" fmla="*/ 3123591 w 3406445"/>
              <a:gd name="connsiteY131" fmla="*/ 288950 h 2205533"/>
              <a:gd name="connsiteX132" fmla="*/ 3167482 w 3406445"/>
              <a:gd name="connsiteY132" fmla="*/ 299923 h 2205533"/>
              <a:gd name="connsiteX133" fmla="*/ 3178455 w 3406445"/>
              <a:gd name="connsiteY133" fmla="*/ 307238 h 2205533"/>
              <a:gd name="connsiteX134" fmla="*/ 3185770 w 3406445"/>
              <a:gd name="connsiteY134" fmla="*/ 318211 h 2205533"/>
              <a:gd name="connsiteX135" fmla="*/ 3189428 w 3406445"/>
              <a:gd name="connsiteY135" fmla="*/ 329184 h 2205533"/>
              <a:gd name="connsiteX136" fmla="*/ 3218688 w 3406445"/>
              <a:gd name="connsiteY136" fmla="*/ 354787 h 2205533"/>
              <a:gd name="connsiteX137" fmla="*/ 3240634 w 3406445"/>
              <a:gd name="connsiteY137" fmla="*/ 362102 h 2205533"/>
              <a:gd name="connsiteX138" fmla="*/ 3251607 w 3406445"/>
              <a:gd name="connsiteY138" fmla="*/ 365760 h 2205533"/>
              <a:gd name="connsiteX139" fmla="*/ 3284525 w 3406445"/>
              <a:gd name="connsiteY139" fmla="*/ 362102 h 2205533"/>
              <a:gd name="connsiteX140" fmla="*/ 3306471 w 3406445"/>
              <a:gd name="connsiteY140" fmla="*/ 343814 h 2205533"/>
              <a:gd name="connsiteX141" fmla="*/ 3332074 w 3406445"/>
              <a:gd name="connsiteY141" fmla="*/ 332841 h 2205533"/>
              <a:gd name="connsiteX142" fmla="*/ 3401568 w 3406445"/>
              <a:gd name="connsiteY142" fmla="*/ 336499 h 2205533"/>
              <a:gd name="connsiteX143" fmla="*/ 3405226 w 3406445"/>
              <a:gd name="connsiteY143" fmla="*/ 351129 h 2205533"/>
              <a:gd name="connsiteX144" fmla="*/ 3401568 w 3406445"/>
              <a:gd name="connsiteY144" fmla="*/ 384048 h 2205533"/>
              <a:gd name="connsiteX145" fmla="*/ 3397911 w 3406445"/>
              <a:gd name="connsiteY145" fmla="*/ 395021 h 2205533"/>
              <a:gd name="connsiteX146" fmla="*/ 3386938 w 3406445"/>
              <a:gd name="connsiteY146" fmla="*/ 405993 h 2205533"/>
              <a:gd name="connsiteX147" fmla="*/ 3364992 w 3406445"/>
              <a:gd name="connsiteY147" fmla="*/ 435254 h 2205533"/>
              <a:gd name="connsiteX148" fmla="*/ 3350362 w 3406445"/>
              <a:gd name="connsiteY148" fmla="*/ 457200 h 2205533"/>
              <a:gd name="connsiteX149" fmla="*/ 3346704 w 3406445"/>
              <a:gd name="connsiteY149" fmla="*/ 468173 h 2205533"/>
              <a:gd name="connsiteX150" fmla="*/ 3339389 w 3406445"/>
              <a:gd name="connsiteY150" fmla="*/ 482803 h 2205533"/>
              <a:gd name="connsiteX151" fmla="*/ 3328416 w 3406445"/>
              <a:gd name="connsiteY151" fmla="*/ 490118 h 2205533"/>
              <a:gd name="connsiteX152" fmla="*/ 3324759 w 3406445"/>
              <a:gd name="connsiteY152" fmla="*/ 501091 h 2205533"/>
              <a:gd name="connsiteX153" fmla="*/ 3310128 w 3406445"/>
              <a:gd name="connsiteY153" fmla="*/ 519379 h 2205533"/>
              <a:gd name="connsiteX154" fmla="*/ 3306471 w 3406445"/>
              <a:gd name="connsiteY154" fmla="*/ 530352 h 2205533"/>
              <a:gd name="connsiteX155" fmla="*/ 3284525 w 3406445"/>
              <a:gd name="connsiteY155" fmla="*/ 541325 h 2205533"/>
              <a:gd name="connsiteX156" fmla="*/ 3273552 w 3406445"/>
              <a:gd name="connsiteY156" fmla="*/ 548640 h 2205533"/>
              <a:gd name="connsiteX157" fmla="*/ 3258922 w 3406445"/>
              <a:gd name="connsiteY157" fmla="*/ 552297 h 2205533"/>
              <a:gd name="connsiteX158" fmla="*/ 3236976 w 3406445"/>
              <a:gd name="connsiteY158" fmla="*/ 559613 h 2205533"/>
              <a:gd name="connsiteX159" fmla="*/ 3204058 w 3406445"/>
              <a:gd name="connsiteY159" fmla="*/ 570585 h 2205533"/>
              <a:gd name="connsiteX160" fmla="*/ 3193085 w 3406445"/>
              <a:gd name="connsiteY160" fmla="*/ 574243 h 2205533"/>
              <a:gd name="connsiteX161" fmla="*/ 3178455 w 3406445"/>
              <a:gd name="connsiteY161" fmla="*/ 596189 h 2205533"/>
              <a:gd name="connsiteX162" fmla="*/ 3171140 w 3406445"/>
              <a:gd name="connsiteY162" fmla="*/ 607161 h 2205533"/>
              <a:gd name="connsiteX163" fmla="*/ 3163824 w 3406445"/>
              <a:gd name="connsiteY163" fmla="*/ 629107 h 2205533"/>
              <a:gd name="connsiteX164" fmla="*/ 3160167 w 3406445"/>
              <a:gd name="connsiteY164" fmla="*/ 640080 h 2205533"/>
              <a:gd name="connsiteX165" fmla="*/ 3167482 w 3406445"/>
              <a:gd name="connsiteY165" fmla="*/ 672998 h 2205533"/>
              <a:gd name="connsiteX166" fmla="*/ 3182112 w 3406445"/>
              <a:gd name="connsiteY166" fmla="*/ 694944 h 2205533"/>
              <a:gd name="connsiteX167" fmla="*/ 3171140 w 3406445"/>
              <a:gd name="connsiteY167" fmla="*/ 698601 h 2205533"/>
              <a:gd name="connsiteX168" fmla="*/ 3163824 w 3406445"/>
              <a:gd name="connsiteY168" fmla="*/ 705917 h 2205533"/>
              <a:gd name="connsiteX169" fmla="*/ 3119933 w 3406445"/>
              <a:gd name="connsiteY169" fmla="*/ 709574 h 2205533"/>
              <a:gd name="connsiteX170" fmla="*/ 3101645 w 3406445"/>
              <a:gd name="connsiteY170" fmla="*/ 713232 h 2205533"/>
              <a:gd name="connsiteX171" fmla="*/ 3079700 w 3406445"/>
              <a:gd name="connsiteY171" fmla="*/ 720547 h 2205533"/>
              <a:gd name="connsiteX172" fmla="*/ 3061412 w 3406445"/>
              <a:gd name="connsiteY172" fmla="*/ 735177 h 2205533"/>
              <a:gd name="connsiteX173" fmla="*/ 3054096 w 3406445"/>
              <a:gd name="connsiteY173" fmla="*/ 742493 h 2205533"/>
              <a:gd name="connsiteX174" fmla="*/ 3032151 w 3406445"/>
              <a:gd name="connsiteY174" fmla="*/ 749808 h 2205533"/>
              <a:gd name="connsiteX175" fmla="*/ 3021178 w 3406445"/>
              <a:gd name="connsiteY175" fmla="*/ 753465 h 2205533"/>
              <a:gd name="connsiteX176" fmla="*/ 3010205 w 3406445"/>
              <a:gd name="connsiteY176" fmla="*/ 771753 h 2205533"/>
              <a:gd name="connsiteX177" fmla="*/ 3006548 w 3406445"/>
              <a:gd name="connsiteY177" fmla="*/ 790041 h 2205533"/>
              <a:gd name="connsiteX178" fmla="*/ 2911450 w 3406445"/>
              <a:gd name="connsiteY178" fmla="*/ 793699 h 2205533"/>
              <a:gd name="connsiteX179" fmla="*/ 2889504 w 3406445"/>
              <a:gd name="connsiteY179" fmla="*/ 801014 h 2205533"/>
              <a:gd name="connsiteX180" fmla="*/ 2878532 w 3406445"/>
              <a:gd name="connsiteY180" fmla="*/ 804672 h 2205533"/>
              <a:gd name="connsiteX181" fmla="*/ 2860244 w 3406445"/>
              <a:gd name="connsiteY181" fmla="*/ 819302 h 2205533"/>
              <a:gd name="connsiteX182" fmla="*/ 2852928 w 3406445"/>
              <a:gd name="connsiteY182" fmla="*/ 826617 h 2205533"/>
              <a:gd name="connsiteX183" fmla="*/ 2841956 w 3406445"/>
              <a:gd name="connsiteY183" fmla="*/ 830275 h 2205533"/>
              <a:gd name="connsiteX184" fmla="*/ 2834640 w 3406445"/>
              <a:gd name="connsiteY184" fmla="*/ 837590 h 2205533"/>
              <a:gd name="connsiteX185" fmla="*/ 2812695 w 3406445"/>
              <a:gd name="connsiteY185" fmla="*/ 852221 h 2205533"/>
              <a:gd name="connsiteX186" fmla="*/ 2805380 w 3406445"/>
              <a:gd name="connsiteY186" fmla="*/ 863193 h 2205533"/>
              <a:gd name="connsiteX187" fmla="*/ 2801722 w 3406445"/>
              <a:gd name="connsiteY187" fmla="*/ 874166 h 2205533"/>
              <a:gd name="connsiteX188" fmla="*/ 2790749 w 3406445"/>
              <a:gd name="connsiteY188" fmla="*/ 877824 h 2205533"/>
              <a:gd name="connsiteX189" fmla="*/ 2713940 w 3406445"/>
              <a:gd name="connsiteY189" fmla="*/ 888797 h 2205533"/>
              <a:gd name="connsiteX190" fmla="*/ 2681021 w 3406445"/>
              <a:gd name="connsiteY190" fmla="*/ 910742 h 2205533"/>
              <a:gd name="connsiteX191" fmla="*/ 2670048 w 3406445"/>
              <a:gd name="connsiteY191" fmla="*/ 918057 h 2205533"/>
              <a:gd name="connsiteX192" fmla="*/ 2659076 w 3406445"/>
              <a:gd name="connsiteY192" fmla="*/ 921715 h 2205533"/>
              <a:gd name="connsiteX193" fmla="*/ 2626157 w 3406445"/>
              <a:gd name="connsiteY193" fmla="*/ 947318 h 2205533"/>
              <a:gd name="connsiteX194" fmla="*/ 2615184 w 3406445"/>
              <a:gd name="connsiteY194" fmla="*/ 954633 h 2205533"/>
              <a:gd name="connsiteX195" fmla="*/ 2604212 w 3406445"/>
              <a:gd name="connsiteY195" fmla="*/ 961949 h 2205533"/>
              <a:gd name="connsiteX196" fmla="*/ 2618842 w 3406445"/>
              <a:gd name="connsiteY196" fmla="*/ 943661 h 2205533"/>
              <a:gd name="connsiteX197" fmla="*/ 2629815 w 3406445"/>
              <a:gd name="connsiteY197" fmla="*/ 921715 h 2205533"/>
              <a:gd name="connsiteX198" fmla="*/ 2633472 w 3406445"/>
              <a:gd name="connsiteY198" fmla="*/ 892454 h 2205533"/>
              <a:gd name="connsiteX199" fmla="*/ 2640788 w 3406445"/>
              <a:gd name="connsiteY199" fmla="*/ 885139 h 2205533"/>
              <a:gd name="connsiteX200" fmla="*/ 2651760 w 3406445"/>
              <a:gd name="connsiteY200" fmla="*/ 877824 h 2205533"/>
              <a:gd name="connsiteX201" fmla="*/ 2659076 w 3406445"/>
              <a:gd name="connsiteY201" fmla="*/ 870509 h 2205533"/>
              <a:gd name="connsiteX202" fmla="*/ 2670048 w 3406445"/>
              <a:gd name="connsiteY202" fmla="*/ 866851 h 2205533"/>
              <a:gd name="connsiteX203" fmla="*/ 2670048 w 3406445"/>
              <a:gd name="connsiteY203" fmla="*/ 841248 h 2205533"/>
              <a:gd name="connsiteX204" fmla="*/ 2659076 w 3406445"/>
              <a:gd name="connsiteY204" fmla="*/ 833933 h 2205533"/>
              <a:gd name="connsiteX205" fmla="*/ 2604212 w 3406445"/>
              <a:gd name="connsiteY205" fmla="*/ 844905 h 2205533"/>
              <a:gd name="connsiteX206" fmla="*/ 2582266 w 3406445"/>
              <a:gd name="connsiteY206" fmla="*/ 852221 h 2205533"/>
              <a:gd name="connsiteX207" fmla="*/ 2571293 w 3406445"/>
              <a:gd name="connsiteY207" fmla="*/ 855878 h 2205533"/>
              <a:gd name="connsiteX208" fmla="*/ 2549348 w 3406445"/>
              <a:gd name="connsiteY208" fmla="*/ 870509 h 2205533"/>
              <a:gd name="connsiteX209" fmla="*/ 2542032 w 3406445"/>
              <a:gd name="connsiteY209" fmla="*/ 877824 h 2205533"/>
              <a:gd name="connsiteX210" fmla="*/ 2509114 w 3406445"/>
              <a:gd name="connsiteY210" fmla="*/ 896112 h 2205533"/>
              <a:gd name="connsiteX211" fmla="*/ 2498141 w 3406445"/>
              <a:gd name="connsiteY211" fmla="*/ 903427 h 2205533"/>
              <a:gd name="connsiteX212" fmla="*/ 2476196 w 3406445"/>
              <a:gd name="connsiteY212" fmla="*/ 910742 h 2205533"/>
              <a:gd name="connsiteX213" fmla="*/ 2457908 w 3406445"/>
              <a:gd name="connsiteY213" fmla="*/ 921715 h 2205533"/>
              <a:gd name="connsiteX214" fmla="*/ 2428647 w 3406445"/>
              <a:gd name="connsiteY214" fmla="*/ 943661 h 2205533"/>
              <a:gd name="connsiteX215" fmla="*/ 2424989 w 3406445"/>
              <a:gd name="connsiteY215" fmla="*/ 954633 h 2205533"/>
              <a:gd name="connsiteX216" fmla="*/ 2417674 w 3406445"/>
              <a:gd name="connsiteY216" fmla="*/ 961949 h 2205533"/>
              <a:gd name="connsiteX217" fmla="*/ 2410359 w 3406445"/>
              <a:gd name="connsiteY217" fmla="*/ 972921 h 2205533"/>
              <a:gd name="connsiteX218" fmla="*/ 2414016 w 3406445"/>
              <a:gd name="connsiteY218" fmla="*/ 998525 h 2205533"/>
              <a:gd name="connsiteX219" fmla="*/ 2421332 w 3406445"/>
              <a:gd name="connsiteY219" fmla="*/ 1005840 h 2205533"/>
              <a:gd name="connsiteX220" fmla="*/ 2424989 w 3406445"/>
              <a:gd name="connsiteY220" fmla="*/ 1016813 h 2205533"/>
              <a:gd name="connsiteX221" fmla="*/ 2439620 w 3406445"/>
              <a:gd name="connsiteY221" fmla="*/ 1038758 h 2205533"/>
              <a:gd name="connsiteX222" fmla="*/ 2446935 w 3406445"/>
              <a:gd name="connsiteY222" fmla="*/ 1053389 h 2205533"/>
              <a:gd name="connsiteX223" fmla="*/ 2457908 w 3406445"/>
              <a:gd name="connsiteY223" fmla="*/ 1068019 h 2205533"/>
              <a:gd name="connsiteX224" fmla="*/ 2465223 w 3406445"/>
              <a:gd name="connsiteY224" fmla="*/ 1082649 h 2205533"/>
              <a:gd name="connsiteX225" fmla="*/ 2468880 w 3406445"/>
              <a:gd name="connsiteY225" fmla="*/ 1093622 h 2205533"/>
              <a:gd name="connsiteX226" fmla="*/ 2476196 w 3406445"/>
              <a:gd name="connsiteY226" fmla="*/ 1100937 h 2205533"/>
              <a:gd name="connsiteX227" fmla="*/ 2490826 w 3406445"/>
              <a:gd name="connsiteY227" fmla="*/ 1082649 h 2205533"/>
              <a:gd name="connsiteX228" fmla="*/ 2501799 w 3406445"/>
              <a:gd name="connsiteY228" fmla="*/ 1078992 h 2205533"/>
              <a:gd name="connsiteX229" fmla="*/ 2534717 w 3406445"/>
              <a:gd name="connsiteY229" fmla="*/ 1060704 h 2205533"/>
              <a:gd name="connsiteX230" fmla="*/ 2560320 w 3406445"/>
              <a:gd name="connsiteY230" fmla="*/ 1049731 h 2205533"/>
              <a:gd name="connsiteX231" fmla="*/ 2582266 w 3406445"/>
              <a:gd name="connsiteY231" fmla="*/ 1042416 h 2205533"/>
              <a:gd name="connsiteX232" fmla="*/ 2611527 w 3406445"/>
              <a:gd name="connsiteY232" fmla="*/ 1046073 h 2205533"/>
              <a:gd name="connsiteX233" fmla="*/ 2644445 w 3406445"/>
              <a:gd name="connsiteY233" fmla="*/ 1060704 h 2205533"/>
              <a:gd name="connsiteX234" fmla="*/ 2659076 w 3406445"/>
              <a:gd name="connsiteY234" fmla="*/ 1064361 h 2205533"/>
              <a:gd name="connsiteX235" fmla="*/ 2670048 w 3406445"/>
              <a:gd name="connsiteY235" fmla="*/ 1071677 h 2205533"/>
              <a:gd name="connsiteX236" fmla="*/ 2666391 w 3406445"/>
              <a:gd name="connsiteY236" fmla="*/ 1093622 h 2205533"/>
              <a:gd name="connsiteX237" fmla="*/ 2644445 w 3406445"/>
              <a:gd name="connsiteY237" fmla="*/ 1100937 h 2205533"/>
              <a:gd name="connsiteX238" fmla="*/ 2611527 w 3406445"/>
              <a:gd name="connsiteY238" fmla="*/ 1108253 h 2205533"/>
              <a:gd name="connsiteX239" fmla="*/ 2589581 w 3406445"/>
              <a:gd name="connsiteY239" fmla="*/ 1115568 h 2205533"/>
              <a:gd name="connsiteX240" fmla="*/ 2578608 w 3406445"/>
              <a:gd name="connsiteY240" fmla="*/ 1119225 h 2205533"/>
              <a:gd name="connsiteX241" fmla="*/ 2553005 w 3406445"/>
              <a:gd name="connsiteY241" fmla="*/ 1148486 h 2205533"/>
              <a:gd name="connsiteX242" fmla="*/ 2531060 w 3406445"/>
              <a:gd name="connsiteY242" fmla="*/ 1155801 h 2205533"/>
              <a:gd name="connsiteX243" fmla="*/ 2509114 w 3406445"/>
              <a:gd name="connsiteY243" fmla="*/ 1185062 h 2205533"/>
              <a:gd name="connsiteX244" fmla="*/ 2501799 w 3406445"/>
              <a:gd name="connsiteY244" fmla="*/ 1196035 h 2205533"/>
              <a:gd name="connsiteX245" fmla="*/ 2490826 w 3406445"/>
              <a:gd name="connsiteY245" fmla="*/ 1203350 h 2205533"/>
              <a:gd name="connsiteX246" fmla="*/ 2479853 w 3406445"/>
              <a:gd name="connsiteY246" fmla="*/ 1225296 h 2205533"/>
              <a:gd name="connsiteX247" fmla="*/ 2490826 w 3406445"/>
              <a:gd name="connsiteY247" fmla="*/ 1236269 h 2205533"/>
              <a:gd name="connsiteX248" fmla="*/ 2494484 w 3406445"/>
              <a:gd name="connsiteY248" fmla="*/ 1247241 h 2205533"/>
              <a:gd name="connsiteX249" fmla="*/ 2512772 w 3406445"/>
              <a:gd name="connsiteY249" fmla="*/ 1261872 h 2205533"/>
              <a:gd name="connsiteX250" fmla="*/ 2520087 w 3406445"/>
              <a:gd name="connsiteY250" fmla="*/ 1272845 h 2205533"/>
              <a:gd name="connsiteX251" fmla="*/ 2527402 w 3406445"/>
              <a:gd name="connsiteY251" fmla="*/ 1294790 h 2205533"/>
              <a:gd name="connsiteX252" fmla="*/ 2531060 w 3406445"/>
              <a:gd name="connsiteY252" fmla="*/ 1305763 h 2205533"/>
              <a:gd name="connsiteX253" fmla="*/ 2538375 w 3406445"/>
              <a:gd name="connsiteY253" fmla="*/ 1316736 h 2205533"/>
              <a:gd name="connsiteX254" fmla="*/ 2545690 w 3406445"/>
              <a:gd name="connsiteY254" fmla="*/ 1338681 h 2205533"/>
              <a:gd name="connsiteX255" fmla="*/ 2549348 w 3406445"/>
              <a:gd name="connsiteY255" fmla="*/ 1349654 h 2205533"/>
              <a:gd name="connsiteX256" fmla="*/ 2553005 w 3406445"/>
              <a:gd name="connsiteY256" fmla="*/ 1367942 h 2205533"/>
              <a:gd name="connsiteX257" fmla="*/ 2563978 w 3406445"/>
              <a:gd name="connsiteY257" fmla="*/ 1375257 h 2205533"/>
              <a:gd name="connsiteX258" fmla="*/ 2571293 w 3406445"/>
              <a:gd name="connsiteY258" fmla="*/ 1386230 h 2205533"/>
              <a:gd name="connsiteX259" fmla="*/ 2574951 w 3406445"/>
              <a:gd name="connsiteY259" fmla="*/ 1397203 h 2205533"/>
              <a:gd name="connsiteX260" fmla="*/ 2585924 w 3406445"/>
              <a:gd name="connsiteY260" fmla="*/ 1408176 h 2205533"/>
              <a:gd name="connsiteX261" fmla="*/ 2593239 w 3406445"/>
              <a:gd name="connsiteY261" fmla="*/ 1419149 h 2205533"/>
              <a:gd name="connsiteX262" fmla="*/ 2596896 w 3406445"/>
              <a:gd name="connsiteY262" fmla="*/ 1430121 h 2205533"/>
              <a:gd name="connsiteX263" fmla="*/ 2553005 w 3406445"/>
              <a:gd name="connsiteY263" fmla="*/ 1448409 h 2205533"/>
              <a:gd name="connsiteX264" fmla="*/ 2563978 w 3406445"/>
              <a:gd name="connsiteY264" fmla="*/ 1452067 h 2205533"/>
              <a:gd name="connsiteX265" fmla="*/ 2571293 w 3406445"/>
              <a:gd name="connsiteY265" fmla="*/ 1463040 h 2205533"/>
              <a:gd name="connsiteX266" fmla="*/ 2578608 w 3406445"/>
              <a:gd name="connsiteY266" fmla="*/ 1492301 h 2205533"/>
              <a:gd name="connsiteX267" fmla="*/ 2582266 w 3406445"/>
              <a:gd name="connsiteY267" fmla="*/ 1503273 h 2205533"/>
              <a:gd name="connsiteX268" fmla="*/ 2563978 w 3406445"/>
              <a:gd name="connsiteY268" fmla="*/ 1517904 h 2205533"/>
              <a:gd name="connsiteX269" fmla="*/ 2538375 w 3406445"/>
              <a:gd name="connsiteY269" fmla="*/ 1536192 h 2205533"/>
              <a:gd name="connsiteX270" fmla="*/ 2527402 w 3406445"/>
              <a:gd name="connsiteY270" fmla="*/ 1539849 h 2205533"/>
              <a:gd name="connsiteX271" fmla="*/ 2556663 w 3406445"/>
              <a:gd name="connsiteY271" fmla="*/ 1554480 h 2205533"/>
              <a:gd name="connsiteX272" fmla="*/ 2567636 w 3406445"/>
              <a:gd name="connsiteY272" fmla="*/ 1558137 h 2205533"/>
              <a:gd name="connsiteX273" fmla="*/ 2571293 w 3406445"/>
              <a:gd name="connsiteY273" fmla="*/ 1569110 h 2205533"/>
              <a:gd name="connsiteX274" fmla="*/ 2567636 w 3406445"/>
              <a:gd name="connsiteY274" fmla="*/ 1605686 h 2205533"/>
              <a:gd name="connsiteX275" fmla="*/ 2563978 w 3406445"/>
              <a:gd name="connsiteY275" fmla="*/ 1616659 h 2205533"/>
              <a:gd name="connsiteX276" fmla="*/ 2542032 w 3406445"/>
              <a:gd name="connsiteY276" fmla="*/ 1645920 h 2205533"/>
              <a:gd name="connsiteX277" fmla="*/ 2527402 w 3406445"/>
              <a:gd name="connsiteY277" fmla="*/ 1667865 h 2205533"/>
              <a:gd name="connsiteX278" fmla="*/ 2523744 w 3406445"/>
              <a:gd name="connsiteY278" fmla="*/ 1678838 h 2205533"/>
              <a:gd name="connsiteX279" fmla="*/ 2509114 w 3406445"/>
              <a:gd name="connsiteY279" fmla="*/ 1700784 h 2205533"/>
              <a:gd name="connsiteX280" fmla="*/ 2501799 w 3406445"/>
              <a:gd name="connsiteY280" fmla="*/ 1711757 h 2205533"/>
              <a:gd name="connsiteX281" fmla="*/ 2490826 w 3406445"/>
              <a:gd name="connsiteY281" fmla="*/ 1730045 h 2205533"/>
              <a:gd name="connsiteX282" fmla="*/ 2479853 w 3406445"/>
              <a:gd name="connsiteY282" fmla="*/ 1755648 h 2205533"/>
              <a:gd name="connsiteX283" fmla="*/ 2472538 w 3406445"/>
              <a:gd name="connsiteY283" fmla="*/ 1766621 h 2205533"/>
              <a:gd name="connsiteX284" fmla="*/ 2468880 w 3406445"/>
              <a:gd name="connsiteY284" fmla="*/ 1777593 h 2205533"/>
              <a:gd name="connsiteX285" fmla="*/ 2457908 w 3406445"/>
              <a:gd name="connsiteY285" fmla="*/ 1781251 h 2205533"/>
              <a:gd name="connsiteX286" fmla="*/ 2432304 w 3406445"/>
              <a:gd name="connsiteY286" fmla="*/ 1810512 h 2205533"/>
              <a:gd name="connsiteX287" fmla="*/ 2417674 w 3406445"/>
              <a:gd name="connsiteY287" fmla="*/ 1854403 h 2205533"/>
              <a:gd name="connsiteX288" fmla="*/ 2414016 w 3406445"/>
              <a:gd name="connsiteY288" fmla="*/ 1865376 h 2205533"/>
              <a:gd name="connsiteX289" fmla="*/ 2406701 w 3406445"/>
              <a:gd name="connsiteY289" fmla="*/ 1876349 h 2205533"/>
              <a:gd name="connsiteX290" fmla="*/ 2384756 w 3406445"/>
              <a:gd name="connsiteY290" fmla="*/ 1905609 h 2205533"/>
              <a:gd name="connsiteX291" fmla="*/ 2370125 w 3406445"/>
              <a:gd name="connsiteY291" fmla="*/ 1927555 h 2205533"/>
              <a:gd name="connsiteX292" fmla="*/ 2362810 w 3406445"/>
              <a:gd name="connsiteY292" fmla="*/ 1938528 h 2205533"/>
              <a:gd name="connsiteX293" fmla="*/ 2351837 w 3406445"/>
              <a:gd name="connsiteY293" fmla="*/ 1945843 h 2205533"/>
              <a:gd name="connsiteX294" fmla="*/ 2329892 w 3406445"/>
              <a:gd name="connsiteY294" fmla="*/ 1953158 h 2205533"/>
              <a:gd name="connsiteX295" fmla="*/ 2318919 w 3406445"/>
              <a:gd name="connsiteY295" fmla="*/ 1960473 h 2205533"/>
              <a:gd name="connsiteX296" fmla="*/ 2311604 w 3406445"/>
              <a:gd name="connsiteY296" fmla="*/ 1967789 h 2205533"/>
              <a:gd name="connsiteX297" fmla="*/ 2289658 w 3406445"/>
              <a:gd name="connsiteY297" fmla="*/ 1975104 h 2205533"/>
              <a:gd name="connsiteX298" fmla="*/ 2278685 w 3406445"/>
              <a:gd name="connsiteY298" fmla="*/ 1978761 h 2205533"/>
              <a:gd name="connsiteX299" fmla="*/ 2264055 w 3406445"/>
              <a:gd name="connsiteY299" fmla="*/ 1997049 h 2205533"/>
              <a:gd name="connsiteX300" fmla="*/ 2238452 w 3406445"/>
              <a:gd name="connsiteY300" fmla="*/ 2015337 h 2205533"/>
              <a:gd name="connsiteX301" fmla="*/ 2205533 w 3406445"/>
              <a:gd name="connsiteY301" fmla="*/ 2033625 h 2205533"/>
              <a:gd name="connsiteX302" fmla="*/ 2139696 w 3406445"/>
              <a:gd name="connsiteY302" fmla="*/ 2037283 h 2205533"/>
              <a:gd name="connsiteX303" fmla="*/ 2125066 w 3406445"/>
              <a:gd name="connsiteY303" fmla="*/ 2040941 h 2205533"/>
              <a:gd name="connsiteX304" fmla="*/ 2103120 w 3406445"/>
              <a:gd name="connsiteY304" fmla="*/ 2048256 h 2205533"/>
              <a:gd name="connsiteX305" fmla="*/ 2092148 w 3406445"/>
              <a:gd name="connsiteY305" fmla="*/ 2044598 h 2205533"/>
              <a:gd name="connsiteX306" fmla="*/ 2081175 w 3406445"/>
              <a:gd name="connsiteY306" fmla="*/ 2040941 h 2205533"/>
              <a:gd name="connsiteX307" fmla="*/ 2077517 w 3406445"/>
              <a:gd name="connsiteY307" fmla="*/ 2051913 h 2205533"/>
              <a:gd name="connsiteX308" fmla="*/ 2073860 w 3406445"/>
              <a:gd name="connsiteY308" fmla="*/ 2066544 h 2205533"/>
              <a:gd name="connsiteX309" fmla="*/ 2051914 w 3406445"/>
              <a:gd name="connsiteY309" fmla="*/ 2062886 h 2205533"/>
              <a:gd name="connsiteX310" fmla="*/ 2048256 w 3406445"/>
              <a:gd name="connsiteY310" fmla="*/ 2073859 h 2205533"/>
              <a:gd name="connsiteX311" fmla="*/ 2044599 w 3406445"/>
              <a:gd name="connsiteY311" fmla="*/ 2092147 h 2205533"/>
              <a:gd name="connsiteX312" fmla="*/ 2011680 w 3406445"/>
              <a:gd name="connsiteY312" fmla="*/ 2106777 h 2205533"/>
              <a:gd name="connsiteX313" fmla="*/ 2000708 w 3406445"/>
              <a:gd name="connsiteY313" fmla="*/ 2110435 h 2205533"/>
              <a:gd name="connsiteX314" fmla="*/ 1989735 w 3406445"/>
              <a:gd name="connsiteY314" fmla="*/ 2114093 h 2205533"/>
              <a:gd name="connsiteX315" fmla="*/ 1964132 w 3406445"/>
              <a:gd name="connsiteY315" fmla="*/ 2125065 h 2205533"/>
              <a:gd name="connsiteX316" fmla="*/ 1912925 w 3406445"/>
              <a:gd name="connsiteY316" fmla="*/ 2128723 h 2205533"/>
              <a:gd name="connsiteX317" fmla="*/ 1901952 w 3406445"/>
              <a:gd name="connsiteY317" fmla="*/ 2132381 h 2205533"/>
              <a:gd name="connsiteX318" fmla="*/ 1876349 w 3406445"/>
              <a:gd name="connsiteY318" fmla="*/ 2161641 h 2205533"/>
              <a:gd name="connsiteX319" fmla="*/ 1850746 w 3406445"/>
              <a:gd name="connsiteY319" fmla="*/ 2187245 h 2205533"/>
              <a:gd name="connsiteX320" fmla="*/ 1847088 w 3406445"/>
              <a:gd name="connsiteY320" fmla="*/ 2198217 h 2205533"/>
              <a:gd name="connsiteX321" fmla="*/ 1858061 w 3406445"/>
              <a:gd name="connsiteY321" fmla="*/ 2205533 h 2205533"/>
              <a:gd name="connsiteX322" fmla="*/ 1850746 w 3406445"/>
              <a:gd name="connsiteY322" fmla="*/ 2198217 h 2205533"/>
              <a:gd name="connsiteX323" fmla="*/ 1843431 w 3406445"/>
              <a:gd name="connsiteY323" fmla="*/ 2176272 h 2205533"/>
              <a:gd name="connsiteX324" fmla="*/ 1839773 w 3406445"/>
              <a:gd name="connsiteY324" fmla="*/ 2132381 h 2205533"/>
              <a:gd name="connsiteX325" fmla="*/ 1828800 w 3406445"/>
              <a:gd name="connsiteY325" fmla="*/ 2128723 h 2205533"/>
              <a:gd name="connsiteX326" fmla="*/ 1803197 w 3406445"/>
              <a:gd name="connsiteY326" fmla="*/ 2117750 h 2205533"/>
              <a:gd name="connsiteX327" fmla="*/ 1737360 w 3406445"/>
              <a:gd name="connsiteY327" fmla="*/ 2114093 h 2205533"/>
              <a:gd name="connsiteX328" fmla="*/ 1719072 w 3406445"/>
              <a:gd name="connsiteY328" fmla="*/ 2106777 h 2205533"/>
              <a:gd name="connsiteX329" fmla="*/ 1704442 w 3406445"/>
              <a:gd name="connsiteY329" fmla="*/ 2103120 h 2205533"/>
              <a:gd name="connsiteX330" fmla="*/ 1700784 w 3406445"/>
              <a:gd name="connsiteY330" fmla="*/ 2092147 h 2205533"/>
              <a:gd name="connsiteX331" fmla="*/ 1689812 w 3406445"/>
              <a:gd name="connsiteY331" fmla="*/ 2081174 h 2205533"/>
              <a:gd name="connsiteX332" fmla="*/ 1675181 w 3406445"/>
              <a:gd name="connsiteY332" fmla="*/ 2073859 h 2205533"/>
              <a:gd name="connsiteX333" fmla="*/ 1660551 w 3406445"/>
              <a:gd name="connsiteY333" fmla="*/ 2062886 h 2205533"/>
              <a:gd name="connsiteX334" fmla="*/ 1653236 w 3406445"/>
              <a:gd name="connsiteY334" fmla="*/ 2048256 h 2205533"/>
              <a:gd name="connsiteX335" fmla="*/ 1638605 w 3406445"/>
              <a:gd name="connsiteY335" fmla="*/ 2029968 h 2205533"/>
              <a:gd name="connsiteX336" fmla="*/ 1594714 w 3406445"/>
              <a:gd name="connsiteY336" fmla="*/ 2026310 h 2205533"/>
              <a:gd name="connsiteX337" fmla="*/ 1583741 w 3406445"/>
              <a:gd name="connsiteY337" fmla="*/ 2022653 h 2205533"/>
              <a:gd name="connsiteX338" fmla="*/ 1528877 w 3406445"/>
              <a:gd name="connsiteY338" fmla="*/ 2033625 h 2205533"/>
              <a:gd name="connsiteX339" fmla="*/ 1517904 w 3406445"/>
              <a:gd name="connsiteY339" fmla="*/ 2037283 h 2205533"/>
              <a:gd name="connsiteX340" fmla="*/ 1506932 w 3406445"/>
              <a:gd name="connsiteY340" fmla="*/ 2040941 h 2205533"/>
              <a:gd name="connsiteX341" fmla="*/ 1430122 w 3406445"/>
              <a:gd name="connsiteY341" fmla="*/ 2044598 h 2205533"/>
              <a:gd name="connsiteX342" fmla="*/ 1408176 w 3406445"/>
              <a:gd name="connsiteY342" fmla="*/ 2048256 h 2205533"/>
              <a:gd name="connsiteX343" fmla="*/ 1404519 w 3406445"/>
              <a:gd name="connsiteY343" fmla="*/ 2059229 h 2205533"/>
              <a:gd name="connsiteX344" fmla="*/ 1371600 w 3406445"/>
              <a:gd name="connsiteY344" fmla="*/ 2062886 h 2205533"/>
              <a:gd name="connsiteX345" fmla="*/ 1367943 w 3406445"/>
              <a:gd name="connsiteY345" fmla="*/ 2077517 h 2205533"/>
              <a:gd name="connsiteX346" fmla="*/ 1371600 w 3406445"/>
              <a:gd name="connsiteY346" fmla="*/ 2095805 h 2205533"/>
              <a:gd name="connsiteX347" fmla="*/ 1378916 w 3406445"/>
              <a:gd name="connsiteY347" fmla="*/ 2103120 h 2205533"/>
              <a:gd name="connsiteX348" fmla="*/ 1386231 w 3406445"/>
              <a:gd name="connsiteY348" fmla="*/ 2114093 h 2205533"/>
              <a:gd name="connsiteX349" fmla="*/ 1367943 w 3406445"/>
              <a:gd name="connsiteY349" fmla="*/ 2132381 h 2205533"/>
              <a:gd name="connsiteX350" fmla="*/ 1356970 w 3406445"/>
              <a:gd name="connsiteY350" fmla="*/ 2128723 h 2205533"/>
              <a:gd name="connsiteX351" fmla="*/ 1364285 w 3406445"/>
              <a:gd name="connsiteY351" fmla="*/ 2114093 h 2205533"/>
              <a:gd name="connsiteX352" fmla="*/ 1316736 w 3406445"/>
              <a:gd name="connsiteY352" fmla="*/ 2106777 h 2205533"/>
              <a:gd name="connsiteX353" fmla="*/ 1291133 w 3406445"/>
              <a:gd name="connsiteY353" fmla="*/ 2103120 h 2205533"/>
              <a:gd name="connsiteX354" fmla="*/ 1287476 w 3406445"/>
              <a:gd name="connsiteY354" fmla="*/ 2092147 h 2205533"/>
              <a:gd name="connsiteX355" fmla="*/ 1272845 w 3406445"/>
              <a:gd name="connsiteY355" fmla="*/ 2088489 h 2205533"/>
              <a:gd name="connsiteX356" fmla="*/ 1261872 w 3406445"/>
              <a:gd name="connsiteY356" fmla="*/ 2084832 h 2205533"/>
              <a:gd name="connsiteX357" fmla="*/ 1243584 w 3406445"/>
              <a:gd name="connsiteY357" fmla="*/ 2070201 h 2205533"/>
              <a:gd name="connsiteX358" fmla="*/ 1247242 w 3406445"/>
              <a:gd name="connsiteY358" fmla="*/ 2059229 h 2205533"/>
              <a:gd name="connsiteX359" fmla="*/ 1258215 w 3406445"/>
              <a:gd name="connsiteY359" fmla="*/ 2051913 h 2205533"/>
              <a:gd name="connsiteX360" fmla="*/ 1250900 w 3406445"/>
              <a:gd name="connsiteY360" fmla="*/ 2040941 h 2205533"/>
              <a:gd name="connsiteX361" fmla="*/ 1232612 w 3406445"/>
              <a:gd name="connsiteY361" fmla="*/ 2026310 h 2205533"/>
              <a:gd name="connsiteX362" fmla="*/ 1239927 w 3406445"/>
              <a:gd name="connsiteY362" fmla="*/ 2015337 h 2205533"/>
              <a:gd name="connsiteX363" fmla="*/ 1228954 w 3406445"/>
              <a:gd name="connsiteY363" fmla="*/ 1997049 h 2205533"/>
              <a:gd name="connsiteX364" fmla="*/ 1214324 w 3406445"/>
              <a:gd name="connsiteY364" fmla="*/ 1956816 h 2205533"/>
              <a:gd name="connsiteX365" fmla="*/ 1192378 w 3406445"/>
              <a:gd name="connsiteY365" fmla="*/ 1960473 h 2205533"/>
              <a:gd name="connsiteX366" fmla="*/ 1170432 w 3406445"/>
              <a:gd name="connsiteY366" fmla="*/ 1956816 h 2205533"/>
              <a:gd name="connsiteX367" fmla="*/ 1166775 w 3406445"/>
              <a:gd name="connsiteY367" fmla="*/ 1945843 h 2205533"/>
              <a:gd name="connsiteX368" fmla="*/ 1177748 w 3406445"/>
              <a:gd name="connsiteY368" fmla="*/ 1920240 h 2205533"/>
              <a:gd name="connsiteX369" fmla="*/ 1181405 w 3406445"/>
              <a:gd name="connsiteY369" fmla="*/ 1909267 h 2205533"/>
              <a:gd name="connsiteX370" fmla="*/ 1192378 w 3406445"/>
              <a:gd name="connsiteY370" fmla="*/ 1887321 h 2205533"/>
              <a:gd name="connsiteX371" fmla="*/ 1199693 w 3406445"/>
              <a:gd name="connsiteY371" fmla="*/ 1858061 h 2205533"/>
              <a:gd name="connsiteX372" fmla="*/ 1225296 w 3406445"/>
              <a:gd name="connsiteY372" fmla="*/ 1836115 h 2205533"/>
              <a:gd name="connsiteX373" fmla="*/ 1239927 w 3406445"/>
              <a:gd name="connsiteY373" fmla="*/ 1817827 h 2205533"/>
              <a:gd name="connsiteX374" fmla="*/ 1236269 w 3406445"/>
              <a:gd name="connsiteY374" fmla="*/ 1803197 h 2205533"/>
              <a:gd name="connsiteX375" fmla="*/ 1228954 w 3406445"/>
              <a:gd name="connsiteY375" fmla="*/ 1733702 h 2205533"/>
              <a:gd name="connsiteX376" fmla="*/ 1221639 w 3406445"/>
              <a:gd name="connsiteY376" fmla="*/ 1722729 h 2205533"/>
              <a:gd name="connsiteX377" fmla="*/ 1214324 w 3406445"/>
              <a:gd name="connsiteY377" fmla="*/ 1693469 h 2205533"/>
              <a:gd name="connsiteX378" fmla="*/ 1210666 w 3406445"/>
              <a:gd name="connsiteY378" fmla="*/ 1682496 h 2205533"/>
              <a:gd name="connsiteX379" fmla="*/ 1203351 w 3406445"/>
              <a:gd name="connsiteY379" fmla="*/ 1671523 h 2205533"/>
              <a:gd name="connsiteX380" fmla="*/ 1196036 w 3406445"/>
              <a:gd name="connsiteY380" fmla="*/ 1656893 h 2205533"/>
              <a:gd name="connsiteX381" fmla="*/ 1192378 w 3406445"/>
              <a:gd name="connsiteY381" fmla="*/ 1645920 h 2205533"/>
              <a:gd name="connsiteX382" fmla="*/ 1181405 w 3406445"/>
              <a:gd name="connsiteY382" fmla="*/ 1642262 h 2205533"/>
              <a:gd name="connsiteX383" fmla="*/ 1170432 w 3406445"/>
              <a:gd name="connsiteY383" fmla="*/ 1649577 h 2205533"/>
              <a:gd name="connsiteX384" fmla="*/ 1097280 w 3406445"/>
              <a:gd name="connsiteY384" fmla="*/ 1649577 h 2205533"/>
              <a:gd name="connsiteX385" fmla="*/ 1122884 w 3406445"/>
              <a:gd name="connsiteY385" fmla="*/ 1631289 h 2205533"/>
              <a:gd name="connsiteX386" fmla="*/ 1119226 w 3406445"/>
              <a:gd name="connsiteY386" fmla="*/ 1620317 h 2205533"/>
              <a:gd name="connsiteX387" fmla="*/ 1115568 w 3406445"/>
              <a:gd name="connsiteY387" fmla="*/ 1605686 h 2205533"/>
              <a:gd name="connsiteX388" fmla="*/ 1104596 w 3406445"/>
              <a:gd name="connsiteY388" fmla="*/ 1602029 h 2205533"/>
              <a:gd name="connsiteX389" fmla="*/ 1078992 w 3406445"/>
              <a:gd name="connsiteY389" fmla="*/ 1605686 h 2205533"/>
              <a:gd name="connsiteX390" fmla="*/ 1057047 w 3406445"/>
              <a:gd name="connsiteY390" fmla="*/ 1613001 h 2205533"/>
              <a:gd name="connsiteX391" fmla="*/ 1009498 w 3406445"/>
              <a:gd name="connsiteY391" fmla="*/ 1616659 h 2205533"/>
              <a:gd name="connsiteX392" fmla="*/ 998525 w 3406445"/>
              <a:gd name="connsiteY392" fmla="*/ 1623974 h 2205533"/>
              <a:gd name="connsiteX393" fmla="*/ 991210 w 3406445"/>
              <a:gd name="connsiteY393" fmla="*/ 1634947 h 2205533"/>
              <a:gd name="connsiteX394" fmla="*/ 980237 w 3406445"/>
              <a:gd name="connsiteY394" fmla="*/ 1638605 h 2205533"/>
              <a:gd name="connsiteX395" fmla="*/ 958292 w 3406445"/>
              <a:gd name="connsiteY395" fmla="*/ 1653235 h 2205533"/>
              <a:gd name="connsiteX396" fmla="*/ 950976 w 3406445"/>
              <a:gd name="connsiteY396" fmla="*/ 1660550 h 2205533"/>
              <a:gd name="connsiteX397" fmla="*/ 940004 w 3406445"/>
              <a:gd name="connsiteY397" fmla="*/ 1664208 h 2205533"/>
              <a:gd name="connsiteX398" fmla="*/ 921716 w 3406445"/>
              <a:gd name="connsiteY398" fmla="*/ 1675181 h 2205533"/>
              <a:gd name="connsiteX399" fmla="*/ 903428 w 3406445"/>
              <a:gd name="connsiteY399" fmla="*/ 1689811 h 2205533"/>
              <a:gd name="connsiteX400" fmla="*/ 881482 w 3406445"/>
              <a:gd name="connsiteY400" fmla="*/ 1697126 h 2205533"/>
              <a:gd name="connsiteX401" fmla="*/ 870509 w 3406445"/>
              <a:gd name="connsiteY401" fmla="*/ 1700784 h 2205533"/>
              <a:gd name="connsiteX402" fmla="*/ 826618 w 3406445"/>
              <a:gd name="connsiteY402" fmla="*/ 1697126 h 2205533"/>
              <a:gd name="connsiteX403" fmla="*/ 815645 w 3406445"/>
              <a:gd name="connsiteY403" fmla="*/ 1693469 h 2205533"/>
              <a:gd name="connsiteX404" fmla="*/ 790042 w 3406445"/>
              <a:gd name="connsiteY404" fmla="*/ 1689811 h 2205533"/>
              <a:gd name="connsiteX405" fmla="*/ 779069 w 3406445"/>
              <a:gd name="connsiteY405" fmla="*/ 1682496 h 2205533"/>
              <a:gd name="connsiteX406" fmla="*/ 757124 w 3406445"/>
              <a:gd name="connsiteY406" fmla="*/ 1675181 h 2205533"/>
              <a:gd name="connsiteX407" fmla="*/ 738836 w 3406445"/>
              <a:gd name="connsiteY407" fmla="*/ 1678838 h 2205533"/>
              <a:gd name="connsiteX408" fmla="*/ 716890 w 3406445"/>
              <a:gd name="connsiteY408" fmla="*/ 1704441 h 2205533"/>
              <a:gd name="connsiteX409" fmla="*/ 694944 w 3406445"/>
              <a:gd name="connsiteY409" fmla="*/ 1715414 h 2205533"/>
              <a:gd name="connsiteX410" fmla="*/ 687629 w 3406445"/>
              <a:gd name="connsiteY410" fmla="*/ 1726387 h 2205533"/>
              <a:gd name="connsiteX411" fmla="*/ 683972 w 3406445"/>
              <a:gd name="connsiteY411" fmla="*/ 1711757 h 2205533"/>
              <a:gd name="connsiteX412" fmla="*/ 665684 w 3406445"/>
              <a:gd name="connsiteY412" fmla="*/ 1700784 h 2205533"/>
              <a:gd name="connsiteX413" fmla="*/ 588874 w 3406445"/>
              <a:gd name="connsiteY413" fmla="*/ 1700784 h 2205533"/>
              <a:gd name="connsiteX414" fmla="*/ 577901 w 3406445"/>
              <a:gd name="connsiteY414" fmla="*/ 1697126 h 2205533"/>
              <a:gd name="connsiteX415" fmla="*/ 559613 w 3406445"/>
              <a:gd name="connsiteY415" fmla="*/ 1693469 h 2205533"/>
              <a:gd name="connsiteX416" fmla="*/ 537668 w 3406445"/>
              <a:gd name="connsiteY416" fmla="*/ 1686153 h 2205533"/>
              <a:gd name="connsiteX417" fmla="*/ 526695 w 3406445"/>
              <a:gd name="connsiteY417" fmla="*/ 1689811 h 2205533"/>
              <a:gd name="connsiteX418" fmla="*/ 493776 w 3406445"/>
              <a:gd name="connsiteY418" fmla="*/ 1682496 h 2205533"/>
              <a:gd name="connsiteX419" fmla="*/ 475488 w 3406445"/>
              <a:gd name="connsiteY419" fmla="*/ 1667865 h 2205533"/>
              <a:gd name="connsiteX420" fmla="*/ 479146 w 3406445"/>
              <a:gd name="connsiteY420" fmla="*/ 1656893 h 2205533"/>
              <a:gd name="connsiteX421" fmla="*/ 471831 w 3406445"/>
              <a:gd name="connsiteY421" fmla="*/ 1649577 h 2205533"/>
              <a:gd name="connsiteX422" fmla="*/ 431597 w 3406445"/>
              <a:gd name="connsiteY422" fmla="*/ 1642262 h 2205533"/>
              <a:gd name="connsiteX423" fmla="*/ 435255 w 3406445"/>
              <a:gd name="connsiteY423" fmla="*/ 1623974 h 2205533"/>
              <a:gd name="connsiteX424" fmla="*/ 431597 w 3406445"/>
              <a:gd name="connsiteY424" fmla="*/ 1613001 h 2205533"/>
              <a:gd name="connsiteX425" fmla="*/ 420624 w 3406445"/>
              <a:gd name="connsiteY425" fmla="*/ 1609344 h 2205533"/>
              <a:gd name="connsiteX426" fmla="*/ 380391 w 3406445"/>
              <a:gd name="connsiteY426" fmla="*/ 1605686 h 2205533"/>
              <a:gd name="connsiteX427" fmla="*/ 373076 w 3406445"/>
              <a:gd name="connsiteY427" fmla="*/ 1569110 h 2205533"/>
              <a:gd name="connsiteX428" fmla="*/ 369418 w 3406445"/>
              <a:gd name="connsiteY428" fmla="*/ 1558137 h 2205533"/>
              <a:gd name="connsiteX429" fmla="*/ 358445 w 3406445"/>
              <a:gd name="connsiteY429" fmla="*/ 1550822 h 2205533"/>
              <a:gd name="connsiteX430" fmla="*/ 354788 w 3406445"/>
              <a:gd name="connsiteY430" fmla="*/ 1539849 h 2205533"/>
              <a:gd name="connsiteX431" fmla="*/ 325527 w 3406445"/>
              <a:gd name="connsiteY431" fmla="*/ 1543507 h 2205533"/>
              <a:gd name="connsiteX432" fmla="*/ 267005 w 3406445"/>
              <a:gd name="connsiteY432" fmla="*/ 1547165 h 2205533"/>
              <a:gd name="connsiteX433" fmla="*/ 256032 w 3406445"/>
              <a:gd name="connsiteY433" fmla="*/ 1550822 h 2205533"/>
              <a:gd name="connsiteX434" fmla="*/ 237744 w 3406445"/>
              <a:gd name="connsiteY434" fmla="*/ 1539849 h 2205533"/>
              <a:gd name="connsiteX435" fmla="*/ 230429 w 3406445"/>
              <a:gd name="connsiteY435" fmla="*/ 1528877 h 2205533"/>
              <a:gd name="connsiteX436" fmla="*/ 223114 w 3406445"/>
              <a:gd name="connsiteY436" fmla="*/ 1521561 h 2205533"/>
              <a:gd name="connsiteX437" fmla="*/ 212141 w 3406445"/>
              <a:gd name="connsiteY437" fmla="*/ 1514246 h 2205533"/>
              <a:gd name="connsiteX438" fmla="*/ 171908 w 3406445"/>
              <a:gd name="connsiteY438" fmla="*/ 1503273 h 2205533"/>
              <a:gd name="connsiteX439" fmla="*/ 157277 w 3406445"/>
              <a:gd name="connsiteY439" fmla="*/ 1484985 h 2205533"/>
              <a:gd name="connsiteX440" fmla="*/ 149962 w 3406445"/>
              <a:gd name="connsiteY440" fmla="*/ 1463040 h 2205533"/>
              <a:gd name="connsiteX441" fmla="*/ 146304 w 3406445"/>
              <a:gd name="connsiteY441" fmla="*/ 1404518 h 2205533"/>
              <a:gd name="connsiteX442" fmla="*/ 142647 w 3406445"/>
              <a:gd name="connsiteY442" fmla="*/ 1389888 h 2205533"/>
              <a:gd name="connsiteX443" fmla="*/ 153620 w 3406445"/>
              <a:gd name="connsiteY443" fmla="*/ 1382573 h 2205533"/>
              <a:gd name="connsiteX444" fmla="*/ 168250 w 3406445"/>
              <a:gd name="connsiteY444" fmla="*/ 1386230 h 2205533"/>
              <a:gd name="connsiteX445" fmla="*/ 171908 w 3406445"/>
              <a:gd name="connsiteY445" fmla="*/ 1397203 h 2205533"/>
              <a:gd name="connsiteX446" fmla="*/ 182880 w 3406445"/>
              <a:gd name="connsiteY446" fmla="*/ 1400861 h 2205533"/>
              <a:gd name="connsiteX447" fmla="*/ 204826 w 3406445"/>
              <a:gd name="connsiteY447" fmla="*/ 1389888 h 2205533"/>
              <a:gd name="connsiteX448" fmla="*/ 208484 w 3406445"/>
              <a:gd name="connsiteY448" fmla="*/ 1378915 h 2205533"/>
              <a:gd name="connsiteX449" fmla="*/ 204826 w 3406445"/>
              <a:gd name="connsiteY449" fmla="*/ 1360627 h 2205533"/>
              <a:gd name="connsiteX450" fmla="*/ 201168 w 3406445"/>
              <a:gd name="connsiteY450" fmla="*/ 1349654 h 2205533"/>
              <a:gd name="connsiteX451" fmla="*/ 208484 w 3406445"/>
              <a:gd name="connsiteY451" fmla="*/ 1305763 h 2205533"/>
              <a:gd name="connsiteX452" fmla="*/ 215799 w 3406445"/>
              <a:gd name="connsiteY452" fmla="*/ 1294790 h 2205533"/>
              <a:gd name="connsiteX453" fmla="*/ 226772 w 3406445"/>
              <a:gd name="connsiteY453" fmla="*/ 1291133 h 2205533"/>
              <a:gd name="connsiteX454" fmla="*/ 234087 w 3406445"/>
              <a:gd name="connsiteY454" fmla="*/ 1283817 h 2205533"/>
              <a:gd name="connsiteX455" fmla="*/ 256032 w 3406445"/>
              <a:gd name="connsiteY455" fmla="*/ 1272845 h 2205533"/>
              <a:gd name="connsiteX456" fmla="*/ 270663 w 3406445"/>
              <a:gd name="connsiteY456" fmla="*/ 1254557 h 2205533"/>
              <a:gd name="connsiteX457" fmla="*/ 277978 w 3406445"/>
              <a:gd name="connsiteY457" fmla="*/ 1247241 h 2205533"/>
              <a:gd name="connsiteX458" fmla="*/ 281636 w 3406445"/>
              <a:gd name="connsiteY458" fmla="*/ 1236269 h 2205533"/>
              <a:gd name="connsiteX459" fmla="*/ 288951 w 3406445"/>
              <a:gd name="connsiteY459" fmla="*/ 1210665 h 2205533"/>
              <a:gd name="connsiteX460" fmla="*/ 296266 w 3406445"/>
              <a:gd name="connsiteY460" fmla="*/ 1199693 h 2205533"/>
              <a:gd name="connsiteX461" fmla="*/ 292608 w 3406445"/>
              <a:gd name="connsiteY461" fmla="*/ 1188720 h 2205533"/>
              <a:gd name="connsiteX462" fmla="*/ 281636 w 3406445"/>
              <a:gd name="connsiteY462" fmla="*/ 1181405 h 2205533"/>
              <a:gd name="connsiteX463" fmla="*/ 274320 w 3406445"/>
              <a:gd name="connsiteY463" fmla="*/ 1159459 h 2205533"/>
              <a:gd name="connsiteX464" fmla="*/ 267005 w 3406445"/>
              <a:gd name="connsiteY464" fmla="*/ 1148486 h 2205533"/>
              <a:gd name="connsiteX465" fmla="*/ 212141 w 3406445"/>
              <a:gd name="connsiteY465" fmla="*/ 1159459 h 2205533"/>
              <a:gd name="connsiteX466" fmla="*/ 201168 w 3406445"/>
              <a:gd name="connsiteY466" fmla="*/ 1163117 h 2205533"/>
              <a:gd name="connsiteX467" fmla="*/ 190196 w 3406445"/>
              <a:gd name="connsiteY467" fmla="*/ 1166774 h 2205533"/>
              <a:gd name="connsiteX468" fmla="*/ 157277 w 3406445"/>
              <a:gd name="connsiteY468" fmla="*/ 1185062 h 2205533"/>
              <a:gd name="connsiteX469" fmla="*/ 120701 w 3406445"/>
              <a:gd name="connsiteY469" fmla="*/ 1181405 h 2205533"/>
              <a:gd name="connsiteX470" fmla="*/ 98756 w 3406445"/>
              <a:gd name="connsiteY470" fmla="*/ 1174089 h 2205533"/>
              <a:gd name="connsiteX471" fmla="*/ 91440 w 3406445"/>
              <a:gd name="connsiteY471" fmla="*/ 1166774 h 2205533"/>
              <a:gd name="connsiteX472" fmla="*/ 87783 w 3406445"/>
              <a:gd name="connsiteY472" fmla="*/ 1155801 h 2205533"/>
              <a:gd name="connsiteX473" fmla="*/ 76810 w 3406445"/>
              <a:gd name="connsiteY473" fmla="*/ 1148486 h 2205533"/>
              <a:gd name="connsiteX474" fmla="*/ 69495 w 3406445"/>
              <a:gd name="connsiteY474" fmla="*/ 1137513 h 2205533"/>
              <a:gd name="connsiteX475" fmla="*/ 69495 w 3406445"/>
              <a:gd name="connsiteY475" fmla="*/ 1111910 h 2205533"/>
              <a:gd name="connsiteX476" fmla="*/ 47549 w 3406445"/>
              <a:gd name="connsiteY476" fmla="*/ 1104595 h 2205533"/>
              <a:gd name="connsiteX477" fmla="*/ 32919 w 3406445"/>
              <a:gd name="connsiteY477" fmla="*/ 1097280 h 2205533"/>
              <a:gd name="connsiteX478" fmla="*/ 32919 w 3406445"/>
              <a:gd name="connsiteY478" fmla="*/ 1068019 h 2205533"/>
              <a:gd name="connsiteX479" fmla="*/ 25604 w 3406445"/>
              <a:gd name="connsiteY479" fmla="*/ 1002182 h 2205533"/>
              <a:gd name="connsiteX480" fmla="*/ 21946 w 3406445"/>
              <a:gd name="connsiteY480" fmla="*/ 991209 h 2205533"/>
              <a:gd name="connsiteX481" fmla="*/ 0 w 3406445"/>
              <a:gd name="connsiteY481" fmla="*/ 976579 h 2205533"/>
              <a:gd name="connsiteX482" fmla="*/ 7316 w 3406445"/>
              <a:gd name="connsiteY482" fmla="*/ 925373 h 2205533"/>
              <a:gd name="connsiteX483" fmla="*/ 14631 w 3406445"/>
              <a:gd name="connsiteY483" fmla="*/ 914400 h 2205533"/>
              <a:gd name="connsiteX484" fmla="*/ 21946 w 3406445"/>
              <a:gd name="connsiteY484" fmla="*/ 892454 h 2205533"/>
              <a:gd name="connsiteX485" fmla="*/ 32919 w 3406445"/>
              <a:gd name="connsiteY485" fmla="*/ 885139 h 2205533"/>
              <a:gd name="connsiteX486" fmla="*/ 54864 w 3406445"/>
              <a:gd name="connsiteY486" fmla="*/ 877824 h 2205533"/>
              <a:gd name="connsiteX487" fmla="*/ 65837 w 3406445"/>
              <a:gd name="connsiteY487" fmla="*/ 874166 h 2205533"/>
              <a:gd name="connsiteX488" fmla="*/ 76810 w 3406445"/>
              <a:gd name="connsiteY488" fmla="*/ 870509 h 2205533"/>
              <a:gd name="connsiteX489" fmla="*/ 87783 w 3406445"/>
              <a:gd name="connsiteY489" fmla="*/ 866851 h 2205533"/>
              <a:gd name="connsiteX490" fmla="*/ 149962 w 3406445"/>
              <a:gd name="connsiteY490" fmla="*/ 863193 h 2205533"/>
              <a:gd name="connsiteX491" fmla="*/ 182880 w 3406445"/>
              <a:gd name="connsiteY491" fmla="*/ 852221 h 2205533"/>
              <a:gd name="connsiteX492" fmla="*/ 193853 w 3406445"/>
              <a:gd name="connsiteY492" fmla="*/ 848563 h 2205533"/>
              <a:gd name="connsiteX493" fmla="*/ 204826 w 3406445"/>
              <a:gd name="connsiteY493" fmla="*/ 844905 h 2205533"/>
              <a:gd name="connsiteX494" fmla="*/ 219456 w 3406445"/>
              <a:gd name="connsiteY494" fmla="*/ 841248 h 2205533"/>
              <a:gd name="connsiteX495" fmla="*/ 241402 w 3406445"/>
              <a:gd name="connsiteY495" fmla="*/ 833933 h 2205533"/>
              <a:gd name="connsiteX496" fmla="*/ 256032 w 3406445"/>
              <a:gd name="connsiteY496" fmla="*/ 830275 h 2205533"/>
              <a:gd name="connsiteX497" fmla="*/ 288951 w 3406445"/>
              <a:gd name="connsiteY497" fmla="*/ 819302 h 2205533"/>
              <a:gd name="connsiteX498" fmla="*/ 299924 w 3406445"/>
              <a:gd name="connsiteY498" fmla="*/ 815645 h 2205533"/>
              <a:gd name="connsiteX499" fmla="*/ 307239 w 3406445"/>
              <a:gd name="connsiteY499" fmla="*/ 808329 h 2205533"/>
              <a:gd name="connsiteX500" fmla="*/ 314554 w 3406445"/>
              <a:gd name="connsiteY500" fmla="*/ 797357 h 2205533"/>
              <a:gd name="connsiteX501" fmla="*/ 325527 w 3406445"/>
              <a:gd name="connsiteY501" fmla="*/ 793699 h 2205533"/>
              <a:gd name="connsiteX502" fmla="*/ 358445 w 3406445"/>
              <a:gd name="connsiteY502" fmla="*/ 782726 h 2205533"/>
              <a:gd name="connsiteX503" fmla="*/ 380391 w 3406445"/>
              <a:gd name="connsiteY503" fmla="*/ 775411 h 2205533"/>
              <a:gd name="connsiteX504" fmla="*/ 391364 w 3406445"/>
              <a:gd name="connsiteY504" fmla="*/ 771753 h 2205533"/>
              <a:gd name="connsiteX505" fmla="*/ 402336 w 3406445"/>
              <a:gd name="connsiteY505" fmla="*/ 753465 h 2205533"/>
              <a:gd name="connsiteX506" fmla="*/ 405994 w 3406445"/>
              <a:gd name="connsiteY506" fmla="*/ 742493 h 2205533"/>
              <a:gd name="connsiteX507" fmla="*/ 424282 w 3406445"/>
              <a:gd name="connsiteY507" fmla="*/ 727862 h 2205533"/>
              <a:gd name="connsiteX508" fmla="*/ 438912 w 3406445"/>
              <a:gd name="connsiteY508" fmla="*/ 705917 h 2205533"/>
              <a:gd name="connsiteX509" fmla="*/ 449885 w 3406445"/>
              <a:gd name="connsiteY509" fmla="*/ 662025 h 2205533"/>
              <a:gd name="connsiteX510" fmla="*/ 453543 w 3406445"/>
              <a:gd name="connsiteY510" fmla="*/ 651053 h 2205533"/>
              <a:gd name="connsiteX511" fmla="*/ 457200 w 3406445"/>
              <a:gd name="connsiteY511" fmla="*/ 640080 h 2205533"/>
              <a:gd name="connsiteX512" fmla="*/ 460858 w 3406445"/>
              <a:gd name="connsiteY512" fmla="*/ 566928 h 2205533"/>
              <a:gd name="connsiteX513" fmla="*/ 493776 w 3406445"/>
              <a:gd name="connsiteY513" fmla="*/ 548640 h 2205533"/>
              <a:gd name="connsiteX514" fmla="*/ 566928 w 3406445"/>
              <a:gd name="connsiteY514" fmla="*/ 544982 h 2205533"/>
              <a:gd name="connsiteX515" fmla="*/ 577901 w 3406445"/>
              <a:gd name="connsiteY515" fmla="*/ 541325 h 2205533"/>
              <a:gd name="connsiteX516" fmla="*/ 599847 w 3406445"/>
              <a:gd name="connsiteY516" fmla="*/ 526694 h 2205533"/>
              <a:gd name="connsiteX517" fmla="*/ 607162 w 3406445"/>
              <a:gd name="connsiteY517" fmla="*/ 515721 h 2205533"/>
              <a:gd name="connsiteX518" fmla="*/ 618135 w 3406445"/>
              <a:gd name="connsiteY518" fmla="*/ 512064 h 2205533"/>
              <a:gd name="connsiteX519" fmla="*/ 621792 w 3406445"/>
              <a:gd name="connsiteY519" fmla="*/ 497433 h 2205533"/>
              <a:gd name="connsiteX520" fmla="*/ 625450 w 3406445"/>
              <a:gd name="connsiteY520" fmla="*/ 486461 h 2205533"/>
              <a:gd name="connsiteX521" fmla="*/ 629108 w 3406445"/>
              <a:gd name="connsiteY521" fmla="*/ 453542 h 2205533"/>
              <a:gd name="connsiteX522" fmla="*/ 632765 w 3406445"/>
              <a:gd name="connsiteY522" fmla="*/ 442569 h 2205533"/>
              <a:gd name="connsiteX523" fmla="*/ 654711 w 3406445"/>
              <a:gd name="connsiteY523" fmla="*/ 427939 h 2205533"/>
              <a:gd name="connsiteX524" fmla="*/ 669341 w 3406445"/>
              <a:gd name="connsiteY524" fmla="*/ 424281 h 2205533"/>
              <a:gd name="connsiteX525" fmla="*/ 687629 w 3406445"/>
              <a:gd name="connsiteY525" fmla="*/ 420624 h 2205533"/>
              <a:gd name="connsiteX526" fmla="*/ 698602 w 3406445"/>
              <a:gd name="connsiteY526" fmla="*/ 416966 h 2205533"/>
              <a:gd name="connsiteX527" fmla="*/ 749808 w 3406445"/>
              <a:gd name="connsiteY527" fmla="*/ 427939 h 2205533"/>
              <a:gd name="connsiteX528" fmla="*/ 760781 w 3406445"/>
              <a:gd name="connsiteY528" fmla="*/ 435254 h 2205533"/>
              <a:gd name="connsiteX529" fmla="*/ 782727 w 3406445"/>
              <a:gd name="connsiteY529" fmla="*/ 442569 h 2205533"/>
              <a:gd name="connsiteX530" fmla="*/ 808330 w 3406445"/>
              <a:gd name="connsiteY530" fmla="*/ 438912 h 2205533"/>
              <a:gd name="connsiteX531" fmla="*/ 819303 w 3406445"/>
              <a:gd name="connsiteY531" fmla="*/ 435254 h 2205533"/>
              <a:gd name="connsiteX532" fmla="*/ 822960 w 3406445"/>
              <a:gd name="connsiteY532" fmla="*/ 380390 h 2205533"/>
              <a:gd name="connsiteX533" fmla="*/ 826618 w 3406445"/>
              <a:gd name="connsiteY533" fmla="*/ 365760 h 2205533"/>
              <a:gd name="connsiteX534" fmla="*/ 859536 w 3406445"/>
              <a:gd name="connsiteY534" fmla="*/ 351129 h 2205533"/>
              <a:gd name="connsiteX535" fmla="*/ 881482 w 3406445"/>
              <a:gd name="connsiteY535" fmla="*/ 332841 h 2205533"/>
              <a:gd name="connsiteX536" fmla="*/ 888797 w 3406445"/>
              <a:gd name="connsiteY536" fmla="*/ 321869 h 2205533"/>
              <a:gd name="connsiteX537" fmla="*/ 896112 w 3406445"/>
              <a:gd name="connsiteY537" fmla="*/ 314553 h 2205533"/>
              <a:gd name="connsiteX538" fmla="*/ 903428 w 3406445"/>
              <a:gd name="connsiteY538" fmla="*/ 303581 h 2205533"/>
              <a:gd name="connsiteX539" fmla="*/ 910743 w 3406445"/>
              <a:gd name="connsiteY539" fmla="*/ 296265 h 2205533"/>
              <a:gd name="connsiteX540" fmla="*/ 932688 w 3406445"/>
              <a:gd name="connsiteY540" fmla="*/ 277977 h 2205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</a:cxnLst>
            <a:rect l="l" t="t" r="r" b="b"/>
            <a:pathLst>
              <a:path w="3406445" h="2205533">
                <a:moveTo>
                  <a:pt x="932688" y="277977"/>
                </a:moveTo>
                <a:cubicBezTo>
                  <a:pt x="941222" y="277368"/>
                  <a:pt x="954646" y="285305"/>
                  <a:pt x="961949" y="292608"/>
                </a:cubicBezTo>
                <a:cubicBezTo>
                  <a:pt x="965057" y="295716"/>
                  <a:pt x="966826" y="299923"/>
                  <a:pt x="969264" y="303581"/>
                </a:cubicBezTo>
                <a:cubicBezTo>
                  <a:pt x="970483" y="308458"/>
                  <a:pt x="972158" y="313243"/>
                  <a:pt x="972922" y="318211"/>
                </a:cubicBezTo>
                <a:cubicBezTo>
                  <a:pt x="974601" y="329123"/>
                  <a:pt x="970653" y="341815"/>
                  <a:pt x="976580" y="351129"/>
                </a:cubicBezTo>
                <a:cubicBezTo>
                  <a:pt x="980720" y="357634"/>
                  <a:pt x="990846" y="357747"/>
                  <a:pt x="998525" y="358445"/>
                </a:cubicBezTo>
                <a:lnTo>
                  <a:pt x="1038759" y="362102"/>
                </a:lnTo>
                <a:cubicBezTo>
                  <a:pt x="1046848" y="370191"/>
                  <a:pt x="1051955" y="373863"/>
                  <a:pt x="1057047" y="384048"/>
                </a:cubicBezTo>
                <a:cubicBezTo>
                  <a:pt x="1058771" y="387496"/>
                  <a:pt x="1059485" y="391363"/>
                  <a:pt x="1060704" y="395021"/>
                </a:cubicBezTo>
                <a:cubicBezTo>
                  <a:pt x="1063459" y="450110"/>
                  <a:pt x="1067442" y="461240"/>
                  <a:pt x="1060704" y="508406"/>
                </a:cubicBezTo>
                <a:cubicBezTo>
                  <a:pt x="1060159" y="512223"/>
                  <a:pt x="1058106" y="515672"/>
                  <a:pt x="1057047" y="519379"/>
                </a:cubicBezTo>
                <a:cubicBezTo>
                  <a:pt x="1047862" y="551528"/>
                  <a:pt x="1058500" y="518672"/>
                  <a:pt x="1049732" y="544982"/>
                </a:cubicBezTo>
                <a:cubicBezTo>
                  <a:pt x="1069258" y="603570"/>
                  <a:pt x="1048765" y="553551"/>
                  <a:pt x="1203351" y="559613"/>
                </a:cubicBezTo>
                <a:cubicBezTo>
                  <a:pt x="1215594" y="560093"/>
                  <a:pt x="1227735" y="562051"/>
                  <a:pt x="1239927" y="563270"/>
                </a:cubicBezTo>
                <a:cubicBezTo>
                  <a:pt x="1251520" y="580660"/>
                  <a:pt x="1245851" y="570071"/>
                  <a:pt x="1254557" y="596189"/>
                </a:cubicBezTo>
                <a:lnTo>
                  <a:pt x="1258215" y="607161"/>
                </a:lnTo>
                <a:cubicBezTo>
                  <a:pt x="1259434" y="610819"/>
                  <a:pt x="1259146" y="615408"/>
                  <a:pt x="1261872" y="618134"/>
                </a:cubicBezTo>
                <a:cubicBezTo>
                  <a:pt x="1270539" y="626800"/>
                  <a:pt x="1279680" y="634983"/>
                  <a:pt x="1283818" y="647395"/>
                </a:cubicBezTo>
                <a:cubicBezTo>
                  <a:pt x="1296102" y="684244"/>
                  <a:pt x="1277367" y="627108"/>
                  <a:pt x="1291133" y="672998"/>
                </a:cubicBezTo>
                <a:cubicBezTo>
                  <a:pt x="1293513" y="680931"/>
                  <a:pt x="1295690" y="697222"/>
                  <a:pt x="1305764" y="702259"/>
                </a:cubicBezTo>
                <a:cubicBezTo>
                  <a:pt x="1312661" y="705707"/>
                  <a:pt x="1327709" y="709574"/>
                  <a:pt x="1327709" y="709574"/>
                </a:cubicBezTo>
                <a:cubicBezTo>
                  <a:pt x="1331367" y="712012"/>
                  <a:pt x="1334750" y="714923"/>
                  <a:pt x="1338682" y="716889"/>
                </a:cubicBezTo>
                <a:cubicBezTo>
                  <a:pt x="1359477" y="727286"/>
                  <a:pt x="1390011" y="717957"/>
                  <a:pt x="1408176" y="716889"/>
                </a:cubicBezTo>
                <a:lnTo>
                  <a:pt x="1474013" y="713232"/>
                </a:lnTo>
                <a:cubicBezTo>
                  <a:pt x="1477671" y="712013"/>
                  <a:pt x="1481183" y="710208"/>
                  <a:pt x="1484986" y="709574"/>
                </a:cubicBezTo>
                <a:cubicBezTo>
                  <a:pt x="1533986" y="701407"/>
                  <a:pt x="1503152" y="710835"/>
                  <a:pt x="1528877" y="702259"/>
                </a:cubicBezTo>
                <a:cubicBezTo>
                  <a:pt x="1531761" y="702481"/>
                  <a:pt x="1580729" y="704330"/>
                  <a:pt x="1594714" y="709574"/>
                </a:cubicBezTo>
                <a:cubicBezTo>
                  <a:pt x="1614239" y="716895"/>
                  <a:pt x="1598121" y="715276"/>
                  <a:pt x="1613002" y="724205"/>
                </a:cubicBezTo>
                <a:cubicBezTo>
                  <a:pt x="1616308" y="726189"/>
                  <a:pt x="1620317" y="726643"/>
                  <a:pt x="1623975" y="727862"/>
                </a:cubicBezTo>
                <a:cubicBezTo>
                  <a:pt x="1627633" y="730300"/>
                  <a:pt x="1630908" y="733445"/>
                  <a:pt x="1634948" y="735177"/>
                </a:cubicBezTo>
                <a:cubicBezTo>
                  <a:pt x="1643235" y="738729"/>
                  <a:pt x="1652543" y="738044"/>
                  <a:pt x="1660551" y="742493"/>
                </a:cubicBezTo>
                <a:cubicBezTo>
                  <a:pt x="1696180" y="762287"/>
                  <a:pt x="1668534" y="753632"/>
                  <a:pt x="1697127" y="760781"/>
                </a:cubicBezTo>
                <a:cubicBezTo>
                  <a:pt x="1700785" y="763219"/>
                  <a:pt x="1704168" y="766130"/>
                  <a:pt x="1708100" y="768096"/>
                </a:cubicBezTo>
                <a:cubicBezTo>
                  <a:pt x="1711548" y="769820"/>
                  <a:pt x="1715766" y="769770"/>
                  <a:pt x="1719072" y="771753"/>
                </a:cubicBezTo>
                <a:cubicBezTo>
                  <a:pt x="1722029" y="773527"/>
                  <a:pt x="1723303" y="777527"/>
                  <a:pt x="1726388" y="779069"/>
                </a:cubicBezTo>
                <a:cubicBezTo>
                  <a:pt x="1733285" y="782517"/>
                  <a:pt x="1741018" y="783946"/>
                  <a:pt x="1748333" y="786384"/>
                </a:cubicBezTo>
                <a:lnTo>
                  <a:pt x="1759306" y="790041"/>
                </a:lnTo>
                <a:cubicBezTo>
                  <a:pt x="1769060" y="788822"/>
                  <a:pt x="1779084" y="788970"/>
                  <a:pt x="1788567" y="786384"/>
                </a:cubicBezTo>
                <a:cubicBezTo>
                  <a:pt x="1802846" y="782490"/>
                  <a:pt x="1798064" y="778363"/>
                  <a:pt x="1803197" y="768096"/>
                </a:cubicBezTo>
                <a:cubicBezTo>
                  <a:pt x="1805163" y="764164"/>
                  <a:pt x="1807766" y="760556"/>
                  <a:pt x="1810512" y="757123"/>
                </a:cubicBezTo>
                <a:cubicBezTo>
                  <a:pt x="1812666" y="754430"/>
                  <a:pt x="1814743" y="751350"/>
                  <a:pt x="1817828" y="749808"/>
                </a:cubicBezTo>
                <a:cubicBezTo>
                  <a:pt x="1824725" y="746360"/>
                  <a:pt x="1839773" y="742493"/>
                  <a:pt x="1839773" y="742493"/>
                </a:cubicBezTo>
                <a:cubicBezTo>
                  <a:pt x="1842211" y="740054"/>
                  <a:pt x="1843641" y="735285"/>
                  <a:pt x="1847088" y="735177"/>
                </a:cubicBezTo>
                <a:cubicBezTo>
                  <a:pt x="1883666" y="734034"/>
                  <a:pt x="1920287" y="736621"/>
                  <a:pt x="1956816" y="738835"/>
                </a:cubicBezTo>
                <a:cubicBezTo>
                  <a:pt x="1960664" y="739068"/>
                  <a:pt x="1964082" y="741434"/>
                  <a:pt x="1967789" y="742493"/>
                </a:cubicBezTo>
                <a:cubicBezTo>
                  <a:pt x="1972623" y="743874"/>
                  <a:pt x="1977543" y="744931"/>
                  <a:pt x="1982420" y="746150"/>
                </a:cubicBezTo>
                <a:cubicBezTo>
                  <a:pt x="1995831" y="744931"/>
                  <a:pt x="2009322" y="744397"/>
                  <a:pt x="2022653" y="742493"/>
                </a:cubicBezTo>
                <a:cubicBezTo>
                  <a:pt x="2026470" y="741948"/>
                  <a:pt x="2030418" y="740974"/>
                  <a:pt x="2033626" y="738835"/>
                </a:cubicBezTo>
                <a:cubicBezTo>
                  <a:pt x="2037930" y="735966"/>
                  <a:pt x="2040625" y="731173"/>
                  <a:pt x="2044599" y="727862"/>
                </a:cubicBezTo>
                <a:cubicBezTo>
                  <a:pt x="2047976" y="725048"/>
                  <a:pt x="2051914" y="722985"/>
                  <a:pt x="2055572" y="720547"/>
                </a:cubicBezTo>
                <a:cubicBezTo>
                  <a:pt x="2076291" y="689467"/>
                  <a:pt x="2042175" y="737595"/>
                  <a:pt x="2084832" y="694944"/>
                </a:cubicBezTo>
                <a:cubicBezTo>
                  <a:pt x="2087271" y="692506"/>
                  <a:pt x="2089064" y="689171"/>
                  <a:pt x="2092148" y="687629"/>
                </a:cubicBezTo>
                <a:cubicBezTo>
                  <a:pt x="2096644" y="685381"/>
                  <a:pt x="2101901" y="685190"/>
                  <a:pt x="2106778" y="683971"/>
                </a:cubicBezTo>
                <a:cubicBezTo>
                  <a:pt x="2109216" y="680313"/>
                  <a:pt x="2110660" y="675744"/>
                  <a:pt x="2114093" y="672998"/>
                </a:cubicBezTo>
                <a:cubicBezTo>
                  <a:pt x="2117104" y="670590"/>
                  <a:pt x="2121982" y="671654"/>
                  <a:pt x="2125066" y="669341"/>
                </a:cubicBezTo>
                <a:cubicBezTo>
                  <a:pt x="2131963" y="664168"/>
                  <a:pt x="2137258" y="657149"/>
                  <a:pt x="2143354" y="651053"/>
                </a:cubicBezTo>
                <a:lnTo>
                  <a:pt x="2143354" y="651053"/>
                </a:lnTo>
                <a:cubicBezTo>
                  <a:pt x="2145792" y="647395"/>
                  <a:pt x="2148884" y="644097"/>
                  <a:pt x="2150669" y="640080"/>
                </a:cubicBezTo>
                <a:cubicBezTo>
                  <a:pt x="2153801" y="633034"/>
                  <a:pt x="2157984" y="618134"/>
                  <a:pt x="2157984" y="618134"/>
                </a:cubicBezTo>
                <a:cubicBezTo>
                  <a:pt x="2156048" y="600709"/>
                  <a:pt x="2148772" y="582372"/>
                  <a:pt x="2161642" y="566928"/>
                </a:cubicBezTo>
                <a:cubicBezTo>
                  <a:pt x="2164110" y="563966"/>
                  <a:pt x="2168875" y="564205"/>
                  <a:pt x="2172615" y="563270"/>
                </a:cubicBezTo>
                <a:cubicBezTo>
                  <a:pt x="2193524" y="558043"/>
                  <a:pt x="2186738" y="561594"/>
                  <a:pt x="2205533" y="555955"/>
                </a:cubicBezTo>
                <a:cubicBezTo>
                  <a:pt x="2212919" y="553739"/>
                  <a:pt x="2220164" y="551078"/>
                  <a:pt x="2227479" y="548640"/>
                </a:cubicBezTo>
                <a:lnTo>
                  <a:pt x="2249424" y="541325"/>
                </a:lnTo>
                <a:lnTo>
                  <a:pt x="2260397" y="537667"/>
                </a:lnTo>
                <a:cubicBezTo>
                  <a:pt x="2264055" y="536448"/>
                  <a:pt x="2267530" y="534358"/>
                  <a:pt x="2271370" y="534009"/>
                </a:cubicBezTo>
                <a:lnTo>
                  <a:pt x="2311604" y="530352"/>
                </a:lnTo>
                <a:cubicBezTo>
                  <a:pt x="2315261" y="529133"/>
                  <a:pt x="2319492" y="529007"/>
                  <a:pt x="2322576" y="526694"/>
                </a:cubicBezTo>
                <a:cubicBezTo>
                  <a:pt x="2329473" y="521521"/>
                  <a:pt x="2332685" y="511132"/>
                  <a:pt x="2340864" y="508406"/>
                </a:cubicBezTo>
                <a:lnTo>
                  <a:pt x="2362810" y="501091"/>
                </a:lnTo>
                <a:cubicBezTo>
                  <a:pt x="2366468" y="499872"/>
                  <a:pt x="2370043" y="498368"/>
                  <a:pt x="2373783" y="497433"/>
                </a:cubicBezTo>
                <a:cubicBezTo>
                  <a:pt x="2395891" y="491907"/>
                  <a:pt x="2383649" y="495364"/>
                  <a:pt x="2410359" y="486461"/>
                </a:cubicBezTo>
                <a:lnTo>
                  <a:pt x="2432304" y="479145"/>
                </a:lnTo>
                <a:cubicBezTo>
                  <a:pt x="2435962" y="477926"/>
                  <a:pt x="2439829" y="477212"/>
                  <a:pt x="2443277" y="475488"/>
                </a:cubicBezTo>
                <a:cubicBezTo>
                  <a:pt x="2448154" y="473050"/>
                  <a:pt x="2452845" y="470198"/>
                  <a:pt x="2457908" y="468173"/>
                </a:cubicBezTo>
                <a:cubicBezTo>
                  <a:pt x="2465067" y="465309"/>
                  <a:pt x="2472538" y="463295"/>
                  <a:pt x="2479853" y="460857"/>
                </a:cubicBezTo>
                <a:lnTo>
                  <a:pt x="2512772" y="449885"/>
                </a:lnTo>
                <a:cubicBezTo>
                  <a:pt x="2512774" y="449884"/>
                  <a:pt x="2534715" y="442569"/>
                  <a:pt x="2534717" y="442569"/>
                </a:cubicBezTo>
                <a:lnTo>
                  <a:pt x="2600554" y="438912"/>
                </a:lnTo>
                <a:cubicBezTo>
                  <a:pt x="2601773" y="435254"/>
                  <a:pt x="2604212" y="431795"/>
                  <a:pt x="2604212" y="427939"/>
                </a:cubicBezTo>
                <a:cubicBezTo>
                  <a:pt x="2604212" y="420523"/>
                  <a:pt x="2602163" y="413233"/>
                  <a:pt x="2600554" y="405993"/>
                </a:cubicBezTo>
                <a:cubicBezTo>
                  <a:pt x="2598990" y="398956"/>
                  <a:pt x="2596773" y="391301"/>
                  <a:pt x="2589581" y="387705"/>
                </a:cubicBezTo>
                <a:cubicBezTo>
                  <a:pt x="2582684" y="384256"/>
                  <a:pt x="2574951" y="382828"/>
                  <a:pt x="2567636" y="380390"/>
                </a:cubicBezTo>
                <a:lnTo>
                  <a:pt x="2545690" y="373075"/>
                </a:lnTo>
                <a:cubicBezTo>
                  <a:pt x="2542032" y="371856"/>
                  <a:pt x="2538520" y="370051"/>
                  <a:pt x="2534717" y="369417"/>
                </a:cubicBezTo>
                <a:cubicBezTo>
                  <a:pt x="2527402" y="368198"/>
                  <a:pt x="2520157" y="366431"/>
                  <a:pt x="2512772" y="365760"/>
                </a:cubicBezTo>
                <a:cubicBezTo>
                  <a:pt x="2493307" y="363990"/>
                  <a:pt x="2473757" y="363321"/>
                  <a:pt x="2454250" y="362102"/>
                </a:cubicBezTo>
                <a:cubicBezTo>
                  <a:pt x="2449373" y="360883"/>
                  <a:pt x="2444578" y="359271"/>
                  <a:pt x="2439620" y="358445"/>
                </a:cubicBezTo>
                <a:cubicBezTo>
                  <a:pt x="2429924" y="356829"/>
                  <a:pt x="2416394" y="362546"/>
                  <a:pt x="2410359" y="354787"/>
                </a:cubicBezTo>
                <a:cubicBezTo>
                  <a:pt x="2404324" y="347028"/>
                  <a:pt x="2412205" y="335187"/>
                  <a:pt x="2414016" y="325526"/>
                </a:cubicBezTo>
                <a:cubicBezTo>
                  <a:pt x="2417550" y="306677"/>
                  <a:pt x="2419962" y="300377"/>
                  <a:pt x="2424989" y="285293"/>
                </a:cubicBezTo>
                <a:cubicBezTo>
                  <a:pt x="2426208" y="269443"/>
                  <a:pt x="2424280" y="253029"/>
                  <a:pt x="2428647" y="237744"/>
                </a:cubicBezTo>
                <a:cubicBezTo>
                  <a:pt x="2429706" y="234037"/>
                  <a:pt x="2435772" y="234326"/>
                  <a:pt x="2439620" y="234086"/>
                </a:cubicBezTo>
                <a:cubicBezTo>
                  <a:pt x="2474929" y="231879"/>
                  <a:pt x="2510333" y="231648"/>
                  <a:pt x="2545690" y="230429"/>
                </a:cubicBezTo>
                <a:cubicBezTo>
                  <a:pt x="2546957" y="230112"/>
                  <a:pt x="2568669" y="225081"/>
                  <a:pt x="2571293" y="223113"/>
                </a:cubicBezTo>
                <a:cubicBezTo>
                  <a:pt x="2584206" y="213428"/>
                  <a:pt x="2591257" y="202590"/>
                  <a:pt x="2600554" y="190195"/>
                </a:cubicBezTo>
                <a:cubicBezTo>
                  <a:pt x="2609325" y="163885"/>
                  <a:pt x="2598684" y="196741"/>
                  <a:pt x="2607869" y="164592"/>
                </a:cubicBezTo>
                <a:cubicBezTo>
                  <a:pt x="2608928" y="160885"/>
                  <a:pt x="2608801" y="156345"/>
                  <a:pt x="2611527" y="153619"/>
                </a:cubicBezTo>
                <a:cubicBezTo>
                  <a:pt x="2617744" y="147402"/>
                  <a:pt x="2624943" y="141121"/>
                  <a:pt x="2633472" y="138989"/>
                </a:cubicBezTo>
                <a:cubicBezTo>
                  <a:pt x="2638161" y="137817"/>
                  <a:pt x="2653828" y="134297"/>
                  <a:pt x="2659076" y="131673"/>
                </a:cubicBezTo>
                <a:cubicBezTo>
                  <a:pt x="2674081" y="124170"/>
                  <a:pt x="2666027" y="126112"/>
                  <a:pt x="2677364" y="117043"/>
                </a:cubicBezTo>
                <a:cubicBezTo>
                  <a:pt x="2680796" y="114297"/>
                  <a:pt x="2684679" y="112166"/>
                  <a:pt x="2688336" y="109728"/>
                </a:cubicBezTo>
                <a:cubicBezTo>
                  <a:pt x="2689555" y="106070"/>
                  <a:pt x="2690270" y="102204"/>
                  <a:pt x="2691994" y="98755"/>
                </a:cubicBezTo>
                <a:cubicBezTo>
                  <a:pt x="2697048" y="88648"/>
                  <a:pt x="2706149" y="86274"/>
                  <a:pt x="2695652" y="73152"/>
                </a:cubicBezTo>
                <a:cubicBezTo>
                  <a:pt x="2693243" y="70141"/>
                  <a:pt x="2688128" y="71218"/>
                  <a:pt x="2684679" y="69494"/>
                </a:cubicBezTo>
                <a:cubicBezTo>
                  <a:pt x="2680747" y="67528"/>
                  <a:pt x="2677364" y="64617"/>
                  <a:pt x="2673706" y="62179"/>
                </a:cubicBezTo>
                <a:cubicBezTo>
                  <a:pt x="2674925" y="51206"/>
                  <a:pt x="2673591" y="39637"/>
                  <a:pt x="2677364" y="29261"/>
                </a:cubicBezTo>
                <a:cubicBezTo>
                  <a:pt x="2679223" y="24147"/>
                  <a:pt x="2694972" y="19527"/>
                  <a:pt x="2699309" y="18288"/>
                </a:cubicBezTo>
                <a:cubicBezTo>
                  <a:pt x="2704143" y="16907"/>
                  <a:pt x="2709125" y="16075"/>
                  <a:pt x="2713940" y="14630"/>
                </a:cubicBezTo>
                <a:cubicBezTo>
                  <a:pt x="2721325" y="12414"/>
                  <a:pt x="2728324" y="8827"/>
                  <a:pt x="2735885" y="7315"/>
                </a:cubicBezTo>
                <a:cubicBezTo>
                  <a:pt x="2757954" y="2901"/>
                  <a:pt x="2748275" y="5623"/>
                  <a:pt x="2765146" y="0"/>
                </a:cubicBezTo>
                <a:cubicBezTo>
                  <a:pt x="2793188" y="1219"/>
                  <a:pt x="2821286" y="1504"/>
                  <a:pt x="2849271" y="3657"/>
                </a:cubicBezTo>
                <a:cubicBezTo>
                  <a:pt x="2853115" y="3953"/>
                  <a:pt x="2856504" y="6380"/>
                  <a:pt x="2860244" y="7315"/>
                </a:cubicBezTo>
                <a:cubicBezTo>
                  <a:pt x="2866275" y="8823"/>
                  <a:pt x="2872436" y="9754"/>
                  <a:pt x="2878532" y="10973"/>
                </a:cubicBezTo>
                <a:cubicBezTo>
                  <a:pt x="2898791" y="24480"/>
                  <a:pt x="2879910" y="14060"/>
                  <a:pt x="2911450" y="21945"/>
                </a:cubicBezTo>
                <a:cubicBezTo>
                  <a:pt x="2918931" y="23815"/>
                  <a:pt x="2926081" y="26822"/>
                  <a:pt x="2933396" y="29261"/>
                </a:cubicBezTo>
                <a:lnTo>
                  <a:pt x="2955341" y="36576"/>
                </a:lnTo>
                <a:cubicBezTo>
                  <a:pt x="2958999" y="37795"/>
                  <a:pt x="2962533" y="39477"/>
                  <a:pt x="2966314" y="40233"/>
                </a:cubicBezTo>
                <a:lnTo>
                  <a:pt x="2984602" y="43891"/>
                </a:lnTo>
                <a:cubicBezTo>
                  <a:pt x="2988260" y="47549"/>
                  <a:pt x="2992568" y="50655"/>
                  <a:pt x="2995575" y="54864"/>
                </a:cubicBezTo>
                <a:cubicBezTo>
                  <a:pt x="3002303" y="64283"/>
                  <a:pt x="3006874" y="81446"/>
                  <a:pt x="3010205" y="91440"/>
                </a:cubicBezTo>
                <a:cubicBezTo>
                  <a:pt x="3010208" y="91450"/>
                  <a:pt x="3017517" y="113374"/>
                  <a:pt x="3017520" y="113385"/>
                </a:cubicBezTo>
                <a:cubicBezTo>
                  <a:pt x="3018739" y="118262"/>
                  <a:pt x="3019733" y="123201"/>
                  <a:pt x="3021178" y="128016"/>
                </a:cubicBezTo>
                <a:cubicBezTo>
                  <a:pt x="3023394" y="135401"/>
                  <a:pt x="3026055" y="142646"/>
                  <a:pt x="3028493" y="149961"/>
                </a:cubicBezTo>
                <a:cubicBezTo>
                  <a:pt x="3029712" y="153619"/>
                  <a:pt x="3031216" y="157194"/>
                  <a:pt x="3032151" y="160934"/>
                </a:cubicBezTo>
                <a:cubicBezTo>
                  <a:pt x="3033370" y="165811"/>
                  <a:pt x="3034427" y="170731"/>
                  <a:pt x="3035808" y="175565"/>
                </a:cubicBezTo>
                <a:cubicBezTo>
                  <a:pt x="3036867" y="179272"/>
                  <a:pt x="3038531" y="182797"/>
                  <a:pt x="3039466" y="186537"/>
                </a:cubicBezTo>
                <a:cubicBezTo>
                  <a:pt x="3045997" y="212658"/>
                  <a:pt x="3040859" y="201511"/>
                  <a:pt x="3046781" y="234086"/>
                </a:cubicBezTo>
                <a:cubicBezTo>
                  <a:pt x="3047471" y="237879"/>
                  <a:pt x="3048300" y="241851"/>
                  <a:pt x="3050439" y="245059"/>
                </a:cubicBezTo>
                <a:cubicBezTo>
                  <a:pt x="3055174" y="252162"/>
                  <a:pt x="3069705" y="262569"/>
                  <a:pt x="3076042" y="267005"/>
                </a:cubicBezTo>
                <a:cubicBezTo>
                  <a:pt x="3083245" y="272047"/>
                  <a:pt x="3089648" y="278854"/>
                  <a:pt x="3097988" y="281635"/>
                </a:cubicBezTo>
                <a:cubicBezTo>
                  <a:pt x="3108453" y="285124"/>
                  <a:pt x="3112099" y="286652"/>
                  <a:pt x="3123591" y="288950"/>
                </a:cubicBezTo>
                <a:cubicBezTo>
                  <a:pt x="3135342" y="291300"/>
                  <a:pt x="3157009" y="292941"/>
                  <a:pt x="3167482" y="299923"/>
                </a:cubicBezTo>
                <a:lnTo>
                  <a:pt x="3178455" y="307238"/>
                </a:lnTo>
                <a:cubicBezTo>
                  <a:pt x="3180893" y="310896"/>
                  <a:pt x="3183804" y="314279"/>
                  <a:pt x="3185770" y="318211"/>
                </a:cubicBezTo>
                <a:cubicBezTo>
                  <a:pt x="3187494" y="321660"/>
                  <a:pt x="3187704" y="325735"/>
                  <a:pt x="3189428" y="329184"/>
                </a:cubicBezTo>
                <a:cubicBezTo>
                  <a:pt x="3195402" y="341132"/>
                  <a:pt x="3205520" y="350398"/>
                  <a:pt x="3218688" y="354787"/>
                </a:cubicBezTo>
                <a:lnTo>
                  <a:pt x="3240634" y="362102"/>
                </a:lnTo>
                <a:lnTo>
                  <a:pt x="3251607" y="365760"/>
                </a:lnTo>
                <a:cubicBezTo>
                  <a:pt x="3262580" y="364541"/>
                  <a:pt x="3273814" y="364780"/>
                  <a:pt x="3284525" y="362102"/>
                </a:cubicBezTo>
                <a:cubicBezTo>
                  <a:pt x="3293457" y="359869"/>
                  <a:pt x="3299856" y="348539"/>
                  <a:pt x="3306471" y="343814"/>
                </a:cubicBezTo>
                <a:cubicBezTo>
                  <a:pt x="3314379" y="338165"/>
                  <a:pt x="3323120" y="335826"/>
                  <a:pt x="3332074" y="332841"/>
                </a:cubicBezTo>
                <a:cubicBezTo>
                  <a:pt x="3355239" y="334060"/>
                  <a:pt x="3379064" y="330873"/>
                  <a:pt x="3401568" y="336499"/>
                </a:cubicBezTo>
                <a:cubicBezTo>
                  <a:pt x="3406445" y="337718"/>
                  <a:pt x="3405226" y="346102"/>
                  <a:pt x="3405226" y="351129"/>
                </a:cubicBezTo>
                <a:cubicBezTo>
                  <a:pt x="3405226" y="362170"/>
                  <a:pt x="3403383" y="373158"/>
                  <a:pt x="3401568" y="384048"/>
                </a:cubicBezTo>
                <a:cubicBezTo>
                  <a:pt x="3400934" y="387851"/>
                  <a:pt x="3400050" y="391813"/>
                  <a:pt x="3397911" y="395021"/>
                </a:cubicBezTo>
                <a:cubicBezTo>
                  <a:pt x="3395042" y="399325"/>
                  <a:pt x="3390114" y="401910"/>
                  <a:pt x="3386938" y="405993"/>
                </a:cubicBezTo>
                <a:cubicBezTo>
                  <a:pt x="3357989" y="443212"/>
                  <a:pt x="3383391" y="416857"/>
                  <a:pt x="3364992" y="435254"/>
                </a:cubicBezTo>
                <a:cubicBezTo>
                  <a:pt x="3356594" y="468853"/>
                  <a:pt x="3368732" y="434239"/>
                  <a:pt x="3350362" y="457200"/>
                </a:cubicBezTo>
                <a:cubicBezTo>
                  <a:pt x="3347953" y="460211"/>
                  <a:pt x="3348223" y="464629"/>
                  <a:pt x="3346704" y="468173"/>
                </a:cubicBezTo>
                <a:cubicBezTo>
                  <a:pt x="3344556" y="473184"/>
                  <a:pt x="3342880" y="478614"/>
                  <a:pt x="3339389" y="482803"/>
                </a:cubicBezTo>
                <a:cubicBezTo>
                  <a:pt x="3336575" y="486180"/>
                  <a:pt x="3332074" y="487680"/>
                  <a:pt x="3328416" y="490118"/>
                </a:cubicBezTo>
                <a:cubicBezTo>
                  <a:pt x="3327197" y="493776"/>
                  <a:pt x="3326483" y="497643"/>
                  <a:pt x="3324759" y="501091"/>
                </a:cubicBezTo>
                <a:cubicBezTo>
                  <a:pt x="3320145" y="510321"/>
                  <a:pt x="3316933" y="512575"/>
                  <a:pt x="3310128" y="519379"/>
                </a:cubicBezTo>
                <a:cubicBezTo>
                  <a:pt x="3308909" y="523037"/>
                  <a:pt x="3308879" y="527341"/>
                  <a:pt x="3306471" y="530352"/>
                </a:cubicBezTo>
                <a:cubicBezTo>
                  <a:pt x="3299484" y="539085"/>
                  <a:pt x="3293358" y="536908"/>
                  <a:pt x="3284525" y="541325"/>
                </a:cubicBezTo>
                <a:cubicBezTo>
                  <a:pt x="3280593" y="543291"/>
                  <a:pt x="3277593" y="546908"/>
                  <a:pt x="3273552" y="548640"/>
                </a:cubicBezTo>
                <a:cubicBezTo>
                  <a:pt x="3268932" y="550620"/>
                  <a:pt x="3263737" y="550853"/>
                  <a:pt x="3258922" y="552297"/>
                </a:cubicBezTo>
                <a:cubicBezTo>
                  <a:pt x="3251536" y="554513"/>
                  <a:pt x="3244291" y="557174"/>
                  <a:pt x="3236976" y="559613"/>
                </a:cubicBezTo>
                <a:lnTo>
                  <a:pt x="3204058" y="570585"/>
                </a:lnTo>
                <a:lnTo>
                  <a:pt x="3193085" y="574243"/>
                </a:lnTo>
                <a:lnTo>
                  <a:pt x="3178455" y="596189"/>
                </a:lnTo>
                <a:cubicBezTo>
                  <a:pt x="3176017" y="599846"/>
                  <a:pt x="3172530" y="602991"/>
                  <a:pt x="3171140" y="607161"/>
                </a:cubicBezTo>
                <a:lnTo>
                  <a:pt x="3163824" y="629107"/>
                </a:lnTo>
                <a:lnTo>
                  <a:pt x="3160167" y="640080"/>
                </a:lnTo>
                <a:cubicBezTo>
                  <a:pt x="3161160" y="646039"/>
                  <a:pt x="3163193" y="665278"/>
                  <a:pt x="3167482" y="672998"/>
                </a:cubicBezTo>
                <a:cubicBezTo>
                  <a:pt x="3171752" y="680683"/>
                  <a:pt x="3182112" y="694944"/>
                  <a:pt x="3182112" y="694944"/>
                </a:cubicBezTo>
                <a:cubicBezTo>
                  <a:pt x="3178455" y="696163"/>
                  <a:pt x="3174446" y="696618"/>
                  <a:pt x="3171140" y="698601"/>
                </a:cubicBezTo>
                <a:cubicBezTo>
                  <a:pt x="3168183" y="700375"/>
                  <a:pt x="3167196" y="705194"/>
                  <a:pt x="3163824" y="705917"/>
                </a:cubicBezTo>
                <a:cubicBezTo>
                  <a:pt x="3149469" y="708993"/>
                  <a:pt x="3134563" y="708355"/>
                  <a:pt x="3119933" y="709574"/>
                </a:cubicBezTo>
                <a:cubicBezTo>
                  <a:pt x="3113837" y="710793"/>
                  <a:pt x="3107643" y="711596"/>
                  <a:pt x="3101645" y="713232"/>
                </a:cubicBezTo>
                <a:cubicBezTo>
                  <a:pt x="3094206" y="715261"/>
                  <a:pt x="3079700" y="720547"/>
                  <a:pt x="3079700" y="720547"/>
                </a:cubicBezTo>
                <a:cubicBezTo>
                  <a:pt x="3062030" y="738215"/>
                  <a:pt x="3084489" y="716715"/>
                  <a:pt x="3061412" y="735177"/>
                </a:cubicBezTo>
                <a:cubicBezTo>
                  <a:pt x="3058719" y="737331"/>
                  <a:pt x="3057181" y="740951"/>
                  <a:pt x="3054096" y="742493"/>
                </a:cubicBezTo>
                <a:cubicBezTo>
                  <a:pt x="3047199" y="745941"/>
                  <a:pt x="3039466" y="747370"/>
                  <a:pt x="3032151" y="749808"/>
                </a:cubicBezTo>
                <a:lnTo>
                  <a:pt x="3021178" y="753465"/>
                </a:lnTo>
                <a:cubicBezTo>
                  <a:pt x="3012554" y="762090"/>
                  <a:pt x="3013370" y="759094"/>
                  <a:pt x="3010205" y="771753"/>
                </a:cubicBezTo>
                <a:cubicBezTo>
                  <a:pt x="3008697" y="777784"/>
                  <a:pt x="3012617" y="788692"/>
                  <a:pt x="3006548" y="790041"/>
                </a:cubicBezTo>
                <a:cubicBezTo>
                  <a:pt x="2975581" y="796923"/>
                  <a:pt x="2943149" y="792480"/>
                  <a:pt x="2911450" y="793699"/>
                </a:cubicBezTo>
                <a:lnTo>
                  <a:pt x="2889504" y="801014"/>
                </a:lnTo>
                <a:lnTo>
                  <a:pt x="2878532" y="804672"/>
                </a:lnTo>
                <a:cubicBezTo>
                  <a:pt x="2860867" y="822335"/>
                  <a:pt x="2883315" y="800846"/>
                  <a:pt x="2860244" y="819302"/>
                </a:cubicBezTo>
                <a:cubicBezTo>
                  <a:pt x="2857551" y="821456"/>
                  <a:pt x="2855885" y="824843"/>
                  <a:pt x="2852928" y="826617"/>
                </a:cubicBezTo>
                <a:cubicBezTo>
                  <a:pt x="2849622" y="828601"/>
                  <a:pt x="2845613" y="829056"/>
                  <a:pt x="2841956" y="830275"/>
                </a:cubicBezTo>
                <a:cubicBezTo>
                  <a:pt x="2839517" y="832713"/>
                  <a:pt x="2837509" y="835677"/>
                  <a:pt x="2834640" y="837590"/>
                </a:cubicBezTo>
                <a:cubicBezTo>
                  <a:pt x="2819430" y="847729"/>
                  <a:pt x="2822281" y="840239"/>
                  <a:pt x="2812695" y="852221"/>
                </a:cubicBezTo>
                <a:cubicBezTo>
                  <a:pt x="2809949" y="855653"/>
                  <a:pt x="2807346" y="859261"/>
                  <a:pt x="2805380" y="863193"/>
                </a:cubicBezTo>
                <a:cubicBezTo>
                  <a:pt x="2803656" y="866641"/>
                  <a:pt x="2804448" y="871440"/>
                  <a:pt x="2801722" y="874166"/>
                </a:cubicBezTo>
                <a:cubicBezTo>
                  <a:pt x="2798996" y="876892"/>
                  <a:pt x="2794359" y="876470"/>
                  <a:pt x="2790749" y="877824"/>
                </a:cubicBezTo>
                <a:cubicBezTo>
                  <a:pt x="2751401" y="892580"/>
                  <a:pt x="2787686" y="884187"/>
                  <a:pt x="2713940" y="888797"/>
                </a:cubicBezTo>
                <a:lnTo>
                  <a:pt x="2681021" y="910742"/>
                </a:lnTo>
                <a:cubicBezTo>
                  <a:pt x="2677363" y="913180"/>
                  <a:pt x="2674218" y="916667"/>
                  <a:pt x="2670048" y="918057"/>
                </a:cubicBezTo>
                <a:lnTo>
                  <a:pt x="2659076" y="921715"/>
                </a:lnTo>
                <a:cubicBezTo>
                  <a:pt x="2641886" y="938905"/>
                  <a:pt x="2652407" y="929819"/>
                  <a:pt x="2626157" y="947318"/>
                </a:cubicBezTo>
                <a:lnTo>
                  <a:pt x="2615184" y="954633"/>
                </a:lnTo>
                <a:cubicBezTo>
                  <a:pt x="2611527" y="957071"/>
                  <a:pt x="2601104" y="965058"/>
                  <a:pt x="2604212" y="961949"/>
                </a:cubicBezTo>
                <a:cubicBezTo>
                  <a:pt x="2611014" y="955146"/>
                  <a:pt x="2614229" y="952887"/>
                  <a:pt x="2618842" y="943661"/>
                </a:cubicBezTo>
                <a:cubicBezTo>
                  <a:pt x="2633988" y="913370"/>
                  <a:pt x="2608848" y="953166"/>
                  <a:pt x="2629815" y="921715"/>
                </a:cubicBezTo>
                <a:cubicBezTo>
                  <a:pt x="2631034" y="911961"/>
                  <a:pt x="2630647" y="901869"/>
                  <a:pt x="2633472" y="892454"/>
                </a:cubicBezTo>
                <a:cubicBezTo>
                  <a:pt x="2634463" y="889151"/>
                  <a:pt x="2638095" y="887293"/>
                  <a:pt x="2640788" y="885139"/>
                </a:cubicBezTo>
                <a:cubicBezTo>
                  <a:pt x="2644220" y="882393"/>
                  <a:pt x="2648328" y="880570"/>
                  <a:pt x="2651760" y="877824"/>
                </a:cubicBezTo>
                <a:cubicBezTo>
                  <a:pt x="2654453" y="875670"/>
                  <a:pt x="2656119" y="872283"/>
                  <a:pt x="2659076" y="870509"/>
                </a:cubicBezTo>
                <a:cubicBezTo>
                  <a:pt x="2662382" y="868525"/>
                  <a:pt x="2666391" y="868070"/>
                  <a:pt x="2670048" y="866851"/>
                </a:cubicBezTo>
                <a:cubicBezTo>
                  <a:pt x="2673339" y="856979"/>
                  <a:pt x="2677193" y="851965"/>
                  <a:pt x="2670048" y="841248"/>
                </a:cubicBezTo>
                <a:cubicBezTo>
                  <a:pt x="2667610" y="837591"/>
                  <a:pt x="2662733" y="836371"/>
                  <a:pt x="2659076" y="833933"/>
                </a:cubicBezTo>
                <a:cubicBezTo>
                  <a:pt x="2618496" y="838441"/>
                  <a:pt x="2636629" y="834099"/>
                  <a:pt x="2604212" y="844905"/>
                </a:cubicBezTo>
                <a:lnTo>
                  <a:pt x="2582266" y="852221"/>
                </a:lnTo>
                <a:lnTo>
                  <a:pt x="2571293" y="855878"/>
                </a:lnTo>
                <a:cubicBezTo>
                  <a:pt x="2543392" y="883779"/>
                  <a:pt x="2575812" y="854631"/>
                  <a:pt x="2549348" y="870509"/>
                </a:cubicBezTo>
                <a:cubicBezTo>
                  <a:pt x="2546391" y="872283"/>
                  <a:pt x="2544791" y="875755"/>
                  <a:pt x="2542032" y="877824"/>
                </a:cubicBezTo>
                <a:cubicBezTo>
                  <a:pt x="2495905" y="912418"/>
                  <a:pt x="2537626" y="881856"/>
                  <a:pt x="2509114" y="896112"/>
                </a:cubicBezTo>
                <a:cubicBezTo>
                  <a:pt x="2505182" y="898078"/>
                  <a:pt x="2502158" y="901642"/>
                  <a:pt x="2498141" y="903427"/>
                </a:cubicBezTo>
                <a:cubicBezTo>
                  <a:pt x="2491095" y="906559"/>
                  <a:pt x="2476196" y="910742"/>
                  <a:pt x="2476196" y="910742"/>
                </a:cubicBezTo>
                <a:cubicBezTo>
                  <a:pt x="2459783" y="927153"/>
                  <a:pt x="2479274" y="909845"/>
                  <a:pt x="2457908" y="921715"/>
                </a:cubicBezTo>
                <a:cubicBezTo>
                  <a:pt x="2439293" y="932057"/>
                  <a:pt x="2439746" y="932560"/>
                  <a:pt x="2428647" y="943661"/>
                </a:cubicBezTo>
                <a:cubicBezTo>
                  <a:pt x="2427428" y="947318"/>
                  <a:pt x="2426973" y="951327"/>
                  <a:pt x="2424989" y="954633"/>
                </a:cubicBezTo>
                <a:cubicBezTo>
                  <a:pt x="2423215" y="957590"/>
                  <a:pt x="2419828" y="959256"/>
                  <a:pt x="2417674" y="961949"/>
                </a:cubicBezTo>
                <a:cubicBezTo>
                  <a:pt x="2414928" y="965381"/>
                  <a:pt x="2412797" y="969264"/>
                  <a:pt x="2410359" y="972921"/>
                </a:cubicBezTo>
                <a:cubicBezTo>
                  <a:pt x="2411578" y="981456"/>
                  <a:pt x="2411290" y="990346"/>
                  <a:pt x="2414016" y="998525"/>
                </a:cubicBezTo>
                <a:cubicBezTo>
                  <a:pt x="2415107" y="1001797"/>
                  <a:pt x="2419558" y="1002883"/>
                  <a:pt x="2421332" y="1005840"/>
                </a:cubicBezTo>
                <a:cubicBezTo>
                  <a:pt x="2423316" y="1009146"/>
                  <a:pt x="2423117" y="1013443"/>
                  <a:pt x="2424989" y="1016813"/>
                </a:cubicBezTo>
                <a:cubicBezTo>
                  <a:pt x="2429259" y="1024498"/>
                  <a:pt x="2435688" y="1030894"/>
                  <a:pt x="2439620" y="1038758"/>
                </a:cubicBezTo>
                <a:cubicBezTo>
                  <a:pt x="2442058" y="1043635"/>
                  <a:pt x="2444045" y="1048765"/>
                  <a:pt x="2446935" y="1053389"/>
                </a:cubicBezTo>
                <a:cubicBezTo>
                  <a:pt x="2450166" y="1058558"/>
                  <a:pt x="2454677" y="1062850"/>
                  <a:pt x="2457908" y="1068019"/>
                </a:cubicBezTo>
                <a:cubicBezTo>
                  <a:pt x="2460798" y="1072642"/>
                  <a:pt x="2463075" y="1077638"/>
                  <a:pt x="2465223" y="1082649"/>
                </a:cubicBezTo>
                <a:cubicBezTo>
                  <a:pt x="2466742" y="1086193"/>
                  <a:pt x="2466896" y="1090316"/>
                  <a:pt x="2468880" y="1093622"/>
                </a:cubicBezTo>
                <a:cubicBezTo>
                  <a:pt x="2470654" y="1096579"/>
                  <a:pt x="2473757" y="1098499"/>
                  <a:pt x="2476196" y="1100937"/>
                </a:cubicBezTo>
                <a:cubicBezTo>
                  <a:pt x="2479517" y="1095956"/>
                  <a:pt x="2485037" y="1086122"/>
                  <a:pt x="2490826" y="1082649"/>
                </a:cubicBezTo>
                <a:cubicBezTo>
                  <a:pt x="2494132" y="1080665"/>
                  <a:pt x="2498141" y="1080211"/>
                  <a:pt x="2501799" y="1078992"/>
                </a:cubicBezTo>
                <a:cubicBezTo>
                  <a:pt x="2526952" y="1062222"/>
                  <a:pt x="2515403" y="1067141"/>
                  <a:pt x="2534717" y="1060704"/>
                </a:cubicBezTo>
                <a:cubicBezTo>
                  <a:pt x="2552125" y="1049099"/>
                  <a:pt x="2538850" y="1056172"/>
                  <a:pt x="2560320" y="1049731"/>
                </a:cubicBezTo>
                <a:cubicBezTo>
                  <a:pt x="2567706" y="1047515"/>
                  <a:pt x="2582266" y="1042416"/>
                  <a:pt x="2582266" y="1042416"/>
                </a:cubicBezTo>
                <a:cubicBezTo>
                  <a:pt x="2592020" y="1043635"/>
                  <a:pt x="2601916" y="1044013"/>
                  <a:pt x="2611527" y="1046073"/>
                </a:cubicBezTo>
                <a:cubicBezTo>
                  <a:pt x="2657026" y="1055823"/>
                  <a:pt x="2616005" y="1048517"/>
                  <a:pt x="2644445" y="1060704"/>
                </a:cubicBezTo>
                <a:cubicBezTo>
                  <a:pt x="2649066" y="1062684"/>
                  <a:pt x="2654199" y="1063142"/>
                  <a:pt x="2659076" y="1064361"/>
                </a:cubicBezTo>
                <a:cubicBezTo>
                  <a:pt x="2662733" y="1066800"/>
                  <a:pt x="2667302" y="1068244"/>
                  <a:pt x="2670048" y="1071677"/>
                </a:cubicBezTo>
                <a:cubicBezTo>
                  <a:pt x="2675937" y="1079039"/>
                  <a:pt x="2674886" y="1088313"/>
                  <a:pt x="2666391" y="1093622"/>
                </a:cubicBezTo>
                <a:cubicBezTo>
                  <a:pt x="2659852" y="1097709"/>
                  <a:pt x="2652006" y="1099425"/>
                  <a:pt x="2644445" y="1100937"/>
                </a:cubicBezTo>
                <a:cubicBezTo>
                  <a:pt x="2633999" y="1103027"/>
                  <a:pt x="2621862" y="1105153"/>
                  <a:pt x="2611527" y="1108253"/>
                </a:cubicBezTo>
                <a:cubicBezTo>
                  <a:pt x="2604141" y="1110469"/>
                  <a:pt x="2596896" y="1113130"/>
                  <a:pt x="2589581" y="1115568"/>
                </a:cubicBezTo>
                <a:lnTo>
                  <a:pt x="2578608" y="1119225"/>
                </a:lnTo>
                <a:cubicBezTo>
                  <a:pt x="2569239" y="1133280"/>
                  <a:pt x="2567444" y="1142069"/>
                  <a:pt x="2553005" y="1148486"/>
                </a:cubicBezTo>
                <a:cubicBezTo>
                  <a:pt x="2545959" y="1151618"/>
                  <a:pt x="2531060" y="1155801"/>
                  <a:pt x="2531060" y="1155801"/>
                </a:cubicBezTo>
                <a:cubicBezTo>
                  <a:pt x="2517528" y="1169333"/>
                  <a:pt x="2525656" y="1160248"/>
                  <a:pt x="2509114" y="1185062"/>
                </a:cubicBezTo>
                <a:cubicBezTo>
                  <a:pt x="2506676" y="1188720"/>
                  <a:pt x="2505457" y="1193597"/>
                  <a:pt x="2501799" y="1196035"/>
                </a:cubicBezTo>
                <a:lnTo>
                  <a:pt x="2490826" y="1203350"/>
                </a:lnTo>
                <a:cubicBezTo>
                  <a:pt x="2489046" y="1206020"/>
                  <a:pt x="2478171" y="1220249"/>
                  <a:pt x="2479853" y="1225296"/>
                </a:cubicBezTo>
                <a:cubicBezTo>
                  <a:pt x="2481489" y="1230203"/>
                  <a:pt x="2487168" y="1232611"/>
                  <a:pt x="2490826" y="1236269"/>
                </a:cubicBezTo>
                <a:cubicBezTo>
                  <a:pt x="2492045" y="1239926"/>
                  <a:pt x="2492500" y="1243935"/>
                  <a:pt x="2494484" y="1247241"/>
                </a:cubicBezTo>
                <a:cubicBezTo>
                  <a:pt x="2497960" y="1253034"/>
                  <a:pt x="2507785" y="1258548"/>
                  <a:pt x="2512772" y="1261872"/>
                </a:cubicBezTo>
                <a:cubicBezTo>
                  <a:pt x="2515210" y="1265530"/>
                  <a:pt x="2518302" y="1268828"/>
                  <a:pt x="2520087" y="1272845"/>
                </a:cubicBezTo>
                <a:cubicBezTo>
                  <a:pt x="2523219" y="1279891"/>
                  <a:pt x="2524964" y="1287475"/>
                  <a:pt x="2527402" y="1294790"/>
                </a:cubicBezTo>
                <a:cubicBezTo>
                  <a:pt x="2528621" y="1298448"/>
                  <a:pt x="2528921" y="1302555"/>
                  <a:pt x="2531060" y="1305763"/>
                </a:cubicBezTo>
                <a:lnTo>
                  <a:pt x="2538375" y="1316736"/>
                </a:lnTo>
                <a:lnTo>
                  <a:pt x="2545690" y="1338681"/>
                </a:lnTo>
                <a:cubicBezTo>
                  <a:pt x="2546909" y="1342339"/>
                  <a:pt x="2548592" y="1345873"/>
                  <a:pt x="2549348" y="1349654"/>
                </a:cubicBezTo>
                <a:cubicBezTo>
                  <a:pt x="2550567" y="1355750"/>
                  <a:pt x="2549921" y="1362544"/>
                  <a:pt x="2553005" y="1367942"/>
                </a:cubicBezTo>
                <a:cubicBezTo>
                  <a:pt x="2555186" y="1371759"/>
                  <a:pt x="2560320" y="1372819"/>
                  <a:pt x="2563978" y="1375257"/>
                </a:cubicBezTo>
                <a:cubicBezTo>
                  <a:pt x="2566416" y="1378915"/>
                  <a:pt x="2569327" y="1382298"/>
                  <a:pt x="2571293" y="1386230"/>
                </a:cubicBezTo>
                <a:cubicBezTo>
                  <a:pt x="2573017" y="1389679"/>
                  <a:pt x="2572812" y="1393995"/>
                  <a:pt x="2574951" y="1397203"/>
                </a:cubicBezTo>
                <a:cubicBezTo>
                  <a:pt x="2577820" y="1401507"/>
                  <a:pt x="2582613" y="1404202"/>
                  <a:pt x="2585924" y="1408176"/>
                </a:cubicBezTo>
                <a:cubicBezTo>
                  <a:pt x="2588738" y="1411553"/>
                  <a:pt x="2590801" y="1415491"/>
                  <a:pt x="2593239" y="1419149"/>
                </a:cubicBezTo>
                <a:cubicBezTo>
                  <a:pt x="2594458" y="1422806"/>
                  <a:pt x="2596896" y="1426266"/>
                  <a:pt x="2596896" y="1430121"/>
                </a:cubicBezTo>
                <a:cubicBezTo>
                  <a:pt x="2596896" y="1457187"/>
                  <a:pt x="2579701" y="1445983"/>
                  <a:pt x="2553005" y="1448409"/>
                </a:cubicBezTo>
                <a:cubicBezTo>
                  <a:pt x="2556663" y="1449628"/>
                  <a:pt x="2560967" y="1449658"/>
                  <a:pt x="2563978" y="1452067"/>
                </a:cubicBezTo>
                <a:cubicBezTo>
                  <a:pt x="2567411" y="1454813"/>
                  <a:pt x="2569327" y="1459108"/>
                  <a:pt x="2571293" y="1463040"/>
                </a:cubicBezTo>
                <a:cubicBezTo>
                  <a:pt x="2575475" y="1471405"/>
                  <a:pt x="2576520" y="1483947"/>
                  <a:pt x="2578608" y="1492301"/>
                </a:cubicBezTo>
                <a:cubicBezTo>
                  <a:pt x="2579543" y="1496041"/>
                  <a:pt x="2581047" y="1499616"/>
                  <a:pt x="2582266" y="1503273"/>
                </a:cubicBezTo>
                <a:cubicBezTo>
                  <a:pt x="2570032" y="1515508"/>
                  <a:pt x="2580128" y="1506368"/>
                  <a:pt x="2563978" y="1517904"/>
                </a:cubicBezTo>
                <a:cubicBezTo>
                  <a:pt x="2560108" y="1520668"/>
                  <a:pt x="2544125" y="1533317"/>
                  <a:pt x="2538375" y="1536192"/>
                </a:cubicBezTo>
                <a:cubicBezTo>
                  <a:pt x="2534927" y="1537916"/>
                  <a:pt x="2531060" y="1538630"/>
                  <a:pt x="2527402" y="1539849"/>
                </a:cubicBezTo>
                <a:cubicBezTo>
                  <a:pt x="2540169" y="1552618"/>
                  <a:pt x="2531446" y="1546075"/>
                  <a:pt x="2556663" y="1554480"/>
                </a:cubicBezTo>
                <a:lnTo>
                  <a:pt x="2567636" y="1558137"/>
                </a:lnTo>
                <a:cubicBezTo>
                  <a:pt x="2568855" y="1561795"/>
                  <a:pt x="2571293" y="1565255"/>
                  <a:pt x="2571293" y="1569110"/>
                </a:cubicBezTo>
                <a:cubicBezTo>
                  <a:pt x="2571293" y="1581363"/>
                  <a:pt x="2569499" y="1593576"/>
                  <a:pt x="2567636" y="1605686"/>
                </a:cubicBezTo>
                <a:cubicBezTo>
                  <a:pt x="2567050" y="1609497"/>
                  <a:pt x="2565850" y="1613289"/>
                  <a:pt x="2563978" y="1616659"/>
                </a:cubicBezTo>
                <a:cubicBezTo>
                  <a:pt x="2553637" y="1635274"/>
                  <a:pt x="2553133" y="1634821"/>
                  <a:pt x="2542032" y="1645920"/>
                </a:cubicBezTo>
                <a:cubicBezTo>
                  <a:pt x="2533337" y="1672009"/>
                  <a:pt x="2545666" y="1640471"/>
                  <a:pt x="2527402" y="1667865"/>
                </a:cubicBezTo>
                <a:cubicBezTo>
                  <a:pt x="2525263" y="1671073"/>
                  <a:pt x="2525616" y="1675468"/>
                  <a:pt x="2523744" y="1678838"/>
                </a:cubicBezTo>
                <a:cubicBezTo>
                  <a:pt x="2519474" y="1686523"/>
                  <a:pt x="2513991" y="1693469"/>
                  <a:pt x="2509114" y="1700784"/>
                </a:cubicBezTo>
                <a:cubicBezTo>
                  <a:pt x="2506676" y="1704442"/>
                  <a:pt x="2503189" y="1707587"/>
                  <a:pt x="2501799" y="1711757"/>
                </a:cubicBezTo>
                <a:cubicBezTo>
                  <a:pt x="2497050" y="1726001"/>
                  <a:pt x="2500867" y="1720003"/>
                  <a:pt x="2490826" y="1730045"/>
                </a:cubicBezTo>
                <a:cubicBezTo>
                  <a:pt x="2486723" y="1742353"/>
                  <a:pt x="2487083" y="1742995"/>
                  <a:pt x="2479853" y="1755648"/>
                </a:cubicBezTo>
                <a:cubicBezTo>
                  <a:pt x="2477672" y="1759465"/>
                  <a:pt x="2474504" y="1762689"/>
                  <a:pt x="2472538" y="1766621"/>
                </a:cubicBezTo>
                <a:cubicBezTo>
                  <a:pt x="2470814" y="1770069"/>
                  <a:pt x="2471606" y="1774867"/>
                  <a:pt x="2468880" y="1777593"/>
                </a:cubicBezTo>
                <a:cubicBezTo>
                  <a:pt x="2466154" y="1780319"/>
                  <a:pt x="2461565" y="1780032"/>
                  <a:pt x="2457908" y="1781251"/>
                </a:cubicBezTo>
                <a:cubicBezTo>
                  <a:pt x="2436511" y="1802648"/>
                  <a:pt x="2444402" y="1792366"/>
                  <a:pt x="2432304" y="1810512"/>
                </a:cubicBezTo>
                <a:lnTo>
                  <a:pt x="2417674" y="1854403"/>
                </a:lnTo>
                <a:cubicBezTo>
                  <a:pt x="2416455" y="1858061"/>
                  <a:pt x="2416155" y="1862168"/>
                  <a:pt x="2414016" y="1865376"/>
                </a:cubicBezTo>
                <a:lnTo>
                  <a:pt x="2406701" y="1876349"/>
                </a:lnTo>
                <a:cubicBezTo>
                  <a:pt x="2397187" y="1904895"/>
                  <a:pt x="2412773" y="1863585"/>
                  <a:pt x="2384756" y="1905609"/>
                </a:cubicBezTo>
                <a:lnTo>
                  <a:pt x="2370125" y="1927555"/>
                </a:lnTo>
                <a:cubicBezTo>
                  <a:pt x="2367687" y="1931213"/>
                  <a:pt x="2366468" y="1936090"/>
                  <a:pt x="2362810" y="1938528"/>
                </a:cubicBezTo>
                <a:cubicBezTo>
                  <a:pt x="2359152" y="1940966"/>
                  <a:pt x="2355854" y="1944058"/>
                  <a:pt x="2351837" y="1945843"/>
                </a:cubicBezTo>
                <a:cubicBezTo>
                  <a:pt x="2344791" y="1948975"/>
                  <a:pt x="2329892" y="1953158"/>
                  <a:pt x="2329892" y="1953158"/>
                </a:cubicBezTo>
                <a:cubicBezTo>
                  <a:pt x="2326234" y="1955596"/>
                  <a:pt x="2322352" y="1957727"/>
                  <a:pt x="2318919" y="1960473"/>
                </a:cubicBezTo>
                <a:cubicBezTo>
                  <a:pt x="2316226" y="1962627"/>
                  <a:pt x="2314688" y="1966247"/>
                  <a:pt x="2311604" y="1967789"/>
                </a:cubicBezTo>
                <a:cubicBezTo>
                  <a:pt x="2304707" y="1971238"/>
                  <a:pt x="2296973" y="1972666"/>
                  <a:pt x="2289658" y="1975104"/>
                </a:cubicBezTo>
                <a:lnTo>
                  <a:pt x="2278685" y="1978761"/>
                </a:lnTo>
                <a:cubicBezTo>
                  <a:pt x="2251944" y="1996590"/>
                  <a:pt x="2280117" y="1974563"/>
                  <a:pt x="2264055" y="1997049"/>
                </a:cubicBezTo>
                <a:cubicBezTo>
                  <a:pt x="2253207" y="2012237"/>
                  <a:pt x="2252329" y="2010712"/>
                  <a:pt x="2238452" y="2015337"/>
                </a:cubicBezTo>
                <a:cubicBezTo>
                  <a:pt x="2231645" y="2019875"/>
                  <a:pt x="2216802" y="2032552"/>
                  <a:pt x="2205533" y="2033625"/>
                </a:cubicBezTo>
                <a:cubicBezTo>
                  <a:pt x="2183652" y="2035709"/>
                  <a:pt x="2161642" y="2036064"/>
                  <a:pt x="2139696" y="2037283"/>
                </a:cubicBezTo>
                <a:cubicBezTo>
                  <a:pt x="2134819" y="2038502"/>
                  <a:pt x="2129881" y="2039497"/>
                  <a:pt x="2125066" y="2040941"/>
                </a:cubicBezTo>
                <a:cubicBezTo>
                  <a:pt x="2117680" y="2043157"/>
                  <a:pt x="2103120" y="2048256"/>
                  <a:pt x="2103120" y="2048256"/>
                </a:cubicBezTo>
                <a:cubicBezTo>
                  <a:pt x="2099463" y="2047037"/>
                  <a:pt x="2094874" y="2047324"/>
                  <a:pt x="2092148" y="2044598"/>
                </a:cubicBezTo>
                <a:cubicBezTo>
                  <a:pt x="2082652" y="2035101"/>
                  <a:pt x="2095462" y="2026652"/>
                  <a:pt x="2081175" y="2040941"/>
                </a:cubicBezTo>
                <a:cubicBezTo>
                  <a:pt x="2079956" y="2044598"/>
                  <a:pt x="2078576" y="2048206"/>
                  <a:pt x="2077517" y="2051913"/>
                </a:cubicBezTo>
                <a:cubicBezTo>
                  <a:pt x="2076136" y="2056747"/>
                  <a:pt x="2078481" y="2064564"/>
                  <a:pt x="2073860" y="2066544"/>
                </a:cubicBezTo>
                <a:cubicBezTo>
                  <a:pt x="2067043" y="2069465"/>
                  <a:pt x="2059229" y="2064105"/>
                  <a:pt x="2051914" y="2062886"/>
                </a:cubicBezTo>
                <a:cubicBezTo>
                  <a:pt x="2050695" y="2066544"/>
                  <a:pt x="2049191" y="2070119"/>
                  <a:pt x="2048256" y="2073859"/>
                </a:cubicBezTo>
                <a:cubicBezTo>
                  <a:pt x="2046748" y="2079890"/>
                  <a:pt x="2047683" y="2086749"/>
                  <a:pt x="2044599" y="2092147"/>
                </a:cubicBezTo>
                <a:cubicBezTo>
                  <a:pt x="2040508" y="2099307"/>
                  <a:pt x="2014470" y="2105847"/>
                  <a:pt x="2011680" y="2106777"/>
                </a:cubicBezTo>
                <a:lnTo>
                  <a:pt x="2000708" y="2110435"/>
                </a:lnTo>
                <a:cubicBezTo>
                  <a:pt x="1997050" y="2111654"/>
                  <a:pt x="1992943" y="2111954"/>
                  <a:pt x="1989735" y="2114093"/>
                </a:cubicBezTo>
                <a:cubicBezTo>
                  <a:pt x="1978710" y="2121443"/>
                  <a:pt x="1978304" y="2123490"/>
                  <a:pt x="1964132" y="2125065"/>
                </a:cubicBezTo>
                <a:cubicBezTo>
                  <a:pt x="1947124" y="2126955"/>
                  <a:pt x="1929994" y="2127504"/>
                  <a:pt x="1912925" y="2128723"/>
                </a:cubicBezTo>
                <a:cubicBezTo>
                  <a:pt x="1909267" y="2129942"/>
                  <a:pt x="1905036" y="2130068"/>
                  <a:pt x="1901952" y="2132381"/>
                </a:cubicBezTo>
                <a:cubicBezTo>
                  <a:pt x="1869822" y="2156478"/>
                  <a:pt x="1893919" y="2142119"/>
                  <a:pt x="1876349" y="2161641"/>
                </a:cubicBezTo>
                <a:cubicBezTo>
                  <a:pt x="1868275" y="2170612"/>
                  <a:pt x="1850746" y="2187245"/>
                  <a:pt x="1850746" y="2187245"/>
                </a:cubicBezTo>
                <a:cubicBezTo>
                  <a:pt x="1849527" y="2190902"/>
                  <a:pt x="1845656" y="2194637"/>
                  <a:pt x="1847088" y="2198217"/>
                </a:cubicBezTo>
                <a:cubicBezTo>
                  <a:pt x="1848721" y="2202299"/>
                  <a:pt x="1853665" y="2205533"/>
                  <a:pt x="1858061" y="2205533"/>
                </a:cubicBezTo>
                <a:cubicBezTo>
                  <a:pt x="1861510" y="2205533"/>
                  <a:pt x="1853184" y="2200656"/>
                  <a:pt x="1850746" y="2198217"/>
                </a:cubicBezTo>
                <a:cubicBezTo>
                  <a:pt x="1848308" y="2190902"/>
                  <a:pt x="1844071" y="2183956"/>
                  <a:pt x="1843431" y="2176272"/>
                </a:cubicBezTo>
                <a:cubicBezTo>
                  <a:pt x="1842212" y="2161642"/>
                  <a:pt x="1844091" y="2146413"/>
                  <a:pt x="1839773" y="2132381"/>
                </a:cubicBezTo>
                <a:cubicBezTo>
                  <a:pt x="1838639" y="2128696"/>
                  <a:pt x="1832248" y="2130447"/>
                  <a:pt x="1828800" y="2128723"/>
                </a:cubicBezTo>
                <a:cubicBezTo>
                  <a:pt x="1813897" y="2121271"/>
                  <a:pt x="1821805" y="2119442"/>
                  <a:pt x="1803197" y="2117750"/>
                </a:cubicBezTo>
                <a:cubicBezTo>
                  <a:pt x="1781308" y="2115760"/>
                  <a:pt x="1759306" y="2115312"/>
                  <a:pt x="1737360" y="2114093"/>
                </a:cubicBezTo>
                <a:cubicBezTo>
                  <a:pt x="1731264" y="2111654"/>
                  <a:pt x="1725301" y="2108853"/>
                  <a:pt x="1719072" y="2106777"/>
                </a:cubicBezTo>
                <a:cubicBezTo>
                  <a:pt x="1714303" y="2105187"/>
                  <a:pt x="1708367" y="2106260"/>
                  <a:pt x="1704442" y="2103120"/>
                </a:cubicBezTo>
                <a:cubicBezTo>
                  <a:pt x="1701431" y="2100711"/>
                  <a:pt x="1702923" y="2095355"/>
                  <a:pt x="1700784" y="2092147"/>
                </a:cubicBezTo>
                <a:cubicBezTo>
                  <a:pt x="1697915" y="2087843"/>
                  <a:pt x="1694021" y="2084180"/>
                  <a:pt x="1689812" y="2081174"/>
                </a:cubicBezTo>
                <a:cubicBezTo>
                  <a:pt x="1685375" y="2078005"/>
                  <a:pt x="1679805" y="2076749"/>
                  <a:pt x="1675181" y="2073859"/>
                </a:cubicBezTo>
                <a:cubicBezTo>
                  <a:pt x="1670012" y="2070628"/>
                  <a:pt x="1665428" y="2066544"/>
                  <a:pt x="1660551" y="2062886"/>
                </a:cubicBezTo>
                <a:cubicBezTo>
                  <a:pt x="1658113" y="2058009"/>
                  <a:pt x="1655384" y="2053267"/>
                  <a:pt x="1653236" y="2048256"/>
                </a:cubicBezTo>
                <a:cubicBezTo>
                  <a:pt x="1649331" y="2039145"/>
                  <a:pt x="1651482" y="2032543"/>
                  <a:pt x="1638605" y="2029968"/>
                </a:cubicBezTo>
                <a:cubicBezTo>
                  <a:pt x="1624209" y="2027089"/>
                  <a:pt x="1609344" y="2027529"/>
                  <a:pt x="1594714" y="2026310"/>
                </a:cubicBezTo>
                <a:cubicBezTo>
                  <a:pt x="1591056" y="2025091"/>
                  <a:pt x="1587596" y="2022653"/>
                  <a:pt x="1583741" y="2022653"/>
                </a:cubicBezTo>
                <a:cubicBezTo>
                  <a:pt x="1556686" y="2022653"/>
                  <a:pt x="1551849" y="2025968"/>
                  <a:pt x="1528877" y="2033625"/>
                </a:cubicBezTo>
                <a:lnTo>
                  <a:pt x="1517904" y="2037283"/>
                </a:lnTo>
                <a:cubicBezTo>
                  <a:pt x="1514247" y="2038502"/>
                  <a:pt x="1510783" y="2040758"/>
                  <a:pt x="1506932" y="2040941"/>
                </a:cubicBezTo>
                <a:lnTo>
                  <a:pt x="1430122" y="2044598"/>
                </a:lnTo>
                <a:cubicBezTo>
                  <a:pt x="1422807" y="2045817"/>
                  <a:pt x="1414615" y="2044576"/>
                  <a:pt x="1408176" y="2048256"/>
                </a:cubicBezTo>
                <a:cubicBezTo>
                  <a:pt x="1404829" y="2050169"/>
                  <a:pt x="1408099" y="2057797"/>
                  <a:pt x="1404519" y="2059229"/>
                </a:cubicBezTo>
                <a:cubicBezTo>
                  <a:pt x="1394268" y="2063329"/>
                  <a:pt x="1382573" y="2061667"/>
                  <a:pt x="1371600" y="2062886"/>
                </a:cubicBezTo>
                <a:cubicBezTo>
                  <a:pt x="1370381" y="2067763"/>
                  <a:pt x="1367943" y="2072490"/>
                  <a:pt x="1367943" y="2077517"/>
                </a:cubicBezTo>
                <a:cubicBezTo>
                  <a:pt x="1367943" y="2083734"/>
                  <a:pt x="1369151" y="2090091"/>
                  <a:pt x="1371600" y="2095805"/>
                </a:cubicBezTo>
                <a:cubicBezTo>
                  <a:pt x="1372958" y="2098975"/>
                  <a:pt x="1376762" y="2100427"/>
                  <a:pt x="1378916" y="2103120"/>
                </a:cubicBezTo>
                <a:cubicBezTo>
                  <a:pt x="1381662" y="2106553"/>
                  <a:pt x="1383793" y="2110435"/>
                  <a:pt x="1386231" y="2114093"/>
                </a:cubicBezTo>
                <a:cubicBezTo>
                  <a:pt x="1381964" y="2120493"/>
                  <a:pt x="1377086" y="2130857"/>
                  <a:pt x="1367943" y="2132381"/>
                </a:cubicBezTo>
                <a:cubicBezTo>
                  <a:pt x="1364140" y="2133015"/>
                  <a:pt x="1360628" y="2129942"/>
                  <a:pt x="1356970" y="2128723"/>
                </a:cubicBezTo>
                <a:cubicBezTo>
                  <a:pt x="1359408" y="2123846"/>
                  <a:pt x="1363514" y="2119490"/>
                  <a:pt x="1364285" y="2114093"/>
                </a:cubicBezTo>
                <a:cubicBezTo>
                  <a:pt x="1367986" y="2088192"/>
                  <a:pt x="1318777" y="2106607"/>
                  <a:pt x="1316736" y="2106777"/>
                </a:cubicBezTo>
                <a:cubicBezTo>
                  <a:pt x="1308202" y="2105558"/>
                  <a:pt x="1298844" y="2106975"/>
                  <a:pt x="1291133" y="2103120"/>
                </a:cubicBezTo>
                <a:cubicBezTo>
                  <a:pt x="1287685" y="2101396"/>
                  <a:pt x="1290487" y="2094556"/>
                  <a:pt x="1287476" y="2092147"/>
                </a:cubicBezTo>
                <a:cubicBezTo>
                  <a:pt x="1283551" y="2089007"/>
                  <a:pt x="1277679" y="2089870"/>
                  <a:pt x="1272845" y="2088489"/>
                </a:cubicBezTo>
                <a:cubicBezTo>
                  <a:pt x="1269138" y="2087430"/>
                  <a:pt x="1265530" y="2086051"/>
                  <a:pt x="1261872" y="2084832"/>
                </a:cubicBezTo>
                <a:cubicBezTo>
                  <a:pt x="1260294" y="2083780"/>
                  <a:pt x="1244386" y="2074210"/>
                  <a:pt x="1243584" y="2070201"/>
                </a:cubicBezTo>
                <a:cubicBezTo>
                  <a:pt x="1242828" y="2066421"/>
                  <a:pt x="1244834" y="2062239"/>
                  <a:pt x="1247242" y="2059229"/>
                </a:cubicBezTo>
                <a:cubicBezTo>
                  <a:pt x="1249988" y="2055796"/>
                  <a:pt x="1254557" y="2054352"/>
                  <a:pt x="1258215" y="2051913"/>
                </a:cubicBezTo>
                <a:cubicBezTo>
                  <a:pt x="1255777" y="2048256"/>
                  <a:pt x="1254557" y="2043379"/>
                  <a:pt x="1250900" y="2040941"/>
                </a:cubicBezTo>
                <a:cubicBezTo>
                  <a:pt x="1229249" y="2026508"/>
                  <a:pt x="1240374" y="2049599"/>
                  <a:pt x="1232612" y="2026310"/>
                </a:cubicBezTo>
                <a:cubicBezTo>
                  <a:pt x="1235050" y="2022652"/>
                  <a:pt x="1239204" y="2019673"/>
                  <a:pt x="1239927" y="2015337"/>
                </a:cubicBezTo>
                <a:cubicBezTo>
                  <a:pt x="1241283" y="2007199"/>
                  <a:pt x="1233534" y="2001630"/>
                  <a:pt x="1228954" y="1997049"/>
                </a:cubicBezTo>
                <a:cubicBezTo>
                  <a:pt x="1227975" y="1988242"/>
                  <a:pt x="1233222" y="1958916"/>
                  <a:pt x="1214324" y="1956816"/>
                </a:cubicBezTo>
                <a:cubicBezTo>
                  <a:pt x="1206953" y="1955997"/>
                  <a:pt x="1199693" y="1959254"/>
                  <a:pt x="1192378" y="1960473"/>
                </a:cubicBezTo>
                <a:cubicBezTo>
                  <a:pt x="1185063" y="1959254"/>
                  <a:pt x="1176871" y="1960495"/>
                  <a:pt x="1170432" y="1956816"/>
                </a:cubicBezTo>
                <a:cubicBezTo>
                  <a:pt x="1167085" y="1954903"/>
                  <a:pt x="1166775" y="1949698"/>
                  <a:pt x="1166775" y="1945843"/>
                </a:cubicBezTo>
                <a:cubicBezTo>
                  <a:pt x="1166775" y="1934032"/>
                  <a:pt x="1171774" y="1929200"/>
                  <a:pt x="1177748" y="1920240"/>
                </a:cubicBezTo>
                <a:cubicBezTo>
                  <a:pt x="1178967" y="1916582"/>
                  <a:pt x="1179681" y="1912715"/>
                  <a:pt x="1181405" y="1909267"/>
                </a:cubicBezTo>
                <a:cubicBezTo>
                  <a:pt x="1190345" y="1891386"/>
                  <a:pt x="1187780" y="1905710"/>
                  <a:pt x="1192378" y="1887321"/>
                </a:cubicBezTo>
                <a:cubicBezTo>
                  <a:pt x="1192908" y="1885200"/>
                  <a:pt x="1196479" y="1862561"/>
                  <a:pt x="1199693" y="1858061"/>
                </a:cubicBezTo>
                <a:cubicBezTo>
                  <a:pt x="1211431" y="1841628"/>
                  <a:pt x="1212410" y="1846424"/>
                  <a:pt x="1225296" y="1836115"/>
                </a:cubicBezTo>
                <a:cubicBezTo>
                  <a:pt x="1232744" y="1830157"/>
                  <a:pt x="1234493" y="1825978"/>
                  <a:pt x="1239927" y="1817827"/>
                </a:cubicBezTo>
                <a:cubicBezTo>
                  <a:pt x="1238708" y="1812950"/>
                  <a:pt x="1236769" y="1808199"/>
                  <a:pt x="1236269" y="1803197"/>
                </a:cubicBezTo>
                <a:cubicBezTo>
                  <a:pt x="1235680" y="1797310"/>
                  <a:pt x="1238141" y="1752075"/>
                  <a:pt x="1228954" y="1733702"/>
                </a:cubicBezTo>
                <a:cubicBezTo>
                  <a:pt x="1226988" y="1729770"/>
                  <a:pt x="1224077" y="1726387"/>
                  <a:pt x="1221639" y="1722729"/>
                </a:cubicBezTo>
                <a:cubicBezTo>
                  <a:pt x="1219201" y="1712976"/>
                  <a:pt x="1217503" y="1703007"/>
                  <a:pt x="1214324" y="1693469"/>
                </a:cubicBezTo>
                <a:cubicBezTo>
                  <a:pt x="1213105" y="1689811"/>
                  <a:pt x="1212390" y="1685945"/>
                  <a:pt x="1210666" y="1682496"/>
                </a:cubicBezTo>
                <a:cubicBezTo>
                  <a:pt x="1208700" y="1678564"/>
                  <a:pt x="1205532" y="1675340"/>
                  <a:pt x="1203351" y="1671523"/>
                </a:cubicBezTo>
                <a:cubicBezTo>
                  <a:pt x="1200646" y="1666789"/>
                  <a:pt x="1198184" y="1661904"/>
                  <a:pt x="1196036" y="1656893"/>
                </a:cubicBezTo>
                <a:cubicBezTo>
                  <a:pt x="1194517" y="1653349"/>
                  <a:pt x="1195104" y="1648646"/>
                  <a:pt x="1192378" y="1645920"/>
                </a:cubicBezTo>
                <a:cubicBezTo>
                  <a:pt x="1189652" y="1643194"/>
                  <a:pt x="1185063" y="1643481"/>
                  <a:pt x="1181405" y="1642262"/>
                </a:cubicBezTo>
                <a:cubicBezTo>
                  <a:pt x="1177747" y="1644700"/>
                  <a:pt x="1174364" y="1647611"/>
                  <a:pt x="1170432" y="1649577"/>
                </a:cubicBezTo>
                <a:cubicBezTo>
                  <a:pt x="1148908" y="1660340"/>
                  <a:pt x="1114062" y="1650564"/>
                  <a:pt x="1097280" y="1649577"/>
                </a:cubicBezTo>
                <a:cubicBezTo>
                  <a:pt x="1122884" y="1641043"/>
                  <a:pt x="1116787" y="1649577"/>
                  <a:pt x="1122884" y="1631289"/>
                </a:cubicBezTo>
                <a:cubicBezTo>
                  <a:pt x="1121665" y="1627632"/>
                  <a:pt x="1120285" y="1624024"/>
                  <a:pt x="1119226" y="1620317"/>
                </a:cubicBezTo>
                <a:cubicBezTo>
                  <a:pt x="1117845" y="1615483"/>
                  <a:pt x="1118708" y="1609612"/>
                  <a:pt x="1115568" y="1605686"/>
                </a:cubicBezTo>
                <a:cubicBezTo>
                  <a:pt x="1113160" y="1602676"/>
                  <a:pt x="1108253" y="1603248"/>
                  <a:pt x="1104596" y="1602029"/>
                </a:cubicBezTo>
                <a:cubicBezTo>
                  <a:pt x="1096061" y="1603248"/>
                  <a:pt x="1087393" y="1603748"/>
                  <a:pt x="1078992" y="1605686"/>
                </a:cubicBezTo>
                <a:cubicBezTo>
                  <a:pt x="1071479" y="1607420"/>
                  <a:pt x="1064735" y="1612410"/>
                  <a:pt x="1057047" y="1613001"/>
                </a:cubicBezTo>
                <a:lnTo>
                  <a:pt x="1009498" y="1616659"/>
                </a:lnTo>
                <a:cubicBezTo>
                  <a:pt x="1005840" y="1619097"/>
                  <a:pt x="1001633" y="1620866"/>
                  <a:pt x="998525" y="1623974"/>
                </a:cubicBezTo>
                <a:cubicBezTo>
                  <a:pt x="995417" y="1627082"/>
                  <a:pt x="994643" y="1632201"/>
                  <a:pt x="991210" y="1634947"/>
                </a:cubicBezTo>
                <a:cubicBezTo>
                  <a:pt x="988199" y="1637356"/>
                  <a:pt x="983607" y="1636733"/>
                  <a:pt x="980237" y="1638605"/>
                </a:cubicBezTo>
                <a:cubicBezTo>
                  <a:pt x="972552" y="1642875"/>
                  <a:pt x="964509" y="1647019"/>
                  <a:pt x="958292" y="1653235"/>
                </a:cubicBezTo>
                <a:cubicBezTo>
                  <a:pt x="955853" y="1655673"/>
                  <a:pt x="953933" y="1658776"/>
                  <a:pt x="950976" y="1660550"/>
                </a:cubicBezTo>
                <a:cubicBezTo>
                  <a:pt x="947670" y="1662534"/>
                  <a:pt x="943661" y="1662989"/>
                  <a:pt x="940004" y="1664208"/>
                </a:cubicBezTo>
                <a:cubicBezTo>
                  <a:pt x="921466" y="1682743"/>
                  <a:pt x="945457" y="1660936"/>
                  <a:pt x="921716" y="1675181"/>
                </a:cubicBezTo>
                <a:cubicBezTo>
                  <a:pt x="900013" y="1688203"/>
                  <a:pt x="931646" y="1677270"/>
                  <a:pt x="903428" y="1689811"/>
                </a:cubicBezTo>
                <a:cubicBezTo>
                  <a:pt x="896382" y="1692943"/>
                  <a:pt x="888797" y="1694688"/>
                  <a:pt x="881482" y="1697126"/>
                </a:cubicBezTo>
                <a:lnTo>
                  <a:pt x="870509" y="1700784"/>
                </a:lnTo>
                <a:cubicBezTo>
                  <a:pt x="855879" y="1699565"/>
                  <a:pt x="841170" y="1699066"/>
                  <a:pt x="826618" y="1697126"/>
                </a:cubicBezTo>
                <a:cubicBezTo>
                  <a:pt x="822796" y="1696616"/>
                  <a:pt x="819426" y="1694225"/>
                  <a:pt x="815645" y="1693469"/>
                </a:cubicBezTo>
                <a:cubicBezTo>
                  <a:pt x="807191" y="1691778"/>
                  <a:pt x="798576" y="1691030"/>
                  <a:pt x="790042" y="1689811"/>
                </a:cubicBezTo>
                <a:cubicBezTo>
                  <a:pt x="786384" y="1687373"/>
                  <a:pt x="783086" y="1684281"/>
                  <a:pt x="779069" y="1682496"/>
                </a:cubicBezTo>
                <a:cubicBezTo>
                  <a:pt x="772023" y="1679364"/>
                  <a:pt x="757124" y="1675181"/>
                  <a:pt x="757124" y="1675181"/>
                </a:cubicBezTo>
                <a:cubicBezTo>
                  <a:pt x="751028" y="1676400"/>
                  <a:pt x="744270" y="1675819"/>
                  <a:pt x="738836" y="1678838"/>
                </a:cubicBezTo>
                <a:cubicBezTo>
                  <a:pt x="719173" y="1689762"/>
                  <a:pt x="729257" y="1692074"/>
                  <a:pt x="716890" y="1704441"/>
                </a:cubicBezTo>
                <a:cubicBezTo>
                  <a:pt x="709798" y="1711533"/>
                  <a:pt x="703871" y="1712439"/>
                  <a:pt x="694944" y="1715414"/>
                </a:cubicBezTo>
                <a:cubicBezTo>
                  <a:pt x="692506" y="1719072"/>
                  <a:pt x="691799" y="1727777"/>
                  <a:pt x="687629" y="1726387"/>
                </a:cubicBezTo>
                <a:cubicBezTo>
                  <a:pt x="682860" y="1724798"/>
                  <a:pt x="686220" y="1716253"/>
                  <a:pt x="683972" y="1711757"/>
                </a:cubicBezTo>
                <a:cubicBezTo>
                  <a:pt x="679955" y="1703723"/>
                  <a:pt x="673193" y="1703287"/>
                  <a:pt x="665684" y="1700784"/>
                </a:cubicBezTo>
                <a:cubicBezTo>
                  <a:pt x="626620" y="1705124"/>
                  <a:pt x="632536" y="1706605"/>
                  <a:pt x="588874" y="1700784"/>
                </a:cubicBezTo>
                <a:cubicBezTo>
                  <a:pt x="585052" y="1700274"/>
                  <a:pt x="581641" y="1698061"/>
                  <a:pt x="577901" y="1697126"/>
                </a:cubicBezTo>
                <a:cubicBezTo>
                  <a:pt x="571870" y="1695618"/>
                  <a:pt x="565611" y="1695105"/>
                  <a:pt x="559613" y="1693469"/>
                </a:cubicBezTo>
                <a:cubicBezTo>
                  <a:pt x="552174" y="1691440"/>
                  <a:pt x="537668" y="1686153"/>
                  <a:pt x="537668" y="1686153"/>
                </a:cubicBezTo>
                <a:cubicBezTo>
                  <a:pt x="534010" y="1687372"/>
                  <a:pt x="530551" y="1689811"/>
                  <a:pt x="526695" y="1689811"/>
                </a:cubicBezTo>
                <a:cubicBezTo>
                  <a:pt x="513824" y="1689811"/>
                  <a:pt x="505090" y="1686267"/>
                  <a:pt x="493776" y="1682496"/>
                </a:cubicBezTo>
                <a:cubicBezTo>
                  <a:pt x="492198" y="1681444"/>
                  <a:pt x="476290" y="1671874"/>
                  <a:pt x="475488" y="1667865"/>
                </a:cubicBezTo>
                <a:cubicBezTo>
                  <a:pt x="474732" y="1664085"/>
                  <a:pt x="477927" y="1660550"/>
                  <a:pt x="479146" y="1656893"/>
                </a:cubicBezTo>
                <a:cubicBezTo>
                  <a:pt x="476708" y="1654454"/>
                  <a:pt x="474788" y="1651351"/>
                  <a:pt x="471831" y="1649577"/>
                </a:cubicBezTo>
                <a:cubicBezTo>
                  <a:pt x="462931" y="1644237"/>
                  <a:pt x="435622" y="1642765"/>
                  <a:pt x="431597" y="1642262"/>
                </a:cubicBezTo>
                <a:cubicBezTo>
                  <a:pt x="432816" y="1636166"/>
                  <a:pt x="435255" y="1630191"/>
                  <a:pt x="435255" y="1623974"/>
                </a:cubicBezTo>
                <a:cubicBezTo>
                  <a:pt x="435255" y="1620118"/>
                  <a:pt x="434323" y="1615727"/>
                  <a:pt x="431597" y="1613001"/>
                </a:cubicBezTo>
                <a:cubicBezTo>
                  <a:pt x="428871" y="1610275"/>
                  <a:pt x="424441" y="1609889"/>
                  <a:pt x="420624" y="1609344"/>
                </a:cubicBezTo>
                <a:cubicBezTo>
                  <a:pt x="407293" y="1607440"/>
                  <a:pt x="393802" y="1606905"/>
                  <a:pt x="380391" y="1605686"/>
                </a:cubicBezTo>
                <a:cubicBezTo>
                  <a:pt x="372127" y="1580895"/>
                  <a:pt x="381481" y="1611139"/>
                  <a:pt x="373076" y="1569110"/>
                </a:cubicBezTo>
                <a:cubicBezTo>
                  <a:pt x="372320" y="1565329"/>
                  <a:pt x="371827" y="1561148"/>
                  <a:pt x="369418" y="1558137"/>
                </a:cubicBezTo>
                <a:cubicBezTo>
                  <a:pt x="366672" y="1554704"/>
                  <a:pt x="362103" y="1553260"/>
                  <a:pt x="358445" y="1550822"/>
                </a:cubicBezTo>
                <a:cubicBezTo>
                  <a:pt x="357226" y="1547164"/>
                  <a:pt x="358552" y="1540685"/>
                  <a:pt x="354788" y="1539849"/>
                </a:cubicBezTo>
                <a:cubicBezTo>
                  <a:pt x="345192" y="1537717"/>
                  <a:pt x="335323" y="1542691"/>
                  <a:pt x="325527" y="1543507"/>
                </a:cubicBezTo>
                <a:cubicBezTo>
                  <a:pt x="306049" y="1545130"/>
                  <a:pt x="286512" y="1545946"/>
                  <a:pt x="267005" y="1547165"/>
                </a:cubicBezTo>
                <a:cubicBezTo>
                  <a:pt x="263347" y="1548384"/>
                  <a:pt x="259887" y="1550822"/>
                  <a:pt x="256032" y="1550822"/>
                </a:cubicBezTo>
                <a:cubicBezTo>
                  <a:pt x="247831" y="1550822"/>
                  <a:pt x="242380" y="1545644"/>
                  <a:pt x="237744" y="1539849"/>
                </a:cubicBezTo>
                <a:cubicBezTo>
                  <a:pt x="234998" y="1536417"/>
                  <a:pt x="233175" y="1532309"/>
                  <a:pt x="230429" y="1528877"/>
                </a:cubicBezTo>
                <a:cubicBezTo>
                  <a:pt x="228275" y="1526184"/>
                  <a:pt x="225807" y="1523715"/>
                  <a:pt x="223114" y="1521561"/>
                </a:cubicBezTo>
                <a:cubicBezTo>
                  <a:pt x="219681" y="1518815"/>
                  <a:pt x="216158" y="1516031"/>
                  <a:pt x="212141" y="1514246"/>
                </a:cubicBezTo>
                <a:cubicBezTo>
                  <a:pt x="196955" y="1507497"/>
                  <a:pt x="187553" y="1506402"/>
                  <a:pt x="171908" y="1503273"/>
                </a:cubicBezTo>
                <a:cubicBezTo>
                  <a:pt x="165826" y="1497192"/>
                  <a:pt x="160969" y="1493292"/>
                  <a:pt x="157277" y="1484985"/>
                </a:cubicBezTo>
                <a:cubicBezTo>
                  <a:pt x="154145" y="1477939"/>
                  <a:pt x="149962" y="1463040"/>
                  <a:pt x="149962" y="1463040"/>
                </a:cubicBezTo>
                <a:cubicBezTo>
                  <a:pt x="148743" y="1443533"/>
                  <a:pt x="148249" y="1423966"/>
                  <a:pt x="146304" y="1404518"/>
                </a:cubicBezTo>
                <a:cubicBezTo>
                  <a:pt x="145804" y="1399516"/>
                  <a:pt x="141057" y="1394657"/>
                  <a:pt x="142647" y="1389888"/>
                </a:cubicBezTo>
                <a:cubicBezTo>
                  <a:pt x="144037" y="1385718"/>
                  <a:pt x="149962" y="1385011"/>
                  <a:pt x="153620" y="1382573"/>
                </a:cubicBezTo>
                <a:cubicBezTo>
                  <a:pt x="158497" y="1383792"/>
                  <a:pt x="164325" y="1383090"/>
                  <a:pt x="168250" y="1386230"/>
                </a:cubicBezTo>
                <a:cubicBezTo>
                  <a:pt x="171261" y="1388639"/>
                  <a:pt x="169182" y="1394477"/>
                  <a:pt x="171908" y="1397203"/>
                </a:cubicBezTo>
                <a:cubicBezTo>
                  <a:pt x="174634" y="1399929"/>
                  <a:pt x="179223" y="1399642"/>
                  <a:pt x="182880" y="1400861"/>
                </a:cubicBezTo>
                <a:cubicBezTo>
                  <a:pt x="190108" y="1398452"/>
                  <a:pt x="199670" y="1396333"/>
                  <a:pt x="204826" y="1389888"/>
                </a:cubicBezTo>
                <a:cubicBezTo>
                  <a:pt x="207235" y="1386877"/>
                  <a:pt x="207265" y="1382573"/>
                  <a:pt x="208484" y="1378915"/>
                </a:cubicBezTo>
                <a:cubicBezTo>
                  <a:pt x="207265" y="1372819"/>
                  <a:pt x="206334" y="1366658"/>
                  <a:pt x="204826" y="1360627"/>
                </a:cubicBezTo>
                <a:cubicBezTo>
                  <a:pt x="203891" y="1356887"/>
                  <a:pt x="201168" y="1353510"/>
                  <a:pt x="201168" y="1349654"/>
                </a:cubicBezTo>
                <a:cubicBezTo>
                  <a:pt x="201168" y="1341538"/>
                  <a:pt x="202761" y="1317210"/>
                  <a:pt x="208484" y="1305763"/>
                </a:cubicBezTo>
                <a:cubicBezTo>
                  <a:pt x="210450" y="1301831"/>
                  <a:pt x="212366" y="1297536"/>
                  <a:pt x="215799" y="1294790"/>
                </a:cubicBezTo>
                <a:cubicBezTo>
                  <a:pt x="218810" y="1292382"/>
                  <a:pt x="223114" y="1292352"/>
                  <a:pt x="226772" y="1291133"/>
                </a:cubicBezTo>
                <a:cubicBezTo>
                  <a:pt x="229210" y="1288694"/>
                  <a:pt x="231130" y="1285591"/>
                  <a:pt x="234087" y="1283817"/>
                </a:cubicBezTo>
                <a:cubicBezTo>
                  <a:pt x="261133" y="1267589"/>
                  <a:pt x="228281" y="1295047"/>
                  <a:pt x="256032" y="1272845"/>
                </a:cubicBezTo>
                <a:cubicBezTo>
                  <a:pt x="265845" y="1264994"/>
                  <a:pt x="262214" y="1265118"/>
                  <a:pt x="270663" y="1254557"/>
                </a:cubicBezTo>
                <a:cubicBezTo>
                  <a:pt x="272817" y="1251864"/>
                  <a:pt x="275540" y="1249680"/>
                  <a:pt x="277978" y="1247241"/>
                </a:cubicBezTo>
                <a:cubicBezTo>
                  <a:pt x="279197" y="1243584"/>
                  <a:pt x="280577" y="1239976"/>
                  <a:pt x="281636" y="1236269"/>
                </a:cubicBezTo>
                <a:cubicBezTo>
                  <a:pt x="283200" y="1230793"/>
                  <a:pt x="286025" y="1216516"/>
                  <a:pt x="288951" y="1210665"/>
                </a:cubicBezTo>
                <a:cubicBezTo>
                  <a:pt x="290917" y="1206733"/>
                  <a:pt x="293828" y="1203350"/>
                  <a:pt x="296266" y="1199693"/>
                </a:cubicBezTo>
                <a:cubicBezTo>
                  <a:pt x="295047" y="1196035"/>
                  <a:pt x="295017" y="1191731"/>
                  <a:pt x="292608" y="1188720"/>
                </a:cubicBezTo>
                <a:cubicBezTo>
                  <a:pt x="289862" y="1185288"/>
                  <a:pt x="283966" y="1185132"/>
                  <a:pt x="281636" y="1181405"/>
                </a:cubicBezTo>
                <a:cubicBezTo>
                  <a:pt x="277549" y="1174866"/>
                  <a:pt x="276759" y="1166774"/>
                  <a:pt x="274320" y="1159459"/>
                </a:cubicBezTo>
                <a:cubicBezTo>
                  <a:pt x="272930" y="1155289"/>
                  <a:pt x="269443" y="1152144"/>
                  <a:pt x="267005" y="1148486"/>
                </a:cubicBezTo>
                <a:cubicBezTo>
                  <a:pt x="226426" y="1152995"/>
                  <a:pt x="244558" y="1148653"/>
                  <a:pt x="212141" y="1159459"/>
                </a:cubicBezTo>
                <a:lnTo>
                  <a:pt x="201168" y="1163117"/>
                </a:lnTo>
                <a:lnTo>
                  <a:pt x="190196" y="1166774"/>
                </a:lnTo>
                <a:cubicBezTo>
                  <a:pt x="165042" y="1183544"/>
                  <a:pt x="176591" y="1178625"/>
                  <a:pt x="157277" y="1185062"/>
                </a:cubicBezTo>
                <a:cubicBezTo>
                  <a:pt x="145085" y="1183843"/>
                  <a:pt x="132744" y="1183663"/>
                  <a:pt x="120701" y="1181405"/>
                </a:cubicBezTo>
                <a:cubicBezTo>
                  <a:pt x="113122" y="1179984"/>
                  <a:pt x="98756" y="1174089"/>
                  <a:pt x="98756" y="1174089"/>
                </a:cubicBezTo>
                <a:cubicBezTo>
                  <a:pt x="96317" y="1171651"/>
                  <a:pt x="93214" y="1169731"/>
                  <a:pt x="91440" y="1166774"/>
                </a:cubicBezTo>
                <a:cubicBezTo>
                  <a:pt x="89456" y="1163468"/>
                  <a:pt x="90191" y="1158812"/>
                  <a:pt x="87783" y="1155801"/>
                </a:cubicBezTo>
                <a:cubicBezTo>
                  <a:pt x="85037" y="1152368"/>
                  <a:pt x="80468" y="1150924"/>
                  <a:pt x="76810" y="1148486"/>
                </a:cubicBezTo>
                <a:cubicBezTo>
                  <a:pt x="74372" y="1144828"/>
                  <a:pt x="70218" y="1141849"/>
                  <a:pt x="69495" y="1137513"/>
                </a:cubicBezTo>
                <a:cubicBezTo>
                  <a:pt x="67712" y="1126816"/>
                  <a:pt x="83253" y="1123703"/>
                  <a:pt x="69495" y="1111910"/>
                </a:cubicBezTo>
                <a:cubicBezTo>
                  <a:pt x="63640" y="1106892"/>
                  <a:pt x="54446" y="1108043"/>
                  <a:pt x="47549" y="1104595"/>
                </a:cubicBezTo>
                <a:lnTo>
                  <a:pt x="32919" y="1097280"/>
                </a:lnTo>
                <a:cubicBezTo>
                  <a:pt x="23463" y="1068913"/>
                  <a:pt x="34684" y="1108624"/>
                  <a:pt x="32919" y="1068019"/>
                </a:cubicBezTo>
                <a:cubicBezTo>
                  <a:pt x="31960" y="1045959"/>
                  <a:pt x="28727" y="1024041"/>
                  <a:pt x="25604" y="1002182"/>
                </a:cubicBezTo>
                <a:cubicBezTo>
                  <a:pt x="25059" y="998365"/>
                  <a:pt x="24672" y="993935"/>
                  <a:pt x="21946" y="991209"/>
                </a:cubicBezTo>
                <a:cubicBezTo>
                  <a:pt x="15729" y="984992"/>
                  <a:pt x="0" y="976579"/>
                  <a:pt x="0" y="976579"/>
                </a:cubicBezTo>
                <a:cubicBezTo>
                  <a:pt x="935" y="966292"/>
                  <a:pt x="278" y="939448"/>
                  <a:pt x="7316" y="925373"/>
                </a:cubicBezTo>
                <a:cubicBezTo>
                  <a:pt x="9282" y="921441"/>
                  <a:pt x="12193" y="918058"/>
                  <a:pt x="14631" y="914400"/>
                </a:cubicBezTo>
                <a:cubicBezTo>
                  <a:pt x="17069" y="907085"/>
                  <a:pt x="15530" y="896731"/>
                  <a:pt x="21946" y="892454"/>
                </a:cubicBezTo>
                <a:cubicBezTo>
                  <a:pt x="25604" y="890016"/>
                  <a:pt x="28902" y="886924"/>
                  <a:pt x="32919" y="885139"/>
                </a:cubicBezTo>
                <a:cubicBezTo>
                  <a:pt x="39965" y="882007"/>
                  <a:pt x="47549" y="880262"/>
                  <a:pt x="54864" y="877824"/>
                </a:cubicBezTo>
                <a:lnTo>
                  <a:pt x="65837" y="874166"/>
                </a:lnTo>
                <a:lnTo>
                  <a:pt x="76810" y="870509"/>
                </a:lnTo>
                <a:cubicBezTo>
                  <a:pt x="80468" y="869290"/>
                  <a:pt x="83934" y="867077"/>
                  <a:pt x="87783" y="866851"/>
                </a:cubicBezTo>
                <a:lnTo>
                  <a:pt x="149962" y="863193"/>
                </a:lnTo>
                <a:lnTo>
                  <a:pt x="182880" y="852221"/>
                </a:lnTo>
                <a:lnTo>
                  <a:pt x="193853" y="848563"/>
                </a:lnTo>
                <a:cubicBezTo>
                  <a:pt x="197511" y="847344"/>
                  <a:pt x="201086" y="845840"/>
                  <a:pt x="204826" y="844905"/>
                </a:cubicBezTo>
                <a:cubicBezTo>
                  <a:pt x="209703" y="843686"/>
                  <a:pt x="214641" y="842692"/>
                  <a:pt x="219456" y="841248"/>
                </a:cubicBezTo>
                <a:cubicBezTo>
                  <a:pt x="226842" y="839032"/>
                  <a:pt x="233921" y="835803"/>
                  <a:pt x="241402" y="833933"/>
                </a:cubicBezTo>
                <a:cubicBezTo>
                  <a:pt x="246279" y="832714"/>
                  <a:pt x="251217" y="831719"/>
                  <a:pt x="256032" y="830275"/>
                </a:cubicBezTo>
                <a:cubicBezTo>
                  <a:pt x="256082" y="830260"/>
                  <a:pt x="283440" y="821139"/>
                  <a:pt x="288951" y="819302"/>
                </a:cubicBezTo>
                <a:lnTo>
                  <a:pt x="299924" y="815645"/>
                </a:lnTo>
                <a:cubicBezTo>
                  <a:pt x="302362" y="813206"/>
                  <a:pt x="305085" y="811022"/>
                  <a:pt x="307239" y="808329"/>
                </a:cubicBezTo>
                <a:cubicBezTo>
                  <a:pt x="309985" y="804897"/>
                  <a:pt x="311122" y="800103"/>
                  <a:pt x="314554" y="797357"/>
                </a:cubicBezTo>
                <a:cubicBezTo>
                  <a:pt x="317565" y="794948"/>
                  <a:pt x="321983" y="795218"/>
                  <a:pt x="325527" y="793699"/>
                </a:cubicBezTo>
                <a:cubicBezTo>
                  <a:pt x="364639" y="776936"/>
                  <a:pt x="313236" y="795056"/>
                  <a:pt x="358445" y="782726"/>
                </a:cubicBezTo>
                <a:cubicBezTo>
                  <a:pt x="365884" y="780697"/>
                  <a:pt x="373076" y="777849"/>
                  <a:pt x="380391" y="775411"/>
                </a:cubicBezTo>
                <a:lnTo>
                  <a:pt x="391364" y="771753"/>
                </a:lnTo>
                <a:cubicBezTo>
                  <a:pt x="401721" y="740679"/>
                  <a:pt x="387277" y="778563"/>
                  <a:pt x="402336" y="753465"/>
                </a:cubicBezTo>
                <a:cubicBezTo>
                  <a:pt x="404320" y="750159"/>
                  <a:pt x="404010" y="745799"/>
                  <a:pt x="405994" y="742493"/>
                </a:cubicBezTo>
                <a:cubicBezTo>
                  <a:pt x="409470" y="736700"/>
                  <a:pt x="419295" y="731186"/>
                  <a:pt x="424282" y="727862"/>
                </a:cubicBezTo>
                <a:cubicBezTo>
                  <a:pt x="429159" y="720547"/>
                  <a:pt x="437467" y="714589"/>
                  <a:pt x="438912" y="705917"/>
                </a:cubicBezTo>
                <a:cubicBezTo>
                  <a:pt x="443837" y="676369"/>
                  <a:pt x="440226" y="691002"/>
                  <a:pt x="449885" y="662025"/>
                </a:cubicBezTo>
                <a:lnTo>
                  <a:pt x="453543" y="651053"/>
                </a:lnTo>
                <a:lnTo>
                  <a:pt x="457200" y="640080"/>
                </a:lnTo>
                <a:cubicBezTo>
                  <a:pt x="458419" y="615696"/>
                  <a:pt x="456675" y="590981"/>
                  <a:pt x="460858" y="566928"/>
                </a:cubicBezTo>
                <a:cubicBezTo>
                  <a:pt x="462700" y="556336"/>
                  <a:pt x="488662" y="548896"/>
                  <a:pt x="493776" y="548640"/>
                </a:cubicBezTo>
                <a:lnTo>
                  <a:pt x="566928" y="544982"/>
                </a:lnTo>
                <a:cubicBezTo>
                  <a:pt x="570586" y="543763"/>
                  <a:pt x="574531" y="543197"/>
                  <a:pt x="577901" y="541325"/>
                </a:cubicBezTo>
                <a:cubicBezTo>
                  <a:pt x="585587" y="537055"/>
                  <a:pt x="599847" y="526694"/>
                  <a:pt x="599847" y="526694"/>
                </a:cubicBezTo>
                <a:cubicBezTo>
                  <a:pt x="602285" y="523036"/>
                  <a:pt x="603729" y="518467"/>
                  <a:pt x="607162" y="515721"/>
                </a:cubicBezTo>
                <a:cubicBezTo>
                  <a:pt x="610173" y="513313"/>
                  <a:pt x="615727" y="515075"/>
                  <a:pt x="618135" y="512064"/>
                </a:cubicBezTo>
                <a:cubicBezTo>
                  <a:pt x="621275" y="508139"/>
                  <a:pt x="620411" y="502267"/>
                  <a:pt x="621792" y="497433"/>
                </a:cubicBezTo>
                <a:cubicBezTo>
                  <a:pt x="622851" y="493726"/>
                  <a:pt x="624231" y="490118"/>
                  <a:pt x="625450" y="486461"/>
                </a:cubicBezTo>
                <a:cubicBezTo>
                  <a:pt x="626669" y="475488"/>
                  <a:pt x="627293" y="464432"/>
                  <a:pt x="629108" y="453542"/>
                </a:cubicBezTo>
                <a:cubicBezTo>
                  <a:pt x="629742" y="449739"/>
                  <a:pt x="630039" y="445295"/>
                  <a:pt x="632765" y="442569"/>
                </a:cubicBezTo>
                <a:cubicBezTo>
                  <a:pt x="638982" y="436352"/>
                  <a:pt x="646182" y="430072"/>
                  <a:pt x="654711" y="427939"/>
                </a:cubicBezTo>
                <a:cubicBezTo>
                  <a:pt x="659588" y="426720"/>
                  <a:pt x="664434" y="425371"/>
                  <a:pt x="669341" y="424281"/>
                </a:cubicBezTo>
                <a:cubicBezTo>
                  <a:pt x="675410" y="422932"/>
                  <a:pt x="681598" y="422132"/>
                  <a:pt x="687629" y="420624"/>
                </a:cubicBezTo>
                <a:cubicBezTo>
                  <a:pt x="691369" y="419689"/>
                  <a:pt x="694944" y="418185"/>
                  <a:pt x="698602" y="416966"/>
                </a:cubicBezTo>
                <a:cubicBezTo>
                  <a:pt x="710983" y="418514"/>
                  <a:pt x="737781" y="419921"/>
                  <a:pt x="749808" y="427939"/>
                </a:cubicBezTo>
                <a:cubicBezTo>
                  <a:pt x="753466" y="430377"/>
                  <a:pt x="756764" y="433469"/>
                  <a:pt x="760781" y="435254"/>
                </a:cubicBezTo>
                <a:cubicBezTo>
                  <a:pt x="767827" y="438386"/>
                  <a:pt x="782727" y="442569"/>
                  <a:pt x="782727" y="442569"/>
                </a:cubicBezTo>
                <a:cubicBezTo>
                  <a:pt x="791261" y="441350"/>
                  <a:pt x="799876" y="440603"/>
                  <a:pt x="808330" y="438912"/>
                </a:cubicBezTo>
                <a:cubicBezTo>
                  <a:pt x="812111" y="438156"/>
                  <a:pt x="818368" y="438994"/>
                  <a:pt x="819303" y="435254"/>
                </a:cubicBezTo>
                <a:cubicBezTo>
                  <a:pt x="823748" y="417473"/>
                  <a:pt x="821041" y="398618"/>
                  <a:pt x="822960" y="380390"/>
                </a:cubicBezTo>
                <a:cubicBezTo>
                  <a:pt x="823486" y="375391"/>
                  <a:pt x="823830" y="369942"/>
                  <a:pt x="826618" y="365760"/>
                </a:cubicBezTo>
                <a:cubicBezTo>
                  <a:pt x="832572" y="356829"/>
                  <a:pt x="853478" y="355168"/>
                  <a:pt x="859536" y="351129"/>
                </a:cubicBezTo>
                <a:cubicBezTo>
                  <a:pt x="870326" y="343936"/>
                  <a:pt x="872680" y="343403"/>
                  <a:pt x="881482" y="332841"/>
                </a:cubicBezTo>
                <a:cubicBezTo>
                  <a:pt x="884296" y="329464"/>
                  <a:pt x="886051" y="325301"/>
                  <a:pt x="888797" y="321869"/>
                </a:cubicBezTo>
                <a:cubicBezTo>
                  <a:pt x="890951" y="319176"/>
                  <a:pt x="893958" y="317246"/>
                  <a:pt x="896112" y="314553"/>
                </a:cubicBezTo>
                <a:cubicBezTo>
                  <a:pt x="898858" y="311121"/>
                  <a:pt x="900682" y="307013"/>
                  <a:pt x="903428" y="303581"/>
                </a:cubicBezTo>
                <a:cubicBezTo>
                  <a:pt x="905582" y="300888"/>
                  <a:pt x="908674" y="299024"/>
                  <a:pt x="910743" y="296265"/>
                </a:cubicBezTo>
                <a:cubicBezTo>
                  <a:pt x="916018" y="289232"/>
                  <a:pt x="924154" y="278587"/>
                  <a:pt x="932688" y="277977"/>
                </a:cubicBezTo>
                <a:close/>
              </a:path>
            </a:pathLst>
          </a:custGeom>
          <a:solidFill>
            <a:srgbClr val="CC99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4" name="Title 7"/>
          <p:cNvSpPr txBox="1">
            <a:spLocks/>
          </p:cNvSpPr>
          <p:nvPr/>
        </p:nvSpPr>
        <p:spPr bwMode="auto">
          <a:xfrm>
            <a:off x="3492501" y="2997200"/>
            <a:ext cx="14620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3200">
                <a:latin typeface="Ramabhadra" pitchFamily="2" charset="0"/>
                <a:cs typeface="Ramabhadra" pitchFamily="2" charset="0"/>
              </a:rPr>
              <a:t>చైనా</a:t>
            </a:r>
            <a:endParaRPr lang="en-IN" sz="3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auto">
          <a:xfrm>
            <a:off x="4576768" y="3143251"/>
            <a:ext cx="8969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>
                <a:latin typeface="Ramabhadra" pitchFamily="2" charset="0"/>
                <a:cs typeface="Ramabhadra" pitchFamily="2" charset="0"/>
              </a:rPr>
              <a:t>బీజింగ్</a:t>
            </a:r>
          </a:p>
        </p:txBody>
      </p:sp>
      <p:sp>
        <p:nvSpPr>
          <p:cNvPr id="46" name="Oval 45"/>
          <p:cNvSpPr/>
          <p:nvPr/>
        </p:nvSpPr>
        <p:spPr>
          <a:xfrm>
            <a:off x="4859344" y="3069171"/>
            <a:ext cx="73025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000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7" name="Freeform 46"/>
          <p:cNvSpPr/>
          <p:nvPr/>
        </p:nvSpPr>
        <p:spPr>
          <a:xfrm>
            <a:off x="1935169" y="3128435"/>
            <a:ext cx="1068387" cy="901700"/>
          </a:xfrm>
          <a:custGeom>
            <a:avLst/>
            <a:gdLst>
              <a:gd name="connsiteX0" fmla="*/ 10973 w 1068194"/>
              <a:gd name="connsiteY0" fmla="*/ 813397 h 901377"/>
              <a:gd name="connsiteX1" fmla="*/ 29261 w 1068194"/>
              <a:gd name="connsiteY1" fmla="*/ 780478 h 901377"/>
              <a:gd name="connsiteX2" fmla="*/ 32919 w 1068194"/>
              <a:gd name="connsiteY2" fmla="*/ 769506 h 901377"/>
              <a:gd name="connsiteX3" fmla="*/ 36576 w 1068194"/>
              <a:gd name="connsiteY3" fmla="*/ 758533 h 901377"/>
              <a:gd name="connsiteX4" fmla="*/ 58522 w 1068194"/>
              <a:gd name="connsiteY4" fmla="*/ 729272 h 901377"/>
              <a:gd name="connsiteX5" fmla="*/ 76810 w 1068194"/>
              <a:gd name="connsiteY5" fmla="*/ 710984 h 901377"/>
              <a:gd name="connsiteX6" fmla="*/ 98756 w 1068194"/>
              <a:gd name="connsiteY6" fmla="*/ 703669 h 901377"/>
              <a:gd name="connsiteX7" fmla="*/ 128016 w 1068194"/>
              <a:gd name="connsiteY7" fmla="*/ 678066 h 901377"/>
              <a:gd name="connsiteX8" fmla="*/ 117044 w 1068194"/>
              <a:gd name="connsiteY8" fmla="*/ 652462 h 901377"/>
              <a:gd name="connsiteX9" fmla="*/ 113386 w 1068194"/>
              <a:gd name="connsiteY9" fmla="*/ 637832 h 901377"/>
              <a:gd name="connsiteX10" fmla="*/ 109728 w 1068194"/>
              <a:gd name="connsiteY10" fmla="*/ 615886 h 901377"/>
              <a:gd name="connsiteX11" fmla="*/ 98756 w 1068194"/>
              <a:gd name="connsiteY11" fmla="*/ 604914 h 901377"/>
              <a:gd name="connsiteX12" fmla="*/ 76810 w 1068194"/>
              <a:gd name="connsiteY12" fmla="*/ 593941 h 901377"/>
              <a:gd name="connsiteX13" fmla="*/ 65837 w 1068194"/>
              <a:gd name="connsiteY13" fmla="*/ 586626 h 901377"/>
              <a:gd name="connsiteX14" fmla="*/ 58522 w 1068194"/>
              <a:gd name="connsiteY14" fmla="*/ 579310 h 901377"/>
              <a:gd name="connsiteX15" fmla="*/ 25604 w 1068194"/>
              <a:gd name="connsiteY15" fmla="*/ 564680 h 901377"/>
              <a:gd name="connsiteX16" fmla="*/ 36576 w 1068194"/>
              <a:gd name="connsiteY16" fmla="*/ 520789 h 901377"/>
              <a:gd name="connsiteX17" fmla="*/ 43892 w 1068194"/>
              <a:gd name="connsiteY17" fmla="*/ 513474 h 901377"/>
              <a:gd name="connsiteX18" fmla="*/ 87783 w 1068194"/>
              <a:gd name="connsiteY18" fmla="*/ 517131 h 901377"/>
              <a:gd name="connsiteX19" fmla="*/ 98756 w 1068194"/>
              <a:gd name="connsiteY19" fmla="*/ 520789 h 901377"/>
              <a:gd name="connsiteX20" fmla="*/ 325527 w 1068194"/>
              <a:gd name="connsiteY20" fmla="*/ 517131 h 901377"/>
              <a:gd name="connsiteX21" fmla="*/ 336500 w 1068194"/>
              <a:gd name="connsiteY21" fmla="*/ 509816 h 901377"/>
              <a:gd name="connsiteX22" fmla="*/ 340157 w 1068194"/>
              <a:gd name="connsiteY22" fmla="*/ 498843 h 901377"/>
              <a:gd name="connsiteX23" fmla="*/ 347472 w 1068194"/>
              <a:gd name="connsiteY23" fmla="*/ 487870 h 901377"/>
              <a:gd name="connsiteX24" fmla="*/ 362103 w 1068194"/>
              <a:gd name="connsiteY24" fmla="*/ 469582 h 901377"/>
              <a:gd name="connsiteX25" fmla="*/ 369418 w 1068194"/>
              <a:gd name="connsiteY25" fmla="*/ 447637 h 901377"/>
              <a:gd name="connsiteX26" fmla="*/ 380391 w 1068194"/>
              <a:gd name="connsiteY26" fmla="*/ 425691 h 901377"/>
              <a:gd name="connsiteX27" fmla="*/ 391364 w 1068194"/>
              <a:gd name="connsiteY27" fmla="*/ 418376 h 901377"/>
              <a:gd name="connsiteX28" fmla="*/ 402336 w 1068194"/>
              <a:gd name="connsiteY28" fmla="*/ 414718 h 901377"/>
              <a:gd name="connsiteX29" fmla="*/ 435255 w 1068194"/>
              <a:gd name="connsiteY29" fmla="*/ 411061 h 901377"/>
              <a:gd name="connsiteX30" fmla="*/ 457200 w 1068194"/>
              <a:gd name="connsiteY30" fmla="*/ 403746 h 901377"/>
              <a:gd name="connsiteX31" fmla="*/ 479146 w 1068194"/>
              <a:gd name="connsiteY31" fmla="*/ 389115 h 901377"/>
              <a:gd name="connsiteX32" fmla="*/ 515722 w 1068194"/>
              <a:gd name="connsiteY32" fmla="*/ 385458 h 901377"/>
              <a:gd name="connsiteX33" fmla="*/ 537668 w 1068194"/>
              <a:gd name="connsiteY33" fmla="*/ 374485 h 901377"/>
              <a:gd name="connsiteX34" fmla="*/ 541325 w 1068194"/>
              <a:gd name="connsiteY34" fmla="*/ 363512 h 901377"/>
              <a:gd name="connsiteX35" fmla="*/ 548640 w 1068194"/>
              <a:gd name="connsiteY35" fmla="*/ 352539 h 901377"/>
              <a:gd name="connsiteX36" fmla="*/ 555956 w 1068194"/>
              <a:gd name="connsiteY36" fmla="*/ 330594 h 901377"/>
              <a:gd name="connsiteX37" fmla="*/ 563271 w 1068194"/>
              <a:gd name="connsiteY37" fmla="*/ 308648 h 901377"/>
              <a:gd name="connsiteX38" fmla="*/ 566928 w 1068194"/>
              <a:gd name="connsiteY38" fmla="*/ 297675 h 901377"/>
              <a:gd name="connsiteX39" fmla="*/ 603504 w 1068194"/>
              <a:gd name="connsiteY39" fmla="*/ 286702 h 901377"/>
              <a:gd name="connsiteX40" fmla="*/ 614477 w 1068194"/>
              <a:gd name="connsiteY40" fmla="*/ 283045 h 901377"/>
              <a:gd name="connsiteX41" fmla="*/ 621792 w 1068194"/>
              <a:gd name="connsiteY41" fmla="*/ 268414 h 901377"/>
              <a:gd name="connsiteX42" fmla="*/ 629108 w 1068194"/>
              <a:gd name="connsiteY42" fmla="*/ 257442 h 901377"/>
              <a:gd name="connsiteX43" fmla="*/ 632765 w 1068194"/>
              <a:gd name="connsiteY43" fmla="*/ 246469 h 901377"/>
              <a:gd name="connsiteX44" fmla="*/ 629108 w 1068194"/>
              <a:gd name="connsiteY44" fmla="*/ 235496 h 901377"/>
              <a:gd name="connsiteX45" fmla="*/ 621792 w 1068194"/>
              <a:gd name="connsiteY45" fmla="*/ 228181 h 901377"/>
              <a:gd name="connsiteX46" fmla="*/ 629108 w 1068194"/>
              <a:gd name="connsiteY46" fmla="*/ 220866 h 901377"/>
              <a:gd name="connsiteX47" fmla="*/ 640080 w 1068194"/>
              <a:gd name="connsiteY47" fmla="*/ 213550 h 901377"/>
              <a:gd name="connsiteX48" fmla="*/ 683972 w 1068194"/>
              <a:gd name="connsiteY48" fmla="*/ 206235 h 901377"/>
              <a:gd name="connsiteX49" fmla="*/ 698602 w 1068194"/>
              <a:gd name="connsiteY49" fmla="*/ 184290 h 901377"/>
              <a:gd name="connsiteX50" fmla="*/ 702260 w 1068194"/>
              <a:gd name="connsiteY50" fmla="*/ 173317 h 901377"/>
              <a:gd name="connsiteX51" fmla="*/ 724205 w 1068194"/>
              <a:gd name="connsiteY51" fmla="*/ 162344 h 901377"/>
              <a:gd name="connsiteX52" fmla="*/ 727863 w 1068194"/>
              <a:gd name="connsiteY52" fmla="*/ 147714 h 901377"/>
              <a:gd name="connsiteX53" fmla="*/ 731520 w 1068194"/>
              <a:gd name="connsiteY53" fmla="*/ 74562 h 901377"/>
              <a:gd name="connsiteX54" fmla="*/ 738836 w 1068194"/>
              <a:gd name="connsiteY54" fmla="*/ 67246 h 901377"/>
              <a:gd name="connsiteX55" fmla="*/ 771754 w 1068194"/>
              <a:gd name="connsiteY55" fmla="*/ 52616 h 901377"/>
              <a:gd name="connsiteX56" fmla="*/ 782727 w 1068194"/>
              <a:gd name="connsiteY56" fmla="*/ 48958 h 901377"/>
              <a:gd name="connsiteX57" fmla="*/ 804672 w 1068194"/>
              <a:gd name="connsiteY57" fmla="*/ 34328 h 901377"/>
              <a:gd name="connsiteX58" fmla="*/ 874167 w 1068194"/>
              <a:gd name="connsiteY58" fmla="*/ 23355 h 901377"/>
              <a:gd name="connsiteX59" fmla="*/ 903428 w 1068194"/>
              <a:gd name="connsiteY59" fmla="*/ 16040 h 901377"/>
              <a:gd name="connsiteX60" fmla="*/ 914400 w 1068194"/>
              <a:gd name="connsiteY60" fmla="*/ 12382 h 901377"/>
              <a:gd name="connsiteX61" fmla="*/ 954634 w 1068194"/>
              <a:gd name="connsiteY61" fmla="*/ 1410 h 901377"/>
              <a:gd name="connsiteX62" fmla="*/ 969264 w 1068194"/>
              <a:gd name="connsiteY62" fmla="*/ 5067 h 901377"/>
              <a:gd name="connsiteX63" fmla="*/ 987552 w 1068194"/>
              <a:gd name="connsiteY63" fmla="*/ 37986 h 901377"/>
              <a:gd name="connsiteX64" fmla="*/ 1009498 w 1068194"/>
              <a:gd name="connsiteY64" fmla="*/ 45301 h 901377"/>
              <a:gd name="connsiteX65" fmla="*/ 1009498 w 1068194"/>
              <a:gd name="connsiteY65" fmla="*/ 89192 h 901377"/>
              <a:gd name="connsiteX66" fmla="*/ 1020471 w 1068194"/>
              <a:gd name="connsiteY66" fmla="*/ 92850 h 901377"/>
              <a:gd name="connsiteX67" fmla="*/ 1042416 w 1068194"/>
              <a:gd name="connsiteY67" fmla="*/ 103822 h 901377"/>
              <a:gd name="connsiteX68" fmla="*/ 1049732 w 1068194"/>
              <a:gd name="connsiteY68" fmla="*/ 111138 h 901377"/>
              <a:gd name="connsiteX69" fmla="*/ 1064362 w 1068194"/>
              <a:gd name="connsiteY69" fmla="*/ 129426 h 901377"/>
              <a:gd name="connsiteX70" fmla="*/ 1060704 w 1068194"/>
              <a:gd name="connsiteY70" fmla="*/ 140398 h 901377"/>
              <a:gd name="connsiteX71" fmla="*/ 1053389 w 1068194"/>
              <a:gd name="connsiteY71" fmla="*/ 147714 h 901377"/>
              <a:gd name="connsiteX72" fmla="*/ 1020471 w 1068194"/>
              <a:gd name="connsiteY72" fmla="*/ 162344 h 901377"/>
              <a:gd name="connsiteX73" fmla="*/ 1009498 w 1068194"/>
              <a:gd name="connsiteY73" fmla="*/ 166002 h 901377"/>
              <a:gd name="connsiteX74" fmla="*/ 998525 w 1068194"/>
              <a:gd name="connsiteY74" fmla="*/ 169659 h 901377"/>
              <a:gd name="connsiteX75" fmla="*/ 987552 w 1068194"/>
              <a:gd name="connsiteY75" fmla="*/ 176974 h 901377"/>
              <a:gd name="connsiteX76" fmla="*/ 907085 w 1068194"/>
              <a:gd name="connsiteY76" fmla="*/ 176974 h 901377"/>
              <a:gd name="connsiteX77" fmla="*/ 896112 w 1068194"/>
              <a:gd name="connsiteY77" fmla="*/ 173317 h 901377"/>
              <a:gd name="connsiteX78" fmla="*/ 881482 w 1068194"/>
              <a:gd name="connsiteY78" fmla="*/ 169659 h 901377"/>
              <a:gd name="connsiteX79" fmla="*/ 859536 w 1068194"/>
              <a:gd name="connsiteY79" fmla="*/ 162344 h 901377"/>
              <a:gd name="connsiteX80" fmla="*/ 852221 w 1068194"/>
              <a:gd name="connsiteY80" fmla="*/ 217208 h 901377"/>
              <a:gd name="connsiteX81" fmla="*/ 844906 w 1068194"/>
              <a:gd name="connsiteY81" fmla="*/ 239154 h 901377"/>
              <a:gd name="connsiteX82" fmla="*/ 844906 w 1068194"/>
              <a:gd name="connsiteY82" fmla="*/ 290360 h 901377"/>
              <a:gd name="connsiteX83" fmla="*/ 866852 w 1068194"/>
              <a:gd name="connsiteY83" fmla="*/ 304990 h 901377"/>
              <a:gd name="connsiteX84" fmla="*/ 874167 w 1068194"/>
              <a:gd name="connsiteY84" fmla="*/ 315963 h 901377"/>
              <a:gd name="connsiteX85" fmla="*/ 885140 w 1068194"/>
              <a:gd name="connsiteY85" fmla="*/ 323278 h 901377"/>
              <a:gd name="connsiteX86" fmla="*/ 892455 w 1068194"/>
              <a:gd name="connsiteY86" fmla="*/ 345224 h 901377"/>
              <a:gd name="connsiteX87" fmla="*/ 870509 w 1068194"/>
              <a:gd name="connsiteY87" fmla="*/ 356197 h 901377"/>
              <a:gd name="connsiteX88" fmla="*/ 859536 w 1068194"/>
              <a:gd name="connsiteY88" fmla="*/ 359854 h 901377"/>
              <a:gd name="connsiteX89" fmla="*/ 848564 w 1068194"/>
              <a:gd name="connsiteY89" fmla="*/ 367170 h 901377"/>
              <a:gd name="connsiteX90" fmla="*/ 844906 w 1068194"/>
              <a:gd name="connsiteY90" fmla="*/ 378142 h 901377"/>
              <a:gd name="connsiteX91" fmla="*/ 841248 w 1068194"/>
              <a:gd name="connsiteY91" fmla="*/ 411061 h 901377"/>
              <a:gd name="connsiteX92" fmla="*/ 837591 w 1068194"/>
              <a:gd name="connsiteY92" fmla="*/ 422034 h 901377"/>
              <a:gd name="connsiteX93" fmla="*/ 826618 w 1068194"/>
              <a:gd name="connsiteY93" fmla="*/ 425691 h 901377"/>
              <a:gd name="connsiteX94" fmla="*/ 804672 w 1068194"/>
              <a:gd name="connsiteY94" fmla="*/ 447637 h 901377"/>
              <a:gd name="connsiteX95" fmla="*/ 790042 w 1068194"/>
              <a:gd name="connsiteY95" fmla="*/ 469582 h 901377"/>
              <a:gd name="connsiteX96" fmla="*/ 757124 w 1068194"/>
              <a:gd name="connsiteY96" fmla="*/ 495186 h 901377"/>
              <a:gd name="connsiteX97" fmla="*/ 746151 w 1068194"/>
              <a:gd name="connsiteY97" fmla="*/ 502501 h 901377"/>
              <a:gd name="connsiteX98" fmla="*/ 727863 w 1068194"/>
              <a:gd name="connsiteY98" fmla="*/ 524446 h 901377"/>
              <a:gd name="connsiteX99" fmla="*/ 720548 w 1068194"/>
              <a:gd name="connsiteY99" fmla="*/ 531762 h 901377"/>
              <a:gd name="connsiteX100" fmla="*/ 705917 w 1068194"/>
              <a:gd name="connsiteY100" fmla="*/ 550050 h 901377"/>
              <a:gd name="connsiteX101" fmla="*/ 698602 w 1068194"/>
              <a:gd name="connsiteY101" fmla="*/ 561022 h 901377"/>
              <a:gd name="connsiteX102" fmla="*/ 691287 w 1068194"/>
              <a:gd name="connsiteY102" fmla="*/ 568338 h 901377"/>
              <a:gd name="connsiteX103" fmla="*/ 687629 w 1068194"/>
              <a:gd name="connsiteY103" fmla="*/ 579310 h 901377"/>
              <a:gd name="connsiteX104" fmla="*/ 665684 w 1068194"/>
              <a:gd name="connsiteY104" fmla="*/ 590283 h 901377"/>
              <a:gd name="connsiteX105" fmla="*/ 640080 w 1068194"/>
              <a:gd name="connsiteY105" fmla="*/ 608571 h 901377"/>
              <a:gd name="connsiteX106" fmla="*/ 618135 w 1068194"/>
              <a:gd name="connsiteY106" fmla="*/ 623202 h 901377"/>
              <a:gd name="connsiteX107" fmla="*/ 607162 w 1068194"/>
              <a:gd name="connsiteY107" fmla="*/ 630517 h 901377"/>
              <a:gd name="connsiteX108" fmla="*/ 585216 w 1068194"/>
              <a:gd name="connsiteY108" fmla="*/ 637832 h 901377"/>
              <a:gd name="connsiteX109" fmla="*/ 526695 w 1068194"/>
              <a:gd name="connsiteY109" fmla="*/ 637832 h 901377"/>
              <a:gd name="connsiteX110" fmla="*/ 515722 w 1068194"/>
              <a:gd name="connsiteY110" fmla="*/ 645147 h 901377"/>
              <a:gd name="connsiteX111" fmla="*/ 501092 w 1068194"/>
              <a:gd name="connsiteY111" fmla="*/ 667093 h 901377"/>
              <a:gd name="connsiteX112" fmla="*/ 486461 w 1068194"/>
              <a:gd name="connsiteY112" fmla="*/ 685381 h 901377"/>
              <a:gd name="connsiteX113" fmla="*/ 490119 w 1068194"/>
              <a:gd name="connsiteY113" fmla="*/ 700011 h 901377"/>
              <a:gd name="connsiteX114" fmla="*/ 501092 w 1068194"/>
              <a:gd name="connsiteY114" fmla="*/ 707326 h 901377"/>
              <a:gd name="connsiteX115" fmla="*/ 508407 w 1068194"/>
              <a:gd name="connsiteY115" fmla="*/ 714642 h 901377"/>
              <a:gd name="connsiteX116" fmla="*/ 512064 w 1068194"/>
              <a:gd name="connsiteY116" fmla="*/ 725614 h 901377"/>
              <a:gd name="connsiteX117" fmla="*/ 515722 w 1068194"/>
              <a:gd name="connsiteY117" fmla="*/ 773163 h 901377"/>
              <a:gd name="connsiteX118" fmla="*/ 530352 w 1068194"/>
              <a:gd name="connsiteY118" fmla="*/ 776821 h 901377"/>
              <a:gd name="connsiteX119" fmla="*/ 541325 w 1068194"/>
              <a:gd name="connsiteY119" fmla="*/ 820712 h 901377"/>
              <a:gd name="connsiteX120" fmla="*/ 544983 w 1068194"/>
              <a:gd name="connsiteY120" fmla="*/ 831685 h 901377"/>
              <a:gd name="connsiteX121" fmla="*/ 548640 w 1068194"/>
              <a:gd name="connsiteY121" fmla="*/ 849973 h 901377"/>
              <a:gd name="connsiteX122" fmla="*/ 544983 w 1068194"/>
              <a:gd name="connsiteY122" fmla="*/ 875576 h 901377"/>
              <a:gd name="connsiteX123" fmla="*/ 534010 w 1068194"/>
              <a:gd name="connsiteY123" fmla="*/ 879234 h 901377"/>
              <a:gd name="connsiteX124" fmla="*/ 482804 w 1068194"/>
              <a:gd name="connsiteY124" fmla="*/ 882891 h 901377"/>
              <a:gd name="connsiteX125" fmla="*/ 449885 w 1068194"/>
              <a:gd name="connsiteY125" fmla="*/ 879234 h 901377"/>
              <a:gd name="connsiteX126" fmla="*/ 420624 w 1068194"/>
              <a:gd name="connsiteY126" fmla="*/ 871918 h 901377"/>
              <a:gd name="connsiteX127" fmla="*/ 409652 w 1068194"/>
              <a:gd name="connsiteY127" fmla="*/ 875576 h 901377"/>
              <a:gd name="connsiteX128" fmla="*/ 395021 w 1068194"/>
              <a:gd name="connsiteY128" fmla="*/ 893864 h 901377"/>
              <a:gd name="connsiteX129" fmla="*/ 373076 w 1068194"/>
              <a:gd name="connsiteY129" fmla="*/ 901179 h 901377"/>
              <a:gd name="connsiteX130" fmla="*/ 347472 w 1068194"/>
              <a:gd name="connsiteY130" fmla="*/ 897522 h 901377"/>
              <a:gd name="connsiteX131" fmla="*/ 343815 w 1068194"/>
              <a:gd name="connsiteY131" fmla="*/ 886549 h 901377"/>
              <a:gd name="connsiteX132" fmla="*/ 336500 w 1068194"/>
              <a:gd name="connsiteY132" fmla="*/ 875576 h 901377"/>
              <a:gd name="connsiteX133" fmla="*/ 329184 w 1068194"/>
              <a:gd name="connsiteY133" fmla="*/ 853630 h 901377"/>
              <a:gd name="connsiteX134" fmla="*/ 318212 w 1068194"/>
              <a:gd name="connsiteY134" fmla="*/ 835342 h 901377"/>
              <a:gd name="connsiteX135" fmla="*/ 307239 w 1068194"/>
              <a:gd name="connsiteY135" fmla="*/ 831685 h 901377"/>
              <a:gd name="connsiteX136" fmla="*/ 288951 w 1068194"/>
              <a:gd name="connsiteY136" fmla="*/ 806082 h 901377"/>
              <a:gd name="connsiteX137" fmla="*/ 241402 w 1068194"/>
              <a:gd name="connsiteY137" fmla="*/ 802424 h 901377"/>
              <a:gd name="connsiteX138" fmla="*/ 186538 w 1068194"/>
              <a:gd name="connsiteY138" fmla="*/ 806082 h 901377"/>
              <a:gd name="connsiteX139" fmla="*/ 175565 w 1068194"/>
              <a:gd name="connsiteY139" fmla="*/ 813397 h 901377"/>
              <a:gd name="connsiteX140" fmla="*/ 106071 w 1068194"/>
              <a:gd name="connsiteY140" fmla="*/ 809739 h 901377"/>
              <a:gd name="connsiteX141" fmla="*/ 10973 w 1068194"/>
              <a:gd name="connsiteY141" fmla="*/ 809739 h 901377"/>
              <a:gd name="connsiteX142" fmla="*/ 10973 w 1068194"/>
              <a:gd name="connsiteY142" fmla="*/ 813397 h 901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1068194" h="901377">
                <a:moveTo>
                  <a:pt x="10973" y="813397"/>
                </a:moveTo>
                <a:cubicBezTo>
                  <a:pt x="27399" y="796971"/>
                  <a:pt x="20309" y="807332"/>
                  <a:pt x="29261" y="780478"/>
                </a:cubicBezTo>
                <a:lnTo>
                  <a:pt x="32919" y="769506"/>
                </a:lnTo>
                <a:cubicBezTo>
                  <a:pt x="34138" y="765848"/>
                  <a:pt x="33850" y="761259"/>
                  <a:pt x="36576" y="758533"/>
                </a:cubicBezTo>
                <a:cubicBezTo>
                  <a:pt x="50109" y="745002"/>
                  <a:pt x="41979" y="754087"/>
                  <a:pt x="58522" y="729272"/>
                </a:cubicBezTo>
                <a:cubicBezTo>
                  <a:pt x="65196" y="719261"/>
                  <a:pt x="65259" y="716118"/>
                  <a:pt x="76810" y="710984"/>
                </a:cubicBezTo>
                <a:cubicBezTo>
                  <a:pt x="83856" y="707852"/>
                  <a:pt x="98756" y="703669"/>
                  <a:pt x="98756" y="703669"/>
                </a:cubicBezTo>
                <a:cubicBezTo>
                  <a:pt x="124358" y="686600"/>
                  <a:pt x="115824" y="696353"/>
                  <a:pt x="128016" y="678066"/>
                </a:cubicBezTo>
                <a:cubicBezTo>
                  <a:pt x="117520" y="636073"/>
                  <a:pt x="132196" y="687815"/>
                  <a:pt x="117044" y="652462"/>
                </a:cubicBezTo>
                <a:cubicBezTo>
                  <a:pt x="115064" y="647842"/>
                  <a:pt x="114372" y="642761"/>
                  <a:pt x="113386" y="637832"/>
                </a:cubicBezTo>
                <a:cubicBezTo>
                  <a:pt x="111931" y="630560"/>
                  <a:pt x="112740" y="622663"/>
                  <a:pt x="109728" y="615886"/>
                </a:cubicBezTo>
                <a:cubicBezTo>
                  <a:pt x="107627" y="611160"/>
                  <a:pt x="102729" y="608225"/>
                  <a:pt x="98756" y="604914"/>
                </a:cubicBezTo>
                <a:cubicBezTo>
                  <a:pt x="89300" y="597034"/>
                  <a:pt x="87810" y="597607"/>
                  <a:pt x="76810" y="593941"/>
                </a:cubicBezTo>
                <a:cubicBezTo>
                  <a:pt x="73152" y="591503"/>
                  <a:pt x="69270" y="589372"/>
                  <a:pt x="65837" y="586626"/>
                </a:cubicBezTo>
                <a:cubicBezTo>
                  <a:pt x="63144" y="584472"/>
                  <a:pt x="61606" y="580852"/>
                  <a:pt x="58522" y="579310"/>
                </a:cubicBezTo>
                <a:cubicBezTo>
                  <a:pt x="6287" y="553192"/>
                  <a:pt x="57881" y="586199"/>
                  <a:pt x="25604" y="564680"/>
                </a:cubicBezTo>
                <a:cubicBezTo>
                  <a:pt x="26813" y="557427"/>
                  <a:pt x="30779" y="526585"/>
                  <a:pt x="36576" y="520789"/>
                </a:cubicBezTo>
                <a:lnTo>
                  <a:pt x="43892" y="513474"/>
                </a:lnTo>
                <a:cubicBezTo>
                  <a:pt x="58522" y="514693"/>
                  <a:pt x="73231" y="515191"/>
                  <a:pt x="87783" y="517131"/>
                </a:cubicBezTo>
                <a:cubicBezTo>
                  <a:pt x="91605" y="517641"/>
                  <a:pt x="94900" y="520789"/>
                  <a:pt x="98756" y="520789"/>
                </a:cubicBezTo>
                <a:cubicBezTo>
                  <a:pt x="174356" y="520789"/>
                  <a:pt x="249937" y="518350"/>
                  <a:pt x="325527" y="517131"/>
                </a:cubicBezTo>
                <a:cubicBezTo>
                  <a:pt x="329185" y="514693"/>
                  <a:pt x="333754" y="513249"/>
                  <a:pt x="336500" y="509816"/>
                </a:cubicBezTo>
                <a:cubicBezTo>
                  <a:pt x="338908" y="506805"/>
                  <a:pt x="338433" y="502291"/>
                  <a:pt x="340157" y="498843"/>
                </a:cubicBezTo>
                <a:cubicBezTo>
                  <a:pt x="342123" y="494911"/>
                  <a:pt x="344726" y="491303"/>
                  <a:pt x="347472" y="487870"/>
                </a:cubicBezTo>
                <a:cubicBezTo>
                  <a:pt x="368320" y="461811"/>
                  <a:pt x="339589" y="503355"/>
                  <a:pt x="362103" y="469582"/>
                </a:cubicBezTo>
                <a:lnTo>
                  <a:pt x="369418" y="447637"/>
                </a:lnTo>
                <a:cubicBezTo>
                  <a:pt x="372392" y="438714"/>
                  <a:pt x="373302" y="432780"/>
                  <a:pt x="380391" y="425691"/>
                </a:cubicBezTo>
                <a:cubicBezTo>
                  <a:pt x="383499" y="422583"/>
                  <a:pt x="387432" y="420342"/>
                  <a:pt x="391364" y="418376"/>
                </a:cubicBezTo>
                <a:cubicBezTo>
                  <a:pt x="394812" y="416652"/>
                  <a:pt x="398533" y="415352"/>
                  <a:pt x="402336" y="414718"/>
                </a:cubicBezTo>
                <a:cubicBezTo>
                  <a:pt x="413226" y="412903"/>
                  <a:pt x="424282" y="412280"/>
                  <a:pt x="435255" y="411061"/>
                </a:cubicBezTo>
                <a:cubicBezTo>
                  <a:pt x="442570" y="408623"/>
                  <a:pt x="451748" y="409198"/>
                  <a:pt x="457200" y="403746"/>
                </a:cubicBezTo>
                <a:cubicBezTo>
                  <a:pt x="464297" y="396649"/>
                  <a:pt x="467873" y="391530"/>
                  <a:pt x="479146" y="389115"/>
                </a:cubicBezTo>
                <a:cubicBezTo>
                  <a:pt x="491127" y="386548"/>
                  <a:pt x="503530" y="386677"/>
                  <a:pt x="515722" y="385458"/>
                </a:cubicBezTo>
                <a:cubicBezTo>
                  <a:pt x="522949" y="383049"/>
                  <a:pt x="532512" y="380930"/>
                  <a:pt x="537668" y="374485"/>
                </a:cubicBezTo>
                <a:cubicBezTo>
                  <a:pt x="540076" y="371474"/>
                  <a:pt x="539601" y="366960"/>
                  <a:pt x="541325" y="363512"/>
                </a:cubicBezTo>
                <a:cubicBezTo>
                  <a:pt x="543291" y="359580"/>
                  <a:pt x="546855" y="356556"/>
                  <a:pt x="548640" y="352539"/>
                </a:cubicBezTo>
                <a:cubicBezTo>
                  <a:pt x="551772" y="345493"/>
                  <a:pt x="553518" y="337909"/>
                  <a:pt x="555956" y="330594"/>
                </a:cubicBezTo>
                <a:lnTo>
                  <a:pt x="563271" y="308648"/>
                </a:lnTo>
                <a:cubicBezTo>
                  <a:pt x="564490" y="304990"/>
                  <a:pt x="563188" y="298610"/>
                  <a:pt x="566928" y="297675"/>
                </a:cubicBezTo>
                <a:cubicBezTo>
                  <a:pt x="589047" y="292146"/>
                  <a:pt x="576779" y="295611"/>
                  <a:pt x="603504" y="286702"/>
                </a:cubicBezTo>
                <a:lnTo>
                  <a:pt x="614477" y="283045"/>
                </a:lnTo>
                <a:cubicBezTo>
                  <a:pt x="616915" y="278168"/>
                  <a:pt x="619087" y="273148"/>
                  <a:pt x="621792" y="268414"/>
                </a:cubicBezTo>
                <a:cubicBezTo>
                  <a:pt x="623973" y="264597"/>
                  <a:pt x="627142" y="261374"/>
                  <a:pt x="629108" y="257442"/>
                </a:cubicBezTo>
                <a:cubicBezTo>
                  <a:pt x="630832" y="253994"/>
                  <a:pt x="631546" y="250127"/>
                  <a:pt x="632765" y="246469"/>
                </a:cubicBezTo>
                <a:cubicBezTo>
                  <a:pt x="631546" y="242811"/>
                  <a:pt x="631092" y="238802"/>
                  <a:pt x="629108" y="235496"/>
                </a:cubicBezTo>
                <a:cubicBezTo>
                  <a:pt x="627334" y="232539"/>
                  <a:pt x="621792" y="231630"/>
                  <a:pt x="621792" y="228181"/>
                </a:cubicBezTo>
                <a:cubicBezTo>
                  <a:pt x="621792" y="224732"/>
                  <a:pt x="626415" y="223020"/>
                  <a:pt x="629108" y="220866"/>
                </a:cubicBezTo>
                <a:cubicBezTo>
                  <a:pt x="632540" y="218120"/>
                  <a:pt x="636148" y="215516"/>
                  <a:pt x="640080" y="213550"/>
                </a:cubicBezTo>
                <a:cubicBezTo>
                  <a:pt x="652331" y="207424"/>
                  <a:pt x="673555" y="207393"/>
                  <a:pt x="683972" y="206235"/>
                </a:cubicBezTo>
                <a:cubicBezTo>
                  <a:pt x="688849" y="198920"/>
                  <a:pt x="695822" y="192630"/>
                  <a:pt x="698602" y="184290"/>
                </a:cubicBezTo>
                <a:cubicBezTo>
                  <a:pt x="699821" y="180632"/>
                  <a:pt x="699851" y="176328"/>
                  <a:pt x="702260" y="173317"/>
                </a:cubicBezTo>
                <a:cubicBezTo>
                  <a:pt x="707416" y="166871"/>
                  <a:pt x="716977" y="164754"/>
                  <a:pt x="724205" y="162344"/>
                </a:cubicBezTo>
                <a:cubicBezTo>
                  <a:pt x="725424" y="157467"/>
                  <a:pt x="727446" y="152723"/>
                  <a:pt x="727863" y="147714"/>
                </a:cubicBezTo>
                <a:cubicBezTo>
                  <a:pt x="729890" y="123384"/>
                  <a:pt x="728221" y="98753"/>
                  <a:pt x="731520" y="74562"/>
                </a:cubicBezTo>
                <a:cubicBezTo>
                  <a:pt x="731986" y="71145"/>
                  <a:pt x="736143" y="69400"/>
                  <a:pt x="738836" y="67246"/>
                </a:cubicBezTo>
                <a:cubicBezTo>
                  <a:pt x="751257" y="57309"/>
                  <a:pt x="754352" y="58417"/>
                  <a:pt x="771754" y="52616"/>
                </a:cubicBezTo>
                <a:cubicBezTo>
                  <a:pt x="775412" y="51397"/>
                  <a:pt x="779519" y="51097"/>
                  <a:pt x="782727" y="48958"/>
                </a:cubicBezTo>
                <a:cubicBezTo>
                  <a:pt x="790042" y="44081"/>
                  <a:pt x="796332" y="37108"/>
                  <a:pt x="804672" y="34328"/>
                </a:cubicBezTo>
                <a:cubicBezTo>
                  <a:pt x="841699" y="21986"/>
                  <a:pt x="818930" y="27604"/>
                  <a:pt x="874167" y="23355"/>
                </a:cubicBezTo>
                <a:cubicBezTo>
                  <a:pt x="899261" y="14992"/>
                  <a:pt x="868100" y="24873"/>
                  <a:pt x="903428" y="16040"/>
                </a:cubicBezTo>
                <a:cubicBezTo>
                  <a:pt x="907168" y="15105"/>
                  <a:pt x="910681" y="13396"/>
                  <a:pt x="914400" y="12382"/>
                </a:cubicBezTo>
                <a:cubicBezTo>
                  <a:pt x="959801" y="0"/>
                  <a:pt x="929368" y="9830"/>
                  <a:pt x="954634" y="1410"/>
                </a:cubicBezTo>
                <a:cubicBezTo>
                  <a:pt x="959511" y="2629"/>
                  <a:pt x="965993" y="1250"/>
                  <a:pt x="969264" y="5067"/>
                </a:cubicBezTo>
                <a:cubicBezTo>
                  <a:pt x="987257" y="26059"/>
                  <a:pt x="965063" y="25492"/>
                  <a:pt x="987552" y="37986"/>
                </a:cubicBezTo>
                <a:cubicBezTo>
                  <a:pt x="994293" y="41731"/>
                  <a:pt x="1009498" y="45301"/>
                  <a:pt x="1009498" y="45301"/>
                </a:cubicBezTo>
                <a:cubicBezTo>
                  <a:pt x="1007295" y="58517"/>
                  <a:pt x="1001946" y="75976"/>
                  <a:pt x="1009498" y="89192"/>
                </a:cubicBezTo>
                <a:cubicBezTo>
                  <a:pt x="1011411" y="92540"/>
                  <a:pt x="1017022" y="91126"/>
                  <a:pt x="1020471" y="92850"/>
                </a:cubicBezTo>
                <a:cubicBezTo>
                  <a:pt x="1048827" y="107028"/>
                  <a:pt x="1014842" y="94631"/>
                  <a:pt x="1042416" y="103822"/>
                </a:cubicBezTo>
                <a:cubicBezTo>
                  <a:pt x="1044855" y="106261"/>
                  <a:pt x="1047578" y="108445"/>
                  <a:pt x="1049732" y="111138"/>
                </a:cubicBezTo>
                <a:cubicBezTo>
                  <a:pt x="1068194" y="134215"/>
                  <a:pt x="1046694" y="111756"/>
                  <a:pt x="1064362" y="129426"/>
                </a:cubicBezTo>
                <a:cubicBezTo>
                  <a:pt x="1063143" y="133083"/>
                  <a:pt x="1062688" y="137092"/>
                  <a:pt x="1060704" y="140398"/>
                </a:cubicBezTo>
                <a:cubicBezTo>
                  <a:pt x="1058930" y="143355"/>
                  <a:pt x="1056082" y="145560"/>
                  <a:pt x="1053389" y="147714"/>
                </a:cubicBezTo>
                <a:cubicBezTo>
                  <a:pt x="1040970" y="157649"/>
                  <a:pt x="1037869" y="156545"/>
                  <a:pt x="1020471" y="162344"/>
                </a:cubicBezTo>
                <a:lnTo>
                  <a:pt x="1009498" y="166002"/>
                </a:lnTo>
                <a:lnTo>
                  <a:pt x="998525" y="169659"/>
                </a:lnTo>
                <a:cubicBezTo>
                  <a:pt x="994867" y="172097"/>
                  <a:pt x="991484" y="175008"/>
                  <a:pt x="987552" y="176974"/>
                </a:cubicBezTo>
                <a:cubicBezTo>
                  <a:pt x="964517" y="188492"/>
                  <a:pt x="920602" y="177686"/>
                  <a:pt x="907085" y="176974"/>
                </a:cubicBezTo>
                <a:cubicBezTo>
                  <a:pt x="903427" y="175755"/>
                  <a:pt x="899819" y="174376"/>
                  <a:pt x="896112" y="173317"/>
                </a:cubicBezTo>
                <a:cubicBezTo>
                  <a:pt x="891279" y="171936"/>
                  <a:pt x="886297" y="171103"/>
                  <a:pt x="881482" y="169659"/>
                </a:cubicBezTo>
                <a:cubicBezTo>
                  <a:pt x="874096" y="167443"/>
                  <a:pt x="859536" y="162344"/>
                  <a:pt x="859536" y="162344"/>
                </a:cubicBezTo>
                <a:cubicBezTo>
                  <a:pt x="849148" y="193514"/>
                  <a:pt x="864156" y="145601"/>
                  <a:pt x="852221" y="217208"/>
                </a:cubicBezTo>
                <a:cubicBezTo>
                  <a:pt x="850953" y="224814"/>
                  <a:pt x="844906" y="239154"/>
                  <a:pt x="844906" y="239154"/>
                </a:cubicBezTo>
                <a:cubicBezTo>
                  <a:pt x="843717" y="248663"/>
                  <a:pt x="837075" y="279173"/>
                  <a:pt x="844906" y="290360"/>
                </a:cubicBezTo>
                <a:cubicBezTo>
                  <a:pt x="849948" y="297562"/>
                  <a:pt x="866852" y="304990"/>
                  <a:pt x="866852" y="304990"/>
                </a:cubicBezTo>
                <a:cubicBezTo>
                  <a:pt x="869290" y="308648"/>
                  <a:pt x="871059" y="312855"/>
                  <a:pt x="874167" y="315963"/>
                </a:cubicBezTo>
                <a:cubicBezTo>
                  <a:pt x="877275" y="319071"/>
                  <a:pt x="882810" y="319550"/>
                  <a:pt x="885140" y="323278"/>
                </a:cubicBezTo>
                <a:cubicBezTo>
                  <a:pt x="889227" y="329817"/>
                  <a:pt x="892455" y="345224"/>
                  <a:pt x="892455" y="345224"/>
                </a:cubicBezTo>
                <a:cubicBezTo>
                  <a:pt x="864867" y="354421"/>
                  <a:pt x="898879" y="342013"/>
                  <a:pt x="870509" y="356197"/>
                </a:cubicBezTo>
                <a:cubicBezTo>
                  <a:pt x="867061" y="357921"/>
                  <a:pt x="863194" y="358635"/>
                  <a:pt x="859536" y="359854"/>
                </a:cubicBezTo>
                <a:cubicBezTo>
                  <a:pt x="855879" y="362293"/>
                  <a:pt x="851310" y="363737"/>
                  <a:pt x="848564" y="367170"/>
                </a:cubicBezTo>
                <a:cubicBezTo>
                  <a:pt x="846156" y="370180"/>
                  <a:pt x="845540" y="374339"/>
                  <a:pt x="844906" y="378142"/>
                </a:cubicBezTo>
                <a:cubicBezTo>
                  <a:pt x="843091" y="389032"/>
                  <a:pt x="843063" y="400171"/>
                  <a:pt x="841248" y="411061"/>
                </a:cubicBezTo>
                <a:cubicBezTo>
                  <a:pt x="840614" y="414864"/>
                  <a:pt x="840317" y="419308"/>
                  <a:pt x="837591" y="422034"/>
                </a:cubicBezTo>
                <a:cubicBezTo>
                  <a:pt x="834865" y="424760"/>
                  <a:pt x="830276" y="424472"/>
                  <a:pt x="826618" y="425691"/>
                </a:cubicBezTo>
                <a:cubicBezTo>
                  <a:pt x="819303" y="433006"/>
                  <a:pt x="810411" y="439029"/>
                  <a:pt x="804672" y="447637"/>
                </a:cubicBezTo>
                <a:cubicBezTo>
                  <a:pt x="799795" y="454952"/>
                  <a:pt x="797357" y="464705"/>
                  <a:pt x="790042" y="469582"/>
                </a:cubicBezTo>
                <a:cubicBezTo>
                  <a:pt x="734565" y="506567"/>
                  <a:pt x="791507" y="466532"/>
                  <a:pt x="757124" y="495186"/>
                </a:cubicBezTo>
                <a:cubicBezTo>
                  <a:pt x="753747" y="498000"/>
                  <a:pt x="749528" y="499687"/>
                  <a:pt x="746151" y="502501"/>
                </a:cubicBezTo>
                <a:cubicBezTo>
                  <a:pt x="730515" y="515531"/>
                  <a:pt x="739369" y="510064"/>
                  <a:pt x="727863" y="524446"/>
                </a:cubicBezTo>
                <a:cubicBezTo>
                  <a:pt x="725709" y="527139"/>
                  <a:pt x="722986" y="529323"/>
                  <a:pt x="720548" y="531762"/>
                </a:cubicBezTo>
                <a:cubicBezTo>
                  <a:pt x="713427" y="553122"/>
                  <a:pt x="722461" y="533506"/>
                  <a:pt x="705917" y="550050"/>
                </a:cubicBezTo>
                <a:cubicBezTo>
                  <a:pt x="702809" y="553158"/>
                  <a:pt x="701348" y="557590"/>
                  <a:pt x="698602" y="561022"/>
                </a:cubicBezTo>
                <a:cubicBezTo>
                  <a:pt x="696448" y="563715"/>
                  <a:pt x="693725" y="565899"/>
                  <a:pt x="691287" y="568338"/>
                </a:cubicBezTo>
                <a:cubicBezTo>
                  <a:pt x="690068" y="571995"/>
                  <a:pt x="690037" y="576300"/>
                  <a:pt x="687629" y="579310"/>
                </a:cubicBezTo>
                <a:cubicBezTo>
                  <a:pt x="682471" y="585757"/>
                  <a:pt x="672914" y="587873"/>
                  <a:pt x="665684" y="590283"/>
                </a:cubicBezTo>
                <a:cubicBezTo>
                  <a:pt x="648327" y="607640"/>
                  <a:pt x="657596" y="602733"/>
                  <a:pt x="640080" y="608571"/>
                </a:cubicBezTo>
                <a:cubicBezTo>
                  <a:pt x="619283" y="629370"/>
                  <a:pt x="639306" y="612616"/>
                  <a:pt x="618135" y="623202"/>
                </a:cubicBezTo>
                <a:cubicBezTo>
                  <a:pt x="614203" y="625168"/>
                  <a:pt x="611179" y="628732"/>
                  <a:pt x="607162" y="630517"/>
                </a:cubicBezTo>
                <a:cubicBezTo>
                  <a:pt x="600116" y="633649"/>
                  <a:pt x="585216" y="637832"/>
                  <a:pt x="585216" y="637832"/>
                </a:cubicBezTo>
                <a:cubicBezTo>
                  <a:pt x="560691" y="634766"/>
                  <a:pt x="551220" y="631143"/>
                  <a:pt x="526695" y="637832"/>
                </a:cubicBezTo>
                <a:cubicBezTo>
                  <a:pt x="522454" y="638989"/>
                  <a:pt x="519380" y="642709"/>
                  <a:pt x="515722" y="645147"/>
                </a:cubicBezTo>
                <a:cubicBezTo>
                  <a:pt x="510845" y="652462"/>
                  <a:pt x="507309" y="660877"/>
                  <a:pt x="501092" y="667093"/>
                </a:cubicBezTo>
                <a:cubicBezTo>
                  <a:pt x="490667" y="677516"/>
                  <a:pt x="495689" y="671539"/>
                  <a:pt x="486461" y="685381"/>
                </a:cubicBezTo>
                <a:cubicBezTo>
                  <a:pt x="487680" y="690258"/>
                  <a:pt x="487331" y="695829"/>
                  <a:pt x="490119" y="700011"/>
                </a:cubicBezTo>
                <a:cubicBezTo>
                  <a:pt x="492558" y="703669"/>
                  <a:pt x="497659" y="704580"/>
                  <a:pt x="501092" y="707326"/>
                </a:cubicBezTo>
                <a:cubicBezTo>
                  <a:pt x="503785" y="709480"/>
                  <a:pt x="505969" y="712203"/>
                  <a:pt x="508407" y="714642"/>
                </a:cubicBezTo>
                <a:cubicBezTo>
                  <a:pt x="509626" y="718299"/>
                  <a:pt x="511586" y="721789"/>
                  <a:pt x="512064" y="725614"/>
                </a:cubicBezTo>
                <a:cubicBezTo>
                  <a:pt x="514036" y="741388"/>
                  <a:pt x="510375" y="758193"/>
                  <a:pt x="515722" y="773163"/>
                </a:cubicBezTo>
                <a:cubicBezTo>
                  <a:pt x="517413" y="777897"/>
                  <a:pt x="525475" y="775602"/>
                  <a:pt x="530352" y="776821"/>
                </a:cubicBezTo>
                <a:cubicBezTo>
                  <a:pt x="545134" y="821162"/>
                  <a:pt x="531475" y="776386"/>
                  <a:pt x="541325" y="820712"/>
                </a:cubicBezTo>
                <a:cubicBezTo>
                  <a:pt x="542161" y="824476"/>
                  <a:pt x="544048" y="827945"/>
                  <a:pt x="544983" y="831685"/>
                </a:cubicBezTo>
                <a:cubicBezTo>
                  <a:pt x="546491" y="837716"/>
                  <a:pt x="547421" y="843877"/>
                  <a:pt x="548640" y="849973"/>
                </a:cubicBezTo>
                <a:cubicBezTo>
                  <a:pt x="547421" y="858507"/>
                  <a:pt x="548838" y="867865"/>
                  <a:pt x="544983" y="875576"/>
                </a:cubicBezTo>
                <a:cubicBezTo>
                  <a:pt x="543259" y="879025"/>
                  <a:pt x="537839" y="878784"/>
                  <a:pt x="534010" y="879234"/>
                </a:cubicBezTo>
                <a:cubicBezTo>
                  <a:pt x="517015" y="881233"/>
                  <a:pt x="499873" y="881672"/>
                  <a:pt x="482804" y="882891"/>
                </a:cubicBezTo>
                <a:cubicBezTo>
                  <a:pt x="471831" y="881672"/>
                  <a:pt x="460758" y="881153"/>
                  <a:pt x="449885" y="879234"/>
                </a:cubicBezTo>
                <a:cubicBezTo>
                  <a:pt x="439984" y="877487"/>
                  <a:pt x="420624" y="871918"/>
                  <a:pt x="420624" y="871918"/>
                </a:cubicBezTo>
                <a:cubicBezTo>
                  <a:pt x="416967" y="873137"/>
                  <a:pt x="412378" y="872850"/>
                  <a:pt x="409652" y="875576"/>
                </a:cubicBezTo>
                <a:cubicBezTo>
                  <a:pt x="391410" y="893820"/>
                  <a:pt x="424245" y="880876"/>
                  <a:pt x="395021" y="893864"/>
                </a:cubicBezTo>
                <a:cubicBezTo>
                  <a:pt x="387975" y="896996"/>
                  <a:pt x="373076" y="901179"/>
                  <a:pt x="373076" y="901179"/>
                </a:cubicBezTo>
                <a:cubicBezTo>
                  <a:pt x="364541" y="899960"/>
                  <a:pt x="355183" y="901377"/>
                  <a:pt x="347472" y="897522"/>
                </a:cubicBezTo>
                <a:cubicBezTo>
                  <a:pt x="344024" y="895798"/>
                  <a:pt x="345539" y="889997"/>
                  <a:pt x="343815" y="886549"/>
                </a:cubicBezTo>
                <a:cubicBezTo>
                  <a:pt x="341849" y="882617"/>
                  <a:pt x="338285" y="879593"/>
                  <a:pt x="336500" y="875576"/>
                </a:cubicBezTo>
                <a:cubicBezTo>
                  <a:pt x="333368" y="868530"/>
                  <a:pt x="331623" y="860945"/>
                  <a:pt x="329184" y="853630"/>
                </a:cubicBezTo>
                <a:cubicBezTo>
                  <a:pt x="326307" y="845000"/>
                  <a:pt x="326579" y="840363"/>
                  <a:pt x="318212" y="835342"/>
                </a:cubicBezTo>
                <a:cubicBezTo>
                  <a:pt x="314906" y="833358"/>
                  <a:pt x="310897" y="832904"/>
                  <a:pt x="307239" y="831685"/>
                </a:cubicBezTo>
                <a:cubicBezTo>
                  <a:pt x="301355" y="814031"/>
                  <a:pt x="305915" y="808202"/>
                  <a:pt x="288951" y="806082"/>
                </a:cubicBezTo>
                <a:cubicBezTo>
                  <a:pt x="273177" y="804110"/>
                  <a:pt x="257252" y="803643"/>
                  <a:pt x="241402" y="802424"/>
                </a:cubicBezTo>
                <a:cubicBezTo>
                  <a:pt x="223114" y="803643"/>
                  <a:pt x="204617" y="803069"/>
                  <a:pt x="186538" y="806082"/>
                </a:cubicBezTo>
                <a:cubicBezTo>
                  <a:pt x="182202" y="806805"/>
                  <a:pt x="179956" y="813197"/>
                  <a:pt x="175565" y="813397"/>
                </a:cubicBezTo>
                <a:lnTo>
                  <a:pt x="106071" y="809739"/>
                </a:lnTo>
                <a:cubicBezTo>
                  <a:pt x="67067" y="799990"/>
                  <a:pt x="87510" y="803616"/>
                  <a:pt x="10973" y="809739"/>
                </a:cubicBezTo>
                <a:cubicBezTo>
                  <a:pt x="7130" y="810046"/>
                  <a:pt x="0" y="813397"/>
                  <a:pt x="10973" y="813397"/>
                </a:cubicBez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8" name="Rectangle 4"/>
          <p:cNvSpPr>
            <a:spLocks noChangeArrowheads="1"/>
          </p:cNvSpPr>
          <p:nvPr/>
        </p:nvSpPr>
        <p:spPr bwMode="auto">
          <a:xfrm rot="-2090036">
            <a:off x="2143131" y="3414818"/>
            <a:ext cx="92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400">
                <a:latin typeface="Ramabhadra" pitchFamily="2" charset="0"/>
                <a:cs typeface="Ramabhadra" pitchFamily="2" charset="0"/>
              </a:rPr>
              <a:t>పాకిస్తాన్</a:t>
            </a:r>
          </a:p>
        </p:txBody>
      </p:sp>
      <p:sp>
        <p:nvSpPr>
          <p:cNvPr id="50" name="Freeform 49"/>
          <p:cNvSpPr/>
          <p:nvPr/>
        </p:nvSpPr>
        <p:spPr>
          <a:xfrm>
            <a:off x="2300730" y="3232697"/>
            <a:ext cx="1751890" cy="1849195"/>
          </a:xfrm>
          <a:custGeom>
            <a:avLst/>
            <a:gdLst>
              <a:gd name="connsiteX0" fmla="*/ 3966 w 1751890"/>
              <a:gd name="connsiteY0" fmla="*/ 802224 h 1849195"/>
              <a:gd name="connsiteX1" fmla="*/ 41358 w 1751890"/>
              <a:gd name="connsiteY1" fmla="*/ 795426 h 1849195"/>
              <a:gd name="connsiteX2" fmla="*/ 61753 w 1751890"/>
              <a:gd name="connsiteY2" fmla="*/ 781829 h 1849195"/>
              <a:gd name="connsiteX3" fmla="*/ 153533 w 1751890"/>
              <a:gd name="connsiteY3" fmla="*/ 778430 h 1849195"/>
              <a:gd name="connsiteX4" fmla="*/ 177328 w 1751890"/>
              <a:gd name="connsiteY4" fmla="*/ 775030 h 1849195"/>
              <a:gd name="connsiteX5" fmla="*/ 184127 w 1751890"/>
              <a:gd name="connsiteY5" fmla="*/ 764833 h 1849195"/>
              <a:gd name="connsiteX6" fmla="*/ 180727 w 1751890"/>
              <a:gd name="connsiteY6" fmla="*/ 717243 h 1849195"/>
              <a:gd name="connsiteX7" fmla="*/ 173929 w 1751890"/>
              <a:gd name="connsiteY7" fmla="*/ 693448 h 1849195"/>
              <a:gd name="connsiteX8" fmla="*/ 163731 w 1751890"/>
              <a:gd name="connsiteY8" fmla="*/ 690049 h 1849195"/>
              <a:gd name="connsiteX9" fmla="*/ 153533 w 1751890"/>
              <a:gd name="connsiteY9" fmla="*/ 683250 h 1849195"/>
              <a:gd name="connsiteX10" fmla="*/ 146735 w 1751890"/>
              <a:gd name="connsiteY10" fmla="*/ 662855 h 1849195"/>
              <a:gd name="connsiteX11" fmla="*/ 143335 w 1751890"/>
              <a:gd name="connsiteY11" fmla="*/ 622064 h 1849195"/>
              <a:gd name="connsiteX12" fmla="*/ 122940 w 1751890"/>
              <a:gd name="connsiteY12" fmla="*/ 608467 h 1849195"/>
              <a:gd name="connsiteX13" fmla="*/ 119541 w 1751890"/>
              <a:gd name="connsiteY13" fmla="*/ 574474 h 1849195"/>
              <a:gd name="connsiteX14" fmla="*/ 150134 w 1751890"/>
              <a:gd name="connsiteY14" fmla="*/ 560877 h 1849195"/>
              <a:gd name="connsiteX15" fmla="*/ 160332 w 1751890"/>
              <a:gd name="connsiteY15" fmla="*/ 557478 h 1849195"/>
              <a:gd name="connsiteX16" fmla="*/ 170529 w 1751890"/>
              <a:gd name="connsiteY16" fmla="*/ 554079 h 1849195"/>
              <a:gd name="connsiteX17" fmla="*/ 194324 w 1751890"/>
              <a:gd name="connsiteY17" fmla="*/ 543881 h 1849195"/>
              <a:gd name="connsiteX18" fmla="*/ 214720 w 1751890"/>
              <a:gd name="connsiteY18" fmla="*/ 537082 h 1849195"/>
              <a:gd name="connsiteX19" fmla="*/ 224918 w 1751890"/>
              <a:gd name="connsiteY19" fmla="*/ 533683 h 1849195"/>
              <a:gd name="connsiteX20" fmla="*/ 245313 w 1751890"/>
              <a:gd name="connsiteY20" fmla="*/ 530284 h 1849195"/>
              <a:gd name="connsiteX21" fmla="*/ 272507 w 1751890"/>
              <a:gd name="connsiteY21" fmla="*/ 523485 h 1849195"/>
              <a:gd name="connsiteX22" fmla="*/ 292903 w 1751890"/>
              <a:gd name="connsiteY22" fmla="*/ 506489 h 1849195"/>
              <a:gd name="connsiteX23" fmla="*/ 303100 w 1751890"/>
              <a:gd name="connsiteY23" fmla="*/ 472497 h 1849195"/>
              <a:gd name="connsiteX24" fmla="*/ 309899 w 1751890"/>
              <a:gd name="connsiteY24" fmla="*/ 462299 h 1849195"/>
              <a:gd name="connsiteX25" fmla="*/ 320097 w 1751890"/>
              <a:gd name="connsiteY25" fmla="*/ 458900 h 1849195"/>
              <a:gd name="connsiteX26" fmla="*/ 347291 w 1751890"/>
              <a:gd name="connsiteY26" fmla="*/ 435105 h 1849195"/>
              <a:gd name="connsiteX27" fmla="*/ 360888 w 1751890"/>
              <a:gd name="connsiteY27" fmla="*/ 414709 h 1849195"/>
              <a:gd name="connsiteX28" fmla="*/ 374485 w 1751890"/>
              <a:gd name="connsiteY28" fmla="*/ 394314 h 1849195"/>
              <a:gd name="connsiteX29" fmla="*/ 394880 w 1751890"/>
              <a:gd name="connsiteY29" fmla="*/ 380717 h 1849195"/>
              <a:gd name="connsiteX30" fmla="*/ 405078 w 1751890"/>
              <a:gd name="connsiteY30" fmla="*/ 377317 h 1849195"/>
              <a:gd name="connsiteX31" fmla="*/ 415276 w 1751890"/>
              <a:gd name="connsiteY31" fmla="*/ 370519 h 1849195"/>
              <a:gd name="connsiteX32" fmla="*/ 445869 w 1751890"/>
              <a:gd name="connsiteY32" fmla="*/ 356922 h 1849195"/>
              <a:gd name="connsiteX33" fmla="*/ 452668 w 1751890"/>
              <a:gd name="connsiteY33" fmla="*/ 346724 h 1849195"/>
              <a:gd name="connsiteX34" fmla="*/ 466265 w 1751890"/>
              <a:gd name="connsiteY34" fmla="*/ 316131 h 1849195"/>
              <a:gd name="connsiteX35" fmla="*/ 473063 w 1751890"/>
              <a:gd name="connsiteY35" fmla="*/ 292336 h 1849195"/>
              <a:gd name="connsiteX36" fmla="*/ 476463 w 1751890"/>
              <a:gd name="connsiteY36" fmla="*/ 282138 h 1849195"/>
              <a:gd name="connsiteX37" fmla="*/ 496858 w 1751890"/>
              <a:gd name="connsiteY37" fmla="*/ 268541 h 1849195"/>
              <a:gd name="connsiteX38" fmla="*/ 517254 w 1751890"/>
              <a:gd name="connsiteY38" fmla="*/ 261743 h 1849195"/>
              <a:gd name="connsiteX39" fmla="*/ 527451 w 1751890"/>
              <a:gd name="connsiteY39" fmla="*/ 241347 h 1849195"/>
              <a:gd name="connsiteX40" fmla="*/ 524052 w 1751890"/>
              <a:gd name="connsiteY40" fmla="*/ 231149 h 1849195"/>
              <a:gd name="connsiteX41" fmla="*/ 513854 w 1751890"/>
              <a:gd name="connsiteY41" fmla="*/ 227750 h 1849195"/>
              <a:gd name="connsiteX42" fmla="*/ 490060 w 1751890"/>
              <a:gd name="connsiteY42" fmla="*/ 197157 h 1849195"/>
              <a:gd name="connsiteX43" fmla="*/ 483261 w 1751890"/>
              <a:gd name="connsiteY43" fmla="*/ 186959 h 1849195"/>
              <a:gd name="connsiteX44" fmla="*/ 476463 w 1751890"/>
              <a:gd name="connsiteY44" fmla="*/ 176761 h 1849195"/>
              <a:gd name="connsiteX45" fmla="*/ 479862 w 1751890"/>
              <a:gd name="connsiteY45" fmla="*/ 125772 h 1849195"/>
              <a:gd name="connsiteX46" fmla="*/ 483261 w 1751890"/>
              <a:gd name="connsiteY46" fmla="*/ 115575 h 1849195"/>
              <a:gd name="connsiteX47" fmla="*/ 493459 w 1751890"/>
              <a:gd name="connsiteY47" fmla="*/ 64586 h 1849195"/>
              <a:gd name="connsiteX48" fmla="*/ 517254 w 1751890"/>
              <a:gd name="connsiteY48" fmla="*/ 67985 h 1849195"/>
              <a:gd name="connsiteX49" fmla="*/ 547847 w 1751890"/>
              <a:gd name="connsiteY49" fmla="*/ 81582 h 1849195"/>
              <a:gd name="connsiteX50" fmla="*/ 561444 w 1751890"/>
              <a:gd name="connsiteY50" fmla="*/ 84981 h 1849195"/>
              <a:gd name="connsiteX51" fmla="*/ 571642 w 1751890"/>
              <a:gd name="connsiteY51" fmla="*/ 88381 h 1849195"/>
              <a:gd name="connsiteX52" fmla="*/ 646425 w 1751890"/>
              <a:gd name="connsiteY52" fmla="*/ 84981 h 1849195"/>
              <a:gd name="connsiteX53" fmla="*/ 653224 w 1751890"/>
              <a:gd name="connsiteY53" fmla="*/ 74784 h 1849195"/>
              <a:gd name="connsiteX54" fmla="*/ 663422 w 1751890"/>
              <a:gd name="connsiteY54" fmla="*/ 67985 h 1849195"/>
              <a:gd name="connsiteX55" fmla="*/ 683817 w 1751890"/>
              <a:gd name="connsiteY55" fmla="*/ 54388 h 1849195"/>
              <a:gd name="connsiteX56" fmla="*/ 690616 w 1751890"/>
              <a:gd name="connsiteY56" fmla="*/ 44190 h 1849195"/>
              <a:gd name="connsiteX57" fmla="*/ 694015 w 1751890"/>
              <a:gd name="connsiteY57" fmla="*/ 33993 h 1849195"/>
              <a:gd name="connsiteX58" fmla="*/ 758601 w 1751890"/>
              <a:gd name="connsiteY58" fmla="*/ 23795 h 1849195"/>
              <a:gd name="connsiteX59" fmla="*/ 778996 w 1751890"/>
              <a:gd name="connsiteY59" fmla="*/ 16996 h 1849195"/>
              <a:gd name="connsiteX60" fmla="*/ 806190 w 1751890"/>
              <a:gd name="connsiteY60" fmla="*/ 10198 h 1849195"/>
              <a:gd name="connsiteX61" fmla="*/ 826586 w 1751890"/>
              <a:gd name="connsiteY61" fmla="*/ 3399 h 1849195"/>
              <a:gd name="connsiteX62" fmla="*/ 836784 w 1751890"/>
              <a:gd name="connsiteY62" fmla="*/ 0 h 1849195"/>
              <a:gd name="connsiteX63" fmla="*/ 846982 w 1751890"/>
              <a:gd name="connsiteY63" fmla="*/ 3399 h 1849195"/>
              <a:gd name="connsiteX64" fmla="*/ 853780 w 1751890"/>
              <a:gd name="connsiteY64" fmla="*/ 23795 h 1849195"/>
              <a:gd name="connsiteX65" fmla="*/ 860579 w 1751890"/>
              <a:gd name="connsiteY65" fmla="*/ 33993 h 1849195"/>
              <a:gd name="connsiteX66" fmla="*/ 853780 w 1751890"/>
              <a:gd name="connsiteY66" fmla="*/ 67985 h 1849195"/>
              <a:gd name="connsiteX67" fmla="*/ 843582 w 1751890"/>
              <a:gd name="connsiteY67" fmla="*/ 78183 h 1849195"/>
              <a:gd name="connsiteX68" fmla="*/ 829985 w 1751890"/>
              <a:gd name="connsiteY68" fmla="*/ 95179 h 1849195"/>
              <a:gd name="connsiteX69" fmla="*/ 819787 w 1751890"/>
              <a:gd name="connsiteY69" fmla="*/ 105377 h 1849195"/>
              <a:gd name="connsiteX70" fmla="*/ 799392 w 1751890"/>
              <a:gd name="connsiteY70" fmla="*/ 112175 h 1849195"/>
              <a:gd name="connsiteX71" fmla="*/ 789194 w 1751890"/>
              <a:gd name="connsiteY71" fmla="*/ 115575 h 1849195"/>
              <a:gd name="connsiteX72" fmla="*/ 778996 w 1751890"/>
              <a:gd name="connsiteY72" fmla="*/ 118974 h 1849195"/>
              <a:gd name="connsiteX73" fmla="*/ 755202 w 1751890"/>
              <a:gd name="connsiteY73" fmla="*/ 132571 h 1849195"/>
              <a:gd name="connsiteX74" fmla="*/ 748403 w 1751890"/>
              <a:gd name="connsiteY74" fmla="*/ 152966 h 1849195"/>
              <a:gd name="connsiteX75" fmla="*/ 755202 w 1751890"/>
              <a:gd name="connsiteY75" fmla="*/ 183560 h 1849195"/>
              <a:gd name="connsiteX76" fmla="*/ 762000 w 1751890"/>
              <a:gd name="connsiteY76" fmla="*/ 193758 h 1849195"/>
              <a:gd name="connsiteX77" fmla="*/ 758601 w 1751890"/>
              <a:gd name="connsiteY77" fmla="*/ 214153 h 1849195"/>
              <a:gd name="connsiteX78" fmla="*/ 738205 w 1751890"/>
              <a:gd name="connsiteY78" fmla="*/ 217552 h 1849195"/>
              <a:gd name="connsiteX79" fmla="*/ 717810 w 1751890"/>
              <a:gd name="connsiteY79" fmla="*/ 224351 h 1849195"/>
              <a:gd name="connsiteX80" fmla="*/ 714411 w 1751890"/>
              <a:gd name="connsiteY80" fmla="*/ 302534 h 1849195"/>
              <a:gd name="connsiteX81" fmla="*/ 728008 w 1751890"/>
              <a:gd name="connsiteY81" fmla="*/ 322929 h 1849195"/>
              <a:gd name="connsiteX82" fmla="*/ 745004 w 1751890"/>
              <a:gd name="connsiteY82" fmla="*/ 346724 h 1849195"/>
              <a:gd name="connsiteX83" fmla="*/ 755202 w 1751890"/>
              <a:gd name="connsiteY83" fmla="*/ 353523 h 1849195"/>
              <a:gd name="connsiteX84" fmla="*/ 775597 w 1751890"/>
              <a:gd name="connsiteY84" fmla="*/ 360321 h 1849195"/>
              <a:gd name="connsiteX85" fmla="*/ 785795 w 1751890"/>
              <a:gd name="connsiteY85" fmla="*/ 367120 h 1849195"/>
              <a:gd name="connsiteX86" fmla="*/ 806190 w 1751890"/>
              <a:gd name="connsiteY86" fmla="*/ 377317 h 1849195"/>
              <a:gd name="connsiteX87" fmla="*/ 802791 w 1751890"/>
              <a:gd name="connsiteY87" fmla="*/ 394314 h 1849195"/>
              <a:gd name="connsiteX88" fmla="*/ 792593 w 1751890"/>
              <a:gd name="connsiteY88" fmla="*/ 401112 h 1849195"/>
              <a:gd name="connsiteX89" fmla="*/ 782396 w 1751890"/>
              <a:gd name="connsiteY89" fmla="*/ 411310 h 1849195"/>
              <a:gd name="connsiteX90" fmla="*/ 778996 w 1751890"/>
              <a:gd name="connsiteY90" fmla="*/ 421508 h 1849195"/>
              <a:gd name="connsiteX91" fmla="*/ 772198 w 1751890"/>
              <a:gd name="connsiteY91" fmla="*/ 431706 h 1849195"/>
              <a:gd name="connsiteX92" fmla="*/ 765399 w 1751890"/>
              <a:gd name="connsiteY92" fmla="*/ 452101 h 1849195"/>
              <a:gd name="connsiteX93" fmla="*/ 768799 w 1751890"/>
              <a:gd name="connsiteY93" fmla="*/ 489493 h 1849195"/>
              <a:gd name="connsiteX94" fmla="*/ 778996 w 1751890"/>
              <a:gd name="connsiteY94" fmla="*/ 496291 h 1849195"/>
              <a:gd name="connsiteX95" fmla="*/ 819787 w 1751890"/>
              <a:gd name="connsiteY95" fmla="*/ 516687 h 1849195"/>
              <a:gd name="connsiteX96" fmla="*/ 829985 w 1751890"/>
              <a:gd name="connsiteY96" fmla="*/ 523485 h 1849195"/>
              <a:gd name="connsiteX97" fmla="*/ 840183 w 1751890"/>
              <a:gd name="connsiteY97" fmla="*/ 530284 h 1849195"/>
              <a:gd name="connsiteX98" fmla="*/ 860579 w 1751890"/>
              <a:gd name="connsiteY98" fmla="*/ 537082 h 1849195"/>
              <a:gd name="connsiteX99" fmla="*/ 880974 w 1751890"/>
              <a:gd name="connsiteY99" fmla="*/ 547280 h 1849195"/>
              <a:gd name="connsiteX100" fmla="*/ 921765 w 1751890"/>
              <a:gd name="connsiteY100" fmla="*/ 567676 h 1849195"/>
              <a:gd name="connsiteX101" fmla="*/ 955758 w 1751890"/>
              <a:gd name="connsiteY101" fmla="*/ 574474 h 1849195"/>
              <a:gd name="connsiteX102" fmla="*/ 986351 w 1751890"/>
              <a:gd name="connsiteY102" fmla="*/ 588071 h 1849195"/>
              <a:gd name="connsiteX103" fmla="*/ 1013545 w 1751890"/>
              <a:gd name="connsiteY103" fmla="*/ 594870 h 1849195"/>
              <a:gd name="connsiteX104" fmla="*/ 1023743 w 1751890"/>
              <a:gd name="connsiteY104" fmla="*/ 598269 h 1849195"/>
              <a:gd name="connsiteX105" fmla="*/ 1054336 w 1751890"/>
              <a:gd name="connsiteY105" fmla="*/ 601668 h 1849195"/>
              <a:gd name="connsiteX106" fmla="*/ 1064534 w 1751890"/>
              <a:gd name="connsiteY106" fmla="*/ 605068 h 1849195"/>
              <a:gd name="connsiteX107" fmla="*/ 1088329 w 1751890"/>
              <a:gd name="connsiteY107" fmla="*/ 611866 h 1849195"/>
              <a:gd name="connsiteX108" fmla="*/ 1186907 w 1751890"/>
              <a:gd name="connsiteY108" fmla="*/ 598269 h 1849195"/>
              <a:gd name="connsiteX109" fmla="*/ 1190306 w 1751890"/>
              <a:gd name="connsiteY109" fmla="*/ 554079 h 1849195"/>
              <a:gd name="connsiteX110" fmla="*/ 1193706 w 1751890"/>
              <a:gd name="connsiteY110" fmla="*/ 543881 h 1849195"/>
              <a:gd name="connsiteX111" fmla="*/ 1227698 w 1751890"/>
              <a:gd name="connsiteY111" fmla="*/ 547280 h 1849195"/>
              <a:gd name="connsiteX112" fmla="*/ 1234497 w 1751890"/>
              <a:gd name="connsiteY112" fmla="*/ 567676 h 1849195"/>
              <a:gd name="connsiteX113" fmla="*/ 1248094 w 1751890"/>
              <a:gd name="connsiteY113" fmla="*/ 608467 h 1849195"/>
              <a:gd name="connsiteX114" fmla="*/ 1258292 w 1751890"/>
              <a:gd name="connsiteY114" fmla="*/ 611866 h 1849195"/>
              <a:gd name="connsiteX115" fmla="*/ 1380665 w 1751890"/>
              <a:gd name="connsiteY115" fmla="*/ 608467 h 1849195"/>
              <a:gd name="connsiteX116" fmla="*/ 1401060 w 1751890"/>
              <a:gd name="connsiteY116" fmla="*/ 601668 h 1849195"/>
              <a:gd name="connsiteX117" fmla="*/ 1411258 w 1751890"/>
              <a:gd name="connsiteY117" fmla="*/ 598269 h 1849195"/>
              <a:gd name="connsiteX118" fmla="*/ 1431654 w 1751890"/>
              <a:gd name="connsiteY118" fmla="*/ 584672 h 1849195"/>
              <a:gd name="connsiteX119" fmla="*/ 1428254 w 1751890"/>
              <a:gd name="connsiteY119" fmla="*/ 571075 h 1849195"/>
              <a:gd name="connsiteX120" fmla="*/ 1418057 w 1751890"/>
              <a:gd name="connsiteY120" fmla="*/ 564277 h 1849195"/>
              <a:gd name="connsiteX121" fmla="*/ 1411258 w 1751890"/>
              <a:gd name="connsiteY121" fmla="*/ 554079 h 1849195"/>
              <a:gd name="connsiteX122" fmla="*/ 1421456 w 1751890"/>
              <a:gd name="connsiteY122" fmla="*/ 547280 h 1849195"/>
              <a:gd name="connsiteX123" fmla="*/ 1465646 w 1751890"/>
              <a:gd name="connsiteY123" fmla="*/ 540482 h 1849195"/>
              <a:gd name="connsiteX124" fmla="*/ 1475844 w 1751890"/>
              <a:gd name="connsiteY124" fmla="*/ 533683 h 1849195"/>
              <a:gd name="connsiteX125" fmla="*/ 1496240 w 1751890"/>
              <a:gd name="connsiteY125" fmla="*/ 523485 h 1849195"/>
              <a:gd name="connsiteX126" fmla="*/ 1499639 w 1751890"/>
              <a:gd name="connsiteY126" fmla="*/ 513288 h 1849195"/>
              <a:gd name="connsiteX127" fmla="*/ 1509837 w 1751890"/>
              <a:gd name="connsiteY127" fmla="*/ 509888 h 1849195"/>
              <a:gd name="connsiteX128" fmla="*/ 1520034 w 1751890"/>
              <a:gd name="connsiteY128" fmla="*/ 503090 h 1849195"/>
              <a:gd name="connsiteX129" fmla="*/ 1530232 w 1751890"/>
              <a:gd name="connsiteY129" fmla="*/ 499691 h 1849195"/>
              <a:gd name="connsiteX130" fmla="*/ 1554027 w 1751890"/>
              <a:gd name="connsiteY130" fmla="*/ 489493 h 1849195"/>
              <a:gd name="connsiteX131" fmla="*/ 1564225 w 1751890"/>
              <a:gd name="connsiteY131" fmla="*/ 482694 h 1849195"/>
              <a:gd name="connsiteX132" fmla="*/ 1581221 w 1751890"/>
              <a:gd name="connsiteY132" fmla="*/ 452101 h 1849195"/>
              <a:gd name="connsiteX133" fmla="*/ 1601616 w 1751890"/>
              <a:gd name="connsiteY133" fmla="*/ 445303 h 1849195"/>
              <a:gd name="connsiteX134" fmla="*/ 1683199 w 1751890"/>
              <a:gd name="connsiteY134" fmla="*/ 448702 h 1849195"/>
              <a:gd name="connsiteX135" fmla="*/ 1686598 w 1751890"/>
              <a:gd name="connsiteY135" fmla="*/ 486094 h 1849195"/>
              <a:gd name="connsiteX136" fmla="*/ 1696796 w 1751890"/>
              <a:gd name="connsiteY136" fmla="*/ 489493 h 1849195"/>
              <a:gd name="connsiteX137" fmla="*/ 1727389 w 1751890"/>
              <a:gd name="connsiteY137" fmla="*/ 496291 h 1849195"/>
              <a:gd name="connsiteX138" fmla="*/ 1737587 w 1751890"/>
              <a:gd name="connsiteY138" fmla="*/ 499691 h 1849195"/>
              <a:gd name="connsiteX139" fmla="*/ 1740986 w 1751890"/>
              <a:gd name="connsiteY139" fmla="*/ 533683 h 1849195"/>
              <a:gd name="connsiteX140" fmla="*/ 1727389 w 1751890"/>
              <a:gd name="connsiteY140" fmla="*/ 537082 h 1849195"/>
              <a:gd name="connsiteX141" fmla="*/ 1706993 w 1751890"/>
              <a:gd name="connsiteY141" fmla="*/ 543881 h 1849195"/>
              <a:gd name="connsiteX142" fmla="*/ 1700195 w 1751890"/>
              <a:gd name="connsiteY142" fmla="*/ 554079 h 1849195"/>
              <a:gd name="connsiteX143" fmla="*/ 1696796 w 1751890"/>
              <a:gd name="connsiteY143" fmla="*/ 577874 h 1849195"/>
              <a:gd name="connsiteX144" fmla="*/ 1686598 w 1751890"/>
              <a:gd name="connsiteY144" fmla="*/ 581273 h 1849195"/>
              <a:gd name="connsiteX145" fmla="*/ 1649206 w 1751890"/>
              <a:gd name="connsiteY145" fmla="*/ 584672 h 1849195"/>
              <a:gd name="connsiteX146" fmla="*/ 1639008 w 1751890"/>
              <a:gd name="connsiteY146" fmla="*/ 591471 h 1849195"/>
              <a:gd name="connsiteX147" fmla="*/ 1628811 w 1751890"/>
              <a:gd name="connsiteY147" fmla="*/ 611866 h 1849195"/>
              <a:gd name="connsiteX148" fmla="*/ 1615213 w 1751890"/>
              <a:gd name="connsiteY148" fmla="*/ 632262 h 1849195"/>
              <a:gd name="connsiteX149" fmla="*/ 1605016 w 1751890"/>
              <a:gd name="connsiteY149" fmla="*/ 635661 h 1849195"/>
              <a:gd name="connsiteX150" fmla="*/ 1594818 w 1751890"/>
              <a:gd name="connsiteY150" fmla="*/ 645859 h 1849195"/>
              <a:gd name="connsiteX151" fmla="*/ 1591419 w 1751890"/>
              <a:gd name="connsiteY151" fmla="*/ 662855 h 1849195"/>
              <a:gd name="connsiteX152" fmla="*/ 1588019 w 1751890"/>
              <a:gd name="connsiteY152" fmla="*/ 673053 h 1849195"/>
              <a:gd name="connsiteX153" fmla="*/ 1581221 w 1751890"/>
              <a:gd name="connsiteY153" fmla="*/ 683250 h 1849195"/>
              <a:gd name="connsiteX154" fmla="*/ 1560825 w 1751890"/>
              <a:gd name="connsiteY154" fmla="*/ 690049 h 1849195"/>
              <a:gd name="connsiteX155" fmla="*/ 1550628 w 1751890"/>
              <a:gd name="connsiteY155" fmla="*/ 720642 h 1849195"/>
              <a:gd name="connsiteX156" fmla="*/ 1547228 w 1751890"/>
              <a:gd name="connsiteY156" fmla="*/ 730840 h 1849195"/>
              <a:gd name="connsiteX157" fmla="*/ 1543829 w 1751890"/>
              <a:gd name="connsiteY157" fmla="*/ 741038 h 1849195"/>
              <a:gd name="connsiteX158" fmla="*/ 1537031 w 1751890"/>
              <a:gd name="connsiteY158" fmla="*/ 754635 h 1849195"/>
              <a:gd name="connsiteX159" fmla="*/ 1526833 w 1751890"/>
              <a:gd name="connsiteY159" fmla="*/ 775030 h 1849195"/>
              <a:gd name="connsiteX160" fmla="*/ 1503038 w 1751890"/>
              <a:gd name="connsiteY160" fmla="*/ 792027 h 1849195"/>
              <a:gd name="connsiteX161" fmla="*/ 1492840 w 1751890"/>
              <a:gd name="connsiteY161" fmla="*/ 795426 h 1849195"/>
              <a:gd name="connsiteX162" fmla="*/ 1482642 w 1751890"/>
              <a:gd name="connsiteY162" fmla="*/ 798825 h 1849195"/>
              <a:gd name="connsiteX163" fmla="*/ 1472445 w 1751890"/>
              <a:gd name="connsiteY163" fmla="*/ 829419 h 1849195"/>
              <a:gd name="connsiteX164" fmla="*/ 1469045 w 1751890"/>
              <a:gd name="connsiteY164" fmla="*/ 839616 h 1849195"/>
              <a:gd name="connsiteX165" fmla="*/ 1462247 w 1751890"/>
              <a:gd name="connsiteY165" fmla="*/ 853213 h 1849195"/>
              <a:gd name="connsiteX166" fmla="*/ 1455448 w 1751890"/>
              <a:gd name="connsiteY166" fmla="*/ 873609 h 1849195"/>
              <a:gd name="connsiteX167" fmla="*/ 1441851 w 1751890"/>
              <a:gd name="connsiteY167" fmla="*/ 894004 h 1849195"/>
              <a:gd name="connsiteX168" fmla="*/ 1431654 w 1751890"/>
              <a:gd name="connsiteY168" fmla="*/ 924598 h 1849195"/>
              <a:gd name="connsiteX169" fmla="*/ 1418057 w 1751890"/>
              <a:gd name="connsiteY169" fmla="*/ 927997 h 1849195"/>
              <a:gd name="connsiteX170" fmla="*/ 1407859 w 1751890"/>
              <a:gd name="connsiteY170" fmla="*/ 897404 h 1849195"/>
              <a:gd name="connsiteX171" fmla="*/ 1404460 w 1751890"/>
              <a:gd name="connsiteY171" fmla="*/ 887206 h 1849195"/>
              <a:gd name="connsiteX172" fmla="*/ 1390863 w 1751890"/>
              <a:gd name="connsiteY172" fmla="*/ 815821 h 1849195"/>
              <a:gd name="connsiteX173" fmla="*/ 1370467 w 1751890"/>
              <a:gd name="connsiteY173" fmla="*/ 819221 h 1849195"/>
              <a:gd name="connsiteX174" fmla="*/ 1350071 w 1751890"/>
              <a:gd name="connsiteY174" fmla="*/ 829419 h 1849195"/>
              <a:gd name="connsiteX175" fmla="*/ 1336474 w 1751890"/>
              <a:gd name="connsiteY175" fmla="*/ 826019 h 1849195"/>
              <a:gd name="connsiteX176" fmla="*/ 1336474 w 1751890"/>
              <a:gd name="connsiteY176" fmla="*/ 802224 h 1849195"/>
              <a:gd name="connsiteX177" fmla="*/ 1339874 w 1751890"/>
              <a:gd name="connsiteY177" fmla="*/ 792027 h 1849195"/>
              <a:gd name="connsiteX178" fmla="*/ 1350071 w 1751890"/>
              <a:gd name="connsiteY178" fmla="*/ 788627 h 1849195"/>
              <a:gd name="connsiteX179" fmla="*/ 1370467 w 1751890"/>
              <a:gd name="connsiteY179" fmla="*/ 775030 h 1849195"/>
              <a:gd name="connsiteX180" fmla="*/ 1390863 w 1751890"/>
              <a:gd name="connsiteY180" fmla="*/ 744437 h 1849195"/>
              <a:gd name="connsiteX181" fmla="*/ 1397661 w 1751890"/>
              <a:gd name="connsiteY181" fmla="*/ 734239 h 1849195"/>
              <a:gd name="connsiteX182" fmla="*/ 1404460 w 1751890"/>
              <a:gd name="connsiteY182" fmla="*/ 724042 h 1849195"/>
              <a:gd name="connsiteX183" fmla="*/ 1401060 w 1751890"/>
              <a:gd name="connsiteY183" fmla="*/ 710445 h 1849195"/>
              <a:gd name="connsiteX184" fmla="*/ 1380665 w 1751890"/>
              <a:gd name="connsiteY184" fmla="*/ 700247 h 1849195"/>
              <a:gd name="connsiteX185" fmla="*/ 1295683 w 1751890"/>
              <a:gd name="connsiteY185" fmla="*/ 696848 h 1849195"/>
              <a:gd name="connsiteX186" fmla="*/ 1275288 w 1751890"/>
              <a:gd name="connsiteY186" fmla="*/ 683250 h 1849195"/>
              <a:gd name="connsiteX187" fmla="*/ 1268489 w 1751890"/>
              <a:gd name="connsiteY187" fmla="*/ 662855 h 1849195"/>
              <a:gd name="connsiteX188" fmla="*/ 1258292 w 1751890"/>
              <a:gd name="connsiteY188" fmla="*/ 656056 h 1849195"/>
              <a:gd name="connsiteX189" fmla="*/ 1248094 w 1751890"/>
              <a:gd name="connsiteY189" fmla="*/ 652657 h 1849195"/>
              <a:gd name="connsiteX190" fmla="*/ 1234497 w 1751890"/>
              <a:gd name="connsiteY190" fmla="*/ 645859 h 1849195"/>
              <a:gd name="connsiteX191" fmla="*/ 1220900 w 1751890"/>
              <a:gd name="connsiteY191" fmla="*/ 632262 h 1849195"/>
              <a:gd name="connsiteX192" fmla="*/ 1200504 w 1751890"/>
              <a:gd name="connsiteY192" fmla="*/ 645859 h 1849195"/>
              <a:gd name="connsiteX193" fmla="*/ 1197105 w 1751890"/>
              <a:gd name="connsiteY193" fmla="*/ 656056 h 1849195"/>
              <a:gd name="connsiteX194" fmla="*/ 1193706 w 1751890"/>
              <a:gd name="connsiteY194" fmla="*/ 676452 h 1849195"/>
              <a:gd name="connsiteX195" fmla="*/ 1203903 w 1751890"/>
              <a:gd name="connsiteY195" fmla="*/ 683250 h 1849195"/>
              <a:gd name="connsiteX196" fmla="*/ 1207303 w 1751890"/>
              <a:gd name="connsiteY196" fmla="*/ 693448 h 1849195"/>
              <a:gd name="connsiteX197" fmla="*/ 1190306 w 1751890"/>
              <a:gd name="connsiteY197" fmla="*/ 710445 h 1849195"/>
              <a:gd name="connsiteX198" fmla="*/ 1169911 w 1751890"/>
              <a:gd name="connsiteY198" fmla="*/ 717243 h 1849195"/>
              <a:gd name="connsiteX199" fmla="*/ 1180109 w 1751890"/>
              <a:gd name="connsiteY199" fmla="*/ 778430 h 1849195"/>
              <a:gd name="connsiteX200" fmla="*/ 1186907 w 1751890"/>
              <a:gd name="connsiteY200" fmla="*/ 798825 h 1849195"/>
              <a:gd name="connsiteX201" fmla="*/ 1190306 w 1751890"/>
              <a:gd name="connsiteY201" fmla="*/ 904202 h 1849195"/>
              <a:gd name="connsiteX202" fmla="*/ 1193706 w 1751890"/>
              <a:gd name="connsiteY202" fmla="*/ 914400 h 1849195"/>
              <a:gd name="connsiteX203" fmla="*/ 1190306 w 1751890"/>
              <a:gd name="connsiteY203" fmla="*/ 944993 h 1849195"/>
              <a:gd name="connsiteX204" fmla="*/ 1146116 w 1751890"/>
              <a:gd name="connsiteY204" fmla="*/ 941594 h 1849195"/>
              <a:gd name="connsiteX205" fmla="*/ 1135918 w 1751890"/>
              <a:gd name="connsiteY205" fmla="*/ 934795 h 1849195"/>
              <a:gd name="connsiteX206" fmla="*/ 1125721 w 1751890"/>
              <a:gd name="connsiteY206" fmla="*/ 941594 h 1849195"/>
              <a:gd name="connsiteX207" fmla="*/ 1105325 w 1751890"/>
              <a:gd name="connsiteY207" fmla="*/ 948393 h 1849195"/>
              <a:gd name="connsiteX208" fmla="*/ 1084929 w 1751890"/>
              <a:gd name="connsiteY208" fmla="*/ 958590 h 1849195"/>
              <a:gd name="connsiteX209" fmla="*/ 1081530 w 1751890"/>
              <a:gd name="connsiteY209" fmla="*/ 968788 h 1849195"/>
              <a:gd name="connsiteX210" fmla="*/ 1078131 w 1751890"/>
              <a:gd name="connsiteY210" fmla="*/ 999381 h 1849195"/>
              <a:gd name="connsiteX211" fmla="*/ 1064534 w 1751890"/>
              <a:gd name="connsiteY211" fmla="*/ 1019777 h 1849195"/>
              <a:gd name="connsiteX212" fmla="*/ 1050937 w 1751890"/>
              <a:gd name="connsiteY212" fmla="*/ 1040172 h 1849195"/>
              <a:gd name="connsiteX213" fmla="*/ 1037340 w 1751890"/>
              <a:gd name="connsiteY213" fmla="*/ 1043572 h 1849195"/>
              <a:gd name="connsiteX214" fmla="*/ 1016944 w 1751890"/>
              <a:gd name="connsiteY214" fmla="*/ 1050370 h 1849195"/>
              <a:gd name="connsiteX215" fmla="*/ 1006747 w 1751890"/>
              <a:gd name="connsiteY215" fmla="*/ 1053769 h 1849195"/>
              <a:gd name="connsiteX216" fmla="*/ 986351 w 1751890"/>
              <a:gd name="connsiteY216" fmla="*/ 1067366 h 1849195"/>
              <a:gd name="connsiteX217" fmla="*/ 976153 w 1751890"/>
              <a:gd name="connsiteY217" fmla="*/ 1074165 h 1849195"/>
              <a:gd name="connsiteX218" fmla="*/ 955758 w 1751890"/>
              <a:gd name="connsiteY218" fmla="*/ 1087762 h 1849195"/>
              <a:gd name="connsiteX219" fmla="*/ 945560 w 1751890"/>
              <a:gd name="connsiteY219" fmla="*/ 1097960 h 1849195"/>
              <a:gd name="connsiteX220" fmla="*/ 935362 w 1751890"/>
              <a:gd name="connsiteY220" fmla="*/ 1104758 h 1849195"/>
              <a:gd name="connsiteX221" fmla="*/ 928564 w 1751890"/>
              <a:gd name="connsiteY221" fmla="*/ 1114956 h 1849195"/>
              <a:gd name="connsiteX222" fmla="*/ 925164 w 1751890"/>
              <a:gd name="connsiteY222" fmla="*/ 1125154 h 1849195"/>
              <a:gd name="connsiteX223" fmla="*/ 894571 w 1751890"/>
              <a:gd name="connsiteY223" fmla="*/ 1145549 h 1849195"/>
              <a:gd name="connsiteX224" fmla="*/ 884373 w 1751890"/>
              <a:gd name="connsiteY224" fmla="*/ 1152348 h 1849195"/>
              <a:gd name="connsiteX225" fmla="*/ 860579 w 1751890"/>
              <a:gd name="connsiteY225" fmla="*/ 1182941 h 1849195"/>
              <a:gd name="connsiteX226" fmla="*/ 846982 w 1751890"/>
              <a:gd name="connsiteY226" fmla="*/ 1203337 h 1849195"/>
              <a:gd name="connsiteX227" fmla="*/ 836784 w 1751890"/>
              <a:gd name="connsiteY227" fmla="*/ 1206736 h 1849195"/>
              <a:gd name="connsiteX228" fmla="*/ 812989 w 1751890"/>
              <a:gd name="connsiteY228" fmla="*/ 1223732 h 1849195"/>
              <a:gd name="connsiteX229" fmla="*/ 802791 w 1751890"/>
              <a:gd name="connsiteY229" fmla="*/ 1230531 h 1849195"/>
              <a:gd name="connsiteX230" fmla="*/ 792593 w 1751890"/>
              <a:gd name="connsiteY230" fmla="*/ 1240729 h 1849195"/>
              <a:gd name="connsiteX231" fmla="*/ 778996 w 1751890"/>
              <a:gd name="connsiteY231" fmla="*/ 1250926 h 1849195"/>
              <a:gd name="connsiteX232" fmla="*/ 768799 w 1751890"/>
              <a:gd name="connsiteY232" fmla="*/ 1271322 h 1849195"/>
              <a:gd name="connsiteX233" fmla="*/ 765399 w 1751890"/>
              <a:gd name="connsiteY233" fmla="*/ 1281520 h 1849195"/>
              <a:gd name="connsiteX234" fmla="*/ 745004 w 1751890"/>
              <a:gd name="connsiteY234" fmla="*/ 1288318 h 1849195"/>
              <a:gd name="connsiteX235" fmla="*/ 734806 w 1751890"/>
              <a:gd name="connsiteY235" fmla="*/ 1291717 h 1849195"/>
              <a:gd name="connsiteX236" fmla="*/ 717810 w 1751890"/>
              <a:gd name="connsiteY236" fmla="*/ 1308714 h 1849195"/>
              <a:gd name="connsiteX237" fmla="*/ 714411 w 1751890"/>
              <a:gd name="connsiteY237" fmla="*/ 1318911 h 1849195"/>
              <a:gd name="connsiteX238" fmla="*/ 704213 w 1751890"/>
              <a:gd name="connsiteY238" fmla="*/ 1325710 h 1849195"/>
              <a:gd name="connsiteX239" fmla="*/ 660022 w 1751890"/>
              <a:gd name="connsiteY239" fmla="*/ 1335908 h 1849195"/>
              <a:gd name="connsiteX240" fmla="*/ 636228 w 1751890"/>
              <a:gd name="connsiteY240" fmla="*/ 1352904 h 1849195"/>
              <a:gd name="connsiteX241" fmla="*/ 636228 w 1751890"/>
              <a:gd name="connsiteY241" fmla="*/ 1427688 h 1849195"/>
              <a:gd name="connsiteX242" fmla="*/ 632828 w 1751890"/>
              <a:gd name="connsiteY242" fmla="*/ 1437885 h 1849195"/>
              <a:gd name="connsiteX243" fmla="*/ 626030 w 1751890"/>
              <a:gd name="connsiteY243" fmla="*/ 1448083 h 1849195"/>
              <a:gd name="connsiteX244" fmla="*/ 629429 w 1751890"/>
              <a:gd name="connsiteY244" fmla="*/ 1488874 h 1849195"/>
              <a:gd name="connsiteX245" fmla="*/ 636228 w 1751890"/>
              <a:gd name="connsiteY245" fmla="*/ 1509270 h 1849195"/>
              <a:gd name="connsiteX246" fmla="*/ 639627 w 1751890"/>
              <a:gd name="connsiteY246" fmla="*/ 1519468 h 1849195"/>
              <a:gd name="connsiteX247" fmla="*/ 632828 w 1751890"/>
              <a:gd name="connsiteY247" fmla="*/ 1546662 h 1849195"/>
              <a:gd name="connsiteX248" fmla="*/ 619231 w 1751890"/>
              <a:gd name="connsiteY248" fmla="*/ 1567057 h 1849195"/>
              <a:gd name="connsiteX249" fmla="*/ 612433 w 1751890"/>
              <a:gd name="connsiteY249" fmla="*/ 1587453 h 1849195"/>
              <a:gd name="connsiteX250" fmla="*/ 609034 w 1751890"/>
              <a:gd name="connsiteY250" fmla="*/ 1597650 h 1849195"/>
              <a:gd name="connsiteX251" fmla="*/ 605634 w 1751890"/>
              <a:gd name="connsiteY251" fmla="*/ 1614647 h 1849195"/>
              <a:gd name="connsiteX252" fmla="*/ 598836 w 1751890"/>
              <a:gd name="connsiteY252" fmla="*/ 1635042 h 1849195"/>
              <a:gd name="connsiteX253" fmla="*/ 595437 w 1751890"/>
              <a:gd name="connsiteY253" fmla="*/ 1648639 h 1849195"/>
              <a:gd name="connsiteX254" fmla="*/ 592037 w 1751890"/>
              <a:gd name="connsiteY254" fmla="*/ 1713225 h 1849195"/>
              <a:gd name="connsiteX255" fmla="*/ 571642 w 1751890"/>
              <a:gd name="connsiteY255" fmla="*/ 1720024 h 1849195"/>
              <a:gd name="connsiteX256" fmla="*/ 558045 w 1751890"/>
              <a:gd name="connsiteY256" fmla="*/ 1760815 h 1849195"/>
              <a:gd name="connsiteX257" fmla="*/ 554645 w 1751890"/>
              <a:gd name="connsiteY257" fmla="*/ 1771013 h 1849195"/>
              <a:gd name="connsiteX258" fmla="*/ 510455 w 1751890"/>
              <a:gd name="connsiteY258" fmla="*/ 1781210 h 1849195"/>
              <a:gd name="connsiteX259" fmla="*/ 496858 w 1751890"/>
              <a:gd name="connsiteY259" fmla="*/ 1801606 h 1849195"/>
              <a:gd name="connsiteX260" fmla="*/ 493459 w 1751890"/>
              <a:gd name="connsiteY260" fmla="*/ 1811804 h 1849195"/>
              <a:gd name="connsiteX261" fmla="*/ 483261 w 1751890"/>
              <a:gd name="connsiteY261" fmla="*/ 1818602 h 1849195"/>
              <a:gd name="connsiteX262" fmla="*/ 459466 w 1751890"/>
              <a:gd name="connsiteY262" fmla="*/ 1842397 h 1849195"/>
              <a:gd name="connsiteX263" fmla="*/ 439071 w 1751890"/>
              <a:gd name="connsiteY263" fmla="*/ 1849195 h 1849195"/>
              <a:gd name="connsiteX264" fmla="*/ 425474 w 1751890"/>
              <a:gd name="connsiteY264" fmla="*/ 1801606 h 1849195"/>
              <a:gd name="connsiteX265" fmla="*/ 422074 w 1751890"/>
              <a:gd name="connsiteY265" fmla="*/ 1791408 h 1849195"/>
              <a:gd name="connsiteX266" fmla="*/ 411877 w 1751890"/>
              <a:gd name="connsiteY266" fmla="*/ 1784610 h 1849195"/>
              <a:gd name="connsiteX267" fmla="*/ 401679 w 1751890"/>
              <a:gd name="connsiteY267" fmla="*/ 1764214 h 1849195"/>
              <a:gd name="connsiteX268" fmla="*/ 394880 w 1751890"/>
              <a:gd name="connsiteY268" fmla="*/ 1754016 h 1849195"/>
              <a:gd name="connsiteX269" fmla="*/ 381283 w 1751890"/>
              <a:gd name="connsiteY269" fmla="*/ 1733621 h 1849195"/>
              <a:gd name="connsiteX270" fmla="*/ 377884 w 1751890"/>
              <a:gd name="connsiteY270" fmla="*/ 1723423 h 1849195"/>
              <a:gd name="connsiteX271" fmla="*/ 371086 w 1751890"/>
              <a:gd name="connsiteY271" fmla="*/ 1713225 h 1849195"/>
              <a:gd name="connsiteX272" fmla="*/ 367686 w 1751890"/>
              <a:gd name="connsiteY272" fmla="*/ 1699628 h 1849195"/>
              <a:gd name="connsiteX273" fmla="*/ 360888 w 1751890"/>
              <a:gd name="connsiteY273" fmla="*/ 1655438 h 1849195"/>
              <a:gd name="connsiteX274" fmla="*/ 354089 w 1751890"/>
              <a:gd name="connsiteY274" fmla="*/ 1635042 h 1849195"/>
              <a:gd name="connsiteX275" fmla="*/ 347291 w 1751890"/>
              <a:gd name="connsiteY275" fmla="*/ 1624845 h 1849195"/>
              <a:gd name="connsiteX276" fmla="*/ 337093 w 1751890"/>
              <a:gd name="connsiteY276" fmla="*/ 1594251 h 1849195"/>
              <a:gd name="connsiteX277" fmla="*/ 333694 w 1751890"/>
              <a:gd name="connsiteY277" fmla="*/ 1584053 h 1849195"/>
              <a:gd name="connsiteX278" fmla="*/ 330295 w 1751890"/>
              <a:gd name="connsiteY278" fmla="*/ 1543262 h 1849195"/>
              <a:gd name="connsiteX279" fmla="*/ 323496 w 1751890"/>
              <a:gd name="connsiteY279" fmla="*/ 1522867 h 1849195"/>
              <a:gd name="connsiteX280" fmla="*/ 316698 w 1751890"/>
              <a:gd name="connsiteY280" fmla="*/ 1478677 h 1849195"/>
              <a:gd name="connsiteX281" fmla="*/ 309899 w 1751890"/>
              <a:gd name="connsiteY281" fmla="*/ 1468479 h 1849195"/>
              <a:gd name="connsiteX282" fmla="*/ 306500 w 1751890"/>
              <a:gd name="connsiteY282" fmla="*/ 1458281 h 1849195"/>
              <a:gd name="connsiteX283" fmla="*/ 299701 w 1751890"/>
              <a:gd name="connsiteY283" fmla="*/ 1448083 h 1849195"/>
              <a:gd name="connsiteX284" fmla="*/ 296302 w 1751890"/>
              <a:gd name="connsiteY284" fmla="*/ 1407292 h 1849195"/>
              <a:gd name="connsiteX285" fmla="*/ 292903 w 1751890"/>
              <a:gd name="connsiteY285" fmla="*/ 1376699 h 1849195"/>
              <a:gd name="connsiteX286" fmla="*/ 286104 w 1751890"/>
              <a:gd name="connsiteY286" fmla="*/ 1349505 h 1849195"/>
              <a:gd name="connsiteX287" fmla="*/ 279306 w 1751890"/>
              <a:gd name="connsiteY287" fmla="*/ 1339307 h 1849195"/>
              <a:gd name="connsiteX288" fmla="*/ 269108 w 1751890"/>
              <a:gd name="connsiteY288" fmla="*/ 1305314 h 1849195"/>
              <a:gd name="connsiteX289" fmla="*/ 262309 w 1751890"/>
              <a:gd name="connsiteY289" fmla="*/ 1295117 h 1849195"/>
              <a:gd name="connsiteX290" fmla="*/ 252112 w 1751890"/>
              <a:gd name="connsiteY290" fmla="*/ 1257725 h 1849195"/>
              <a:gd name="connsiteX291" fmla="*/ 248712 w 1751890"/>
              <a:gd name="connsiteY291" fmla="*/ 1172743 h 1849195"/>
              <a:gd name="connsiteX292" fmla="*/ 238515 w 1751890"/>
              <a:gd name="connsiteY292" fmla="*/ 1162546 h 1849195"/>
              <a:gd name="connsiteX293" fmla="*/ 235115 w 1751890"/>
              <a:gd name="connsiteY293" fmla="*/ 1152348 h 1849195"/>
              <a:gd name="connsiteX294" fmla="*/ 238515 w 1751890"/>
              <a:gd name="connsiteY294" fmla="*/ 1118355 h 1849195"/>
              <a:gd name="connsiteX295" fmla="*/ 241914 w 1751890"/>
              <a:gd name="connsiteY295" fmla="*/ 1108158 h 1849195"/>
              <a:gd name="connsiteX296" fmla="*/ 245313 w 1751890"/>
              <a:gd name="connsiteY296" fmla="*/ 948393 h 1849195"/>
              <a:gd name="connsiteX297" fmla="*/ 255511 w 1751890"/>
              <a:gd name="connsiteY297" fmla="*/ 914400 h 1849195"/>
              <a:gd name="connsiteX298" fmla="*/ 258910 w 1751890"/>
              <a:gd name="connsiteY298" fmla="*/ 904202 h 1849195"/>
              <a:gd name="connsiteX299" fmla="*/ 269108 w 1751890"/>
              <a:gd name="connsiteY299" fmla="*/ 900803 h 1849195"/>
              <a:gd name="connsiteX300" fmla="*/ 258910 w 1751890"/>
              <a:gd name="connsiteY300" fmla="*/ 894004 h 1849195"/>
              <a:gd name="connsiteX301" fmla="*/ 235115 w 1751890"/>
              <a:gd name="connsiteY301" fmla="*/ 907601 h 1849195"/>
              <a:gd name="connsiteX302" fmla="*/ 224918 w 1751890"/>
              <a:gd name="connsiteY302" fmla="*/ 941594 h 1849195"/>
              <a:gd name="connsiteX303" fmla="*/ 214720 w 1751890"/>
              <a:gd name="connsiteY303" fmla="*/ 951792 h 1849195"/>
              <a:gd name="connsiteX304" fmla="*/ 201123 w 1751890"/>
              <a:gd name="connsiteY304" fmla="*/ 972187 h 1849195"/>
              <a:gd name="connsiteX305" fmla="*/ 184127 w 1751890"/>
              <a:gd name="connsiteY305" fmla="*/ 989184 h 1849195"/>
              <a:gd name="connsiteX306" fmla="*/ 170529 w 1751890"/>
              <a:gd name="connsiteY306" fmla="*/ 992583 h 1849195"/>
              <a:gd name="connsiteX307" fmla="*/ 146735 w 1751890"/>
              <a:gd name="connsiteY307" fmla="*/ 999381 h 1849195"/>
              <a:gd name="connsiteX308" fmla="*/ 71951 w 1751890"/>
              <a:gd name="connsiteY308" fmla="*/ 989184 h 1849195"/>
              <a:gd name="connsiteX309" fmla="*/ 58354 w 1751890"/>
              <a:gd name="connsiteY309" fmla="*/ 958590 h 1849195"/>
              <a:gd name="connsiteX310" fmla="*/ 54955 w 1751890"/>
              <a:gd name="connsiteY310" fmla="*/ 948393 h 1849195"/>
              <a:gd name="connsiteX311" fmla="*/ 51556 w 1751890"/>
              <a:gd name="connsiteY311" fmla="*/ 938195 h 1849195"/>
              <a:gd name="connsiteX312" fmla="*/ 37958 w 1751890"/>
              <a:gd name="connsiteY312" fmla="*/ 917799 h 1849195"/>
              <a:gd name="connsiteX313" fmla="*/ 48156 w 1751890"/>
              <a:gd name="connsiteY313" fmla="*/ 911001 h 1849195"/>
              <a:gd name="connsiteX314" fmla="*/ 68552 w 1751890"/>
              <a:gd name="connsiteY314" fmla="*/ 904202 h 1849195"/>
              <a:gd name="connsiteX315" fmla="*/ 88947 w 1751890"/>
              <a:gd name="connsiteY315" fmla="*/ 890605 h 1849195"/>
              <a:gd name="connsiteX316" fmla="*/ 109343 w 1751890"/>
              <a:gd name="connsiteY316" fmla="*/ 883807 h 1849195"/>
              <a:gd name="connsiteX317" fmla="*/ 119541 w 1751890"/>
              <a:gd name="connsiteY317" fmla="*/ 880407 h 1849195"/>
              <a:gd name="connsiteX318" fmla="*/ 129738 w 1751890"/>
              <a:gd name="connsiteY318" fmla="*/ 873609 h 1849195"/>
              <a:gd name="connsiteX319" fmla="*/ 133138 w 1751890"/>
              <a:gd name="connsiteY319" fmla="*/ 863411 h 1849195"/>
              <a:gd name="connsiteX320" fmla="*/ 82149 w 1751890"/>
              <a:gd name="connsiteY320" fmla="*/ 849814 h 1849195"/>
              <a:gd name="connsiteX321" fmla="*/ 44757 w 1751890"/>
              <a:gd name="connsiteY321" fmla="*/ 849814 h 1849195"/>
              <a:gd name="connsiteX322" fmla="*/ 24361 w 1751890"/>
              <a:gd name="connsiteY322" fmla="*/ 843016 h 1849195"/>
              <a:gd name="connsiteX323" fmla="*/ 17563 w 1751890"/>
              <a:gd name="connsiteY323" fmla="*/ 822620 h 1849195"/>
              <a:gd name="connsiteX324" fmla="*/ 3966 w 1751890"/>
              <a:gd name="connsiteY324" fmla="*/ 802224 h 18491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</a:cxnLst>
            <a:rect l="l" t="t" r="r" b="b"/>
            <a:pathLst>
              <a:path w="1751890" h="1849195">
                <a:moveTo>
                  <a:pt x="3966" y="802224"/>
                </a:moveTo>
                <a:cubicBezTo>
                  <a:pt x="7932" y="797692"/>
                  <a:pt x="34103" y="800262"/>
                  <a:pt x="41358" y="795426"/>
                </a:cubicBezTo>
                <a:cubicBezTo>
                  <a:pt x="52362" y="788090"/>
                  <a:pt x="48283" y="782727"/>
                  <a:pt x="61753" y="781829"/>
                </a:cubicBezTo>
                <a:cubicBezTo>
                  <a:pt x="92300" y="779793"/>
                  <a:pt x="122940" y="779563"/>
                  <a:pt x="153533" y="778430"/>
                </a:cubicBezTo>
                <a:cubicBezTo>
                  <a:pt x="161465" y="777297"/>
                  <a:pt x="170006" y="778284"/>
                  <a:pt x="177328" y="775030"/>
                </a:cubicBezTo>
                <a:cubicBezTo>
                  <a:pt x="181061" y="773371"/>
                  <a:pt x="183887" y="768911"/>
                  <a:pt x="184127" y="764833"/>
                </a:cubicBezTo>
                <a:cubicBezTo>
                  <a:pt x="185061" y="748957"/>
                  <a:pt x="182483" y="733049"/>
                  <a:pt x="180727" y="717243"/>
                </a:cubicBezTo>
                <a:cubicBezTo>
                  <a:pt x="180716" y="717144"/>
                  <a:pt x="175540" y="695059"/>
                  <a:pt x="173929" y="693448"/>
                </a:cubicBezTo>
                <a:cubicBezTo>
                  <a:pt x="171395" y="690914"/>
                  <a:pt x="167130" y="691182"/>
                  <a:pt x="163731" y="690049"/>
                </a:cubicBezTo>
                <a:cubicBezTo>
                  <a:pt x="160332" y="687783"/>
                  <a:pt x="155698" y="686715"/>
                  <a:pt x="153533" y="683250"/>
                </a:cubicBezTo>
                <a:cubicBezTo>
                  <a:pt x="149735" y="677173"/>
                  <a:pt x="146735" y="662855"/>
                  <a:pt x="146735" y="662855"/>
                </a:cubicBezTo>
                <a:cubicBezTo>
                  <a:pt x="145602" y="649258"/>
                  <a:pt x="148804" y="634564"/>
                  <a:pt x="143335" y="622064"/>
                </a:cubicBezTo>
                <a:cubicBezTo>
                  <a:pt x="140060" y="614578"/>
                  <a:pt x="122940" y="608467"/>
                  <a:pt x="122940" y="608467"/>
                </a:cubicBezTo>
                <a:cubicBezTo>
                  <a:pt x="114265" y="595455"/>
                  <a:pt x="110526" y="594758"/>
                  <a:pt x="119541" y="574474"/>
                </a:cubicBezTo>
                <a:cubicBezTo>
                  <a:pt x="122351" y="568151"/>
                  <a:pt x="149282" y="561161"/>
                  <a:pt x="150134" y="560877"/>
                </a:cubicBezTo>
                <a:lnTo>
                  <a:pt x="160332" y="557478"/>
                </a:lnTo>
                <a:lnTo>
                  <a:pt x="170529" y="554079"/>
                </a:lnTo>
                <a:cubicBezTo>
                  <a:pt x="186709" y="543292"/>
                  <a:pt x="174368" y="549868"/>
                  <a:pt x="194324" y="543881"/>
                </a:cubicBezTo>
                <a:cubicBezTo>
                  <a:pt x="201188" y="541822"/>
                  <a:pt x="207921" y="539348"/>
                  <a:pt x="214720" y="537082"/>
                </a:cubicBezTo>
                <a:cubicBezTo>
                  <a:pt x="218119" y="535949"/>
                  <a:pt x="221384" y="534272"/>
                  <a:pt x="224918" y="533683"/>
                </a:cubicBezTo>
                <a:lnTo>
                  <a:pt x="245313" y="530284"/>
                </a:lnTo>
                <a:cubicBezTo>
                  <a:pt x="251415" y="529175"/>
                  <a:pt x="265764" y="526856"/>
                  <a:pt x="272507" y="523485"/>
                </a:cubicBezTo>
                <a:cubicBezTo>
                  <a:pt x="281974" y="518751"/>
                  <a:pt x="285383" y="514009"/>
                  <a:pt x="292903" y="506489"/>
                </a:cubicBezTo>
                <a:cubicBezTo>
                  <a:pt x="294803" y="498889"/>
                  <a:pt x="299790" y="477462"/>
                  <a:pt x="303100" y="472497"/>
                </a:cubicBezTo>
                <a:cubicBezTo>
                  <a:pt x="305366" y="469098"/>
                  <a:pt x="306709" y="464851"/>
                  <a:pt x="309899" y="462299"/>
                </a:cubicBezTo>
                <a:cubicBezTo>
                  <a:pt x="312697" y="460061"/>
                  <a:pt x="316698" y="460033"/>
                  <a:pt x="320097" y="458900"/>
                </a:cubicBezTo>
                <a:cubicBezTo>
                  <a:pt x="343891" y="443037"/>
                  <a:pt x="335960" y="452101"/>
                  <a:pt x="347291" y="435105"/>
                </a:cubicBezTo>
                <a:cubicBezTo>
                  <a:pt x="353791" y="415602"/>
                  <a:pt x="346035" y="433805"/>
                  <a:pt x="360888" y="414709"/>
                </a:cubicBezTo>
                <a:cubicBezTo>
                  <a:pt x="365904" y="408260"/>
                  <a:pt x="367687" y="398846"/>
                  <a:pt x="374485" y="394314"/>
                </a:cubicBezTo>
                <a:cubicBezTo>
                  <a:pt x="381283" y="389782"/>
                  <a:pt x="387129" y="383301"/>
                  <a:pt x="394880" y="380717"/>
                </a:cubicBezTo>
                <a:cubicBezTo>
                  <a:pt x="398279" y="379584"/>
                  <a:pt x="401873" y="378919"/>
                  <a:pt x="405078" y="377317"/>
                </a:cubicBezTo>
                <a:cubicBezTo>
                  <a:pt x="408732" y="375490"/>
                  <a:pt x="411543" y="372178"/>
                  <a:pt x="415276" y="370519"/>
                </a:cubicBezTo>
                <a:cubicBezTo>
                  <a:pt x="451683" y="354338"/>
                  <a:pt x="422790" y="372307"/>
                  <a:pt x="445869" y="356922"/>
                </a:cubicBezTo>
                <a:cubicBezTo>
                  <a:pt x="448135" y="353523"/>
                  <a:pt x="451009" y="350457"/>
                  <a:pt x="452668" y="346724"/>
                </a:cubicBezTo>
                <a:cubicBezTo>
                  <a:pt x="468849" y="310317"/>
                  <a:pt x="450878" y="339211"/>
                  <a:pt x="466265" y="316131"/>
                </a:cubicBezTo>
                <a:cubicBezTo>
                  <a:pt x="474421" y="291659"/>
                  <a:pt x="464518" y="322241"/>
                  <a:pt x="473063" y="292336"/>
                </a:cubicBezTo>
                <a:cubicBezTo>
                  <a:pt x="474047" y="288891"/>
                  <a:pt x="473929" y="284672"/>
                  <a:pt x="476463" y="282138"/>
                </a:cubicBezTo>
                <a:cubicBezTo>
                  <a:pt x="482241" y="276360"/>
                  <a:pt x="489107" y="271125"/>
                  <a:pt x="496858" y="268541"/>
                </a:cubicBezTo>
                <a:lnTo>
                  <a:pt x="517254" y="261743"/>
                </a:lnTo>
                <a:cubicBezTo>
                  <a:pt x="520691" y="256587"/>
                  <a:pt x="527451" y="248384"/>
                  <a:pt x="527451" y="241347"/>
                </a:cubicBezTo>
                <a:cubicBezTo>
                  <a:pt x="527451" y="237764"/>
                  <a:pt x="526586" y="233683"/>
                  <a:pt x="524052" y="231149"/>
                </a:cubicBezTo>
                <a:cubicBezTo>
                  <a:pt x="521518" y="228615"/>
                  <a:pt x="517253" y="228883"/>
                  <a:pt x="513854" y="227750"/>
                </a:cubicBezTo>
                <a:cubicBezTo>
                  <a:pt x="497880" y="211774"/>
                  <a:pt x="506324" y="221552"/>
                  <a:pt x="490060" y="197157"/>
                </a:cubicBezTo>
                <a:lnTo>
                  <a:pt x="483261" y="186959"/>
                </a:lnTo>
                <a:lnTo>
                  <a:pt x="476463" y="176761"/>
                </a:lnTo>
                <a:cubicBezTo>
                  <a:pt x="477596" y="159765"/>
                  <a:pt x="477981" y="142702"/>
                  <a:pt x="479862" y="125772"/>
                </a:cubicBezTo>
                <a:cubicBezTo>
                  <a:pt x="480258" y="122211"/>
                  <a:pt x="482558" y="119088"/>
                  <a:pt x="483261" y="115575"/>
                </a:cubicBezTo>
                <a:cubicBezTo>
                  <a:pt x="494343" y="60166"/>
                  <a:pt x="484741" y="90742"/>
                  <a:pt x="493459" y="64586"/>
                </a:cubicBezTo>
                <a:cubicBezTo>
                  <a:pt x="501391" y="65719"/>
                  <a:pt x="509447" y="66183"/>
                  <a:pt x="517254" y="67985"/>
                </a:cubicBezTo>
                <a:cubicBezTo>
                  <a:pt x="563059" y="78556"/>
                  <a:pt x="519409" y="69396"/>
                  <a:pt x="547847" y="81582"/>
                </a:cubicBezTo>
                <a:cubicBezTo>
                  <a:pt x="552141" y="83422"/>
                  <a:pt x="556952" y="83697"/>
                  <a:pt x="561444" y="84981"/>
                </a:cubicBezTo>
                <a:cubicBezTo>
                  <a:pt x="564889" y="85965"/>
                  <a:pt x="568243" y="87248"/>
                  <a:pt x="571642" y="88381"/>
                </a:cubicBezTo>
                <a:cubicBezTo>
                  <a:pt x="596570" y="87248"/>
                  <a:pt x="621811" y="89083"/>
                  <a:pt x="646425" y="84981"/>
                </a:cubicBezTo>
                <a:cubicBezTo>
                  <a:pt x="650455" y="84309"/>
                  <a:pt x="650335" y="77673"/>
                  <a:pt x="653224" y="74784"/>
                </a:cubicBezTo>
                <a:cubicBezTo>
                  <a:pt x="656113" y="71895"/>
                  <a:pt x="660283" y="70601"/>
                  <a:pt x="663422" y="67985"/>
                </a:cubicBezTo>
                <a:cubicBezTo>
                  <a:pt x="680396" y="53839"/>
                  <a:pt x="665895" y="60361"/>
                  <a:pt x="683817" y="54388"/>
                </a:cubicBezTo>
                <a:cubicBezTo>
                  <a:pt x="686083" y="50989"/>
                  <a:pt x="688789" y="47844"/>
                  <a:pt x="690616" y="44190"/>
                </a:cubicBezTo>
                <a:cubicBezTo>
                  <a:pt x="692218" y="40985"/>
                  <a:pt x="691777" y="36791"/>
                  <a:pt x="694015" y="33993"/>
                </a:cubicBezTo>
                <a:cubicBezTo>
                  <a:pt x="706894" y="17895"/>
                  <a:pt x="755413" y="23994"/>
                  <a:pt x="758601" y="23795"/>
                </a:cubicBezTo>
                <a:cubicBezTo>
                  <a:pt x="765399" y="21529"/>
                  <a:pt x="772044" y="18734"/>
                  <a:pt x="778996" y="16996"/>
                </a:cubicBezTo>
                <a:cubicBezTo>
                  <a:pt x="788061" y="14730"/>
                  <a:pt x="797326" y="13153"/>
                  <a:pt x="806190" y="10198"/>
                </a:cubicBezTo>
                <a:lnTo>
                  <a:pt x="826586" y="3399"/>
                </a:lnTo>
                <a:lnTo>
                  <a:pt x="836784" y="0"/>
                </a:lnTo>
                <a:cubicBezTo>
                  <a:pt x="840183" y="1133"/>
                  <a:pt x="844899" y="483"/>
                  <a:pt x="846982" y="3399"/>
                </a:cubicBezTo>
                <a:cubicBezTo>
                  <a:pt x="851147" y="9231"/>
                  <a:pt x="849805" y="17832"/>
                  <a:pt x="853780" y="23795"/>
                </a:cubicBezTo>
                <a:lnTo>
                  <a:pt x="860579" y="33993"/>
                </a:lnTo>
                <a:cubicBezTo>
                  <a:pt x="860292" y="36005"/>
                  <a:pt x="858094" y="61514"/>
                  <a:pt x="853780" y="67985"/>
                </a:cubicBezTo>
                <a:cubicBezTo>
                  <a:pt x="851113" y="71985"/>
                  <a:pt x="846981" y="74784"/>
                  <a:pt x="843582" y="78183"/>
                </a:cubicBezTo>
                <a:cubicBezTo>
                  <a:pt x="838002" y="94925"/>
                  <a:pt x="844178" y="83352"/>
                  <a:pt x="829985" y="95179"/>
                </a:cubicBezTo>
                <a:cubicBezTo>
                  <a:pt x="826292" y="98257"/>
                  <a:pt x="823989" y="103042"/>
                  <a:pt x="819787" y="105377"/>
                </a:cubicBezTo>
                <a:cubicBezTo>
                  <a:pt x="813523" y="108857"/>
                  <a:pt x="806190" y="109909"/>
                  <a:pt x="799392" y="112175"/>
                </a:cubicBezTo>
                <a:lnTo>
                  <a:pt x="789194" y="115575"/>
                </a:lnTo>
                <a:cubicBezTo>
                  <a:pt x="785795" y="116708"/>
                  <a:pt x="782201" y="117372"/>
                  <a:pt x="778996" y="118974"/>
                </a:cubicBezTo>
                <a:cubicBezTo>
                  <a:pt x="761745" y="127599"/>
                  <a:pt x="769615" y="122961"/>
                  <a:pt x="755202" y="132571"/>
                </a:cubicBezTo>
                <a:cubicBezTo>
                  <a:pt x="752936" y="139369"/>
                  <a:pt x="747225" y="145897"/>
                  <a:pt x="748403" y="152966"/>
                </a:cubicBezTo>
                <a:cubicBezTo>
                  <a:pt x="749710" y="160807"/>
                  <a:pt x="751016" y="175188"/>
                  <a:pt x="755202" y="183560"/>
                </a:cubicBezTo>
                <a:cubicBezTo>
                  <a:pt x="757029" y="187214"/>
                  <a:pt x="759734" y="190359"/>
                  <a:pt x="762000" y="193758"/>
                </a:cubicBezTo>
                <a:cubicBezTo>
                  <a:pt x="760867" y="200556"/>
                  <a:pt x="763475" y="209280"/>
                  <a:pt x="758601" y="214153"/>
                </a:cubicBezTo>
                <a:cubicBezTo>
                  <a:pt x="753727" y="219027"/>
                  <a:pt x="744892" y="215880"/>
                  <a:pt x="738205" y="217552"/>
                </a:cubicBezTo>
                <a:cubicBezTo>
                  <a:pt x="731253" y="219290"/>
                  <a:pt x="717810" y="224351"/>
                  <a:pt x="717810" y="224351"/>
                </a:cubicBezTo>
                <a:cubicBezTo>
                  <a:pt x="699858" y="251278"/>
                  <a:pt x="702848" y="242407"/>
                  <a:pt x="714411" y="302534"/>
                </a:cubicBezTo>
                <a:cubicBezTo>
                  <a:pt x="715954" y="310558"/>
                  <a:pt x="728008" y="322929"/>
                  <a:pt x="728008" y="322929"/>
                </a:cubicBezTo>
                <a:cubicBezTo>
                  <a:pt x="735939" y="346724"/>
                  <a:pt x="728007" y="341059"/>
                  <a:pt x="745004" y="346724"/>
                </a:cubicBezTo>
                <a:cubicBezTo>
                  <a:pt x="748403" y="348990"/>
                  <a:pt x="751469" y="351864"/>
                  <a:pt x="755202" y="353523"/>
                </a:cubicBezTo>
                <a:cubicBezTo>
                  <a:pt x="761750" y="356433"/>
                  <a:pt x="775597" y="360321"/>
                  <a:pt x="775597" y="360321"/>
                </a:cubicBezTo>
                <a:cubicBezTo>
                  <a:pt x="778996" y="362587"/>
                  <a:pt x="782141" y="365293"/>
                  <a:pt x="785795" y="367120"/>
                </a:cubicBezTo>
                <a:cubicBezTo>
                  <a:pt x="813945" y="381195"/>
                  <a:pt x="776964" y="357833"/>
                  <a:pt x="806190" y="377317"/>
                </a:cubicBezTo>
                <a:cubicBezTo>
                  <a:pt x="805057" y="382983"/>
                  <a:pt x="805658" y="389297"/>
                  <a:pt x="802791" y="394314"/>
                </a:cubicBezTo>
                <a:cubicBezTo>
                  <a:pt x="800764" y="397861"/>
                  <a:pt x="795731" y="398497"/>
                  <a:pt x="792593" y="401112"/>
                </a:cubicBezTo>
                <a:cubicBezTo>
                  <a:pt x="788900" y="404189"/>
                  <a:pt x="785795" y="407911"/>
                  <a:pt x="782396" y="411310"/>
                </a:cubicBezTo>
                <a:cubicBezTo>
                  <a:pt x="781263" y="414709"/>
                  <a:pt x="780598" y="418303"/>
                  <a:pt x="778996" y="421508"/>
                </a:cubicBezTo>
                <a:cubicBezTo>
                  <a:pt x="777169" y="425162"/>
                  <a:pt x="773857" y="427973"/>
                  <a:pt x="772198" y="431706"/>
                </a:cubicBezTo>
                <a:cubicBezTo>
                  <a:pt x="769288" y="438254"/>
                  <a:pt x="765399" y="452101"/>
                  <a:pt x="765399" y="452101"/>
                </a:cubicBezTo>
                <a:cubicBezTo>
                  <a:pt x="766532" y="464565"/>
                  <a:pt x="765118" y="477531"/>
                  <a:pt x="768799" y="489493"/>
                </a:cubicBezTo>
                <a:cubicBezTo>
                  <a:pt x="770000" y="493397"/>
                  <a:pt x="775263" y="494632"/>
                  <a:pt x="778996" y="496291"/>
                </a:cubicBezTo>
                <a:cubicBezTo>
                  <a:pt x="821219" y="515057"/>
                  <a:pt x="777381" y="488417"/>
                  <a:pt x="819787" y="516687"/>
                </a:cubicBezTo>
                <a:lnTo>
                  <a:pt x="829985" y="523485"/>
                </a:lnTo>
                <a:cubicBezTo>
                  <a:pt x="833384" y="525751"/>
                  <a:pt x="836307" y="528992"/>
                  <a:pt x="840183" y="530284"/>
                </a:cubicBezTo>
                <a:lnTo>
                  <a:pt x="860579" y="537082"/>
                </a:lnTo>
                <a:cubicBezTo>
                  <a:pt x="905816" y="567244"/>
                  <a:pt x="838782" y="523841"/>
                  <a:pt x="880974" y="547280"/>
                </a:cubicBezTo>
                <a:cubicBezTo>
                  <a:pt x="901106" y="558464"/>
                  <a:pt x="899080" y="563895"/>
                  <a:pt x="921765" y="567676"/>
                </a:cubicBezTo>
                <a:cubicBezTo>
                  <a:pt x="935543" y="569972"/>
                  <a:pt x="943084" y="570672"/>
                  <a:pt x="955758" y="574474"/>
                </a:cubicBezTo>
                <a:cubicBezTo>
                  <a:pt x="999596" y="587626"/>
                  <a:pt x="959035" y="574413"/>
                  <a:pt x="986351" y="588071"/>
                </a:cubicBezTo>
                <a:cubicBezTo>
                  <a:pt x="994126" y="591958"/>
                  <a:pt x="1005780" y="592929"/>
                  <a:pt x="1013545" y="594870"/>
                </a:cubicBezTo>
                <a:cubicBezTo>
                  <a:pt x="1017021" y="595739"/>
                  <a:pt x="1020209" y="597680"/>
                  <a:pt x="1023743" y="598269"/>
                </a:cubicBezTo>
                <a:cubicBezTo>
                  <a:pt x="1033864" y="599956"/>
                  <a:pt x="1044138" y="600535"/>
                  <a:pt x="1054336" y="601668"/>
                </a:cubicBezTo>
                <a:cubicBezTo>
                  <a:pt x="1057735" y="602801"/>
                  <a:pt x="1061089" y="604084"/>
                  <a:pt x="1064534" y="605068"/>
                </a:cubicBezTo>
                <a:cubicBezTo>
                  <a:pt x="1094439" y="613613"/>
                  <a:pt x="1063857" y="603710"/>
                  <a:pt x="1088329" y="611866"/>
                </a:cubicBezTo>
                <a:cubicBezTo>
                  <a:pt x="1112348" y="611008"/>
                  <a:pt x="1181906" y="638283"/>
                  <a:pt x="1186907" y="598269"/>
                </a:cubicBezTo>
                <a:cubicBezTo>
                  <a:pt x="1188739" y="583610"/>
                  <a:pt x="1188473" y="568738"/>
                  <a:pt x="1190306" y="554079"/>
                </a:cubicBezTo>
                <a:cubicBezTo>
                  <a:pt x="1190750" y="550523"/>
                  <a:pt x="1192573" y="547280"/>
                  <a:pt x="1193706" y="543881"/>
                </a:cubicBezTo>
                <a:lnTo>
                  <a:pt x="1227698" y="547280"/>
                </a:lnTo>
                <a:cubicBezTo>
                  <a:pt x="1233888" y="550891"/>
                  <a:pt x="1234497" y="567676"/>
                  <a:pt x="1234497" y="567676"/>
                </a:cubicBezTo>
                <a:cubicBezTo>
                  <a:pt x="1236937" y="589636"/>
                  <a:pt x="1231339" y="597297"/>
                  <a:pt x="1248094" y="608467"/>
                </a:cubicBezTo>
                <a:cubicBezTo>
                  <a:pt x="1251075" y="610455"/>
                  <a:pt x="1254893" y="610733"/>
                  <a:pt x="1258292" y="611866"/>
                </a:cubicBezTo>
                <a:cubicBezTo>
                  <a:pt x="1299083" y="610733"/>
                  <a:pt x="1339962" y="611374"/>
                  <a:pt x="1380665" y="608467"/>
                </a:cubicBezTo>
                <a:cubicBezTo>
                  <a:pt x="1387813" y="607956"/>
                  <a:pt x="1394262" y="603934"/>
                  <a:pt x="1401060" y="601668"/>
                </a:cubicBezTo>
                <a:cubicBezTo>
                  <a:pt x="1404459" y="600535"/>
                  <a:pt x="1408277" y="600257"/>
                  <a:pt x="1411258" y="598269"/>
                </a:cubicBezTo>
                <a:lnTo>
                  <a:pt x="1431654" y="584672"/>
                </a:lnTo>
                <a:cubicBezTo>
                  <a:pt x="1430521" y="580140"/>
                  <a:pt x="1430846" y="574962"/>
                  <a:pt x="1428254" y="571075"/>
                </a:cubicBezTo>
                <a:cubicBezTo>
                  <a:pt x="1425988" y="567676"/>
                  <a:pt x="1420946" y="567166"/>
                  <a:pt x="1418057" y="564277"/>
                </a:cubicBezTo>
                <a:cubicBezTo>
                  <a:pt x="1415168" y="561388"/>
                  <a:pt x="1413524" y="557478"/>
                  <a:pt x="1411258" y="554079"/>
                </a:cubicBezTo>
                <a:cubicBezTo>
                  <a:pt x="1414657" y="551813"/>
                  <a:pt x="1417802" y="549107"/>
                  <a:pt x="1421456" y="547280"/>
                </a:cubicBezTo>
                <a:cubicBezTo>
                  <a:pt x="1433705" y="541156"/>
                  <a:pt x="1455902" y="541456"/>
                  <a:pt x="1465646" y="540482"/>
                </a:cubicBezTo>
                <a:cubicBezTo>
                  <a:pt x="1469045" y="538216"/>
                  <a:pt x="1472190" y="535510"/>
                  <a:pt x="1475844" y="533683"/>
                </a:cubicBezTo>
                <a:cubicBezTo>
                  <a:pt x="1503992" y="519609"/>
                  <a:pt x="1467014" y="542970"/>
                  <a:pt x="1496240" y="523485"/>
                </a:cubicBezTo>
                <a:cubicBezTo>
                  <a:pt x="1497373" y="520086"/>
                  <a:pt x="1497106" y="515821"/>
                  <a:pt x="1499639" y="513288"/>
                </a:cubicBezTo>
                <a:cubicBezTo>
                  <a:pt x="1502173" y="510754"/>
                  <a:pt x="1506632" y="511491"/>
                  <a:pt x="1509837" y="509888"/>
                </a:cubicBezTo>
                <a:cubicBezTo>
                  <a:pt x="1513491" y="508061"/>
                  <a:pt x="1516380" y="504917"/>
                  <a:pt x="1520034" y="503090"/>
                </a:cubicBezTo>
                <a:cubicBezTo>
                  <a:pt x="1523239" y="501488"/>
                  <a:pt x="1526939" y="501102"/>
                  <a:pt x="1530232" y="499691"/>
                </a:cubicBezTo>
                <a:cubicBezTo>
                  <a:pt x="1559636" y="487089"/>
                  <a:pt x="1530111" y="497464"/>
                  <a:pt x="1554027" y="489493"/>
                </a:cubicBezTo>
                <a:cubicBezTo>
                  <a:pt x="1557426" y="487227"/>
                  <a:pt x="1561673" y="485884"/>
                  <a:pt x="1564225" y="482694"/>
                </a:cubicBezTo>
                <a:cubicBezTo>
                  <a:pt x="1572932" y="471810"/>
                  <a:pt x="1559424" y="459366"/>
                  <a:pt x="1581221" y="452101"/>
                </a:cubicBezTo>
                <a:lnTo>
                  <a:pt x="1601616" y="445303"/>
                </a:lnTo>
                <a:cubicBezTo>
                  <a:pt x="1628810" y="446436"/>
                  <a:pt x="1658661" y="436924"/>
                  <a:pt x="1683199" y="448702"/>
                </a:cubicBezTo>
                <a:cubicBezTo>
                  <a:pt x="1694482" y="454118"/>
                  <a:pt x="1682640" y="474221"/>
                  <a:pt x="1686598" y="486094"/>
                </a:cubicBezTo>
                <a:cubicBezTo>
                  <a:pt x="1687731" y="489493"/>
                  <a:pt x="1693351" y="488509"/>
                  <a:pt x="1696796" y="489493"/>
                </a:cubicBezTo>
                <a:cubicBezTo>
                  <a:pt x="1721247" y="496478"/>
                  <a:pt x="1699321" y="489273"/>
                  <a:pt x="1727389" y="496291"/>
                </a:cubicBezTo>
                <a:cubicBezTo>
                  <a:pt x="1730865" y="497160"/>
                  <a:pt x="1734188" y="498558"/>
                  <a:pt x="1737587" y="499691"/>
                </a:cubicBezTo>
                <a:cubicBezTo>
                  <a:pt x="1745297" y="511256"/>
                  <a:pt x="1751890" y="516236"/>
                  <a:pt x="1740986" y="533683"/>
                </a:cubicBezTo>
                <a:cubicBezTo>
                  <a:pt x="1738510" y="537645"/>
                  <a:pt x="1731864" y="535740"/>
                  <a:pt x="1727389" y="537082"/>
                </a:cubicBezTo>
                <a:cubicBezTo>
                  <a:pt x="1720525" y="539141"/>
                  <a:pt x="1706993" y="543881"/>
                  <a:pt x="1706993" y="543881"/>
                </a:cubicBezTo>
                <a:cubicBezTo>
                  <a:pt x="1704727" y="547280"/>
                  <a:pt x="1701369" y="550166"/>
                  <a:pt x="1700195" y="554079"/>
                </a:cubicBezTo>
                <a:cubicBezTo>
                  <a:pt x="1697893" y="561753"/>
                  <a:pt x="1700379" y="570708"/>
                  <a:pt x="1696796" y="577874"/>
                </a:cubicBezTo>
                <a:cubicBezTo>
                  <a:pt x="1695194" y="581079"/>
                  <a:pt x="1690145" y="580766"/>
                  <a:pt x="1686598" y="581273"/>
                </a:cubicBezTo>
                <a:cubicBezTo>
                  <a:pt x="1674208" y="583043"/>
                  <a:pt x="1661670" y="583539"/>
                  <a:pt x="1649206" y="584672"/>
                </a:cubicBezTo>
                <a:cubicBezTo>
                  <a:pt x="1645807" y="586938"/>
                  <a:pt x="1641897" y="588582"/>
                  <a:pt x="1639008" y="591471"/>
                </a:cubicBezTo>
                <a:cubicBezTo>
                  <a:pt x="1627689" y="602790"/>
                  <a:pt x="1635723" y="599424"/>
                  <a:pt x="1628811" y="611866"/>
                </a:cubicBezTo>
                <a:cubicBezTo>
                  <a:pt x="1624843" y="619009"/>
                  <a:pt x="1622965" y="629678"/>
                  <a:pt x="1615213" y="632262"/>
                </a:cubicBezTo>
                <a:lnTo>
                  <a:pt x="1605016" y="635661"/>
                </a:lnTo>
                <a:cubicBezTo>
                  <a:pt x="1601617" y="639060"/>
                  <a:pt x="1596968" y="641559"/>
                  <a:pt x="1594818" y="645859"/>
                </a:cubicBezTo>
                <a:cubicBezTo>
                  <a:pt x="1592234" y="651027"/>
                  <a:pt x="1592820" y="657250"/>
                  <a:pt x="1591419" y="662855"/>
                </a:cubicBezTo>
                <a:cubicBezTo>
                  <a:pt x="1590550" y="666331"/>
                  <a:pt x="1589622" y="669848"/>
                  <a:pt x="1588019" y="673053"/>
                </a:cubicBezTo>
                <a:cubicBezTo>
                  <a:pt x="1586192" y="676707"/>
                  <a:pt x="1584685" y="681085"/>
                  <a:pt x="1581221" y="683250"/>
                </a:cubicBezTo>
                <a:cubicBezTo>
                  <a:pt x="1575144" y="687048"/>
                  <a:pt x="1560825" y="690049"/>
                  <a:pt x="1560825" y="690049"/>
                </a:cubicBezTo>
                <a:lnTo>
                  <a:pt x="1550628" y="720642"/>
                </a:lnTo>
                <a:lnTo>
                  <a:pt x="1547228" y="730840"/>
                </a:lnTo>
                <a:cubicBezTo>
                  <a:pt x="1546095" y="734239"/>
                  <a:pt x="1545431" y="737833"/>
                  <a:pt x="1543829" y="741038"/>
                </a:cubicBezTo>
                <a:cubicBezTo>
                  <a:pt x="1541563" y="745570"/>
                  <a:pt x="1539027" y="749977"/>
                  <a:pt x="1537031" y="754635"/>
                </a:cubicBezTo>
                <a:cubicBezTo>
                  <a:pt x="1528588" y="774334"/>
                  <a:pt x="1539895" y="755438"/>
                  <a:pt x="1526833" y="775030"/>
                </a:cubicBezTo>
                <a:cubicBezTo>
                  <a:pt x="1521168" y="792027"/>
                  <a:pt x="1526833" y="784095"/>
                  <a:pt x="1503038" y="792027"/>
                </a:cubicBezTo>
                <a:lnTo>
                  <a:pt x="1492840" y="795426"/>
                </a:lnTo>
                <a:lnTo>
                  <a:pt x="1482642" y="798825"/>
                </a:lnTo>
                <a:lnTo>
                  <a:pt x="1472445" y="829419"/>
                </a:lnTo>
                <a:cubicBezTo>
                  <a:pt x="1471312" y="832818"/>
                  <a:pt x="1470647" y="836411"/>
                  <a:pt x="1469045" y="839616"/>
                </a:cubicBezTo>
                <a:cubicBezTo>
                  <a:pt x="1466779" y="844148"/>
                  <a:pt x="1464129" y="848508"/>
                  <a:pt x="1462247" y="853213"/>
                </a:cubicBezTo>
                <a:cubicBezTo>
                  <a:pt x="1459585" y="859867"/>
                  <a:pt x="1459423" y="867646"/>
                  <a:pt x="1455448" y="873609"/>
                </a:cubicBezTo>
                <a:lnTo>
                  <a:pt x="1441851" y="894004"/>
                </a:lnTo>
                <a:cubicBezTo>
                  <a:pt x="1440580" y="901629"/>
                  <a:pt x="1440615" y="918624"/>
                  <a:pt x="1431654" y="924598"/>
                </a:cubicBezTo>
                <a:cubicBezTo>
                  <a:pt x="1427767" y="927189"/>
                  <a:pt x="1422589" y="926864"/>
                  <a:pt x="1418057" y="927997"/>
                </a:cubicBezTo>
                <a:lnTo>
                  <a:pt x="1407859" y="897404"/>
                </a:lnTo>
                <a:lnTo>
                  <a:pt x="1404460" y="887206"/>
                </a:lnTo>
                <a:cubicBezTo>
                  <a:pt x="1404231" y="882625"/>
                  <a:pt x="1422056" y="815821"/>
                  <a:pt x="1390863" y="815821"/>
                </a:cubicBezTo>
                <a:cubicBezTo>
                  <a:pt x="1383971" y="815821"/>
                  <a:pt x="1377266" y="818088"/>
                  <a:pt x="1370467" y="819221"/>
                </a:cubicBezTo>
                <a:cubicBezTo>
                  <a:pt x="1365313" y="822657"/>
                  <a:pt x="1357106" y="829419"/>
                  <a:pt x="1350071" y="829419"/>
                </a:cubicBezTo>
                <a:cubicBezTo>
                  <a:pt x="1345399" y="829419"/>
                  <a:pt x="1341006" y="827152"/>
                  <a:pt x="1336474" y="826019"/>
                </a:cubicBezTo>
                <a:cubicBezTo>
                  <a:pt x="1331850" y="812145"/>
                  <a:pt x="1331877" y="818311"/>
                  <a:pt x="1336474" y="802224"/>
                </a:cubicBezTo>
                <a:cubicBezTo>
                  <a:pt x="1337458" y="798779"/>
                  <a:pt x="1337340" y="794561"/>
                  <a:pt x="1339874" y="792027"/>
                </a:cubicBezTo>
                <a:cubicBezTo>
                  <a:pt x="1342408" y="789493"/>
                  <a:pt x="1346939" y="790367"/>
                  <a:pt x="1350071" y="788627"/>
                </a:cubicBezTo>
                <a:cubicBezTo>
                  <a:pt x="1357214" y="784659"/>
                  <a:pt x="1370467" y="775030"/>
                  <a:pt x="1370467" y="775030"/>
                </a:cubicBezTo>
                <a:lnTo>
                  <a:pt x="1390863" y="744437"/>
                </a:lnTo>
                <a:lnTo>
                  <a:pt x="1397661" y="734239"/>
                </a:lnTo>
                <a:lnTo>
                  <a:pt x="1404460" y="724042"/>
                </a:lnTo>
                <a:cubicBezTo>
                  <a:pt x="1403327" y="719510"/>
                  <a:pt x="1403651" y="714332"/>
                  <a:pt x="1401060" y="710445"/>
                </a:cubicBezTo>
                <a:cubicBezTo>
                  <a:pt x="1398510" y="706619"/>
                  <a:pt x="1385417" y="700586"/>
                  <a:pt x="1380665" y="700247"/>
                </a:cubicBezTo>
                <a:cubicBezTo>
                  <a:pt x="1352387" y="698227"/>
                  <a:pt x="1324010" y="697981"/>
                  <a:pt x="1295683" y="696848"/>
                </a:cubicBezTo>
                <a:cubicBezTo>
                  <a:pt x="1286101" y="693653"/>
                  <a:pt x="1281075" y="693666"/>
                  <a:pt x="1275288" y="683250"/>
                </a:cubicBezTo>
                <a:cubicBezTo>
                  <a:pt x="1271808" y="676986"/>
                  <a:pt x="1274451" y="666830"/>
                  <a:pt x="1268489" y="662855"/>
                </a:cubicBezTo>
                <a:cubicBezTo>
                  <a:pt x="1265090" y="660589"/>
                  <a:pt x="1261946" y="657883"/>
                  <a:pt x="1258292" y="656056"/>
                </a:cubicBezTo>
                <a:cubicBezTo>
                  <a:pt x="1255087" y="654453"/>
                  <a:pt x="1251388" y="654068"/>
                  <a:pt x="1248094" y="652657"/>
                </a:cubicBezTo>
                <a:cubicBezTo>
                  <a:pt x="1243436" y="650661"/>
                  <a:pt x="1239029" y="648125"/>
                  <a:pt x="1234497" y="645859"/>
                </a:cubicBezTo>
                <a:cubicBezTo>
                  <a:pt x="1232684" y="640420"/>
                  <a:pt x="1231778" y="628636"/>
                  <a:pt x="1220900" y="632262"/>
                </a:cubicBezTo>
                <a:cubicBezTo>
                  <a:pt x="1213148" y="634846"/>
                  <a:pt x="1200504" y="645859"/>
                  <a:pt x="1200504" y="645859"/>
                </a:cubicBezTo>
                <a:cubicBezTo>
                  <a:pt x="1199371" y="649258"/>
                  <a:pt x="1198707" y="652851"/>
                  <a:pt x="1197105" y="656056"/>
                </a:cubicBezTo>
                <a:cubicBezTo>
                  <a:pt x="1192550" y="665166"/>
                  <a:pt x="1185302" y="665948"/>
                  <a:pt x="1193706" y="676452"/>
                </a:cubicBezTo>
                <a:cubicBezTo>
                  <a:pt x="1196258" y="679642"/>
                  <a:pt x="1200504" y="680984"/>
                  <a:pt x="1203903" y="683250"/>
                </a:cubicBezTo>
                <a:cubicBezTo>
                  <a:pt x="1205036" y="686649"/>
                  <a:pt x="1207892" y="689913"/>
                  <a:pt x="1207303" y="693448"/>
                </a:cubicBezTo>
                <a:cubicBezTo>
                  <a:pt x="1206125" y="700518"/>
                  <a:pt x="1196016" y="707907"/>
                  <a:pt x="1190306" y="710445"/>
                </a:cubicBezTo>
                <a:cubicBezTo>
                  <a:pt x="1183758" y="713355"/>
                  <a:pt x="1169911" y="717243"/>
                  <a:pt x="1169911" y="717243"/>
                </a:cubicBezTo>
                <a:cubicBezTo>
                  <a:pt x="1172576" y="743895"/>
                  <a:pt x="1171913" y="753841"/>
                  <a:pt x="1180109" y="778430"/>
                </a:cubicBezTo>
                <a:lnTo>
                  <a:pt x="1186907" y="798825"/>
                </a:lnTo>
                <a:cubicBezTo>
                  <a:pt x="1188040" y="833951"/>
                  <a:pt x="1188242" y="869119"/>
                  <a:pt x="1190306" y="904202"/>
                </a:cubicBezTo>
                <a:cubicBezTo>
                  <a:pt x="1190516" y="907779"/>
                  <a:pt x="1193706" y="910817"/>
                  <a:pt x="1193706" y="914400"/>
                </a:cubicBezTo>
                <a:cubicBezTo>
                  <a:pt x="1193706" y="924660"/>
                  <a:pt x="1191439" y="934795"/>
                  <a:pt x="1190306" y="944993"/>
                </a:cubicBezTo>
                <a:cubicBezTo>
                  <a:pt x="1175576" y="943860"/>
                  <a:pt x="1160636" y="944317"/>
                  <a:pt x="1146116" y="941594"/>
                </a:cubicBezTo>
                <a:cubicBezTo>
                  <a:pt x="1142100" y="940841"/>
                  <a:pt x="1140004" y="934795"/>
                  <a:pt x="1135918" y="934795"/>
                </a:cubicBezTo>
                <a:cubicBezTo>
                  <a:pt x="1131833" y="934795"/>
                  <a:pt x="1129454" y="939935"/>
                  <a:pt x="1125721" y="941594"/>
                </a:cubicBezTo>
                <a:cubicBezTo>
                  <a:pt x="1119172" y="944505"/>
                  <a:pt x="1111288" y="944418"/>
                  <a:pt x="1105325" y="948393"/>
                </a:cubicBezTo>
                <a:cubicBezTo>
                  <a:pt x="1092146" y="957178"/>
                  <a:pt x="1099003" y="953899"/>
                  <a:pt x="1084929" y="958590"/>
                </a:cubicBezTo>
                <a:cubicBezTo>
                  <a:pt x="1083796" y="961989"/>
                  <a:pt x="1082119" y="965254"/>
                  <a:pt x="1081530" y="968788"/>
                </a:cubicBezTo>
                <a:cubicBezTo>
                  <a:pt x="1079843" y="978909"/>
                  <a:pt x="1081376" y="989647"/>
                  <a:pt x="1078131" y="999381"/>
                </a:cubicBezTo>
                <a:cubicBezTo>
                  <a:pt x="1075547" y="1007133"/>
                  <a:pt x="1067118" y="1012025"/>
                  <a:pt x="1064534" y="1019777"/>
                </a:cubicBezTo>
                <a:cubicBezTo>
                  <a:pt x="1061289" y="1029513"/>
                  <a:pt x="1061423" y="1034180"/>
                  <a:pt x="1050937" y="1040172"/>
                </a:cubicBezTo>
                <a:cubicBezTo>
                  <a:pt x="1046881" y="1042490"/>
                  <a:pt x="1041815" y="1042230"/>
                  <a:pt x="1037340" y="1043572"/>
                </a:cubicBezTo>
                <a:cubicBezTo>
                  <a:pt x="1030476" y="1045631"/>
                  <a:pt x="1023743" y="1048104"/>
                  <a:pt x="1016944" y="1050370"/>
                </a:cubicBezTo>
                <a:lnTo>
                  <a:pt x="1006747" y="1053769"/>
                </a:lnTo>
                <a:lnTo>
                  <a:pt x="986351" y="1067366"/>
                </a:lnTo>
                <a:cubicBezTo>
                  <a:pt x="982952" y="1069632"/>
                  <a:pt x="979042" y="1071276"/>
                  <a:pt x="976153" y="1074165"/>
                </a:cubicBezTo>
                <a:cubicBezTo>
                  <a:pt x="963422" y="1086897"/>
                  <a:pt x="970517" y="1082843"/>
                  <a:pt x="955758" y="1087762"/>
                </a:cubicBezTo>
                <a:cubicBezTo>
                  <a:pt x="952359" y="1091161"/>
                  <a:pt x="949253" y="1094882"/>
                  <a:pt x="945560" y="1097960"/>
                </a:cubicBezTo>
                <a:cubicBezTo>
                  <a:pt x="942421" y="1100575"/>
                  <a:pt x="938251" y="1101869"/>
                  <a:pt x="935362" y="1104758"/>
                </a:cubicBezTo>
                <a:cubicBezTo>
                  <a:pt x="932473" y="1107647"/>
                  <a:pt x="930391" y="1111302"/>
                  <a:pt x="928564" y="1114956"/>
                </a:cubicBezTo>
                <a:cubicBezTo>
                  <a:pt x="926962" y="1118161"/>
                  <a:pt x="927698" y="1122620"/>
                  <a:pt x="925164" y="1125154"/>
                </a:cubicBezTo>
                <a:cubicBezTo>
                  <a:pt x="925157" y="1125161"/>
                  <a:pt x="899674" y="1142147"/>
                  <a:pt x="894571" y="1145549"/>
                </a:cubicBezTo>
                <a:lnTo>
                  <a:pt x="884373" y="1152348"/>
                </a:lnTo>
                <a:cubicBezTo>
                  <a:pt x="868109" y="1176743"/>
                  <a:pt x="876553" y="1166965"/>
                  <a:pt x="860579" y="1182941"/>
                </a:cubicBezTo>
                <a:cubicBezTo>
                  <a:pt x="857015" y="1193631"/>
                  <a:pt x="857893" y="1196063"/>
                  <a:pt x="846982" y="1203337"/>
                </a:cubicBezTo>
                <a:cubicBezTo>
                  <a:pt x="844001" y="1205325"/>
                  <a:pt x="840183" y="1205603"/>
                  <a:pt x="836784" y="1206736"/>
                </a:cubicBezTo>
                <a:cubicBezTo>
                  <a:pt x="812750" y="1222759"/>
                  <a:pt x="842504" y="1202650"/>
                  <a:pt x="812989" y="1223732"/>
                </a:cubicBezTo>
                <a:cubicBezTo>
                  <a:pt x="809664" y="1226107"/>
                  <a:pt x="805930" y="1227915"/>
                  <a:pt x="802791" y="1230531"/>
                </a:cubicBezTo>
                <a:cubicBezTo>
                  <a:pt x="799098" y="1233609"/>
                  <a:pt x="796243" y="1237600"/>
                  <a:pt x="792593" y="1240729"/>
                </a:cubicBezTo>
                <a:cubicBezTo>
                  <a:pt x="788292" y="1244416"/>
                  <a:pt x="783528" y="1247527"/>
                  <a:pt x="778996" y="1250926"/>
                </a:cubicBezTo>
                <a:cubicBezTo>
                  <a:pt x="770455" y="1276552"/>
                  <a:pt x="781975" y="1244971"/>
                  <a:pt x="768799" y="1271322"/>
                </a:cubicBezTo>
                <a:cubicBezTo>
                  <a:pt x="767197" y="1274527"/>
                  <a:pt x="768315" y="1279437"/>
                  <a:pt x="765399" y="1281520"/>
                </a:cubicBezTo>
                <a:cubicBezTo>
                  <a:pt x="759568" y="1285685"/>
                  <a:pt x="751802" y="1286052"/>
                  <a:pt x="745004" y="1288318"/>
                </a:cubicBezTo>
                <a:lnTo>
                  <a:pt x="734806" y="1291717"/>
                </a:lnTo>
                <a:cubicBezTo>
                  <a:pt x="724608" y="1298516"/>
                  <a:pt x="723476" y="1297382"/>
                  <a:pt x="717810" y="1308714"/>
                </a:cubicBezTo>
                <a:cubicBezTo>
                  <a:pt x="716208" y="1311919"/>
                  <a:pt x="716649" y="1316113"/>
                  <a:pt x="714411" y="1318911"/>
                </a:cubicBezTo>
                <a:cubicBezTo>
                  <a:pt x="711859" y="1322101"/>
                  <a:pt x="707946" y="1324051"/>
                  <a:pt x="704213" y="1325710"/>
                </a:cubicBezTo>
                <a:cubicBezTo>
                  <a:pt x="686534" y="1333567"/>
                  <a:pt x="679375" y="1333143"/>
                  <a:pt x="660022" y="1335908"/>
                </a:cubicBezTo>
                <a:cubicBezTo>
                  <a:pt x="636228" y="1343839"/>
                  <a:pt x="641893" y="1335908"/>
                  <a:pt x="636228" y="1352904"/>
                </a:cubicBezTo>
                <a:cubicBezTo>
                  <a:pt x="642004" y="1387561"/>
                  <a:pt x="641663" y="1376059"/>
                  <a:pt x="636228" y="1427688"/>
                </a:cubicBezTo>
                <a:cubicBezTo>
                  <a:pt x="635853" y="1431251"/>
                  <a:pt x="634430" y="1434680"/>
                  <a:pt x="632828" y="1437885"/>
                </a:cubicBezTo>
                <a:cubicBezTo>
                  <a:pt x="631001" y="1441539"/>
                  <a:pt x="628296" y="1444684"/>
                  <a:pt x="626030" y="1448083"/>
                </a:cubicBezTo>
                <a:cubicBezTo>
                  <a:pt x="627163" y="1461680"/>
                  <a:pt x="627186" y="1475416"/>
                  <a:pt x="629429" y="1488874"/>
                </a:cubicBezTo>
                <a:cubicBezTo>
                  <a:pt x="630607" y="1495943"/>
                  <a:pt x="633962" y="1502471"/>
                  <a:pt x="636228" y="1509270"/>
                </a:cubicBezTo>
                <a:lnTo>
                  <a:pt x="639627" y="1519468"/>
                </a:lnTo>
                <a:cubicBezTo>
                  <a:pt x="638684" y="1524182"/>
                  <a:pt x="636096" y="1540780"/>
                  <a:pt x="632828" y="1546662"/>
                </a:cubicBezTo>
                <a:cubicBezTo>
                  <a:pt x="628860" y="1553804"/>
                  <a:pt x="619231" y="1567057"/>
                  <a:pt x="619231" y="1567057"/>
                </a:cubicBezTo>
                <a:lnTo>
                  <a:pt x="612433" y="1587453"/>
                </a:lnTo>
                <a:cubicBezTo>
                  <a:pt x="611300" y="1590852"/>
                  <a:pt x="609737" y="1594137"/>
                  <a:pt x="609034" y="1597650"/>
                </a:cubicBezTo>
                <a:cubicBezTo>
                  <a:pt x="607901" y="1603316"/>
                  <a:pt x="607154" y="1609073"/>
                  <a:pt x="605634" y="1614647"/>
                </a:cubicBezTo>
                <a:cubicBezTo>
                  <a:pt x="603748" y="1621561"/>
                  <a:pt x="600574" y="1628090"/>
                  <a:pt x="598836" y="1635042"/>
                </a:cubicBezTo>
                <a:lnTo>
                  <a:pt x="595437" y="1648639"/>
                </a:lnTo>
                <a:cubicBezTo>
                  <a:pt x="596725" y="1662811"/>
                  <a:pt x="604079" y="1698172"/>
                  <a:pt x="592037" y="1713225"/>
                </a:cubicBezTo>
                <a:cubicBezTo>
                  <a:pt x="587560" y="1718821"/>
                  <a:pt x="571642" y="1720024"/>
                  <a:pt x="571642" y="1720024"/>
                </a:cubicBezTo>
                <a:lnTo>
                  <a:pt x="558045" y="1760815"/>
                </a:lnTo>
                <a:cubicBezTo>
                  <a:pt x="556912" y="1764214"/>
                  <a:pt x="558044" y="1769880"/>
                  <a:pt x="554645" y="1771013"/>
                </a:cubicBezTo>
                <a:cubicBezTo>
                  <a:pt x="526649" y="1780345"/>
                  <a:pt x="541344" y="1776798"/>
                  <a:pt x="510455" y="1781210"/>
                </a:cubicBezTo>
                <a:cubicBezTo>
                  <a:pt x="505923" y="1788009"/>
                  <a:pt x="499442" y="1793854"/>
                  <a:pt x="496858" y="1801606"/>
                </a:cubicBezTo>
                <a:cubicBezTo>
                  <a:pt x="495725" y="1805005"/>
                  <a:pt x="495697" y="1809006"/>
                  <a:pt x="493459" y="1811804"/>
                </a:cubicBezTo>
                <a:cubicBezTo>
                  <a:pt x="490907" y="1814994"/>
                  <a:pt x="486660" y="1816336"/>
                  <a:pt x="483261" y="1818602"/>
                </a:cubicBezTo>
                <a:cubicBezTo>
                  <a:pt x="478560" y="1832707"/>
                  <a:pt x="479922" y="1835579"/>
                  <a:pt x="459466" y="1842397"/>
                </a:cubicBezTo>
                <a:lnTo>
                  <a:pt x="439071" y="1849195"/>
                </a:lnTo>
                <a:cubicBezTo>
                  <a:pt x="430537" y="1815061"/>
                  <a:pt x="435224" y="1830856"/>
                  <a:pt x="425474" y="1801606"/>
                </a:cubicBezTo>
                <a:cubicBezTo>
                  <a:pt x="424341" y="1798207"/>
                  <a:pt x="425055" y="1793396"/>
                  <a:pt x="422074" y="1791408"/>
                </a:cubicBezTo>
                <a:lnTo>
                  <a:pt x="411877" y="1784610"/>
                </a:lnTo>
                <a:cubicBezTo>
                  <a:pt x="392392" y="1755384"/>
                  <a:pt x="415753" y="1792362"/>
                  <a:pt x="401679" y="1764214"/>
                </a:cubicBezTo>
                <a:cubicBezTo>
                  <a:pt x="399852" y="1760560"/>
                  <a:pt x="397146" y="1757415"/>
                  <a:pt x="394880" y="1754016"/>
                </a:cubicBezTo>
                <a:cubicBezTo>
                  <a:pt x="386798" y="1729769"/>
                  <a:pt x="398259" y="1759085"/>
                  <a:pt x="381283" y="1733621"/>
                </a:cubicBezTo>
                <a:cubicBezTo>
                  <a:pt x="379295" y="1730640"/>
                  <a:pt x="379486" y="1726628"/>
                  <a:pt x="377884" y="1723423"/>
                </a:cubicBezTo>
                <a:cubicBezTo>
                  <a:pt x="376057" y="1719769"/>
                  <a:pt x="373352" y="1716624"/>
                  <a:pt x="371086" y="1713225"/>
                </a:cubicBezTo>
                <a:cubicBezTo>
                  <a:pt x="369953" y="1708693"/>
                  <a:pt x="368454" y="1704236"/>
                  <a:pt x="367686" y="1699628"/>
                </a:cubicBezTo>
                <a:cubicBezTo>
                  <a:pt x="364732" y="1681906"/>
                  <a:pt x="365344" y="1671775"/>
                  <a:pt x="360888" y="1655438"/>
                </a:cubicBezTo>
                <a:cubicBezTo>
                  <a:pt x="359002" y="1648524"/>
                  <a:pt x="358064" y="1641005"/>
                  <a:pt x="354089" y="1635042"/>
                </a:cubicBezTo>
                <a:lnTo>
                  <a:pt x="347291" y="1624845"/>
                </a:lnTo>
                <a:lnTo>
                  <a:pt x="337093" y="1594251"/>
                </a:lnTo>
                <a:lnTo>
                  <a:pt x="333694" y="1584053"/>
                </a:lnTo>
                <a:cubicBezTo>
                  <a:pt x="332561" y="1570456"/>
                  <a:pt x="332538" y="1556720"/>
                  <a:pt x="330295" y="1543262"/>
                </a:cubicBezTo>
                <a:cubicBezTo>
                  <a:pt x="329117" y="1536193"/>
                  <a:pt x="323496" y="1522867"/>
                  <a:pt x="323496" y="1522867"/>
                </a:cubicBezTo>
                <a:cubicBezTo>
                  <a:pt x="322522" y="1513121"/>
                  <a:pt x="322823" y="1490927"/>
                  <a:pt x="316698" y="1478677"/>
                </a:cubicBezTo>
                <a:cubicBezTo>
                  <a:pt x="314871" y="1475023"/>
                  <a:pt x="312165" y="1471878"/>
                  <a:pt x="309899" y="1468479"/>
                </a:cubicBezTo>
                <a:cubicBezTo>
                  <a:pt x="308766" y="1465080"/>
                  <a:pt x="308102" y="1461486"/>
                  <a:pt x="306500" y="1458281"/>
                </a:cubicBezTo>
                <a:cubicBezTo>
                  <a:pt x="304673" y="1454627"/>
                  <a:pt x="300502" y="1452089"/>
                  <a:pt x="299701" y="1448083"/>
                </a:cubicBezTo>
                <a:cubicBezTo>
                  <a:pt x="297025" y="1434704"/>
                  <a:pt x="297595" y="1420875"/>
                  <a:pt x="296302" y="1407292"/>
                </a:cubicBezTo>
                <a:cubicBezTo>
                  <a:pt x="295329" y="1397078"/>
                  <a:pt x="294354" y="1386856"/>
                  <a:pt x="292903" y="1376699"/>
                </a:cubicBezTo>
                <a:cubicBezTo>
                  <a:pt x="292128" y="1371272"/>
                  <a:pt x="289266" y="1355830"/>
                  <a:pt x="286104" y="1349505"/>
                </a:cubicBezTo>
                <a:cubicBezTo>
                  <a:pt x="284277" y="1345851"/>
                  <a:pt x="281572" y="1342706"/>
                  <a:pt x="279306" y="1339307"/>
                </a:cubicBezTo>
                <a:cubicBezTo>
                  <a:pt x="277406" y="1331710"/>
                  <a:pt x="272415" y="1310274"/>
                  <a:pt x="269108" y="1305314"/>
                </a:cubicBezTo>
                <a:lnTo>
                  <a:pt x="262309" y="1295117"/>
                </a:lnTo>
                <a:cubicBezTo>
                  <a:pt x="253684" y="1269240"/>
                  <a:pt x="256916" y="1281748"/>
                  <a:pt x="252112" y="1257725"/>
                </a:cubicBezTo>
                <a:cubicBezTo>
                  <a:pt x="250979" y="1229398"/>
                  <a:pt x="252721" y="1200808"/>
                  <a:pt x="248712" y="1172743"/>
                </a:cubicBezTo>
                <a:cubicBezTo>
                  <a:pt x="248032" y="1167984"/>
                  <a:pt x="241181" y="1166546"/>
                  <a:pt x="238515" y="1162546"/>
                </a:cubicBezTo>
                <a:cubicBezTo>
                  <a:pt x="236527" y="1159565"/>
                  <a:pt x="236248" y="1155747"/>
                  <a:pt x="235115" y="1152348"/>
                </a:cubicBezTo>
                <a:cubicBezTo>
                  <a:pt x="236248" y="1141017"/>
                  <a:pt x="236783" y="1129610"/>
                  <a:pt x="238515" y="1118355"/>
                </a:cubicBezTo>
                <a:cubicBezTo>
                  <a:pt x="239060" y="1114814"/>
                  <a:pt x="241771" y="1111738"/>
                  <a:pt x="241914" y="1108158"/>
                </a:cubicBezTo>
                <a:cubicBezTo>
                  <a:pt x="244043" y="1054934"/>
                  <a:pt x="243226" y="1001619"/>
                  <a:pt x="245313" y="948393"/>
                </a:cubicBezTo>
                <a:cubicBezTo>
                  <a:pt x="245541" y="942566"/>
                  <a:pt x="254763" y="916644"/>
                  <a:pt x="255511" y="914400"/>
                </a:cubicBezTo>
                <a:cubicBezTo>
                  <a:pt x="256644" y="911001"/>
                  <a:pt x="255511" y="905335"/>
                  <a:pt x="258910" y="904202"/>
                </a:cubicBezTo>
                <a:lnTo>
                  <a:pt x="269108" y="900803"/>
                </a:lnTo>
                <a:cubicBezTo>
                  <a:pt x="265709" y="898537"/>
                  <a:pt x="262964" y="894511"/>
                  <a:pt x="258910" y="894004"/>
                </a:cubicBezTo>
                <a:cubicBezTo>
                  <a:pt x="242110" y="891904"/>
                  <a:pt x="242148" y="897053"/>
                  <a:pt x="235115" y="907601"/>
                </a:cubicBezTo>
                <a:cubicBezTo>
                  <a:pt x="233575" y="913763"/>
                  <a:pt x="227676" y="938836"/>
                  <a:pt x="224918" y="941594"/>
                </a:cubicBezTo>
                <a:cubicBezTo>
                  <a:pt x="221519" y="944993"/>
                  <a:pt x="217671" y="947997"/>
                  <a:pt x="214720" y="951792"/>
                </a:cubicBezTo>
                <a:cubicBezTo>
                  <a:pt x="209704" y="958241"/>
                  <a:pt x="205655" y="965389"/>
                  <a:pt x="201123" y="972187"/>
                </a:cubicBezTo>
                <a:cubicBezTo>
                  <a:pt x="195081" y="981250"/>
                  <a:pt x="194700" y="984653"/>
                  <a:pt x="184127" y="989184"/>
                </a:cubicBezTo>
                <a:cubicBezTo>
                  <a:pt x="179833" y="991024"/>
                  <a:pt x="175021" y="991300"/>
                  <a:pt x="170529" y="992583"/>
                </a:cubicBezTo>
                <a:cubicBezTo>
                  <a:pt x="136382" y="1002339"/>
                  <a:pt x="189258" y="988751"/>
                  <a:pt x="146735" y="999381"/>
                </a:cubicBezTo>
                <a:cubicBezTo>
                  <a:pt x="130320" y="998517"/>
                  <a:pt x="90186" y="1007419"/>
                  <a:pt x="71951" y="989184"/>
                </a:cubicBezTo>
                <a:cubicBezTo>
                  <a:pt x="63872" y="981105"/>
                  <a:pt x="61719" y="968684"/>
                  <a:pt x="58354" y="958590"/>
                </a:cubicBezTo>
                <a:lnTo>
                  <a:pt x="54955" y="948393"/>
                </a:lnTo>
                <a:cubicBezTo>
                  <a:pt x="53822" y="944994"/>
                  <a:pt x="53544" y="941176"/>
                  <a:pt x="51556" y="938195"/>
                </a:cubicBezTo>
                <a:lnTo>
                  <a:pt x="37958" y="917799"/>
                </a:lnTo>
                <a:cubicBezTo>
                  <a:pt x="41357" y="915533"/>
                  <a:pt x="44423" y="912660"/>
                  <a:pt x="48156" y="911001"/>
                </a:cubicBezTo>
                <a:cubicBezTo>
                  <a:pt x="54705" y="908090"/>
                  <a:pt x="62589" y="908177"/>
                  <a:pt x="68552" y="904202"/>
                </a:cubicBezTo>
                <a:cubicBezTo>
                  <a:pt x="75350" y="899670"/>
                  <a:pt x="81196" y="893189"/>
                  <a:pt x="88947" y="890605"/>
                </a:cubicBezTo>
                <a:lnTo>
                  <a:pt x="109343" y="883807"/>
                </a:lnTo>
                <a:cubicBezTo>
                  <a:pt x="112742" y="882674"/>
                  <a:pt x="116560" y="882395"/>
                  <a:pt x="119541" y="880407"/>
                </a:cubicBezTo>
                <a:lnTo>
                  <a:pt x="129738" y="873609"/>
                </a:lnTo>
                <a:cubicBezTo>
                  <a:pt x="130871" y="870210"/>
                  <a:pt x="133138" y="866994"/>
                  <a:pt x="133138" y="863411"/>
                </a:cubicBezTo>
                <a:cubicBezTo>
                  <a:pt x="133138" y="830355"/>
                  <a:pt x="117555" y="847285"/>
                  <a:pt x="82149" y="849814"/>
                </a:cubicBezTo>
                <a:cubicBezTo>
                  <a:pt x="65251" y="855446"/>
                  <a:pt x="70493" y="855328"/>
                  <a:pt x="44757" y="849814"/>
                </a:cubicBezTo>
                <a:cubicBezTo>
                  <a:pt x="37750" y="848313"/>
                  <a:pt x="24361" y="843016"/>
                  <a:pt x="24361" y="843016"/>
                </a:cubicBezTo>
                <a:cubicBezTo>
                  <a:pt x="22095" y="836217"/>
                  <a:pt x="21538" y="828583"/>
                  <a:pt x="17563" y="822620"/>
                </a:cubicBezTo>
                <a:cubicBezTo>
                  <a:pt x="3077" y="800891"/>
                  <a:pt x="0" y="806756"/>
                  <a:pt x="3966" y="802224"/>
                </a:cubicBezTo>
                <a:close/>
              </a:path>
            </a:pathLst>
          </a:custGeom>
          <a:gradFill flip="none" rotWithShape="1">
            <a:gsLst>
              <a:gs pos="0">
                <a:srgbClr val="A603AB"/>
              </a:gs>
              <a:gs pos="35000">
                <a:srgbClr val="FF6699">
                  <a:alpha val="30000"/>
                </a:srgbClr>
              </a:gs>
              <a:gs pos="35001">
                <a:srgbClr val="1A8D48"/>
              </a:gs>
              <a:gs pos="52000">
                <a:srgbClr val="FFFF00"/>
              </a:gs>
              <a:gs pos="73000">
                <a:srgbClr val="EE3F17"/>
              </a:gs>
              <a:gs pos="88000">
                <a:srgbClr val="E81766"/>
              </a:gs>
              <a:gs pos="100000">
                <a:srgbClr val="A603AB"/>
              </a:gs>
            </a:gsLst>
            <a:lin ang="5400000" scaled="0"/>
            <a:tileRect/>
          </a:gra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1" name="Title 7"/>
          <p:cNvSpPr txBox="1">
            <a:spLocks/>
          </p:cNvSpPr>
          <p:nvPr/>
        </p:nvSpPr>
        <p:spPr bwMode="auto">
          <a:xfrm>
            <a:off x="2411419" y="4146551"/>
            <a:ext cx="115252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sz="2000">
                <a:latin typeface="Ramabhadra" pitchFamily="2" charset="0"/>
                <a:cs typeface="Ramabhadra" pitchFamily="2" charset="0"/>
              </a:rPr>
              <a:t>ఇండియా</a:t>
            </a:r>
            <a:endParaRPr lang="en-IN" sz="20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2" name="Freeform 51"/>
          <p:cNvSpPr/>
          <p:nvPr/>
        </p:nvSpPr>
        <p:spPr>
          <a:xfrm>
            <a:off x="3071819" y="3598334"/>
            <a:ext cx="414337" cy="251884"/>
          </a:xfrm>
          <a:custGeom>
            <a:avLst/>
            <a:gdLst>
              <a:gd name="connsiteX0" fmla="*/ 412610 w 413924"/>
              <a:gd name="connsiteY0" fmla="*/ 175259 h 252930"/>
              <a:gd name="connsiteX1" fmla="*/ 405549 w 413924"/>
              <a:gd name="connsiteY1" fmla="*/ 235277 h 252930"/>
              <a:gd name="connsiteX2" fmla="*/ 398488 w 413924"/>
              <a:gd name="connsiteY2" fmla="*/ 245869 h 252930"/>
              <a:gd name="connsiteX3" fmla="*/ 387897 w 413924"/>
              <a:gd name="connsiteY3" fmla="*/ 252930 h 252930"/>
              <a:gd name="connsiteX4" fmla="*/ 313756 w 413924"/>
              <a:gd name="connsiteY4" fmla="*/ 249399 h 252930"/>
              <a:gd name="connsiteX5" fmla="*/ 303165 w 413924"/>
              <a:gd name="connsiteY5" fmla="*/ 245869 h 252930"/>
              <a:gd name="connsiteX6" fmla="*/ 274921 w 413924"/>
              <a:gd name="connsiteY6" fmla="*/ 242338 h 252930"/>
              <a:gd name="connsiteX7" fmla="*/ 239616 w 413924"/>
              <a:gd name="connsiteY7" fmla="*/ 231747 h 252930"/>
              <a:gd name="connsiteX8" fmla="*/ 225494 w 413924"/>
              <a:gd name="connsiteY8" fmla="*/ 228216 h 252930"/>
              <a:gd name="connsiteX9" fmla="*/ 214902 w 413924"/>
              <a:gd name="connsiteY9" fmla="*/ 224686 h 252930"/>
              <a:gd name="connsiteX10" fmla="*/ 193719 w 413924"/>
              <a:gd name="connsiteY10" fmla="*/ 221155 h 252930"/>
              <a:gd name="connsiteX11" fmla="*/ 161945 w 413924"/>
              <a:gd name="connsiteY11" fmla="*/ 214094 h 252930"/>
              <a:gd name="connsiteX12" fmla="*/ 151353 w 413924"/>
              <a:gd name="connsiteY12" fmla="*/ 210564 h 252930"/>
              <a:gd name="connsiteX13" fmla="*/ 112518 w 413924"/>
              <a:gd name="connsiteY13" fmla="*/ 199972 h 252930"/>
              <a:gd name="connsiteX14" fmla="*/ 91335 w 413924"/>
              <a:gd name="connsiteY14" fmla="*/ 185850 h 252930"/>
              <a:gd name="connsiteX15" fmla="*/ 77213 w 413924"/>
              <a:gd name="connsiteY15" fmla="*/ 164667 h 252930"/>
              <a:gd name="connsiteX16" fmla="*/ 66621 w 413924"/>
              <a:gd name="connsiteY16" fmla="*/ 157606 h 252930"/>
              <a:gd name="connsiteX17" fmla="*/ 45438 w 413924"/>
              <a:gd name="connsiteY17" fmla="*/ 150545 h 252930"/>
              <a:gd name="connsiteX18" fmla="*/ 13664 w 413924"/>
              <a:gd name="connsiteY18" fmla="*/ 125832 h 252930"/>
              <a:gd name="connsiteX19" fmla="*/ 6603 w 413924"/>
              <a:gd name="connsiteY19" fmla="*/ 104649 h 252930"/>
              <a:gd name="connsiteX20" fmla="*/ 3072 w 413924"/>
              <a:gd name="connsiteY20" fmla="*/ 94057 h 252930"/>
              <a:gd name="connsiteX21" fmla="*/ 10133 w 413924"/>
              <a:gd name="connsiteY21" fmla="*/ 69344 h 252930"/>
              <a:gd name="connsiteX22" fmla="*/ 13664 w 413924"/>
              <a:gd name="connsiteY22" fmla="*/ 55221 h 252930"/>
              <a:gd name="connsiteX23" fmla="*/ 20725 w 413924"/>
              <a:gd name="connsiteY23" fmla="*/ 34038 h 252930"/>
              <a:gd name="connsiteX24" fmla="*/ 31316 w 413924"/>
              <a:gd name="connsiteY24" fmla="*/ 26977 h 252930"/>
              <a:gd name="connsiteX25" fmla="*/ 38377 w 413924"/>
              <a:gd name="connsiteY25" fmla="*/ 16386 h 252930"/>
              <a:gd name="connsiteX26" fmla="*/ 48969 w 413924"/>
              <a:gd name="connsiteY26" fmla="*/ 12855 h 252930"/>
              <a:gd name="connsiteX27" fmla="*/ 98396 w 413924"/>
              <a:gd name="connsiteY27" fmla="*/ 9325 h 252930"/>
              <a:gd name="connsiteX28" fmla="*/ 140762 w 413924"/>
              <a:gd name="connsiteY28" fmla="*/ 5794 h 252930"/>
              <a:gd name="connsiteX29" fmla="*/ 151353 w 413924"/>
              <a:gd name="connsiteY29" fmla="*/ 12855 h 252930"/>
              <a:gd name="connsiteX30" fmla="*/ 154884 w 413924"/>
              <a:gd name="connsiteY30" fmla="*/ 30508 h 252930"/>
              <a:gd name="connsiteX31" fmla="*/ 158414 w 413924"/>
              <a:gd name="connsiteY31" fmla="*/ 44630 h 252930"/>
              <a:gd name="connsiteX32" fmla="*/ 179597 w 413924"/>
              <a:gd name="connsiteY32" fmla="*/ 58752 h 252930"/>
              <a:gd name="connsiteX33" fmla="*/ 211372 w 413924"/>
              <a:gd name="connsiteY33" fmla="*/ 69344 h 252930"/>
              <a:gd name="connsiteX34" fmla="*/ 218433 w 413924"/>
              <a:gd name="connsiteY34" fmla="*/ 79935 h 252930"/>
              <a:gd name="connsiteX35" fmla="*/ 225494 w 413924"/>
              <a:gd name="connsiteY35" fmla="*/ 101118 h 252930"/>
              <a:gd name="connsiteX36" fmla="*/ 229024 w 413924"/>
              <a:gd name="connsiteY36" fmla="*/ 111710 h 252930"/>
              <a:gd name="connsiteX37" fmla="*/ 239616 w 413924"/>
              <a:gd name="connsiteY37" fmla="*/ 115240 h 252930"/>
              <a:gd name="connsiteX38" fmla="*/ 264329 w 413924"/>
              <a:gd name="connsiteY38" fmla="*/ 118771 h 252930"/>
              <a:gd name="connsiteX39" fmla="*/ 274921 w 413924"/>
              <a:gd name="connsiteY39" fmla="*/ 125832 h 252930"/>
              <a:gd name="connsiteX40" fmla="*/ 285512 w 413924"/>
              <a:gd name="connsiteY40" fmla="*/ 147015 h 252930"/>
              <a:gd name="connsiteX41" fmla="*/ 296104 w 413924"/>
              <a:gd name="connsiteY41" fmla="*/ 154076 h 252930"/>
              <a:gd name="connsiteX42" fmla="*/ 394958 w 413924"/>
              <a:gd name="connsiteY42" fmla="*/ 164667 h 252930"/>
              <a:gd name="connsiteX43" fmla="*/ 409080 w 413924"/>
              <a:gd name="connsiteY43" fmla="*/ 168198 h 252930"/>
              <a:gd name="connsiteX44" fmla="*/ 412610 w 413924"/>
              <a:gd name="connsiteY44" fmla="*/ 175259 h 252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</a:cxnLst>
            <a:rect l="l" t="t" r="r" b="b"/>
            <a:pathLst>
              <a:path w="413924" h="252930">
                <a:moveTo>
                  <a:pt x="412610" y="175259"/>
                </a:moveTo>
                <a:cubicBezTo>
                  <a:pt x="412022" y="186439"/>
                  <a:pt x="413575" y="219226"/>
                  <a:pt x="405549" y="235277"/>
                </a:cubicBezTo>
                <a:cubicBezTo>
                  <a:pt x="403651" y="239072"/>
                  <a:pt x="401488" y="242868"/>
                  <a:pt x="398488" y="245869"/>
                </a:cubicBezTo>
                <a:cubicBezTo>
                  <a:pt x="395488" y="248869"/>
                  <a:pt x="391427" y="250576"/>
                  <a:pt x="387897" y="252930"/>
                </a:cubicBezTo>
                <a:cubicBezTo>
                  <a:pt x="363183" y="251753"/>
                  <a:pt x="338412" y="251454"/>
                  <a:pt x="313756" y="249399"/>
                </a:cubicBezTo>
                <a:cubicBezTo>
                  <a:pt x="310048" y="249090"/>
                  <a:pt x="306826" y="246535"/>
                  <a:pt x="303165" y="245869"/>
                </a:cubicBezTo>
                <a:cubicBezTo>
                  <a:pt x="293830" y="244172"/>
                  <a:pt x="284280" y="243898"/>
                  <a:pt x="274921" y="242338"/>
                </a:cubicBezTo>
                <a:cubicBezTo>
                  <a:pt x="258107" y="239536"/>
                  <a:pt x="258456" y="236458"/>
                  <a:pt x="239616" y="231747"/>
                </a:cubicBezTo>
                <a:cubicBezTo>
                  <a:pt x="234909" y="230570"/>
                  <a:pt x="230160" y="229549"/>
                  <a:pt x="225494" y="228216"/>
                </a:cubicBezTo>
                <a:cubicBezTo>
                  <a:pt x="221916" y="227194"/>
                  <a:pt x="218535" y="225493"/>
                  <a:pt x="214902" y="224686"/>
                </a:cubicBezTo>
                <a:cubicBezTo>
                  <a:pt x="207914" y="223133"/>
                  <a:pt x="200762" y="222436"/>
                  <a:pt x="193719" y="221155"/>
                </a:cubicBezTo>
                <a:cubicBezTo>
                  <a:pt x="183694" y="219332"/>
                  <a:pt x="171873" y="216931"/>
                  <a:pt x="161945" y="214094"/>
                </a:cubicBezTo>
                <a:cubicBezTo>
                  <a:pt x="158367" y="213072"/>
                  <a:pt x="154963" y="211467"/>
                  <a:pt x="151353" y="210564"/>
                </a:cubicBezTo>
                <a:cubicBezTo>
                  <a:pt x="140745" y="207912"/>
                  <a:pt x="121604" y="206030"/>
                  <a:pt x="112518" y="199972"/>
                </a:cubicBezTo>
                <a:lnTo>
                  <a:pt x="91335" y="185850"/>
                </a:lnTo>
                <a:cubicBezTo>
                  <a:pt x="86628" y="178789"/>
                  <a:pt x="84274" y="169374"/>
                  <a:pt x="77213" y="164667"/>
                </a:cubicBezTo>
                <a:cubicBezTo>
                  <a:pt x="73682" y="162313"/>
                  <a:pt x="70499" y="159329"/>
                  <a:pt x="66621" y="157606"/>
                </a:cubicBezTo>
                <a:cubicBezTo>
                  <a:pt x="59820" y="154583"/>
                  <a:pt x="51631" y="154674"/>
                  <a:pt x="45438" y="150545"/>
                </a:cubicBezTo>
                <a:cubicBezTo>
                  <a:pt x="20101" y="133654"/>
                  <a:pt x="30256" y="142424"/>
                  <a:pt x="13664" y="125832"/>
                </a:cubicBezTo>
                <a:lnTo>
                  <a:pt x="6603" y="104649"/>
                </a:lnTo>
                <a:lnTo>
                  <a:pt x="3072" y="94057"/>
                </a:lnTo>
                <a:cubicBezTo>
                  <a:pt x="14115" y="49892"/>
                  <a:pt x="0" y="104810"/>
                  <a:pt x="10133" y="69344"/>
                </a:cubicBezTo>
                <a:cubicBezTo>
                  <a:pt x="11466" y="64678"/>
                  <a:pt x="12270" y="59869"/>
                  <a:pt x="13664" y="55221"/>
                </a:cubicBezTo>
                <a:cubicBezTo>
                  <a:pt x="15803" y="48092"/>
                  <a:pt x="14532" y="38167"/>
                  <a:pt x="20725" y="34038"/>
                </a:cubicBezTo>
                <a:lnTo>
                  <a:pt x="31316" y="26977"/>
                </a:lnTo>
                <a:cubicBezTo>
                  <a:pt x="33670" y="23447"/>
                  <a:pt x="35064" y="19037"/>
                  <a:pt x="38377" y="16386"/>
                </a:cubicBezTo>
                <a:cubicBezTo>
                  <a:pt x="41283" y="14061"/>
                  <a:pt x="45273" y="13290"/>
                  <a:pt x="48969" y="12855"/>
                </a:cubicBezTo>
                <a:cubicBezTo>
                  <a:pt x="65373" y="10925"/>
                  <a:pt x="81920" y="10502"/>
                  <a:pt x="98396" y="9325"/>
                </a:cubicBezTo>
                <a:cubicBezTo>
                  <a:pt x="126370" y="0"/>
                  <a:pt x="112237" y="1041"/>
                  <a:pt x="140762" y="5794"/>
                </a:cubicBezTo>
                <a:cubicBezTo>
                  <a:pt x="144292" y="8148"/>
                  <a:pt x="149248" y="9171"/>
                  <a:pt x="151353" y="12855"/>
                </a:cubicBezTo>
                <a:cubicBezTo>
                  <a:pt x="154330" y="18065"/>
                  <a:pt x="153582" y="24650"/>
                  <a:pt x="154884" y="30508"/>
                </a:cubicBezTo>
                <a:cubicBezTo>
                  <a:pt x="155937" y="35245"/>
                  <a:pt x="155219" y="40978"/>
                  <a:pt x="158414" y="44630"/>
                </a:cubicBezTo>
                <a:cubicBezTo>
                  <a:pt x="164002" y="51017"/>
                  <a:pt x="172536" y="54045"/>
                  <a:pt x="179597" y="58752"/>
                </a:cubicBezTo>
                <a:cubicBezTo>
                  <a:pt x="196145" y="69784"/>
                  <a:pt x="186005" y="65116"/>
                  <a:pt x="211372" y="69344"/>
                </a:cubicBezTo>
                <a:cubicBezTo>
                  <a:pt x="213726" y="72874"/>
                  <a:pt x="216710" y="76058"/>
                  <a:pt x="218433" y="79935"/>
                </a:cubicBezTo>
                <a:cubicBezTo>
                  <a:pt x="221456" y="86736"/>
                  <a:pt x="223140" y="94057"/>
                  <a:pt x="225494" y="101118"/>
                </a:cubicBezTo>
                <a:cubicBezTo>
                  <a:pt x="226671" y="104649"/>
                  <a:pt x="225493" y="110533"/>
                  <a:pt x="229024" y="111710"/>
                </a:cubicBezTo>
                <a:cubicBezTo>
                  <a:pt x="232555" y="112887"/>
                  <a:pt x="235967" y="114510"/>
                  <a:pt x="239616" y="115240"/>
                </a:cubicBezTo>
                <a:cubicBezTo>
                  <a:pt x="247776" y="116872"/>
                  <a:pt x="256091" y="117594"/>
                  <a:pt x="264329" y="118771"/>
                </a:cubicBezTo>
                <a:cubicBezTo>
                  <a:pt x="267860" y="121125"/>
                  <a:pt x="272270" y="122519"/>
                  <a:pt x="274921" y="125832"/>
                </a:cubicBezTo>
                <a:cubicBezTo>
                  <a:pt x="297896" y="154550"/>
                  <a:pt x="255744" y="117247"/>
                  <a:pt x="285512" y="147015"/>
                </a:cubicBezTo>
                <a:cubicBezTo>
                  <a:pt x="288512" y="150015"/>
                  <a:pt x="292226" y="152353"/>
                  <a:pt x="296104" y="154076"/>
                </a:cubicBezTo>
                <a:cubicBezTo>
                  <a:pt x="329129" y="168753"/>
                  <a:pt x="354232" y="162816"/>
                  <a:pt x="394958" y="164667"/>
                </a:cubicBezTo>
                <a:cubicBezTo>
                  <a:pt x="399665" y="165844"/>
                  <a:pt x="405922" y="164514"/>
                  <a:pt x="409080" y="168198"/>
                </a:cubicBezTo>
                <a:cubicBezTo>
                  <a:pt x="413924" y="173849"/>
                  <a:pt x="413198" y="164079"/>
                  <a:pt x="412610" y="175259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3" name="Title 7"/>
          <p:cNvSpPr txBox="1">
            <a:spLocks/>
          </p:cNvSpPr>
          <p:nvPr/>
        </p:nvSpPr>
        <p:spPr>
          <a:xfrm rot="1367834">
            <a:off x="2987681" y="3723223"/>
            <a:ext cx="600075" cy="17356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50" dirty="0" err="1">
                <a:latin typeface="Ramabhadra" pitchFamily="2" charset="0"/>
                <a:ea typeface="+mj-ea"/>
                <a:cs typeface="Ramabhadra" pitchFamily="2" charset="0"/>
              </a:rPr>
              <a:t>నేపాల్</a:t>
            </a:r>
            <a:endParaRPr lang="en-IN" sz="105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4" name="Freeform 53"/>
          <p:cNvSpPr/>
          <p:nvPr/>
        </p:nvSpPr>
        <p:spPr>
          <a:xfrm>
            <a:off x="3532188" y="3735920"/>
            <a:ext cx="195262" cy="118533"/>
          </a:xfrm>
          <a:custGeom>
            <a:avLst/>
            <a:gdLst>
              <a:gd name="connsiteX0" fmla="*/ 188785 w 195846"/>
              <a:gd name="connsiteY0" fmla="*/ 28244 h 119812"/>
              <a:gd name="connsiteX1" fmla="*/ 188785 w 195846"/>
              <a:gd name="connsiteY1" fmla="*/ 60019 h 119812"/>
              <a:gd name="connsiteX2" fmla="*/ 195846 w 195846"/>
              <a:gd name="connsiteY2" fmla="*/ 81202 h 119812"/>
              <a:gd name="connsiteX3" fmla="*/ 192316 w 195846"/>
              <a:gd name="connsiteY3" fmla="*/ 91793 h 119812"/>
              <a:gd name="connsiteX4" fmla="*/ 171133 w 195846"/>
              <a:gd name="connsiteY4" fmla="*/ 102385 h 119812"/>
              <a:gd name="connsiteX5" fmla="*/ 132297 w 195846"/>
              <a:gd name="connsiteY5" fmla="*/ 112976 h 119812"/>
              <a:gd name="connsiteX6" fmla="*/ 118175 w 195846"/>
              <a:gd name="connsiteY6" fmla="*/ 116507 h 119812"/>
              <a:gd name="connsiteX7" fmla="*/ 12260 w 195846"/>
              <a:gd name="connsiteY7" fmla="*/ 109446 h 119812"/>
              <a:gd name="connsiteX8" fmla="*/ 8729 w 195846"/>
              <a:gd name="connsiteY8" fmla="*/ 63549 h 119812"/>
              <a:gd name="connsiteX9" fmla="*/ 29912 w 195846"/>
              <a:gd name="connsiteY9" fmla="*/ 52958 h 119812"/>
              <a:gd name="connsiteX10" fmla="*/ 44034 w 195846"/>
              <a:gd name="connsiteY10" fmla="*/ 31775 h 119812"/>
              <a:gd name="connsiteX11" fmla="*/ 51095 w 195846"/>
              <a:gd name="connsiteY11" fmla="*/ 21183 h 119812"/>
              <a:gd name="connsiteX12" fmla="*/ 54626 w 195846"/>
              <a:gd name="connsiteY12" fmla="*/ 10592 h 119812"/>
              <a:gd name="connsiteX13" fmla="*/ 75809 w 195846"/>
              <a:gd name="connsiteY13" fmla="*/ 0 h 119812"/>
              <a:gd name="connsiteX14" fmla="*/ 111114 w 195846"/>
              <a:gd name="connsiteY14" fmla="*/ 3531 h 119812"/>
              <a:gd name="connsiteX15" fmla="*/ 142889 w 195846"/>
              <a:gd name="connsiteY15" fmla="*/ 14122 h 119812"/>
              <a:gd name="connsiteX16" fmla="*/ 157011 w 195846"/>
              <a:gd name="connsiteY16" fmla="*/ 17653 h 119812"/>
              <a:gd name="connsiteX17" fmla="*/ 178194 w 195846"/>
              <a:gd name="connsiteY17" fmla="*/ 24714 h 119812"/>
              <a:gd name="connsiteX18" fmla="*/ 188785 w 195846"/>
              <a:gd name="connsiteY18" fmla="*/ 28244 h 119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95846" h="119812">
                <a:moveTo>
                  <a:pt x="188785" y="28244"/>
                </a:moveTo>
                <a:cubicBezTo>
                  <a:pt x="190550" y="34128"/>
                  <a:pt x="179194" y="38439"/>
                  <a:pt x="188785" y="60019"/>
                </a:cubicBezTo>
                <a:cubicBezTo>
                  <a:pt x="191808" y="66820"/>
                  <a:pt x="195846" y="81202"/>
                  <a:pt x="195846" y="81202"/>
                </a:cubicBezTo>
                <a:cubicBezTo>
                  <a:pt x="194669" y="84732"/>
                  <a:pt x="194641" y="88887"/>
                  <a:pt x="192316" y="91793"/>
                </a:cubicBezTo>
                <a:cubicBezTo>
                  <a:pt x="185572" y="100223"/>
                  <a:pt x="179659" y="98122"/>
                  <a:pt x="171133" y="102385"/>
                </a:cubicBezTo>
                <a:cubicBezTo>
                  <a:pt x="144434" y="115735"/>
                  <a:pt x="183115" y="106625"/>
                  <a:pt x="132297" y="112976"/>
                </a:cubicBezTo>
                <a:cubicBezTo>
                  <a:pt x="127590" y="114153"/>
                  <a:pt x="123027" y="116507"/>
                  <a:pt x="118175" y="116507"/>
                </a:cubicBezTo>
                <a:cubicBezTo>
                  <a:pt x="36406" y="116507"/>
                  <a:pt x="53732" y="119812"/>
                  <a:pt x="12260" y="109446"/>
                </a:cubicBezTo>
                <a:cubicBezTo>
                  <a:pt x="6277" y="91496"/>
                  <a:pt x="0" y="83190"/>
                  <a:pt x="8729" y="63549"/>
                </a:cubicBezTo>
                <a:cubicBezTo>
                  <a:pt x="11109" y="58193"/>
                  <a:pt x="25212" y="54524"/>
                  <a:pt x="29912" y="52958"/>
                </a:cubicBezTo>
                <a:cubicBezTo>
                  <a:pt x="49991" y="32879"/>
                  <a:pt x="33816" y="52212"/>
                  <a:pt x="44034" y="31775"/>
                </a:cubicBezTo>
                <a:cubicBezTo>
                  <a:pt x="45932" y="27980"/>
                  <a:pt x="49197" y="24978"/>
                  <a:pt x="51095" y="21183"/>
                </a:cubicBezTo>
                <a:cubicBezTo>
                  <a:pt x="52759" y="17855"/>
                  <a:pt x="52301" y="13498"/>
                  <a:pt x="54626" y="10592"/>
                </a:cubicBezTo>
                <a:cubicBezTo>
                  <a:pt x="59604" y="4370"/>
                  <a:pt x="68832" y="2326"/>
                  <a:pt x="75809" y="0"/>
                </a:cubicBezTo>
                <a:cubicBezTo>
                  <a:pt x="87577" y="1177"/>
                  <a:pt x="99490" y="1351"/>
                  <a:pt x="111114" y="3531"/>
                </a:cubicBezTo>
                <a:cubicBezTo>
                  <a:pt x="125189" y="6170"/>
                  <a:pt x="130555" y="11038"/>
                  <a:pt x="142889" y="14122"/>
                </a:cubicBezTo>
                <a:cubicBezTo>
                  <a:pt x="147596" y="15299"/>
                  <a:pt x="152363" y="16259"/>
                  <a:pt x="157011" y="17653"/>
                </a:cubicBezTo>
                <a:cubicBezTo>
                  <a:pt x="164140" y="19792"/>
                  <a:pt x="178194" y="24714"/>
                  <a:pt x="178194" y="24714"/>
                </a:cubicBezTo>
                <a:cubicBezTo>
                  <a:pt x="187214" y="38243"/>
                  <a:pt x="187020" y="22360"/>
                  <a:pt x="188785" y="28244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5" name="Rectangle 4"/>
          <p:cNvSpPr>
            <a:spLocks noChangeArrowheads="1"/>
          </p:cNvSpPr>
          <p:nvPr/>
        </p:nvSpPr>
        <p:spPr bwMode="auto">
          <a:xfrm>
            <a:off x="3203581" y="3452284"/>
            <a:ext cx="9810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600">
                <a:latin typeface="Ramabhadra" pitchFamily="2" charset="0"/>
                <a:cs typeface="Ramabhadra" pitchFamily="2" charset="0"/>
              </a:rPr>
              <a:t>భూటాన్</a:t>
            </a:r>
          </a:p>
        </p:txBody>
      </p:sp>
      <p:sp>
        <p:nvSpPr>
          <p:cNvPr id="56" name="Freeform 55"/>
          <p:cNvSpPr/>
          <p:nvPr/>
        </p:nvSpPr>
        <p:spPr>
          <a:xfrm>
            <a:off x="3473456" y="3884084"/>
            <a:ext cx="258763" cy="321733"/>
          </a:xfrm>
          <a:custGeom>
            <a:avLst/>
            <a:gdLst>
              <a:gd name="connsiteX0" fmla="*/ 24713 w 257750"/>
              <a:gd name="connsiteY0" fmla="*/ 285971 h 321276"/>
              <a:gd name="connsiteX1" fmla="*/ 14122 w 257750"/>
              <a:gd name="connsiteY1" fmla="*/ 278910 h 321276"/>
              <a:gd name="connsiteX2" fmla="*/ 10591 w 257750"/>
              <a:gd name="connsiteY2" fmla="*/ 264788 h 321276"/>
              <a:gd name="connsiteX3" fmla="*/ 7061 w 257750"/>
              <a:gd name="connsiteY3" fmla="*/ 254196 h 321276"/>
              <a:gd name="connsiteX4" fmla="*/ 10591 w 257750"/>
              <a:gd name="connsiteY4" fmla="*/ 190647 h 321276"/>
              <a:gd name="connsiteX5" fmla="*/ 17652 w 257750"/>
              <a:gd name="connsiteY5" fmla="*/ 165934 h 321276"/>
              <a:gd name="connsiteX6" fmla="*/ 14122 w 257750"/>
              <a:gd name="connsiteY6" fmla="*/ 130629 h 321276"/>
              <a:gd name="connsiteX7" fmla="*/ 7061 w 257750"/>
              <a:gd name="connsiteY7" fmla="*/ 109446 h 321276"/>
              <a:gd name="connsiteX8" fmla="*/ 0 w 257750"/>
              <a:gd name="connsiteY8" fmla="*/ 84732 h 321276"/>
              <a:gd name="connsiteX9" fmla="*/ 3530 w 257750"/>
              <a:gd name="connsiteY9" fmla="*/ 63549 h 321276"/>
              <a:gd name="connsiteX10" fmla="*/ 31774 w 257750"/>
              <a:gd name="connsiteY10" fmla="*/ 52958 h 321276"/>
              <a:gd name="connsiteX11" fmla="*/ 35305 w 257750"/>
              <a:gd name="connsiteY11" fmla="*/ 42366 h 321276"/>
              <a:gd name="connsiteX12" fmla="*/ 28244 w 257750"/>
              <a:gd name="connsiteY12" fmla="*/ 14122 h 321276"/>
              <a:gd name="connsiteX13" fmla="*/ 31774 w 257750"/>
              <a:gd name="connsiteY13" fmla="*/ 3531 h 321276"/>
              <a:gd name="connsiteX14" fmla="*/ 42366 w 257750"/>
              <a:gd name="connsiteY14" fmla="*/ 0 h 321276"/>
              <a:gd name="connsiteX15" fmla="*/ 77671 w 257750"/>
              <a:gd name="connsiteY15" fmla="*/ 3531 h 321276"/>
              <a:gd name="connsiteX16" fmla="*/ 98854 w 257750"/>
              <a:gd name="connsiteY16" fmla="*/ 21183 h 321276"/>
              <a:gd name="connsiteX17" fmla="*/ 120037 w 257750"/>
              <a:gd name="connsiteY17" fmla="*/ 31775 h 321276"/>
              <a:gd name="connsiteX18" fmla="*/ 134159 w 257750"/>
              <a:gd name="connsiteY18" fmla="*/ 42366 h 321276"/>
              <a:gd name="connsiteX19" fmla="*/ 144750 w 257750"/>
              <a:gd name="connsiteY19" fmla="*/ 49427 h 321276"/>
              <a:gd name="connsiteX20" fmla="*/ 204769 w 257750"/>
              <a:gd name="connsiteY20" fmla="*/ 52958 h 321276"/>
              <a:gd name="connsiteX21" fmla="*/ 225952 w 257750"/>
              <a:gd name="connsiteY21" fmla="*/ 63549 h 321276"/>
              <a:gd name="connsiteX22" fmla="*/ 229483 w 257750"/>
              <a:gd name="connsiteY22" fmla="*/ 74141 h 321276"/>
              <a:gd name="connsiteX23" fmla="*/ 225952 w 257750"/>
              <a:gd name="connsiteY23" fmla="*/ 98854 h 321276"/>
              <a:gd name="connsiteX24" fmla="*/ 218891 w 257750"/>
              <a:gd name="connsiteY24" fmla="*/ 109446 h 321276"/>
              <a:gd name="connsiteX25" fmla="*/ 197708 w 257750"/>
              <a:gd name="connsiteY25" fmla="*/ 123568 h 321276"/>
              <a:gd name="connsiteX26" fmla="*/ 187117 w 257750"/>
              <a:gd name="connsiteY26" fmla="*/ 130629 h 321276"/>
              <a:gd name="connsiteX27" fmla="*/ 169464 w 257750"/>
              <a:gd name="connsiteY27" fmla="*/ 144751 h 321276"/>
              <a:gd name="connsiteX28" fmla="*/ 165933 w 257750"/>
              <a:gd name="connsiteY28" fmla="*/ 155342 h 321276"/>
              <a:gd name="connsiteX29" fmla="*/ 169464 w 257750"/>
              <a:gd name="connsiteY29" fmla="*/ 176525 h 321276"/>
              <a:gd name="connsiteX30" fmla="*/ 180055 w 257750"/>
              <a:gd name="connsiteY30" fmla="*/ 180056 h 321276"/>
              <a:gd name="connsiteX31" fmla="*/ 225952 w 257750"/>
              <a:gd name="connsiteY31" fmla="*/ 183586 h 321276"/>
              <a:gd name="connsiteX32" fmla="*/ 233013 w 257750"/>
              <a:gd name="connsiteY32" fmla="*/ 208300 h 321276"/>
              <a:gd name="connsiteX33" fmla="*/ 236544 w 257750"/>
              <a:gd name="connsiteY33" fmla="*/ 218891 h 321276"/>
              <a:gd name="connsiteX34" fmla="*/ 240074 w 257750"/>
              <a:gd name="connsiteY34" fmla="*/ 233013 h 321276"/>
              <a:gd name="connsiteX35" fmla="*/ 247135 w 257750"/>
              <a:gd name="connsiteY35" fmla="*/ 257727 h 321276"/>
              <a:gd name="connsiteX36" fmla="*/ 233013 w 257750"/>
              <a:gd name="connsiteY36" fmla="*/ 317745 h 321276"/>
              <a:gd name="connsiteX37" fmla="*/ 211830 w 257750"/>
              <a:gd name="connsiteY37" fmla="*/ 321276 h 321276"/>
              <a:gd name="connsiteX38" fmla="*/ 197708 w 257750"/>
              <a:gd name="connsiteY38" fmla="*/ 257727 h 321276"/>
              <a:gd name="connsiteX39" fmla="*/ 190647 w 257750"/>
              <a:gd name="connsiteY39" fmla="*/ 247135 h 321276"/>
              <a:gd name="connsiteX40" fmla="*/ 169464 w 257750"/>
              <a:gd name="connsiteY40" fmla="*/ 240074 h 321276"/>
              <a:gd name="connsiteX41" fmla="*/ 144750 w 257750"/>
              <a:gd name="connsiteY41" fmla="*/ 243605 h 321276"/>
              <a:gd name="connsiteX42" fmla="*/ 134159 w 257750"/>
              <a:gd name="connsiteY42" fmla="*/ 247135 h 321276"/>
              <a:gd name="connsiteX43" fmla="*/ 116506 w 257750"/>
              <a:gd name="connsiteY43" fmla="*/ 278910 h 321276"/>
              <a:gd name="connsiteX44" fmla="*/ 74140 w 257750"/>
              <a:gd name="connsiteY44" fmla="*/ 285971 h 321276"/>
              <a:gd name="connsiteX45" fmla="*/ 24713 w 257750"/>
              <a:gd name="connsiteY45" fmla="*/ 300093 h 321276"/>
              <a:gd name="connsiteX46" fmla="*/ 24713 w 257750"/>
              <a:gd name="connsiteY46" fmla="*/ 285971 h 3212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57750" h="321276">
                <a:moveTo>
                  <a:pt x="24713" y="285971"/>
                </a:moveTo>
                <a:cubicBezTo>
                  <a:pt x="21183" y="283617"/>
                  <a:pt x="16476" y="282440"/>
                  <a:pt x="14122" y="278910"/>
                </a:cubicBezTo>
                <a:cubicBezTo>
                  <a:pt x="11430" y="274873"/>
                  <a:pt x="11924" y="269454"/>
                  <a:pt x="10591" y="264788"/>
                </a:cubicBezTo>
                <a:cubicBezTo>
                  <a:pt x="9569" y="261210"/>
                  <a:pt x="8238" y="257727"/>
                  <a:pt x="7061" y="254196"/>
                </a:cubicBezTo>
                <a:cubicBezTo>
                  <a:pt x="8238" y="233013"/>
                  <a:pt x="8670" y="211776"/>
                  <a:pt x="10591" y="190647"/>
                </a:cubicBezTo>
                <a:cubicBezTo>
                  <a:pt x="11145" y="184556"/>
                  <a:pt x="15563" y="172201"/>
                  <a:pt x="17652" y="165934"/>
                </a:cubicBezTo>
                <a:cubicBezTo>
                  <a:pt x="16475" y="154166"/>
                  <a:pt x="16301" y="142253"/>
                  <a:pt x="14122" y="130629"/>
                </a:cubicBezTo>
                <a:cubicBezTo>
                  <a:pt x="12750" y="123314"/>
                  <a:pt x="8866" y="116667"/>
                  <a:pt x="7061" y="109446"/>
                </a:cubicBezTo>
                <a:cubicBezTo>
                  <a:pt x="2627" y="91714"/>
                  <a:pt x="5064" y="99927"/>
                  <a:pt x="0" y="84732"/>
                </a:cubicBezTo>
                <a:cubicBezTo>
                  <a:pt x="1177" y="77671"/>
                  <a:pt x="329" y="69952"/>
                  <a:pt x="3530" y="63549"/>
                </a:cubicBezTo>
                <a:cubicBezTo>
                  <a:pt x="7570" y="55468"/>
                  <a:pt x="26286" y="54055"/>
                  <a:pt x="31774" y="52958"/>
                </a:cubicBezTo>
                <a:cubicBezTo>
                  <a:pt x="32951" y="49427"/>
                  <a:pt x="35305" y="46088"/>
                  <a:pt x="35305" y="42366"/>
                </a:cubicBezTo>
                <a:cubicBezTo>
                  <a:pt x="35305" y="33850"/>
                  <a:pt x="31029" y="22477"/>
                  <a:pt x="28244" y="14122"/>
                </a:cubicBezTo>
                <a:cubicBezTo>
                  <a:pt x="29421" y="10592"/>
                  <a:pt x="29143" y="6162"/>
                  <a:pt x="31774" y="3531"/>
                </a:cubicBezTo>
                <a:cubicBezTo>
                  <a:pt x="34406" y="899"/>
                  <a:pt x="38644" y="0"/>
                  <a:pt x="42366" y="0"/>
                </a:cubicBezTo>
                <a:cubicBezTo>
                  <a:pt x="54193" y="0"/>
                  <a:pt x="65903" y="2354"/>
                  <a:pt x="77671" y="3531"/>
                </a:cubicBezTo>
                <a:cubicBezTo>
                  <a:pt x="85481" y="11341"/>
                  <a:pt x="89022" y="16267"/>
                  <a:pt x="98854" y="21183"/>
                </a:cubicBezTo>
                <a:cubicBezTo>
                  <a:pt x="122171" y="32842"/>
                  <a:pt x="96428" y="14912"/>
                  <a:pt x="120037" y="31775"/>
                </a:cubicBezTo>
                <a:cubicBezTo>
                  <a:pt x="124825" y="35195"/>
                  <a:pt x="129371" y="38946"/>
                  <a:pt x="134159" y="42366"/>
                </a:cubicBezTo>
                <a:cubicBezTo>
                  <a:pt x="137612" y="44832"/>
                  <a:pt x="140554" y="48798"/>
                  <a:pt x="144750" y="49427"/>
                </a:cubicBezTo>
                <a:cubicBezTo>
                  <a:pt x="164569" y="52400"/>
                  <a:pt x="184763" y="51781"/>
                  <a:pt x="204769" y="52958"/>
                </a:cubicBezTo>
                <a:cubicBezTo>
                  <a:pt x="211747" y="55284"/>
                  <a:pt x="220974" y="57326"/>
                  <a:pt x="225952" y="63549"/>
                </a:cubicBezTo>
                <a:cubicBezTo>
                  <a:pt x="228277" y="66455"/>
                  <a:pt x="228306" y="70610"/>
                  <a:pt x="229483" y="74141"/>
                </a:cubicBezTo>
                <a:cubicBezTo>
                  <a:pt x="228306" y="82379"/>
                  <a:pt x="228343" y="90884"/>
                  <a:pt x="225952" y="98854"/>
                </a:cubicBezTo>
                <a:cubicBezTo>
                  <a:pt x="224733" y="102918"/>
                  <a:pt x="222084" y="106652"/>
                  <a:pt x="218891" y="109446"/>
                </a:cubicBezTo>
                <a:cubicBezTo>
                  <a:pt x="212504" y="115034"/>
                  <a:pt x="204769" y="118861"/>
                  <a:pt x="197708" y="123568"/>
                </a:cubicBezTo>
                <a:cubicBezTo>
                  <a:pt x="194178" y="125922"/>
                  <a:pt x="190117" y="127629"/>
                  <a:pt x="187117" y="130629"/>
                </a:cubicBezTo>
                <a:cubicBezTo>
                  <a:pt x="177055" y="140690"/>
                  <a:pt x="182825" y="135843"/>
                  <a:pt x="169464" y="144751"/>
                </a:cubicBezTo>
                <a:cubicBezTo>
                  <a:pt x="168287" y="148281"/>
                  <a:pt x="165933" y="151621"/>
                  <a:pt x="165933" y="155342"/>
                </a:cubicBezTo>
                <a:cubicBezTo>
                  <a:pt x="165933" y="162500"/>
                  <a:pt x="165912" y="170310"/>
                  <a:pt x="169464" y="176525"/>
                </a:cubicBezTo>
                <a:cubicBezTo>
                  <a:pt x="171310" y="179756"/>
                  <a:pt x="176362" y="179594"/>
                  <a:pt x="180055" y="180056"/>
                </a:cubicBezTo>
                <a:cubicBezTo>
                  <a:pt x="195281" y="181959"/>
                  <a:pt x="210653" y="182409"/>
                  <a:pt x="225952" y="183586"/>
                </a:cubicBezTo>
                <a:cubicBezTo>
                  <a:pt x="234420" y="208988"/>
                  <a:pt x="224144" y="177260"/>
                  <a:pt x="233013" y="208300"/>
                </a:cubicBezTo>
                <a:cubicBezTo>
                  <a:pt x="234035" y="211878"/>
                  <a:pt x="235522" y="215313"/>
                  <a:pt x="236544" y="218891"/>
                </a:cubicBezTo>
                <a:cubicBezTo>
                  <a:pt x="237877" y="223556"/>
                  <a:pt x="238741" y="228348"/>
                  <a:pt x="240074" y="233013"/>
                </a:cubicBezTo>
                <a:cubicBezTo>
                  <a:pt x="250204" y="268467"/>
                  <a:pt x="236100" y="213581"/>
                  <a:pt x="247135" y="257727"/>
                </a:cubicBezTo>
                <a:cubicBezTo>
                  <a:pt x="245721" y="278945"/>
                  <a:pt x="257750" y="309499"/>
                  <a:pt x="233013" y="317745"/>
                </a:cubicBezTo>
                <a:cubicBezTo>
                  <a:pt x="226222" y="320009"/>
                  <a:pt x="218891" y="320099"/>
                  <a:pt x="211830" y="321276"/>
                </a:cubicBezTo>
                <a:cubicBezTo>
                  <a:pt x="210975" y="316148"/>
                  <a:pt x="205434" y="269316"/>
                  <a:pt x="197708" y="257727"/>
                </a:cubicBezTo>
                <a:cubicBezTo>
                  <a:pt x="195354" y="254196"/>
                  <a:pt x="194245" y="249384"/>
                  <a:pt x="190647" y="247135"/>
                </a:cubicBezTo>
                <a:cubicBezTo>
                  <a:pt x="184335" y="243190"/>
                  <a:pt x="169464" y="240074"/>
                  <a:pt x="169464" y="240074"/>
                </a:cubicBezTo>
                <a:cubicBezTo>
                  <a:pt x="161226" y="241251"/>
                  <a:pt x="152910" y="241973"/>
                  <a:pt x="144750" y="243605"/>
                </a:cubicBezTo>
                <a:cubicBezTo>
                  <a:pt x="141101" y="244335"/>
                  <a:pt x="136790" y="244504"/>
                  <a:pt x="134159" y="247135"/>
                </a:cubicBezTo>
                <a:cubicBezTo>
                  <a:pt x="121726" y="259568"/>
                  <a:pt x="146872" y="268789"/>
                  <a:pt x="116506" y="278910"/>
                </a:cubicBezTo>
                <a:cubicBezTo>
                  <a:pt x="95805" y="285810"/>
                  <a:pt x="109613" y="282029"/>
                  <a:pt x="74140" y="285971"/>
                </a:cubicBezTo>
                <a:cubicBezTo>
                  <a:pt x="73896" y="286032"/>
                  <a:pt x="28090" y="296716"/>
                  <a:pt x="24713" y="300093"/>
                </a:cubicBezTo>
                <a:lnTo>
                  <a:pt x="24713" y="285971"/>
                </a:ln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7" name="Rectangle 4"/>
          <p:cNvSpPr>
            <a:spLocks noChangeArrowheads="1"/>
          </p:cNvSpPr>
          <p:nvPr/>
        </p:nvSpPr>
        <p:spPr bwMode="auto">
          <a:xfrm>
            <a:off x="2987676" y="4572006"/>
            <a:ext cx="108108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బంగ్లాదేశ్</a:t>
            </a:r>
          </a:p>
        </p:txBody>
      </p:sp>
      <p:sp>
        <p:nvSpPr>
          <p:cNvPr id="58" name="Freeform 57"/>
          <p:cNvSpPr/>
          <p:nvPr/>
        </p:nvSpPr>
        <p:spPr>
          <a:xfrm>
            <a:off x="3687767" y="3693590"/>
            <a:ext cx="549275" cy="1238249"/>
          </a:xfrm>
          <a:custGeom>
            <a:avLst/>
            <a:gdLst>
              <a:gd name="connsiteX0" fmla="*/ 2354 w 549581"/>
              <a:gd name="connsiteY0" fmla="*/ 517587 h 1237809"/>
              <a:gd name="connsiteX1" fmla="*/ 27067 w 549581"/>
              <a:gd name="connsiteY1" fmla="*/ 496404 h 1237809"/>
              <a:gd name="connsiteX2" fmla="*/ 34128 w 549581"/>
              <a:gd name="connsiteY2" fmla="*/ 475221 h 1237809"/>
              <a:gd name="connsiteX3" fmla="*/ 37659 w 549581"/>
              <a:gd name="connsiteY3" fmla="*/ 464629 h 1237809"/>
              <a:gd name="connsiteX4" fmla="*/ 58842 w 549581"/>
              <a:gd name="connsiteY4" fmla="*/ 450507 h 1237809"/>
              <a:gd name="connsiteX5" fmla="*/ 62372 w 549581"/>
              <a:gd name="connsiteY5" fmla="*/ 422263 h 1237809"/>
              <a:gd name="connsiteX6" fmla="*/ 76494 w 549581"/>
              <a:gd name="connsiteY6" fmla="*/ 390489 h 1237809"/>
              <a:gd name="connsiteX7" fmla="*/ 83555 w 549581"/>
              <a:gd name="connsiteY7" fmla="*/ 369306 h 1237809"/>
              <a:gd name="connsiteX8" fmla="*/ 87086 w 549581"/>
              <a:gd name="connsiteY8" fmla="*/ 358714 h 1237809"/>
              <a:gd name="connsiteX9" fmla="*/ 90616 w 549581"/>
              <a:gd name="connsiteY9" fmla="*/ 348123 h 1237809"/>
              <a:gd name="connsiteX10" fmla="*/ 129452 w 549581"/>
              <a:gd name="connsiteY10" fmla="*/ 341062 h 1237809"/>
              <a:gd name="connsiteX11" fmla="*/ 140043 w 549581"/>
              <a:gd name="connsiteY11" fmla="*/ 334001 h 1237809"/>
              <a:gd name="connsiteX12" fmla="*/ 143574 w 549581"/>
              <a:gd name="connsiteY12" fmla="*/ 323409 h 1237809"/>
              <a:gd name="connsiteX13" fmla="*/ 150635 w 549581"/>
              <a:gd name="connsiteY13" fmla="*/ 312818 h 1237809"/>
              <a:gd name="connsiteX14" fmla="*/ 164757 w 549581"/>
              <a:gd name="connsiteY14" fmla="*/ 270452 h 1237809"/>
              <a:gd name="connsiteX15" fmla="*/ 168287 w 549581"/>
              <a:gd name="connsiteY15" fmla="*/ 259860 h 1237809"/>
              <a:gd name="connsiteX16" fmla="*/ 171818 w 549581"/>
              <a:gd name="connsiteY16" fmla="*/ 249269 h 1237809"/>
              <a:gd name="connsiteX17" fmla="*/ 178879 w 549581"/>
              <a:gd name="connsiteY17" fmla="*/ 224555 h 1237809"/>
              <a:gd name="connsiteX18" fmla="*/ 203592 w 549581"/>
              <a:gd name="connsiteY18" fmla="*/ 217494 h 1237809"/>
              <a:gd name="connsiteX19" fmla="*/ 210653 w 549581"/>
              <a:gd name="connsiteY19" fmla="*/ 196311 h 1237809"/>
              <a:gd name="connsiteX20" fmla="*/ 214184 w 549581"/>
              <a:gd name="connsiteY20" fmla="*/ 171598 h 1237809"/>
              <a:gd name="connsiteX21" fmla="*/ 235367 w 549581"/>
              <a:gd name="connsiteY21" fmla="*/ 164537 h 1237809"/>
              <a:gd name="connsiteX22" fmla="*/ 238897 w 549581"/>
              <a:gd name="connsiteY22" fmla="*/ 153945 h 1237809"/>
              <a:gd name="connsiteX23" fmla="*/ 274202 w 549581"/>
              <a:gd name="connsiteY23" fmla="*/ 129232 h 1237809"/>
              <a:gd name="connsiteX24" fmla="*/ 295385 w 549581"/>
              <a:gd name="connsiteY24" fmla="*/ 122171 h 1237809"/>
              <a:gd name="connsiteX25" fmla="*/ 305977 w 549581"/>
              <a:gd name="connsiteY25" fmla="*/ 118640 h 1237809"/>
              <a:gd name="connsiteX26" fmla="*/ 313038 w 549581"/>
              <a:gd name="connsiteY26" fmla="*/ 108049 h 1237809"/>
              <a:gd name="connsiteX27" fmla="*/ 327160 w 549581"/>
              <a:gd name="connsiteY27" fmla="*/ 86866 h 1237809"/>
              <a:gd name="connsiteX28" fmla="*/ 348343 w 549581"/>
              <a:gd name="connsiteY28" fmla="*/ 79805 h 1237809"/>
              <a:gd name="connsiteX29" fmla="*/ 348343 w 549581"/>
              <a:gd name="connsiteY29" fmla="*/ 44500 h 1237809"/>
              <a:gd name="connsiteX30" fmla="*/ 341282 w 549581"/>
              <a:gd name="connsiteY30" fmla="*/ 23317 h 1237809"/>
              <a:gd name="connsiteX31" fmla="*/ 344812 w 549581"/>
              <a:gd name="connsiteY31" fmla="*/ 12725 h 1237809"/>
              <a:gd name="connsiteX32" fmla="*/ 380117 w 549581"/>
              <a:gd name="connsiteY32" fmla="*/ 9195 h 1237809"/>
              <a:gd name="connsiteX33" fmla="*/ 394239 w 549581"/>
              <a:gd name="connsiteY33" fmla="*/ 30378 h 1237809"/>
              <a:gd name="connsiteX34" fmla="*/ 401300 w 549581"/>
              <a:gd name="connsiteY34" fmla="*/ 62152 h 1237809"/>
              <a:gd name="connsiteX35" fmla="*/ 404831 w 549581"/>
              <a:gd name="connsiteY35" fmla="*/ 72744 h 1237809"/>
              <a:gd name="connsiteX36" fmla="*/ 408361 w 549581"/>
              <a:gd name="connsiteY36" fmla="*/ 86866 h 1237809"/>
              <a:gd name="connsiteX37" fmla="*/ 415422 w 549581"/>
              <a:gd name="connsiteY37" fmla="*/ 97457 h 1237809"/>
              <a:gd name="connsiteX38" fmla="*/ 422483 w 549581"/>
              <a:gd name="connsiteY38" fmla="*/ 139823 h 1237809"/>
              <a:gd name="connsiteX39" fmla="*/ 429544 w 549581"/>
              <a:gd name="connsiteY39" fmla="*/ 161006 h 1237809"/>
              <a:gd name="connsiteX40" fmla="*/ 433075 w 549581"/>
              <a:gd name="connsiteY40" fmla="*/ 171598 h 1237809"/>
              <a:gd name="connsiteX41" fmla="*/ 422483 w 549581"/>
              <a:gd name="connsiteY41" fmla="*/ 210433 h 1237809"/>
              <a:gd name="connsiteX42" fmla="*/ 401300 w 549581"/>
              <a:gd name="connsiteY42" fmla="*/ 224555 h 1237809"/>
              <a:gd name="connsiteX43" fmla="*/ 390709 w 549581"/>
              <a:gd name="connsiteY43" fmla="*/ 231616 h 1237809"/>
              <a:gd name="connsiteX44" fmla="*/ 380117 w 549581"/>
              <a:gd name="connsiteY44" fmla="*/ 252799 h 1237809"/>
              <a:gd name="connsiteX45" fmla="*/ 373056 w 549581"/>
              <a:gd name="connsiteY45" fmla="*/ 263391 h 1237809"/>
              <a:gd name="connsiteX46" fmla="*/ 369526 w 549581"/>
              <a:gd name="connsiteY46" fmla="*/ 277513 h 1237809"/>
              <a:gd name="connsiteX47" fmla="*/ 362465 w 549581"/>
              <a:gd name="connsiteY47" fmla="*/ 298696 h 1237809"/>
              <a:gd name="connsiteX48" fmla="*/ 351873 w 549581"/>
              <a:gd name="connsiteY48" fmla="*/ 330470 h 1237809"/>
              <a:gd name="connsiteX49" fmla="*/ 348343 w 549581"/>
              <a:gd name="connsiteY49" fmla="*/ 341062 h 1237809"/>
              <a:gd name="connsiteX50" fmla="*/ 341282 w 549581"/>
              <a:gd name="connsiteY50" fmla="*/ 351653 h 1237809"/>
              <a:gd name="connsiteX51" fmla="*/ 351873 w 549581"/>
              <a:gd name="connsiteY51" fmla="*/ 348123 h 1237809"/>
              <a:gd name="connsiteX52" fmla="*/ 380117 w 549581"/>
              <a:gd name="connsiteY52" fmla="*/ 341062 h 1237809"/>
              <a:gd name="connsiteX53" fmla="*/ 397770 w 549581"/>
              <a:gd name="connsiteY53" fmla="*/ 344592 h 1237809"/>
              <a:gd name="connsiteX54" fmla="*/ 411892 w 549581"/>
              <a:gd name="connsiteY54" fmla="*/ 365775 h 1237809"/>
              <a:gd name="connsiteX55" fmla="*/ 418953 w 549581"/>
              <a:gd name="connsiteY55" fmla="*/ 390489 h 1237809"/>
              <a:gd name="connsiteX56" fmla="*/ 426014 w 549581"/>
              <a:gd name="connsiteY56" fmla="*/ 411672 h 1237809"/>
              <a:gd name="connsiteX57" fmla="*/ 443666 w 549581"/>
              <a:gd name="connsiteY57" fmla="*/ 432855 h 1237809"/>
              <a:gd name="connsiteX58" fmla="*/ 447197 w 549581"/>
              <a:gd name="connsiteY58" fmla="*/ 475221 h 1237809"/>
              <a:gd name="connsiteX59" fmla="*/ 457788 w 549581"/>
              <a:gd name="connsiteY59" fmla="*/ 478751 h 1237809"/>
              <a:gd name="connsiteX60" fmla="*/ 468380 w 549581"/>
              <a:gd name="connsiteY60" fmla="*/ 485812 h 1237809"/>
              <a:gd name="connsiteX61" fmla="*/ 549581 w 549581"/>
              <a:gd name="connsiteY61" fmla="*/ 489343 h 1237809"/>
              <a:gd name="connsiteX62" fmla="*/ 517807 w 549581"/>
              <a:gd name="connsiteY62" fmla="*/ 496404 h 1237809"/>
              <a:gd name="connsiteX63" fmla="*/ 507215 w 549581"/>
              <a:gd name="connsiteY63" fmla="*/ 503465 h 1237809"/>
              <a:gd name="connsiteX64" fmla="*/ 496624 w 549581"/>
              <a:gd name="connsiteY64" fmla="*/ 524648 h 1237809"/>
              <a:gd name="connsiteX65" fmla="*/ 493093 w 549581"/>
              <a:gd name="connsiteY65" fmla="*/ 535239 h 1237809"/>
              <a:gd name="connsiteX66" fmla="*/ 482502 w 549581"/>
              <a:gd name="connsiteY66" fmla="*/ 542300 h 1237809"/>
              <a:gd name="connsiteX67" fmla="*/ 468380 w 549581"/>
              <a:gd name="connsiteY67" fmla="*/ 559953 h 1237809"/>
              <a:gd name="connsiteX68" fmla="*/ 447197 w 549581"/>
              <a:gd name="connsiteY68" fmla="*/ 567014 h 1237809"/>
              <a:gd name="connsiteX69" fmla="*/ 426014 w 549581"/>
              <a:gd name="connsiteY69" fmla="*/ 574075 h 1237809"/>
              <a:gd name="connsiteX70" fmla="*/ 404831 w 549581"/>
              <a:gd name="connsiteY70" fmla="*/ 581136 h 1237809"/>
              <a:gd name="connsiteX71" fmla="*/ 383648 w 549581"/>
              <a:gd name="connsiteY71" fmla="*/ 598788 h 1237809"/>
              <a:gd name="connsiteX72" fmla="*/ 376587 w 549581"/>
              <a:gd name="connsiteY72" fmla="*/ 609380 h 1237809"/>
              <a:gd name="connsiteX73" fmla="*/ 355404 w 549581"/>
              <a:gd name="connsiteY73" fmla="*/ 612910 h 1237809"/>
              <a:gd name="connsiteX74" fmla="*/ 344812 w 549581"/>
              <a:gd name="connsiteY74" fmla="*/ 616441 h 1237809"/>
              <a:gd name="connsiteX75" fmla="*/ 337751 w 549581"/>
              <a:gd name="connsiteY75" fmla="*/ 637624 h 1237809"/>
              <a:gd name="connsiteX76" fmla="*/ 330690 w 549581"/>
              <a:gd name="connsiteY76" fmla="*/ 648215 h 1237809"/>
              <a:gd name="connsiteX77" fmla="*/ 327160 w 549581"/>
              <a:gd name="connsiteY77" fmla="*/ 658807 h 1237809"/>
              <a:gd name="connsiteX78" fmla="*/ 320099 w 549581"/>
              <a:gd name="connsiteY78" fmla="*/ 669398 h 1237809"/>
              <a:gd name="connsiteX79" fmla="*/ 313038 w 549581"/>
              <a:gd name="connsiteY79" fmla="*/ 690581 h 1237809"/>
              <a:gd name="connsiteX80" fmla="*/ 309507 w 549581"/>
              <a:gd name="connsiteY80" fmla="*/ 701173 h 1237809"/>
              <a:gd name="connsiteX81" fmla="*/ 313038 w 549581"/>
              <a:gd name="connsiteY81" fmla="*/ 729417 h 1237809"/>
              <a:gd name="connsiteX82" fmla="*/ 323629 w 549581"/>
              <a:gd name="connsiteY82" fmla="*/ 768252 h 1237809"/>
              <a:gd name="connsiteX83" fmla="*/ 330690 w 549581"/>
              <a:gd name="connsiteY83" fmla="*/ 792966 h 1237809"/>
              <a:gd name="connsiteX84" fmla="*/ 351873 w 549581"/>
              <a:gd name="connsiteY84" fmla="*/ 807088 h 1237809"/>
              <a:gd name="connsiteX85" fmla="*/ 355404 w 549581"/>
              <a:gd name="connsiteY85" fmla="*/ 828271 h 1237809"/>
              <a:gd name="connsiteX86" fmla="*/ 348343 w 549581"/>
              <a:gd name="connsiteY86" fmla="*/ 898881 h 1237809"/>
              <a:gd name="connsiteX87" fmla="*/ 341282 w 549581"/>
              <a:gd name="connsiteY87" fmla="*/ 920064 h 1237809"/>
              <a:gd name="connsiteX88" fmla="*/ 337751 w 549581"/>
              <a:gd name="connsiteY88" fmla="*/ 930656 h 1237809"/>
              <a:gd name="connsiteX89" fmla="*/ 344812 w 549581"/>
              <a:gd name="connsiteY89" fmla="*/ 987144 h 1237809"/>
              <a:gd name="connsiteX90" fmla="*/ 358934 w 549581"/>
              <a:gd name="connsiteY90" fmla="*/ 1008327 h 1237809"/>
              <a:gd name="connsiteX91" fmla="*/ 365995 w 549581"/>
              <a:gd name="connsiteY91" fmla="*/ 1018918 h 1237809"/>
              <a:gd name="connsiteX92" fmla="*/ 373056 w 549581"/>
              <a:gd name="connsiteY92" fmla="*/ 1040101 h 1237809"/>
              <a:gd name="connsiteX93" fmla="*/ 380117 w 549581"/>
              <a:gd name="connsiteY93" fmla="*/ 1050693 h 1237809"/>
              <a:gd name="connsiteX94" fmla="*/ 387178 w 549581"/>
              <a:gd name="connsiteY94" fmla="*/ 1071876 h 1237809"/>
              <a:gd name="connsiteX95" fmla="*/ 390709 w 549581"/>
              <a:gd name="connsiteY95" fmla="*/ 1100120 h 1237809"/>
              <a:gd name="connsiteX96" fmla="*/ 397770 w 549581"/>
              <a:gd name="connsiteY96" fmla="*/ 1121303 h 1237809"/>
              <a:gd name="connsiteX97" fmla="*/ 408361 w 549581"/>
              <a:gd name="connsiteY97" fmla="*/ 1124833 h 1237809"/>
              <a:gd name="connsiteX98" fmla="*/ 401300 w 549581"/>
              <a:gd name="connsiteY98" fmla="*/ 1156608 h 1237809"/>
              <a:gd name="connsiteX99" fmla="*/ 380117 w 549581"/>
              <a:gd name="connsiteY99" fmla="*/ 1174260 h 1237809"/>
              <a:gd name="connsiteX100" fmla="*/ 365995 w 549581"/>
              <a:gd name="connsiteY100" fmla="*/ 1206035 h 1237809"/>
              <a:gd name="connsiteX101" fmla="*/ 362465 w 549581"/>
              <a:gd name="connsiteY101" fmla="*/ 1216626 h 1237809"/>
              <a:gd name="connsiteX102" fmla="*/ 341282 w 549581"/>
              <a:gd name="connsiteY102" fmla="*/ 1237809 h 1237809"/>
              <a:gd name="connsiteX103" fmla="*/ 334221 w 549581"/>
              <a:gd name="connsiteY103" fmla="*/ 1227218 h 1237809"/>
              <a:gd name="connsiteX104" fmla="*/ 320099 w 549581"/>
              <a:gd name="connsiteY104" fmla="*/ 1170730 h 1237809"/>
              <a:gd name="connsiteX105" fmla="*/ 334221 w 549581"/>
              <a:gd name="connsiteY105" fmla="*/ 1149547 h 1237809"/>
              <a:gd name="connsiteX106" fmla="*/ 341282 w 549581"/>
              <a:gd name="connsiteY106" fmla="*/ 1128364 h 1237809"/>
              <a:gd name="connsiteX107" fmla="*/ 341282 w 549581"/>
              <a:gd name="connsiteY107" fmla="*/ 1064815 h 1237809"/>
              <a:gd name="connsiteX108" fmla="*/ 337751 w 549581"/>
              <a:gd name="connsiteY108" fmla="*/ 1054223 h 1237809"/>
              <a:gd name="connsiteX109" fmla="*/ 330690 w 549581"/>
              <a:gd name="connsiteY109" fmla="*/ 1043632 h 1237809"/>
              <a:gd name="connsiteX110" fmla="*/ 323629 w 549581"/>
              <a:gd name="connsiteY110" fmla="*/ 1004796 h 1237809"/>
              <a:gd name="connsiteX111" fmla="*/ 316568 w 549581"/>
              <a:gd name="connsiteY111" fmla="*/ 983613 h 1237809"/>
              <a:gd name="connsiteX112" fmla="*/ 313038 w 549581"/>
              <a:gd name="connsiteY112" fmla="*/ 973022 h 1237809"/>
              <a:gd name="connsiteX113" fmla="*/ 309507 w 549581"/>
              <a:gd name="connsiteY113" fmla="*/ 962430 h 1237809"/>
              <a:gd name="connsiteX114" fmla="*/ 305977 w 549581"/>
              <a:gd name="connsiteY114" fmla="*/ 898881 h 1237809"/>
              <a:gd name="connsiteX115" fmla="*/ 302446 w 549581"/>
              <a:gd name="connsiteY115" fmla="*/ 874167 h 1237809"/>
              <a:gd name="connsiteX116" fmla="*/ 295385 w 549581"/>
              <a:gd name="connsiteY116" fmla="*/ 852984 h 1237809"/>
              <a:gd name="connsiteX117" fmla="*/ 291855 w 549581"/>
              <a:gd name="connsiteY117" fmla="*/ 842393 h 1237809"/>
              <a:gd name="connsiteX118" fmla="*/ 288324 w 549581"/>
              <a:gd name="connsiteY118" fmla="*/ 831801 h 1237809"/>
              <a:gd name="connsiteX119" fmla="*/ 274202 w 549581"/>
              <a:gd name="connsiteY119" fmla="*/ 810618 h 1237809"/>
              <a:gd name="connsiteX120" fmla="*/ 267141 w 549581"/>
              <a:gd name="connsiteY120" fmla="*/ 800027 h 1237809"/>
              <a:gd name="connsiteX121" fmla="*/ 245958 w 549581"/>
              <a:gd name="connsiteY121" fmla="*/ 789435 h 1237809"/>
              <a:gd name="connsiteX122" fmla="*/ 242428 w 549581"/>
              <a:gd name="connsiteY122" fmla="*/ 800027 h 1237809"/>
              <a:gd name="connsiteX123" fmla="*/ 214184 w 549581"/>
              <a:gd name="connsiteY123" fmla="*/ 824740 h 1237809"/>
              <a:gd name="connsiteX124" fmla="*/ 203592 w 549581"/>
              <a:gd name="connsiteY124" fmla="*/ 831801 h 1237809"/>
              <a:gd name="connsiteX125" fmla="*/ 193001 w 549581"/>
              <a:gd name="connsiteY125" fmla="*/ 838862 h 1237809"/>
              <a:gd name="connsiteX126" fmla="*/ 178879 w 549581"/>
              <a:gd name="connsiteY126" fmla="*/ 856515 h 1237809"/>
              <a:gd name="connsiteX127" fmla="*/ 175348 w 549581"/>
              <a:gd name="connsiteY127" fmla="*/ 867106 h 1237809"/>
              <a:gd name="connsiteX128" fmla="*/ 154165 w 549581"/>
              <a:gd name="connsiteY128" fmla="*/ 874167 h 1237809"/>
              <a:gd name="connsiteX129" fmla="*/ 104738 w 549581"/>
              <a:gd name="connsiteY129" fmla="*/ 860045 h 1237809"/>
              <a:gd name="connsiteX130" fmla="*/ 101208 w 549581"/>
              <a:gd name="connsiteY130" fmla="*/ 849454 h 1237809"/>
              <a:gd name="connsiteX131" fmla="*/ 108269 w 549581"/>
              <a:gd name="connsiteY131" fmla="*/ 796496 h 1237809"/>
              <a:gd name="connsiteX132" fmla="*/ 115330 w 549581"/>
              <a:gd name="connsiteY132" fmla="*/ 785905 h 1237809"/>
              <a:gd name="connsiteX133" fmla="*/ 115330 w 549581"/>
              <a:gd name="connsiteY133" fmla="*/ 711764 h 1237809"/>
              <a:gd name="connsiteX134" fmla="*/ 108269 w 549581"/>
              <a:gd name="connsiteY134" fmla="*/ 690581 h 1237809"/>
              <a:gd name="connsiteX135" fmla="*/ 94147 w 549581"/>
              <a:gd name="connsiteY135" fmla="*/ 669398 h 1237809"/>
              <a:gd name="connsiteX136" fmla="*/ 87086 w 549581"/>
              <a:gd name="connsiteY136" fmla="*/ 658807 h 1237809"/>
              <a:gd name="connsiteX137" fmla="*/ 80025 w 549581"/>
              <a:gd name="connsiteY137" fmla="*/ 627032 h 1237809"/>
              <a:gd name="connsiteX138" fmla="*/ 69433 w 549581"/>
              <a:gd name="connsiteY138" fmla="*/ 619971 h 1237809"/>
              <a:gd name="connsiteX139" fmla="*/ 62372 w 549581"/>
              <a:gd name="connsiteY139" fmla="*/ 609380 h 1237809"/>
              <a:gd name="connsiteX140" fmla="*/ 51781 w 549581"/>
              <a:gd name="connsiteY140" fmla="*/ 602319 h 1237809"/>
              <a:gd name="connsiteX141" fmla="*/ 48250 w 549581"/>
              <a:gd name="connsiteY141" fmla="*/ 591727 h 1237809"/>
              <a:gd name="connsiteX142" fmla="*/ 41189 w 549581"/>
              <a:gd name="connsiteY142" fmla="*/ 581136 h 1237809"/>
              <a:gd name="connsiteX143" fmla="*/ 23537 w 549581"/>
              <a:gd name="connsiteY143" fmla="*/ 549361 h 1237809"/>
              <a:gd name="connsiteX144" fmla="*/ 20006 w 549581"/>
              <a:gd name="connsiteY144" fmla="*/ 538770 h 1237809"/>
              <a:gd name="connsiteX145" fmla="*/ 12945 w 549581"/>
              <a:gd name="connsiteY145" fmla="*/ 528178 h 1237809"/>
              <a:gd name="connsiteX146" fmla="*/ 2354 w 549581"/>
              <a:gd name="connsiteY146" fmla="*/ 517587 h 123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</a:cxnLst>
            <a:rect l="l" t="t" r="r" b="b"/>
            <a:pathLst>
              <a:path w="549581" h="1237809">
                <a:moveTo>
                  <a:pt x="2354" y="517587"/>
                </a:moveTo>
                <a:cubicBezTo>
                  <a:pt x="4708" y="512291"/>
                  <a:pt x="19528" y="515252"/>
                  <a:pt x="27067" y="496404"/>
                </a:cubicBezTo>
                <a:cubicBezTo>
                  <a:pt x="29831" y="489493"/>
                  <a:pt x="31774" y="482282"/>
                  <a:pt x="34128" y="475221"/>
                </a:cubicBezTo>
                <a:cubicBezTo>
                  <a:pt x="35305" y="471690"/>
                  <a:pt x="34562" y="466693"/>
                  <a:pt x="37659" y="464629"/>
                </a:cubicBezTo>
                <a:lnTo>
                  <a:pt x="58842" y="450507"/>
                </a:lnTo>
                <a:cubicBezTo>
                  <a:pt x="60019" y="441092"/>
                  <a:pt x="60384" y="431540"/>
                  <a:pt x="62372" y="422263"/>
                </a:cubicBezTo>
                <a:cubicBezTo>
                  <a:pt x="71071" y="381666"/>
                  <a:pt x="65135" y="416045"/>
                  <a:pt x="76494" y="390489"/>
                </a:cubicBezTo>
                <a:cubicBezTo>
                  <a:pt x="79517" y="383688"/>
                  <a:pt x="81201" y="376367"/>
                  <a:pt x="83555" y="369306"/>
                </a:cubicBezTo>
                <a:lnTo>
                  <a:pt x="87086" y="358714"/>
                </a:lnTo>
                <a:cubicBezTo>
                  <a:pt x="88263" y="355184"/>
                  <a:pt x="87086" y="349300"/>
                  <a:pt x="90616" y="348123"/>
                </a:cubicBezTo>
                <a:cubicBezTo>
                  <a:pt x="110209" y="341591"/>
                  <a:pt x="97515" y="345054"/>
                  <a:pt x="129452" y="341062"/>
                </a:cubicBezTo>
                <a:cubicBezTo>
                  <a:pt x="132982" y="338708"/>
                  <a:pt x="137392" y="337314"/>
                  <a:pt x="140043" y="334001"/>
                </a:cubicBezTo>
                <a:cubicBezTo>
                  <a:pt x="142368" y="331095"/>
                  <a:pt x="141910" y="326738"/>
                  <a:pt x="143574" y="323409"/>
                </a:cubicBezTo>
                <a:cubicBezTo>
                  <a:pt x="145472" y="319614"/>
                  <a:pt x="148281" y="316348"/>
                  <a:pt x="150635" y="312818"/>
                </a:cubicBezTo>
                <a:lnTo>
                  <a:pt x="164757" y="270452"/>
                </a:lnTo>
                <a:lnTo>
                  <a:pt x="168287" y="259860"/>
                </a:lnTo>
                <a:cubicBezTo>
                  <a:pt x="169464" y="256330"/>
                  <a:pt x="170916" y="252879"/>
                  <a:pt x="171818" y="249269"/>
                </a:cubicBezTo>
                <a:cubicBezTo>
                  <a:pt x="171849" y="249144"/>
                  <a:pt x="177189" y="226245"/>
                  <a:pt x="178879" y="224555"/>
                </a:cubicBezTo>
                <a:cubicBezTo>
                  <a:pt x="180566" y="222868"/>
                  <a:pt x="203472" y="217524"/>
                  <a:pt x="203592" y="217494"/>
                </a:cubicBezTo>
                <a:cubicBezTo>
                  <a:pt x="205946" y="210433"/>
                  <a:pt x="209600" y="203679"/>
                  <a:pt x="210653" y="196311"/>
                </a:cubicBezTo>
                <a:cubicBezTo>
                  <a:pt x="211830" y="188073"/>
                  <a:pt x="209075" y="178166"/>
                  <a:pt x="214184" y="171598"/>
                </a:cubicBezTo>
                <a:cubicBezTo>
                  <a:pt x="218754" y="165723"/>
                  <a:pt x="235367" y="164537"/>
                  <a:pt x="235367" y="164537"/>
                </a:cubicBezTo>
                <a:cubicBezTo>
                  <a:pt x="236544" y="161006"/>
                  <a:pt x="237090" y="157198"/>
                  <a:pt x="238897" y="153945"/>
                </a:cubicBezTo>
                <a:cubicBezTo>
                  <a:pt x="253666" y="127360"/>
                  <a:pt x="247452" y="133690"/>
                  <a:pt x="274202" y="129232"/>
                </a:cubicBezTo>
                <a:lnTo>
                  <a:pt x="295385" y="122171"/>
                </a:lnTo>
                <a:lnTo>
                  <a:pt x="305977" y="118640"/>
                </a:lnTo>
                <a:cubicBezTo>
                  <a:pt x="308331" y="115110"/>
                  <a:pt x="311141" y="111844"/>
                  <a:pt x="313038" y="108049"/>
                </a:cubicBezTo>
                <a:cubicBezTo>
                  <a:pt x="318653" y="96819"/>
                  <a:pt x="313257" y="94589"/>
                  <a:pt x="327160" y="86866"/>
                </a:cubicBezTo>
                <a:cubicBezTo>
                  <a:pt x="333666" y="83252"/>
                  <a:pt x="348343" y="79805"/>
                  <a:pt x="348343" y="79805"/>
                </a:cubicBezTo>
                <a:cubicBezTo>
                  <a:pt x="353844" y="63298"/>
                  <a:pt x="353874" y="68471"/>
                  <a:pt x="348343" y="44500"/>
                </a:cubicBezTo>
                <a:cubicBezTo>
                  <a:pt x="346669" y="37248"/>
                  <a:pt x="341282" y="23317"/>
                  <a:pt x="341282" y="23317"/>
                </a:cubicBezTo>
                <a:cubicBezTo>
                  <a:pt x="342459" y="19786"/>
                  <a:pt x="342487" y="15631"/>
                  <a:pt x="344812" y="12725"/>
                </a:cubicBezTo>
                <a:cubicBezTo>
                  <a:pt x="354992" y="0"/>
                  <a:pt x="365590" y="7119"/>
                  <a:pt x="380117" y="9195"/>
                </a:cubicBezTo>
                <a:cubicBezTo>
                  <a:pt x="384824" y="16256"/>
                  <a:pt x="392574" y="22057"/>
                  <a:pt x="394239" y="30378"/>
                </a:cubicBezTo>
                <a:cubicBezTo>
                  <a:pt x="396663" y="42498"/>
                  <a:pt x="397979" y="50529"/>
                  <a:pt x="401300" y="62152"/>
                </a:cubicBezTo>
                <a:cubicBezTo>
                  <a:pt x="402322" y="65730"/>
                  <a:pt x="403809" y="69166"/>
                  <a:pt x="404831" y="72744"/>
                </a:cubicBezTo>
                <a:cubicBezTo>
                  <a:pt x="406164" y="77409"/>
                  <a:pt x="406450" y="82406"/>
                  <a:pt x="408361" y="86866"/>
                </a:cubicBezTo>
                <a:cubicBezTo>
                  <a:pt x="410032" y="90766"/>
                  <a:pt x="413068" y="93927"/>
                  <a:pt x="415422" y="97457"/>
                </a:cubicBezTo>
                <a:cubicBezTo>
                  <a:pt x="417925" y="117475"/>
                  <a:pt x="417486" y="123165"/>
                  <a:pt x="422483" y="139823"/>
                </a:cubicBezTo>
                <a:cubicBezTo>
                  <a:pt x="424622" y="146952"/>
                  <a:pt x="427190" y="153945"/>
                  <a:pt x="429544" y="161006"/>
                </a:cubicBezTo>
                <a:lnTo>
                  <a:pt x="433075" y="171598"/>
                </a:lnTo>
                <a:cubicBezTo>
                  <a:pt x="431435" y="184714"/>
                  <a:pt x="433726" y="200596"/>
                  <a:pt x="422483" y="210433"/>
                </a:cubicBezTo>
                <a:cubicBezTo>
                  <a:pt x="416096" y="216021"/>
                  <a:pt x="408361" y="219848"/>
                  <a:pt x="401300" y="224555"/>
                </a:cubicBezTo>
                <a:lnTo>
                  <a:pt x="390709" y="231616"/>
                </a:lnTo>
                <a:cubicBezTo>
                  <a:pt x="370472" y="261972"/>
                  <a:pt x="394735" y="223565"/>
                  <a:pt x="380117" y="252799"/>
                </a:cubicBezTo>
                <a:cubicBezTo>
                  <a:pt x="378219" y="256594"/>
                  <a:pt x="375410" y="259860"/>
                  <a:pt x="373056" y="263391"/>
                </a:cubicBezTo>
                <a:cubicBezTo>
                  <a:pt x="371879" y="268098"/>
                  <a:pt x="370920" y="272865"/>
                  <a:pt x="369526" y="277513"/>
                </a:cubicBezTo>
                <a:cubicBezTo>
                  <a:pt x="367387" y="284642"/>
                  <a:pt x="364819" y="291635"/>
                  <a:pt x="362465" y="298696"/>
                </a:cubicBezTo>
                <a:lnTo>
                  <a:pt x="351873" y="330470"/>
                </a:lnTo>
                <a:cubicBezTo>
                  <a:pt x="350696" y="334001"/>
                  <a:pt x="350407" y="337966"/>
                  <a:pt x="348343" y="341062"/>
                </a:cubicBezTo>
                <a:cubicBezTo>
                  <a:pt x="345989" y="344592"/>
                  <a:pt x="339385" y="347858"/>
                  <a:pt x="341282" y="351653"/>
                </a:cubicBezTo>
                <a:cubicBezTo>
                  <a:pt x="342946" y="354981"/>
                  <a:pt x="348263" y="349026"/>
                  <a:pt x="351873" y="348123"/>
                </a:cubicBezTo>
                <a:lnTo>
                  <a:pt x="380117" y="341062"/>
                </a:lnTo>
                <a:cubicBezTo>
                  <a:pt x="386001" y="342239"/>
                  <a:pt x="393033" y="340908"/>
                  <a:pt x="397770" y="344592"/>
                </a:cubicBezTo>
                <a:cubicBezTo>
                  <a:pt x="404469" y="349802"/>
                  <a:pt x="411892" y="365775"/>
                  <a:pt x="411892" y="365775"/>
                </a:cubicBezTo>
                <a:cubicBezTo>
                  <a:pt x="423768" y="401410"/>
                  <a:pt x="405638" y="346108"/>
                  <a:pt x="418953" y="390489"/>
                </a:cubicBezTo>
                <a:cubicBezTo>
                  <a:pt x="421092" y="397618"/>
                  <a:pt x="420751" y="406409"/>
                  <a:pt x="426014" y="411672"/>
                </a:cubicBezTo>
                <a:cubicBezTo>
                  <a:pt x="439605" y="425263"/>
                  <a:pt x="433836" y="418109"/>
                  <a:pt x="443666" y="432855"/>
                </a:cubicBezTo>
                <a:cubicBezTo>
                  <a:pt x="444843" y="446977"/>
                  <a:pt x="443029" y="461677"/>
                  <a:pt x="447197" y="475221"/>
                </a:cubicBezTo>
                <a:cubicBezTo>
                  <a:pt x="448291" y="478778"/>
                  <a:pt x="454460" y="477087"/>
                  <a:pt x="457788" y="478751"/>
                </a:cubicBezTo>
                <a:cubicBezTo>
                  <a:pt x="461583" y="480649"/>
                  <a:pt x="464165" y="485326"/>
                  <a:pt x="468380" y="485812"/>
                </a:cubicBezTo>
                <a:cubicBezTo>
                  <a:pt x="495294" y="488918"/>
                  <a:pt x="522514" y="488166"/>
                  <a:pt x="549581" y="489343"/>
                </a:cubicBezTo>
                <a:cubicBezTo>
                  <a:pt x="541439" y="490700"/>
                  <a:pt x="526501" y="492057"/>
                  <a:pt x="517807" y="496404"/>
                </a:cubicBezTo>
                <a:cubicBezTo>
                  <a:pt x="514012" y="498302"/>
                  <a:pt x="510746" y="501111"/>
                  <a:pt x="507215" y="503465"/>
                </a:cubicBezTo>
                <a:cubicBezTo>
                  <a:pt x="498345" y="530078"/>
                  <a:pt x="510308" y="497280"/>
                  <a:pt x="496624" y="524648"/>
                </a:cubicBezTo>
                <a:cubicBezTo>
                  <a:pt x="494960" y="527976"/>
                  <a:pt x="495418" y="532333"/>
                  <a:pt x="493093" y="535239"/>
                </a:cubicBezTo>
                <a:cubicBezTo>
                  <a:pt x="490442" y="538552"/>
                  <a:pt x="486032" y="539946"/>
                  <a:pt x="482502" y="542300"/>
                </a:cubicBezTo>
                <a:cubicBezTo>
                  <a:pt x="478673" y="553785"/>
                  <a:pt x="480877" y="554399"/>
                  <a:pt x="468380" y="559953"/>
                </a:cubicBezTo>
                <a:cubicBezTo>
                  <a:pt x="461579" y="562976"/>
                  <a:pt x="454258" y="564660"/>
                  <a:pt x="447197" y="567014"/>
                </a:cubicBezTo>
                <a:lnTo>
                  <a:pt x="426014" y="574075"/>
                </a:lnTo>
                <a:cubicBezTo>
                  <a:pt x="426009" y="574077"/>
                  <a:pt x="404836" y="581132"/>
                  <a:pt x="404831" y="581136"/>
                </a:cubicBezTo>
                <a:cubicBezTo>
                  <a:pt x="394417" y="588078"/>
                  <a:pt x="392142" y="588594"/>
                  <a:pt x="383648" y="598788"/>
                </a:cubicBezTo>
                <a:cubicBezTo>
                  <a:pt x="380932" y="602048"/>
                  <a:pt x="380382" y="607482"/>
                  <a:pt x="376587" y="609380"/>
                </a:cubicBezTo>
                <a:cubicBezTo>
                  <a:pt x="370184" y="612581"/>
                  <a:pt x="362465" y="611733"/>
                  <a:pt x="355404" y="612910"/>
                </a:cubicBezTo>
                <a:cubicBezTo>
                  <a:pt x="351873" y="614087"/>
                  <a:pt x="346975" y="613413"/>
                  <a:pt x="344812" y="616441"/>
                </a:cubicBezTo>
                <a:cubicBezTo>
                  <a:pt x="340486" y="622498"/>
                  <a:pt x="341880" y="631431"/>
                  <a:pt x="337751" y="637624"/>
                </a:cubicBezTo>
                <a:lnTo>
                  <a:pt x="330690" y="648215"/>
                </a:lnTo>
                <a:cubicBezTo>
                  <a:pt x="329513" y="651746"/>
                  <a:pt x="328824" y="655478"/>
                  <a:pt x="327160" y="658807"/>
                </a:cubicBezTo>
                <a:cubicBezTo>
                  <a:pt x="325263" y="662602"/>
                  <a:pt x="321822" y="665521"/>
                  <a:pt x="320099" y="669398"/>
                </a:cubicBezTo>
                <a:cubicBezTo>
                  <a:pt x="317076" y="676199"/>
                  <a:pt x="315392" y="683520"/>
                  <a:pt x="313038" y="690581"/>
                </a:cubicBezTo>
                <a:lnTo>
                  <a:pt x="309507" y="701173"/>
                </a:lnTo>
                <a:cubicBezTo>
                  <a:pt x="310684" y="710588"/>
                  <a:pt x="311289" y="720092"/>
                  <a:pt x="313038" y="729417"/>
                </a:cubicBezTo>
                <a:cubicBezTo>
                  <a:pt x="319901" y="766016"/>
                  <a:pt x="317453" y="746635"/>
                  <a:pt x="323629" y="768252"/>
                </a:cubicBezTo>
                <a:cubicBezTo>
                  <a:pt x="324216" y="770307"/>
                  <a:pt x="328576" y="789795"/>
                  <a:pt x="330690" y="792966"/>
                </a:cubicBezTo>
                <a:cubicBezTo>
                  <a:pt x="338245" y="804298"/>
                  <a:pt x="340770" y="803386"/>
                  <a:pt x="351873" y="807088"/>
                </a:cubicBezTo>
                <a:cubicBezTo>
                  <a:pt x="364172" y="825536"/>
                  <a:pt x="357492" y="809479"/>
                  <a:pt x="355404" y="828271"/>
                </a:cubicBezTo>
                <a:cubicBezTo>
                  <a:pt x="352215" y="856975"/>
                  <a:pt x="355091" y="874138"/>
                  <a:pt x="348343" y="898881"/>
                </a:cubicBezTo>
                <a:cubicBezTo>
                  <a:pt x="346385" y="906062"/>
                  <a:pt x="343636" y="913003"/>
                  <a:pt x="341282" y="920064"/>
                </a:cubicBezTo>
                <a:lnTo>
                  <a:pt x="337751" y="930656"/>
                </a:lnTo>
                <a:cubicBezTo>
                  <a:pt x="337863" y="932110"/>
                  <a:pt x="337329" y="973674"/>
                  <a:pt x="344812" y="987144"/>
                </a:cubicBezTo>
                <a:cubicBezTo>
                  <a:pt x="348933" y="994562"/>
                  <a:pt x="354227" y="1001266"/>
                  <a:pt x="358934" y="1008327"/>
                </a:cubicBezTo>
                <a:cubicBezTo>
                  <a:pt x="361288" y="1011857"/>
                  <a:pt x="364653" y="1014893"/>
                  <a:pt x="365995" y="1018918"/>
                </a:cubicBezTo>
                <a:cubicBezTo>
                  <a:pt x="368349" y="1025979"/>
                  <a:pt x="368928" y="1033908"/>
                  <a:pt x="373056" y="1040101"/>
                </a:cubicBezTo>
                <a:cubicBezTo>
                  <a:pt x="375410" y="1043632"/>
                  <a:pt x="378394" y="1046815"/>
                  <a:pt x="380117" y="1050693"/>
                </a:cubicBezTo>
                <a:cubicBezTo>
                  <a:pt x="383140" y="1057494"/>
                  <a:pt x="387178" y="1071876"/>
                  <a:pt x="387178" y="1071876"/>
                </a:cubicBezTo>
                <a:cubicBezTo>
                  <a:pt x="388355" y="1081291"/>
                  <a:pt x="388721" y="1090843"/>
                  <a:pt x="390709" y="1100120"/>
                </a:cubicBezTo>
                <a:cubicBezTo>
                  <a:pt x="392269" y="1107398"/>
                  <a:pt x="390709" y="1118950"/>
                  <a:pt x="397770" y="1121303"/>
                </a:cubicBezTo>
                <a:lnTo>
                  <a:pt x="408361" y="1124833"/>
                </a:lnTo>
                <a:cubicBezTo>
                  <a:pt x="407933" y="1127400"/>
                  <a:pt x="405164" y="1150812"/>
                  <a:pt x="401300" y="1156608"/>
                </a:cubicBezTo>
                <a:cubicBezTo>
                  <a:pt x="395863" y="1164763"/>
                  <a:pt x="387933" y="1169050"/>
                  <a:pt x="380117" y="1174260"/>
                </a:cubicBezTo>
                <a:cubicBezTo>
                  <a:pt x="371714" y="1199469"/>
                  <a:pt x="377184" y="1189250"/>
                  <a:pt x="365995" y="1206035"/>
                </a:cubicBezTo>
                <a:cubicBezTo>
                  <a:pt x="364818" y="1209565"/>
                  <a:pt x="364750" y="1213689"/>
                  <a:pt x="362465" y="1216626"/>
                </a:cubicBezTo>
                <a:cubicBezTo>
                  <a:pt x="356334" y="1224508"/>
                  <a:pt x="341282" y="1237809"/>
                  <a:pt x="341282" y="1237809"/>
                </a:cubicBezTo>
                <a:cubicBezTo>
                  <a:pt x="338928" y="1234279"/>
                  <a:pt x="334919" y="1231403"/>
                  <a:pt x="334221" y="1227218"/>
                </a:cubicBezTo>
                <a:cubicBezTo>
                  <a:pt x="324442" y="1168547"/>
                  <a:pt x="348736" y="1180275"/>
                  <a:pt x="320099" y="1170730"/>
                </a:cubicBezTo>
                <a:cubicBezTo>
                  <a:pt x="331775" y="1135695"/>
                  <a:pt x="312186" y="1189208"/>
                  <a:pt x="334221" y="1149547"/>
                </a:cubicBezTo>
                <a:cubicBezTo>
                  <a:pt x="337836" y="1143041"/>
                  <a:pt x="341282" y="1128364"/>
                  <a:pt x="341282" y="1128364"/>
                </a:cubicBezTo>
                <a:cubicBezTo>
                  <a:pt x="344351" y="1091525"/>
                  <a:pt x="347674" y="1093581"/>
                  <a:pt x="341282" y="1064815"/>
                </a:cubicBezTo>
                <a:cubicBezTo>
                  <a:pt x="340475" y="1061182"/>
                  <a:pt x="339415" y="1057552"/>
                  <a:pt x="337751" y="1054223"/>
                </a:cubicBezTo>
                <a:cubicBezTo>
                  <a:pt x="335853" y="1050428"/>
                  <a:pt x="333044" y="1047162"/>
                  <a:pt x="330690" y="1043632"/>
                </a:cubicBezTo>
                <a:cubicBezTo>
                  <a:pt x="321027" y="1014639"/>
                  <a:pt x="335609" y="1060698"/>
                  <a:pt x="323629" y="1004796"/>
                </a:cubicBezTo>
                <a:cubicBezTo>
                  <a:pt x="322069" y="997518"/>
                  <a:pt x="318922" y="990674"/>
                  <a:pt x="316568" y="983613"/>
                </a:cubicBezTo>
                <a:lnTo>
                  <a:pt x="313038" y="973022"/>
                </a:lnTo>
                <a:lnTo>
                  <a:pt x="309507" y="962430"/>
                </a:lnTo>
                <a:cubicBezTo>
                  <a:pt x="308330" y="941247"/>
                  <a:pt x="307669" y="920029"/>
                  <a:pt x="305977" y="898881"/>
                </a:cubicBezTo>
                <a:cubicBezTo>
                  <a:pt x="305313" y="890586"/>
                  <a:pt x="304317" y="882276"/>
                  <a:pt x="302446" y="874167"/>
                </a:cubicBezTo>
                <a:cubicBezTo>
                  <a:pt x="300772" y="866915"/>
                  <a:pt x="297739" y="860045"/>
                  <a:pt x="295385" y="852984"/>
                </a:cubicBezTo>
                <a:lnTo>
                  <a:pt x="291855" y="842393"/>
                </a:lnTo>
                <a:cubicBezTo>
                  <a:pt x="290678" y="838862"/>
                  <a:pt x="290388" y="834898"/>
                  <a:pt x="288324" y="831801"/>
                </a:cubicBezTo>
                <a:lnTo>
                  <a:pt x="274202" y="810618"/>
                </a:lnTo>
                <a:cubicBezTo>
                  <a:pt x="271848" y="807088"/>
                  <a:pt x="271166" y="801369"/>
                  <a:pt x="267141" y="800027"/>
                </a:cubicBezTo>
                <a:cubicBezTo>
                  <a:pt x="252525" y="795154"/>
                  <a:pt x="259646" y="798560"/>
                  <a:pt x="245958" y="789435"/>
                </a:cubicBezTo>
                <a:cubicBezTo>
                  <a:pt x="244781" y="792966"/>
                  <a:pt x="244092" y="796698"/>
                  <a:pt x="242428" y="800027"/>
                </a:cubicBezTo>
                <a:cubicBezTo>
                  <a:pt x="235074" y="814736"/>
                  <a:pt x="230068" y="814151"/>
                  <a:pt x="214184" y="824740"/>
                </a:cubicBezTo>
                <a:lnTo>
                  <a:pt x="203592" y="831801"/>
                </a:lnTo>
                <a:lnTo>
                  <a:pt x="193001" y="838862"/>
                </a:lnTo>
                <a:cubicBezTo>
                  <a:pt x="184126" y="865484"/>
                  <a:pt x="197129" y="833703"/>
                  <a:pt x="178879" y="856515"/>
                </a:cubicBezTo>
                <a:cubicBezTo>
                  <a:pt x="176554" y="859421"/>
                  <a:pt x="178376" y="864943"/>
                  <a:pt x="175348" y="867106"/>
                </a:cubicBezTo>
                <a:cubicBezTo>
                  <a:pt x="169291" y="871432"/>
                  <a:pt x="154165" y="874167"/>
                  <a:pt x="154165" y="874167"/>
                </a:cubicBezTo>
                <a:cubicBezTo>
                  <a:pt x="120570" y="871368"/>
                  <a:pt x="115767" y="882104"/>
                  <a:pt x="104738" y="860045"/>
                </a:cubicBezTo>
                <a:cubicBezTo>
                  <a:pt x="103074" y="856717"/>
                  <a:pt x="102385" y="852984"/>
                  <a:pt x="101208" y="849454"/>
                </a:cubicBezTo>
                <a:cubicBezTo>
                  <a:pt x="101997" y="839982"/>
                  <a:pt x="101057" y="810919"/>
                  <a:pt x="108269" y="796496"/>
                </a:cubicBezTo>
                <a:cubicBezTo>
                  <a:pt x="110167" y="792701"/>
                  <a:pt x="112976" y="789435"/>
                  <a:pt x="115330" y="785905"/>
                </a:cubicBezTo>
                <a:cubicBezTo>
                  <a:pt x="124972" y="756974"/>
                  <a:pt x="122464" y="768835"/>
                  <a:pt x="115330" y="711764"/>
                </a:cubicBezTo>
                <a:cubicBezTo>
                  <a:pt x="114407" y="704379"/>
                  <a:pt x="112398" y="696774"/>
                  <a:pt x="108269" y="690581"/>
                </a:cubicBezTo>
                <a:lnTo>
                  <a:pt x="94147" y="669398"/>
                </a:lnTo>
                <a:lnTo>
                  <a:pt x="87086" y="658807"/>
                </a:lnTo>
                <a:cubicBezTo>
                  <a:pt x="87051" y="658594"/>
                  <a:pt x="83683" y="631604"/>
                  <a:pt x="80025" y="627032"/>
                </a:cubicBezTo>
                <a:cubicBezTo>
                  <a:pt x="77374" y="623719"/>
                  <a:pt x="72964" y="622325"/>
                  <a:pt x="69433" y="619971"/>
                </a:cubicBezTo>
                <a:cubicBezTo>
                  <a:pt x="67079" y="616441"/>
                  <a:pt x="65372" y="612380"/>
                  <a:pt x="62372" y="609380"/>
                </a:cubicBezTo>
                <a:cubicBezTo>
                  <a:pt x="59372" y="606380"/>
                  <a:pt x="54432" y="605632"/>
                  <a:pt x="51781" y="602319"/>
                </a:cubicBezTo>
                <a:cubicBezTo>
                  <a:pt x="49456" y="599413"/>
                  <a:pt x="49914" y="595056"/>
                  <a:pt x="48250" y="591727"/>
                </a:cubicBezTo>
                <a:cubicBezTo>
                  <a:pt x="46352" y="587932"/>
                  <a:pt x="43543" y="584666"/>
                  <a:pt x="41189" y="581136"/>
                </a:cubicBezTo>
                <a:cubicBezTo>
                  <a:pt x="32549" y="555216"/>
                  <a:pt x="39391" y="565216"/>
                  <a:pt x="23537" y="549361"/>
                </a:cubicBezTo>
                <a:cubicBezTo>
                  <a:pt x="22360" y="545831"/>
                  <a:pt x="21670" y="542098"/>
                  <a:pt x="20006" y="538770"/>
                </a:cubicBezTo>
                <a:cubicBezTo>
                  <a:pt x="18108" y="534975"/>
                  <a:pt x="14287" y="532204"/>
                  <a:pt x="12945" y="528178"/>
                </a:cubicBezTo>
                <a:cubicBezTo>
                  <a:pt x="11829" y="524829"/>
                  <a:pt x="0" y="522883"/>
                  <a:pt x="2354" y="517587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9" name="Freeform 58"/>
          <p:cNvSpPr/>
          <p:nvPr/>
        </p:nvSpPr>
        <p:spPr>
          <a:xfrm>
            <a:off x="4006851" y="4258735"/>
            <a:ext cx="438150" cy="582084"/>
          </a:xfrm>
          <a:custGeom>
            <a:avLst/>
            <a:gdLst>
              <a:gd name="connsiteX0" fmla="*/ 91793 w 437782"/>
              <a:gd name="connsiteY0" fmla="*/ 563982 h 581433"/>
              <a:gd name="connsiteX1" fmla="*/ 77671 w 437782"/>
              <a:gd name="connsiteY1" fmla="*/ 532207 h 581433"/>
              <a:gd name="connsiteX2" fmla="*/ 74140 w 437782"/>
              <a:gd name="connsiteY2" fmla="*/ 521616 h 581433"/>
              <a:gd name="connsiteX3" fmla="*/ 63549 w 437782"/>
              <a:gd name="connsiteY3" fmla="*/ 507494 h 581433"/>
              <a:gd name="connsiteX4" fmla="*/ 49427 w 437782"/>
              <a:gd name="connsiteY4" fmla="*/ 465128 h 581433"/>
              <a:gd name="connsiteX5" fmla="*/ 45896 w 437782"/>
              <a:gd name="connsiteY5" fmla="*/ 454536 h 581433"/>
              <a:gd name="connsiteX6" fmla="*/ 42366 w 437782"/>
              <a:gd name="connsiteY6" fmla="*/ 443945 h 581433"/>
              <a:gd name="connsiteX7" fmla="*/ 28244 w 437782"/>
              <a:gd name="connsiteY7" fmla="*/ 422762 h 581433"/>
              <a:gd name="connsiteX8" fmla="*/ 21183 w 437782"/>
              <a:gd name="connsiteY8" fmla="*/ 412170 h 581433"/>
              <a:gd name="connsiteX9" fmla="*/ 17652 w 437782"/>
              <a:gd name="connsiteY9" fmla="*/ 401579 h 581433"/>
              <a:gd name="connsiteX10" fmla="*/ 21183 w 437782"/>
              <a:gd name="connsiteY10" fmla="*/ 355682 h 581433"/>
              <a:gd name="connsiteX11" fmla="*/ 28244 w 437782"/>
              <a:gd name="connsiteY11" fmla="*/ 334499 h 581433"/>
              <a:gd name="connsiteX12" fmla="*/ 31774 w 437782"/>
              <a:gd name="connsiteY12" fmla="*/ 323908 h 581433"/>
              <a:gd name="connsiteX13" fmla="*/ 35305 w 437782"/>
              <a:gd name="connsiteY13" fmla="*/ 313316 h 581433"/>
              <a:gd name="connsiteX14" fmla="*/ 38835 w 437782"/>
              <a:gd name="connsiteY14" fmla="*/ 299194 h 581433"/>
              <a:gd name="connsiteX15" fmla="*/ 31774 w 437782"/>
              <a:gd name="connsiteY15" fmla="*/ 267419 h 581433"/>
              <a:gd name="connsiteX16" fmla="*/ 28244 w 437782"/>
              <a:gd name="connsiteY16" fmla="*/ 242706 h 581433"/>
              <a:gd name="connsiteX17" fmla="*/ 24713 w 437782"/>
              <a:gd name="connsiteY17" fmla="*/ 232114 h 581433"/>
              <a:gd name="connsiteX18" fmla="*/ 10591 w 437782"/>
              <a:gd name="connsiteY18" fmla="*/ 210931 h 581433"/>
              <a:gd name="connsiteX19" fmla="*/ 3530 w 437782"/>
              <a:gd name="connsiteY19" fmla="*/ 189748 h 581433"/>
              <a:gd name="connsiteX20" fmla="*/ 0 w 437782"/>
              <a:gd name="connsiteY20" fmla="*/ 179157 h 581433"/>
              <a:gd name="connsiteX21" fmla="*/ 3530 w 437782"/>
              <a:gd name="connsiteY21" fmla="*/ 105016 h 581433"/>
              <a:gd name="connsiteX22" fmla="*/ 10591 w 437782"/>
              <a:gd name="connsiteY22" fmla="*/ 94425 h 581433"/>
              <a:gd name="connsiteX23" fmla="*/ 24713 w 437782"/>
              <a:gd name="connsiteY23" fmla="*/ 62650 h 581433"/>
              <a:gd name="connsiteX24" fmla="*/ 38835 w 437782"/>
              <a:gd name="connsiteY24" fmla="*/ 59120 h 581433"/>
              <a:gd name="connsiteX25" fmla="*/ 63549 w 437782"/>
              <a:gd name="connsiteY25" fmla="*/ 55589 h 581433"/>
              <a:gd name="connsiteX26" fmla="*/ 84732 w 437782"/>
              <a:gd name="connsiteY26" fmla="*/ 44998 h 581433"/>
              <a:gd name="connsiteX27" fmla="*/ 102384 w 437782"/>
              <a:gd name="connsiteY27" fmla="*/ 13223 h 581433"/>
              <a:gd name="connsiteX28" fmla="*/ 151811 w 437782"/>
              <a:gd name="connsiteY28" fmla="*/ 6162 h 581433"/>
              <a:gd name="connsiteX29" fmla="*/ 162403 w 437782"/>
              <a:gd name="connsiteY29" fmla="*/ 2632 h 581433"/>
              <a:gd name="connsiteX30" fmla="*/ 169464 w 437782"/>
              <a:gd name="connsiteY30" fmla="*/ 23815 h 581433"/>
              <a:gd name="connsiteX31" fmla="*/ 172994 w 437782"/>
              <a:gd name="connsiteY31" fmla="*/ 34406 h 581433"/>
              <a:gd name="connsiteX32" fmla="*/ 176525 w 437782"/>
              <a:gd name="connsiteY32" fmla="*/ 48528 h 581433"/>
              <a:gd name="connsiteX33" fmla="*/ 187116 w 437782"/>
              <a:gd name="connsiteY33" fmla="*/ 52059 h 581433"/>
              <a:gd name="connsiteX34" fmla="*/ 194177 w 437782"/>
              <a:gd name="connsiteY34" fmla="*/ 62650 h 581433"/>
              <a:gd name="connsiteX35" fmla="*/ 190647 w 437782"/>
              <a:gd name="connsiteY35" fmla="*/ 80303 h 581433"/>
              <a:gd name="connsiteX36" fmla="*/ 180055 w 437782"/>
              <a:gd name="connsiteY36" fmla="*/ 105016 h 581433"/>
              <a:gd name="connsiteX37" fmla="*/ 176525 w 437782"/>
              <a:gd name="connsiteY37" fmla="*/ 119138 h 581433"/>
              <a:gd name="connsiteX38" fmla="*/ 172994 w 437782"/>
              <a:gd name="connsiteY38" fmla="*/ 129730 h 581433"/>
              <a:gd name="connsiteX39" fmla="*/ 176525 w 437782"/>
              <a:gd name="connsiteY39" fmla="*/ 179157 h 581433"/>
              <a:gd name="connsiteX40" fmla="*/ 190647 w 437782"/>
              <a:gd name="connsiteY40" fmla="*/ 175626 h 581433"/>
              <a:gd name="connsiteX41" fmla="*/ 201238 w 437782"/>
              <a:gd name="connsiteY41" fmla="*/ 168565 h 581433"/>
              <a:gd name="connsiteX42" fmla="*/ 218891 w 437782"/>
              <a:gd name="connsiteY42" fmla="*/ 165035 h 581433"/>
              <a:gd name="connsiteX43" fmla="*/ 229482 w 437782"/>
              <a:gd name="connsiteY43" fmla="*/ 161504 h 581433"/>
              <a:gd name="connsiteX44" fmla="*/ 240074 w 437782"/>
              <a:gd name="connsiteY44" fmla="*/ 165035 h 581433"/>
              <a:gd name="connsiteX45" fmla="*/ 261257 w 437782"/>
              <a:gd name="connsiteY45" fmla="*/ 179157 h 581433"/>
              <a:gd name="connsiteX46" fmla="*/ 285970 w 437782"/>
              <a:gd name="connsiteY46" fmla="*/ 175626 h 581433"/>
              <a:gd name="connsiteX47" fmla="*/ 289501 w 437782"/>
              <a:gd name="connsiteY47" fmla="*/ 165035 h 581433"/>
              <a:gd name="connsiteX48" fmla="*/ 296562 w 437782"/>
              <a:gd name="connsiteY48" fmla="*/ 154443 h 581433"/>
              <a:gd name="connsiteX49" fmla="*/ 310684 w 437782"/>
              <a:gd name="connsiteY49" fmla="*/ 150913 h 581433"/>
              <a:gd name="connsiteX50" fmla="*/ 345989 w 437782"/>
              <a:gd name="connsiteY50" fmla="*/ 154443 h 581433"/>
              <a:gd name="connsiteX51" fmla="*/ 356580 w 437782"/>
              <a:gd name="connsiteY51" fmla="*/ 157974 h 581433"/>
              <a:gd name="connsiteX52" fmla="*/ 360111 w 437782"/>
              <a:gd name="connsiteY52" fmla="*/ 168565 h 581433"/>
              <a:gd name="connsiteX53" fmla="*/ 367172 w 437782"/>
              <a:gd name="connsiteY53" fmla="*/ 179157 h 581433"/>
              <a:gd name="connsiteX54" fmla="*/ 374233 w 437782"/>
              <a:gd name="connsiteY54" fmla="*/ 200340 h 581433"/>
              <a:gd name="connsiteX55" fmla="*/ 377763 w 437782"/>
              <a:gd name="connsiteY55" fmla="*/ 210931 h 581433"/>
              <a:gd name="connsiteX56" fmla="*/ 384824 w 437782"/>
              <a:gd name="connsiteY56" fmla="*/ 221523 h 581433"/>
              <a:gd name="connsiteX57" fmla="*/ 388355 w 437782"/>
              <a:gd name="connsiteY57" fmla="*/ 235645 h 581433"/>
              <a:gd name="connsiteX58" fmla="*/ 395416 w 437782"/>
              <a:gd name="connsiteY58" fmla="*/ 256828 h 581433"/>
              <a:gd name="connsiteX59" fmla="*/ 406007 w 437782"/>
              <a:gd name="connsiteY59" fmla="*/ 288602 h 581433"/>
              <a:gd name="connsiteX60" fmla="*/ 409538 w 437782"/>
              <a:gd name="connsiteY60" fmla="*/ 299194 h 581433"/>
              <a:gd name="connsiteX61" fmla="*/ 413068 w 437782"/>
              <a:gd name="connsiteY61" fmla="*/ 309785 h 581433"/>
              <a:gd name="connsiteX62" fmla="*/ 434251 w 437782"/>
              <a:gd name="connsiteY62" fmla="*/ 338030 h 581433"/>
              <a:gd name="connsiteX63" fmla="*/ 437782 w 437782"/>
              <a:gd name="connsiteY63" fmla="*/ 348621 h 581433"/>
              <a:gd name="connsiteX64" fmla="*/ 434251 w 437782"/>
              <a:gd name="connsiteY64" fmla="*/ 380396 h 581433"/>
              <a:gd name="connsiteX65" fmla="*/ 427190 w 437782"/>
              <a:gd name="connsiteY65" fmla="*/ 401579 h 581433"/>
              <a:gd name="connsiteX66" fmla="*/ 423660 w 437782"/>
              <a:gd name="connsiteY66" fmla="*/ 429823 h 581433"/>
              <a:gd name="connsiteX67" fmla="*/ 391885 w 437782"/>
              <a:gd name="connsiteY67" fmla="*/ 419231 h 581433"/>
              <a:gd name="connsiteX68" fmla="*/ 335397 w 437782"/>
              <a:gd name="connsiteY68" fmla="*/ 412170 h 581433"/>
              <a:gd name="connsiteX69" fmla="*/ 310684 w 437782"/>
              <a:gd name="connsiteY69" fmla="*/ 415701 h 581433"/>
              <a:gd name="connsiteX70" fmla="*/ 289501 w 437782"/>
              <a:gd name="connsiteY70" fmla="*/ 426292 h 581433"/>
              <a:gd name="connsiteX71" fmla="*/ 268318 w 437782"/>
              <a:gd name="connsiteY71" fmla="*/ 436884 h 581433"/>
              <a:gd name="connsiteX72" fmla="*/ 247135 w 437782"/>
              <a:gd name="connsiteY72" fmla="*/ 479250 h 581433"/>
              <a:gd name="connsiteX73" fmla="*/ 243604 w 437782"/>
              <a:gd name="connsiteY73" fmla="*/ 489841 h 581433"/>
              <a:gd name="connsiteX74" fmla="*/ 240074 w 437782"/>
              <a:gd name="connsiteY74" fmla="*/ 500433 h 581433"/>
              <a:gd name="connsiteX75" fmla="*/ 247135 w 437782"/>
              <a:gd name="connsiteY75" fmla="*/ 535738 h 581433"/>
              <a:gd name="connsiteX76" fmla="*/ 250665 w 437782"/>
              <a:gd name="connsiteY76" fmla="*/ 546329 h 581433"/>
              <a:gd name="connsiteX77" fmla="*/ 257726 w 437782"/>
              <a:gd name="connsiteY77" fmla="*/ 556921 h 581433"/>
              <a:gd name="connsiteX78" fmla="*/ 261257 w 437782"/>
              <a:gd name="connsiteY78" fmla="*/ 567512 h 581433"/>
              <a:gd name="connsiteX79" fmla="*/ 268318 w 437782"/>
              <a:gd name="connsiteY79" fmla="*/ 578104 h 581433"/>
              <a:gd name="connsiteX80" fmla="*/ 257726 w 437782"/>
              <a:gd name="connsiteY80" fmla="*/ 574573 h 581433"/>
              <a:gd name="connsiteX81" fmla="*/ 247135 w 437782"/>
              <a:gd name="connsiteY81" fmla="*/ 567512 h 581433"/>
              <a:gd name="connsiteX82" fmla="*/ 236543 w 437782"/>
              <a:gd name="connsiteY82" fmla="*/ 556921 h 581433"/>
              <a:gd name="connsiteX83" fmla="*/ 222421 w 437782"/>
              <a:gd name="connsiteY83" fmla="*/ 553390 h 581433"/>
              <a:gd name="connsiteX84" fmla="*/ 194177 w 437782"/>
              <a:gd name="connsiteY84" fmla="*/ 539268 h 581433"/>
              <a:gd name="connsiteX85" fmla="*/ 172994 w 437782"/>
              <a:gd name="connsiteY85" fmla="*/ 532207 h 581433"/>
              <a:gd name="connsiteX86" fmla="*/ 162403 w 437782"/>
              <a:gd name="connsiteY86" fmla="*/ 528677 h 581433"/>
              <a:gd name="connsiteX87" fmla="*/ 155342 w 437782"/>
              <a:gd name="connsiteY87" fmla="*/ 518085 h 581433"/>
              <a:gd name="connsiteX88" fmla="*/ 151811 w 437782"/>
              <a:gd name="connsiteY88" fmla="*/ 489841 h 581433"/>
              <a:gd name="connsiteX89" fmla="*/ 130628 w 437782"/>
              <a:gd name="connsiteY89" fmla="*/ 482780 h 581433"/>
              <a:gd name="connsiteX90" fmla="*/ 112976 w 437782"/>
              <a:gd name="connsiteY90" fmla="*/ 486311 h 581433"/>
              <a:gd name="connsiteX91" fmla="*/ 105915 w 437782"/>
              <a:gd name="connsiteY91" fmla="*/ 496902 h 581433"/>
              <a:gd name="connsiteX92" fmla="*/ 95323 w 437782"/>
              <a:gd name="connsiteY92" fmla="*/ 535738 h 581433"/>
              <a:gd name="connsiteX93" fmla="*/ 91793 w 437782"/>
              <a:gd name="connsiteY93" fmla="*/ 549860 h 581433"/>
              <a:gd name="connsiteX94" fmla="*/ 88262 w 437782"/>
              <a:gd name="connsiteY94" fmla="*/ 560451 h 581433"/>
              <a:gd name="connsiteX95" fmla="*/ 91793 w 437782"/>
              <a:gd name="connsiteY95" fmla="*/ 563982 h 581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</a:cxnLst>
            <a:rect l="l" t="t" r="r" b="b"/>
            <a:pathLst>
              <a:path w="437782" h="581433">
                <a:moveTo>
                  <a:pt x="91793" y="563982"/>
                </a:moveTo>
                <a:cubicBezTo>
                  <a:pt x="90028" y="559275"/>
                  <a:pt x="86075" y="557417"/>
                  <a:pt x="77671" y="532207"/>
                </a:cubicBezTo>
                <a:cubicBezTo>
                  <a:pt x="76494" y="528677"/>
                  <a:pt x="76373" y="524593"/>
                  <a:pt x="74140" y="521616"/>
                </a:cubicBezTo>
                <a:lnTo>
                  <a:pt x="63549" y="507494"/>
                </a:lnTo>
                <a:lnTo>
                  <a:pt x="49427" y="465128"/>
                </a:lnTo>
                <a:lnTo>
                  <a:pt x="45896" y="454536"/>
                </a:lnTo>
                <a:cubicBezTo>
                  <a:pt x="44719" y="451006"/>
                  <a:pt x="44430" y="447041"/>
                  <a:pt x="42366" y="443945"/>
                </a:cubicBezTo>
                <a:lnTo>
                  <a:pt x="28244" y="422762"/>
                </a:lnTo>
                <a:cubicBezTo>
                  <a:pt x="25890" y="419231"/>
                  <a:pt x="22525" y="416195"/>
                  <a:pt x="21183" y="412170"/>
                </a:cubicBezTo>
                <a:lnTo>
                  <a:pt x="17652" y="401579"/>
                </a:lnTo>
                <a:cubicBezTo>
                  <a:pt x="18829" y="386280"/>
                  <a:pt x="18790" y="370838"/>
                  <a:pt x="21183" y="355682"/>
                </a:cubicBezTo>
                <a:cubicBezTo>
                  <a:pt x="22344" y="348330"/>
                  <a:pt x="25890" y="341560"/>
                  <a:pt x="28244" y="334499"/>
                </a:cubicBezTo>
                <a:lnTo>
                  <a:pt x="31774" y="323908"/>
                </a:lnTo>
                <a:cubicBezTo>
                  <a:pt x="32951" y="320377"/>
                  <a:pt x="34402" y="316927"/>
                  <a:pt x="35305" y="313316"/>
                </a:cubicBezTo>
                <a:lnTo>
                  <a:pt x="38835" y="299194"/>
                </a:lnTo>
                <a:cubicBezTo>
                  <a:pt x="35664" y="286507"/>
                  <a:pt x="34013" y="280856"/>
                  <a:pt x="31774" y="267419"/>
                </a:cubicBezTo>
                <a:cubicBezTo>
                  <a:pt x="30406" y="259211"/>
                  <a:pt x="29876" y="250866"/>
                  <a:pt x="28244" y="242706"/>
                </a:cubicBezTo>
                <a:cubicBezTo>
                  <a:pt x="27514" y="239057"/>
                  <a:pt x="26520" y="235367"/>
                  <a:pt x="24713" y="232114"/>
                </a:cubicBezTo>
                <a:cubicBezTo>
                  <a:pt x="20592" y="224696"/>
                  <a:pt x="10591" y="210931"/>
                  <a:pt x="10591" y="210931"/>
                </a:cubicBezTo>
                <a:lnTo>
                  <a:pt x="3530" y="189748"/>
                </a:lnTo>
                <a:lnTo>
                  <a:pt x="0" y="179157"/>
                </a:lnTo>
                <a:cubicBezTo>
                  <a:pt x="1177" y="154443"/>
                  <a:pt x="461" y="129567"/>
                  <a:pt x="3530" y="105016"/>
                </a:cubicBezTo>
                <a:cubicBezTo>
                  <a:pt x="4056" y="100806"/>
                  <a:pt x="8868" y="98302"/>
                  <a:pt x="10591" y="94425"/>
                </a:cubicBezTo>
                <a:cubicBezTo>
                  <a:pt x="12643" y="89807"/>
                  <a:pt x="17144" y="67696"/>
                  <a:pt x="24713" y="62650"/>
                </a:cubicBezTo>
                <a:cubicBezTo>
                  <a:pt x="28750" y="59959"/>
                  <a:pt x="34061" y="59988"/>
                  <a:pt x="38835" y="59120"/>
                </a:cubicBezTo>
                <a:cubicBezTo>
                  <a:pt x="47022" y="57631"/>
                  <a:pt x="55311" y="56766"/>
                  <a:pt x="63549" y="55589"/>
                </a:cubicBezTo>
                <a:cubicBezTo>
                  <a:pt x="70526" y="53264"/>
                  <a:pt x="79755" y="51220"/>
                  <a:pt x="84732" y="44998"/>
                </a:cubicBezTo>
                <a:cubicBezTo>
                  <a:pt x="92948" y="34728"/>
                  <a:pt x="81630" y="18411"/>
                  <a:pt x="102384" y="13223"/>
                </a:cubicBezTo>
                <a:cubicBezTo>
                  <a:pt x="127980" y="6825"/>
                  <a:pt x="111678" y="10176"/>
                  <a:pt x="151811" y="6162"/>
                </a:cubicBezTo>
                <a:cubicBezTo>
                  <a:pt x="155342" y="4985"/>
                  <a:pt x="159771" y="0"/>
                  <a:pt x="162403" y="2632"/>
                </a:cubicBezTo>
                <a:cubicBezTo>
                  <a:pt x="167666" y="7895"/>
                  <a:pt x="167110" y="16754"/>
                  <a:pt x="169464" y="23815"/>
                </a:cubicBezTo>
                <a:cubicBezTo>
                  <a:pt x="170641" y="27345"/>
                  <a:pt x="172091" y="30796"/>
                  <a:pt x="172994" y="34406"/>
                </a:cubicBezTo>
                <a:cubicBezTo>
                  <a:pt x="174171" y="39113"/>
                  <a:pt x="173494" y="44739"/>
                  <a:pt x="176525" y="48528"/>
                </a:cubicBezTo>
                <a:cubicBezTo>
                  <a:pt x="178850" y="51434"/>
                  <a:pt x="183586" y="50882"/>
                  <a:pt x="187116" y="52059"/>
                </a:cubicBezTo>
                <a:cubicBezTo>
                  <a:pt x="189470" y="55589"/>
                  <a:pt x="193651" y="58440"/>
                  <a:pt x="194177" y="62650"/>
                </a:cubicBezTo>
                <a:cubicBezTo>
                  <a:pt x="194921" y="68604"/>
                  <a:pt x="191949" y="74445"/>
                  <a:pt x="190647" y="80303"/>
                </a:cubicBezTo>
                <a:cubicBezTo>
                  <a:pt x="186848" y="97400"/>
                  <a:pt x="189142" y="91386"/>
                  <a:pt x="180055" y="105016"/>
                </a:cubicBezTo>
                <a:cubicBezTo>
                  <a:pt x="178878" y="109723"/>
                  <a:pt x="177858" y="114473"/>
                  <a:pt x="176525" y="119138"/>
                </a:cubicBezTo>
                <a:cubicBezTo>
                  <a:pt x="175503" y="122716"/>
                  <a:pt x="172994" y="126008"/>
                  <a:pt x="172994" y="129730"/>
                </a:cubicBezTo>
                <a:cubicBezTo>
                  <a:pt x="172994" y="146248"/>
                  <a:pt x="175348" y="162681"/>
                  <a:pt x="176525" y="179157"/>
                </a:cubicBezTo>
                <a:cubicBezTo>
                  <a:pt x="181232" y="177980"/>
                  <a:pt x="186187" y="177538"/>
                  <a:pt x="190647" y="175626"/>
                </a:cubicBezTo>
                <a:cubicBezTo>
                  <a:pt x="194547" y="173955"/>
                  <a:pt x="197265" y="170055"/>
                  <a:pt x="201238" y="168565"/>
                </a:cubicBezTo>
                <a:cubicBezTo>
                  <a:pt x="206857" y="166458"/>
                  <a:pt x="213069" y="166490"/>
                  <a:pt x="218891" y="165035"/>
                </a:cubicBezTo>
                <a:cubicBezTo>
                  <a:pt x="222501" y="164132"/>
                  <a:pt x="225952" y="162681"/>
                  <a:pt x="229482" y="161504"/>
                </a:cubicBezTo>
                <a:cubicBezTo>
                  <a:pt x="233013" y="162681"/>
                  <a:pt x="236977" y="162971"/>
                  <a:pt x="240074" y="165035"/>
                </a:cubicBezTo>
                <a:cubicBezTo>
                  <a:pt x="266521" y="182666"/>
                  <a:pt x="236071" y="170761"/>
                  <a:pt x="261257" y="179157"/>
                </a:cubicBezTo>
                <a:cubicBezTo>
                  <a:pt x="269495" y="177980"/>
                  <a:pt x="278527" y="179347"/>
                  <a:pt x="285970" y="175626"/>
                </a:cubicBezTo>
                <a:cubicBezTo>
                  <a:pt x="289298" y="173962"/>
                  <a:pt x="287837" y="168363"/>
                  <a:pt x="289501" y="165035"/>
                </a:cubicBezTo>
                <a:cubicBezTo>
                  <a:pt x="291399" y="161240"/>
                  <a:pt x="293031" y="156797"/>
                  <a:pt x="296562" y="154443"/>
                </a:cubicBezTo>
                <a:cubicBezTo>
                  <a:pt x="300599" y="151752"/>
                  <a:pt x="305977" y="152090"/>
                  <a:pt x="310684" y="150913"/>
                </a:cubicBezTo>
                <a:cubicBezTo>
                  <a:pt x="322452" y="152090"/>
                  <a:pt x="334300" y="152645"/>
                  <a:pt x="345989" y="154443"/>
                </a:cubicBezTo>
                <a:cubicBezTo>
                  <a:pt x="349667" y="155009"/>
                  <a:pt x="353949" y="155343"/>
                  <a:pt x="356580" y="157974"/>
                </a:cubicBezTo>
                <a:cubicBezTo>
                  <a:pt x="359211" y="160605"/>
                  <a:pt x="358447" y="165237"/>
                  <a:pt x="360111" y="168565"/>
                </a:cubicBezTo>
                <a:cubicBezTo>
                  <a:pt x="362009" y="172360"/>
                  <a:pt x="364818" y="175626"/>
                  <a:pt x="367172" y="179157"/>
                </a:cubicBezTo>
                <a:lnTo>
                  <a:pt x="374233" y="200340"/>
                </a:lnTo>
                <a:cubicBezTo>
                  <a:pt x="375410" y="203870"/>
                  <a:pt x="375699" y="207835"/>
                  <a:pt x="377763" y="210931"/>
                </a:cubicBezTo>
                <a:lnTo>
                  <a:pt x="384824" y="221523"/>
                </a:lnTo>
                <a:cubicBezTo>
                  <a:pt x="386001" y="226230"/>
                  <a:pt x="386961" y="230997"/>
                  <a:pt x="388355" y="235645"/>
                </a:cubicBezTo>
                <a:cubicBezTo>
                  <a:pt x="390494" y="242774"/>
                  <a:pt x="393062" y="249767"/>
                  <a:pt x="395416" y="256828"/>
                </a:cubicBezTo>
                <a:lnTo>
                  <a:pt x="406007" y="288602"/>
                </a:lnTo>
                <a:lnTo>
                  <a:pt x="409538" y="299194"/>
                </a:lnTo>
                <a:cubicBezTo>
                  <a:pt x="410715" y="302724"/>
                  <a:pt x="410437" y="307153"/>
                  <a:pt x="413068" y="309785"/>
                </a:cubicBezTo>
                <a:cubicBezTo>
                  <a:pt x="421432" y="318150"/>
                  <a:pt x="430259" y="326055"/>
                  <a:pt x="434251" y="338030"/>
                </a:cubicBezTo>
                <a:lnTo>
                  <a:pt x="437782" y="348621"/>
                </a:lnTo>
                <a:cubicBezTo>
                  <a:pt x="436605" y="359213"/>
                  <a:pt x="436341" y="369946"/>
                  <a:pt x="434251" y="380396"/>
                </a:cubicBezTo>
                <a:cubicBezTo>
                  <a:pt x="432791" y="387694"/>
                  <a:pt x="427190" y="401579"/>
                  <a:pt x="427190" y="401579"/>
                </a:cubicBezTo>
                <a:cubicBezTo>
                  <a:pt x="426013" y="410994"/>
                  <a:pt x="430369" y="423114"/>
                  <a:pt x="423660" y="429823"/>
                </a:cubicBezTo>
                <a:cubicBezTo>
                  <a:pt x="414921" y="438562"/>
                  <a:pt x="398576" y="422576"/>
                  <a:pt x="391885" y="419231"/>
                </a:cubicBezTo>
                <a:cubicBezTo>
                  <a:pt x="376645" y="411611"/>
                  <a:pt x="344150" y="412843"/>
                  <a:pt x="335397" y="412170"/>
                </a:cubicBezTo>
                <a:cubicBezTo>
                  <a:pt x="327159" y="413347"/>
                  <a:pt x="318844" y="414069"/>
                  <a:pt x="310684" y="415701"/>
                </a:cubicBezTo>
                <a:cubicBezTo>
                  <a:pt x="295890" y="418660"/>
                  <a:pt x="303390" y="419347"/>
                  <a:pt x="289501" y="426292"/>
                </a:cubicBezTo>
                <a:cubicBezTo>
                  <a:pt x="260268" y="440909"/>
                  <a:pt x="298669" y="416649"/>
                  <a:pt x="268318" y="436884"/>
                </a:cubicBezTo>
                <a:cubicBezTo>
                  <a:pt x="250066" y="464262"/>
                  <a:pt x="256881" y="450014"/>
                  <a:pt x="247135" y="479250"/>
                </a:cubicBezTo>
                <a:lnTo>
                  <a:pt x="243604" y="489841"/>
                </a:lnTo>
                <a:lnTo>
                  <a:pt x="240074" y="500433"/>
                </a:lnTo>
                <a:cubicBezTo>
                  <a:pt x="242850" y="517089"/>
                  <a:pt x="242920" y="520985"/>
                  <a:pt x="247135" y="535738"/>
                </a:cubicBezTo>
                <a:cubicBezTo>
                  <a:pt x="248157" y="539316"/>
                  <a:pt x="249001" y="543001"/>
                  <a:pt x="250665" y="546329"/>
                </a:cubicBezTo>
                <a:cubicBezTo>
                  <a:pt x="252563" y="550124"/>
                  <a:pt x="255828" y="553126"/>
                  <a:pt x="257726" y="556921"/>
                </a:cubicBezTo>
                <a:cubicBezTo>
                  <a:pt x="259390" y="560249"/>
                  <a:pt x="259593" y="564184"/>
                  <a:pt x="261257" y="567512"/>
                </a:cubicBezTo>
                <a:cubicBezTo>
                  <a:pt x="263155" y="571307"/>
                  <a:pt x="270216" y="574309"/>
                  <a:pt x="268318" y="578104"/>
                </a:cubicBezTo>
                <a:cubicBezTo>
                  <a:pt x="266653" y="581433"/>
                  <a:pt x="261055" y="576237"/>
                  <a:pt x="257726" y="574573"/>
                </a:cubicBezTo>
                <a:cubicBezTo>
                  <a:pt x="253931" y="572675"/>
                  <a:pt x="250395" y="570228"/>
                  <a:pt x="247135" y="567512"/>
                </a:cubicBezTo>
                <a:cubicBezTo>
                  <a:pt x="243299" y="564316"/>
                  <a:pt x="240878" y="559398"/>
                  <a:pt x="236543" y="556921"/>
                </a:cubicBezTo>
                <a:cubicBezTo>
                  <a:pt x="232330" y="554514"/>
                  <a:pt x="227128" y="554567"/>
                  <a:pt x="222421" y="553390"/>
                </a:cubicBezTo>
                <a:cubicBezTo>
                  <a:pt x="210387" y="535339"/>
                  <a:pt x="221236" y="546033"/>
                  <a:pt x="194177" y="539268"/>
                </a:cubicBezTo>
                <a:cubicBezTo>
                  <a:pt x="186956" y="537463"/>
                  <a:pt x="180055" y="534561"/>
                  <a:pt x="172994" y="532207"/>
                </a:cubicBezTo>
                <a:lnTo>
                  <a:pt x="162403" y="528677"/>
                </a:lnTo>
                <a:cubicBezTo>
                  <a:pt x="160049" y="525146"/>
                  <a:pt x="156459" y="522179"/>
                  <a:pt x="155342" y="518085"/>
                </a:cubicBezTo>
                <a:cubicBezTo>
                  <a:pt x="152845" y="508931"/>
                  <a:pt x="157252" y="497614"/>
                  <a:pt x="151811" y="489841"/>
                </a:cubicBezTo>
                <a:cubicBezTo>
                  <a:pt x="147543" y="483744"/>
                  <a:pt x="130628" y="482780"/>
                  <a:pt x="130628" y="482780"/>
                </a:cubicBezTo>
                <a:cubicBezTo>
                  <a:pt x="124744" y="483957"/>
                  <a:pt x="118186" y="483334"/>
                  <a:pt x="112976" y="486311"/>
                </a:cubicBezTo>
                <a:cubicBezTo>
                  <a:pt x="109292" y="488416"/>
                  <a:pt x="107638" y="493025"/>
                  <a:pt x="105915" y="496902"/>
                </a:cubicBezTo>
                <a:cubicBezTo>
                  <a:pt x="98569" y="513431"/>
                  <a:pt x="99014" y="519129"/>
                  <a:pt x="95323" y="535738"/>
                </a:cubicBezTo>
                <a:cubicBezTo>
                  <a:pt x="94270" y="540475"/>
                  <a:pt x="93126" y="545195"/>
                  <a:pt x="91793" y="549860"/>
                </a:cubicBezTo>
                <a:cubicBezTo>
                  <a:pt x="90771" y="553438"/>
                  <a:pt x="88992" y="556802"/>
                  <a:pt x="88262" y="560451"/>
                </a:cubicBezTo>
                <a:cubicBezTo>
                  <a:pt x="87800" y="562759"/>
                  <a:pt x="93558" y="568689"/>
                  <a:pt x="91793" y="563982"/>
                </a:cubicBezTo>
                <a:close/>
              </a:path>
            </a:pathLst>
          </a:custGeom>
          <a:solidFill>
            <a:srgbClr val="FF669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0" name="Rectangle 4"/>
          <p:cNvSpPr>
            <a:spLocks noChangeArrowheads="1"/>
          </p:cNvSpPr>
          <p:nvPr/>
        </p:nvSpPr>
        <p:spPr bwMode="auto">
          <a:xfrm>
            <a:off x="3959231" y="4474633"/>
            <a:ext cx="6127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Ramabhadra" pitchFamily="2" charset="0"/>
                <a:cs typeface="Ramabhadra" pitchFamily="2" charset="0"/>
              </a:rPr>
              <a:t>థాయిలాండ్</a:t>
            </a:r>
          </a:p>
        </p:txBody>
      </p:sp>
      <p:sp>
        <p:nvSpPr>
          <p:cNvPr id="61" name="Freeform 60"/>
          <p:cNvSpPr/>
          <p:nvPr/>
        </p:nvSpPr>
        <p:spPr>
          <a:xfrm>
            <a:off x="4005263" y="4906438"/>
            <a:ext cx="214312" cy="345017"/>
          </a:xfrm>
          <a:custGeom>
            <a:avLst/>
            <a:gdLst>
              <a:gd name="connsiteX0" fmla="*/ 18889 w 213067"/>
              <a:gd name="connsiteY0" fmla="*/ 37957 h 347357"/>
              <a:gd name="connsiteX1" fmla="*/ 8298 w 213067"/>
              <a:gd name="connsiteY1" fmla="*/ 90914 h 347357"/>
              <a:gd name="connsiteX2" fmla="*/ 4767 w 213067"/>
              <a:gd name="connsiteY2" fmla="*/ 101506 h 347357"/>
              <a:gd name="connsiteX3" fmla="*/ 1237 w 213067"/>
              <a:gd name="connsiteY3" fmla="*/ 112097 h 347357"/>
              <a:gd name="connsiteX4" fmla="*/ 4767 w 213067"/>
              <a:gd name="connsiteY4" fmla="*/ 147402 h 347357"/>
              <a:gd name="connsiteX5" fmla="*/ 8298 w 213067"/>
              <a:gd name="connsiteY5" fmla="*/ 193299 h 347357"/>
              <a:gd name="connsiteX6" fmla="*/ 36542 w 213067"/>
              <a:gd name="connsiteY6" fmla="*/ 196829 h 347357"/>
              <a:gd name="connsiteX7" fmla="*/ 47133 w 213067"/>
              <a:gd name="connsiteY7" fmla="*/ 218012 h 347357"/>
              <a:gd name="connsiteX8" fmla="*/ 54194 w 213067"/>
              <a:gd name="connsiteY8" fmla="*/ 228604 h 347357"/>
              <a:gd name="connsiteX9" fmla="*/ 61255 w 213067"/>
              <a:gd name="connsiteY9" fmla="*/ 249787 h 347357"/>
              <a:gd name="connsiteX10" fmla="*/ 71847 w 213067"/>
              <a:gd name="connsiteY10" fmla="*/ 270970 h 347357"/>
              <a:gd name="connsiteX11" fmla="*/ 82438 w 213067"/>
              <a:gd name="connsiteY11" fmla="*/ 274500 h 347357"/>
              <a:gd name="connsiteX12" fmla="*/ 93030 w 213067"/>
              <a:gd name="connsiteY12" fmla="*/ 281561 h 347357"/>
              <a:gd name="connsiteX13" fmla="*/ 103621 w 213067"/>
              <a:gd name="connsiteY13" fmla="*/ 292153 h 347357"/>
              <a:gd name="connsiteX14" fmla="*/ 114213 w 213067"/>
              <a:gd name="connsiteY14" fmla="*/ 295683 h 347357"/>
              <a:gd name="connsiteX15" fmla="*/ 124804 w 213067"/>
              <a:gd name="connsiteY15" fmla="*/ 302744 h 347357"/>
              <a:gd name="connsiteX16" fmla="*/ 145987 w 213067"/>
              <a:gd name="connsiteY16" fmla="*/ 309805 h 347357"/>
              <a:gd name="connsiteX17" fmla="*/ 156579 w 213067"/>
              <a:gd name="connsiteY17" fmla="*/ 320397 h 347357"/>
              <a:gd name="connsiteX18" fmla="*/ 174231 w 213067"/>
              <a:gd name="connsiteY18" fmla="*/ 345110 h 347357"/>
              <a:gd name="connsiteX19" fmla="*/ 184823 w 213067"/>
              <a:gd name="connsiteY19" fmla="*/ 341580 h 347357"/>
              <a:gd name="connsiteX20" fmla="*/ 209536 w 213067"/>
              <a:gd name="connsiteY20" fmla="*/ 338049 h 347357"/>
              <a:gd name="connsiteX21" fmla="*/ 213067 w 213067"/>
              <a:gd name="connsiteY21" fmla="*/ 327458 h 347357"/>
              <a:gd name="connsiteX22" fmla="*/ 209536 w 213067"/>
              <a:gd name="connsiteY22" fmla="*/ 302744 h 347357"/>
              <a:gd name="connsiteX23" fmla="*/ 206006 w 213067"/>
              <a:gd name="connsiteY23" fmla="*/ 292153 h 347357"/>
              <a:gd name="connsiteX24" fmla="*/ 195414 w 213067"/>
              <a:gd name="connsiteY24" fmla="*/ 285092 h 347357"/>
              <a:gd name="connsiteX25" fmla="*/ 174231 w 213067"/>
              <a:gd name="connsiteY25" fmla="*/ 278031 h 347357"/>
              <a:gd name="connsiteX26" fmla="*/ 163640 w 213067"/>
              <a:gd name="connsiteY26" fmla="*/ 274500 h 347357"/>
              <a:gd name="connsiteX27" fmla="*/ 138926 w 213067"/>
              <a:gd name="connsiteY27" fmla="*/ 263909 h 347357"/>
              <a:gd name="connsiteX28" fmla="*/ 128335 w 213067"/>
              <a:gd name="connsiteY28" fmla="*/ 200360 h 347357"/>
              <a:gd name="connsiteX29" fmla="*/ 110682 w 213067"/>
              <a:gd name="connsiteY29" fmla="*/ 179177 h 347357"/>
              <a:gd name="connsiteX30" fmla="*/ 103621 w 213067"/>
              <a:gd name="connsiteY30" fmla="*/ 157994 h 347357"/>
              <a:gd name="connsiteX31" fmla="*/ 100091 w 213067"/>
              <a:gd name="connsiteY31" fmla="*/ 143872 h 347357"/>
              <a:gd name="connsiteX32" fmla="*/ 85969 w 213067"/>
              <a:gd name="connsiteY32" fmla="*/ 122689 h 347357"/>
              <a:gd name="connsiteX33" fmla="*/ 61255 w 213067"/>
              <a:gd name="connsiteY33" fmla="*/ 115628 h 347357"/>
              <a:gd name="connsiteX34" fmla="*/ 57725 w 213067"/>
              <a:gd name="connsiteY34" fmla="*/ 105036 h 347357"/>
              <a:gd name="connsiteX35" fmla="*/ 54194 w 213067"/>
              <a:gd name="connsiteY35" fmla="*/ 2652 h 347357"/>
              <a:gd name="connsiteX36" fmla="*/ 25950 w 213067"/>
              <a:gd name="connsiteY36" fmla="*/ 9713 h 347357"/>
              <a:gd name="connsiteX37" fmla="*/ 15359 w 213067"/>
              <a:gd name="connsiteY37" fmla="*/ 30896 h 347357"/>
              <a:gd name="connsiteX38" fmla="*/ 18889 w 213067"/>
              <a:gd name="connsiteY38" fmla="*/ 37957 h 347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3067" h="347357">
                <a:moveTo>
                  <a:pt x="18889" y="37957"/>
                </a:moveTo>
                <a:cubicBezTo>
                  <a:pt x="14537" y="77126"/>
                  <a:pt x="18729" y="59623"/>
                  <a:pt x="8298" y="90914"/>
                </a:cubicBezTo>
                <a:lnTo>
                  <a:pt x="4767" y="101506"/>
                </a:lnTo>
                <a:lnTo>
                  <a:pt x="1237" y="112097"/>
                </a:lnTo>
                <a:cubicBezTo>
                  <a:pt x="2414" y="123865"/>
                  <a:pt x="3742" y="135619"/>
                  <a:pt x="4767" y="147402"/>
                </a:cubicBezTo>
                <a:cubicBezTo>
                  <a:pt x="6096" y="162689"/>
                  <a:pt x="0" y="180392"/>
                  <a:pt x="8298" y="193299"/>
                </a:cubicBezTo>
                <a:cubicBezTo>
                  <a:pt x="13429" y="201280"/>
                  <a:pt x="27127" y="195652"/>
                  <a:pt x="36542" y="196829"/>
                </a:cubicBezTo>
                <a:cubicBezTo>
                  <a:pt x="56779" y="227186"/>
                  <a:pt x="32516" y="188778"/>
                  <a:pt x="47133" y="218012"/>
                </a:cubicBezTo>
                <a:cubicBezTo>
                  <a:pt x="49031" y="221807"/>
                  <a:pt x="52471" y="224726"/>
                  <a:pt x="54194" y="228604"/>
                </a:cubicBezTo>
                <a:cubicBezTo>
                  <a:pt x="57217" y="235405"/>
                  <a:pt x="58901" y="242726"/>
                  <a:pt x="61255" y="249787"/>
                </a:cubicBezTo>
                <a:cubicBezTo>
                  <a:pt x="63580" y="256763"/>
                  <a:pt x="65627" y="265994"/>
                  <a:pt x="71847" y="270970"/>
                </a:cubicBezTo>
                <a:cubicBezTo>
                  <a:pt x="74753" y="273295"/>
                  <a:pt x="78908" y="273323"/>
                  <a:pt x="82438" y="274500"/>
                </a:cubicBezTo>
                <a:cubicBezTo>
                  <a:pt x="85969" y="276854"/>
                  <a:pt x="89770" y="278844"/>
                  <a:pt x="93030" y="281561"/>
                </a:cubicBezTo>
                <a:cubicBezTo>
                  <a:pt x="96866" y="284757"/>
                  <a:pt x="99467" y="289383"/>
                  <a:pt x="103621" y="292153"/>
                </a:cubicBezTo>
                <a:cubicBezTo>
                  <a:pt x="106718" y="294217"/>
                  <a:pt x="110682" y="294506"/>
                  <a:pt x="114213" y="295683"/>
                </a:cubicBezTo>
                <a:cubicBezTo>
                  <a:pt x="117743" y="298037"/>
                  <a:pt x="120927" y="301021"/>
                  <a:pt x="124804" y="302744"/>
                </a:cubicBezTo>
                <a:cubicBezTo>
                  <a:pt x="131605" y="305767"/>
                  <a:pt x="145987" y="309805"/>
                  <a:pt x="145987" y="309805"/>
                </a:cubicBezTo>
                <a:cubicBezTo>
                  <a:pt x="149518" y="313336"/>
                  <a:pt x="154154" y="316032"/>
                  <a:pt x="156579" y="320397"/>
                </a:cubicBezTo>
                <a:cubicBezTo>
                  <a:pt x="171557" y="347357"/>
                  <a:pt x="153209" y="338103"/>
                  <a:pt x="174231" y="345110"/>
                </a:cubicBezTo>
                <a:cubicBezTo>
                  <a:pt x="177762" y="343933"/>
                  <a:pt x="181174" y="342310"/>
                  <a:pt x="184823" y="341580"/>
                </a:cubicBezTo>
                <a:cubicBezTo>
                  <a:pt x="192983" y="339948"/>
                  <a:pt x="202093" y="341770"/>
                  <a:pt x="209536" y="338049"/>
                </a:cubicBezTo>
                <a:cubicBezTo>
                  <a:pt x="212864" y="336385"/>
                  <a:pt x="211890" y="330988"/>
                  <a:pt x="213067" y="327458"/>
                </a:cubicBezTo>
                <a:cubicBezTo>
                  <a:pt x="211890" y="319220"/>
                  <a:pt x="211168" y="310904"/>
                  <a:pt x="209536" y="302744"/>
                </a:cubicBezTo>
                <a:cubicBezTo>
                  <a:pt x="208806" y="299095"/>
                  <a:pt x="208331" y="295059"/>
                  <a:pt x="206006" y="292153"/>
                </a:cubicBezTo>
                <a:cubicBezTo>
                  <a:pt x="203355" y="288840"/>
                  <a:pt x="199292" y="286815"/>
                  <a:pt x="195414" y="285092"/>
                </a:cubicBezTo>
                <a:cubicBezTo>
                  <a:pt x="188613" y="282069"/>
                  <a:pt x="181292" y="280385"/>
                  <a:pt x="174231" y="278031"/>
                </a:cubicBezTo>
                <a:cubicBezTo>
                  <a:pt x="170701" y="276854"/>
                  <a:pt x="166968" y="276164"/>
                  <a:pt x="163640" y="274500"/>
                </a:cubicBezTo>
                <a:cubicBezTo>
                  <a:pt x="146189" y="265775"/>
                  <a:pt x="154511" y="269103"/>
                  <a:pt x="138926" y="263909"/>
                </a:cubicBezTo>
                <a:cubicBezTo>
                  <a:pt x="138773" y="262072"/>
                  <a:pt x="137779" y="209804"/>
                  <a:pt x="128335" y="200360"/>
                </a:cubicBezTo>
                <a:cubicBezTo>
                  <a:pt x="114743" y="186768"/>
                  <a:pt x="120513" y="193922"/>
                  <a:pt x="110682" y="179177"/>
                </a:cubicBezTo>
                <a:cubicBezTo>
                  <a:pt x="108328" y="172116"/>
                  <a:pt x="105426" y="165215"/>
                  <a:pt x="103621" y="157994"/>
                </a:cubicBezTo>
                <a:cubicBezTo>
                  <a:pt x="102444" y="153287"/>
                  <a:pt x="102261" y="148212"/>
                  <a:pt x="100091" y="143872"/>
                </a:cubicBezTo>
                <a:cubicBezTo>
                  <a:pt x="96296" y="136282"/>
                  <a:pt x="94020" y="125373"/>
                  <a:pt x="85969" y="122689"/>
                </a:cubicBezTo>
                <a:cubicBezTo>
                  <a:pt x="70774" y="117623"/>
                  <a:pt x="78988" y="120061"/>
                  <a:pt x="61255" y="115628"/>
                </a:cubicBezTo>
                <a:cubicBezTo>
                  <a:pt x="60078" y="112097"/>
                  <a:pt x="57957" y="108750"/>
                  <a:pt x="57725" y="105036"/>
                </a:cubicBezTo>
                <a:cubicBezTo>
                  <a:pt x="55595" y="70954"/>
                  <a:pt x="61349" y="36042"/>
                  <a:pt x="54194" y="2652"/>
                </a:cubicBezTo>
                <a:cubicBezTo>
                  <a:pt x="53626" y="0"/>
                  <a:pt x="29375" y="8571"/>
                  <a:pt x="25950" y="9713"/>
                </a:cubicBezTo>
                <a:cubicBezTo>
                  <a:pt x="19046" y="20069"/>
                  <a:pt x="18282" y="19201"/>
                  <a:pt x="15359" y="30896"/>
                </a:cubicBezTo>
                <a:cubicBezTo>
                  <a:pt x="15074" y="32038"/>
                  <a:pt x="15359" y="33249"/>
                  <a:pt x="18889" y="37957"/>
                </a:cubicBez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2" name="Freeform 61"/>
          <p:cNvSpPr/>
          <p:nvPr/>
        </p:nvSpPr>
        <p:spPr>
          <a:xfrm>
            <a:off x="4102106" y="5204888"/>
            <a:ext cx="239713" cy="338667"/>
          </a:xfrm>
          <a:custGeom>
            <a:avLst/>
            <a:gdLst>
              <a:gd name="connsiteX0" fmla="*/ 4119 w 240374"/>
              <a:gd name="connsiteY0" fmla="*/ 2942 h 338340"/>
              <a:gd name="connsiteX1" fmla="*/ 7649 w 240374"/>
              <a:gd name="connsiteY1" fmla="*/ 13534 h 338340"/>
              <a:gd name="connsiteX2" fmla="*/ 11180 w 240374"/>
              <a:gd name="connsiteY2" fmla="*/ 27656 h 338340"/>
              <a:gd name="connsiteX3" fmla="*/ 18241 w 240374"/>
              <a:gd name="connsiteY3" fmla="*/ 38247 h 338340"/>
              <a:gd name="connsiteX4" fmla="*/ 21771 w 240374"/>
              <a:gd name="connsiteY4" fmla="*/ 115918 h 338340"/>
              <a:gd name="connsiteX5" fmla="*/ 28832 w 240374"/>
              <a:gd name="connsiteY5" fmla="*/ 140632 h 338340"/>
              <a:gd name="connsiteX6" fmla="*/ 35893 w 240374"/>
              <a:gd name="connsiteY6" fmla="*/ 172406 h 338340"/>
              <a:gd name="connsiteX7" fmla="*/ 50015 w 240374"/>
              <a:gd name="connsiteY7" fmla="*/ 204181 h 338340"/>
              <a:gd name="connsiteX8" fmla="*/ 71198 w 240374"/>
              <a:gd name="connsiteY8" fmla="*/ 218303 h 338340"/>
              <a:gd name="connsiteX9" fmla="*/ 78259 w 240374"/>
              <a:gd name="connsiteY9" fmla="*/ 228894 h 338340"/>
              <a:gd name="connsiteX10" fmla="*/ 88851 w 240374"/>
              <a:gd name="connsiteY10" fmla="*/ 250077 h 338340"/>
              <a:gd name="connsiteX11" fmla="*/ 110034 w 240374"/>
              <a:gd name="connsiteY11" fmla="*/ 260669 h 338340"/>
              <a:gd name="connsiteX12" fmla="*/ 120625 w 240374"/>
              <a:gd name="connsiteY12" fmla="*/ 271260 h 338340"/>
              <a:gd name="connsiteX13" fmla="*/ 131217 w 240374"/>
              <a:gd name="connsiteY13" fmla="*/ 274791 h 338340"/>
              <a:gd name="connsiteX14" fmla="*/ 155930 w 240374"/>
              <a:gd name="connsiteY14" fmla="*/ 285383 h 338340"/>
              <a:gd name="connsiteX15" fmla="*/ 166522 w 240374"/>
              <a:gd name="connsiteY15" fmla="*/ 295974 h 338340"/>
              <a:gd name="connsiteX16" fmla="*/ 180644 w 240374"/>
              <a:gd name="connsiteY16" fmla="*/ 327749 h 338340"/>
              <a:gd name="connsiteX17" fmla="*/ 201827 w 240374"/>
              <a:gd name="connsiteY17" fmla="*/ 334810 h 338340"/>
              <a:gd name="connsiteX18" fmla="*/ 212418 w 240374"/>
              <a:gd name="connsiteY18" fmla="*/ 338340 h 338340"/>
              <a:gd name="connsiteX19" fmla="*/ 226540 w 240374"/>
              <a:gd name="connsiteY19" fmla="*/ 334810 h 338340"/>
              <a:gd name="connsiteX20" fmla="*/ 237132 w 240374"/>
              <a:gd name="connsiteY20" fmla="*/ 313627 h 338340"/>
              <a:gd name="connsiteX21" fmla="*/ 226540 w 240374"/>
              <a:gd name="connsiteY21" fmla="*/ 264199 h 338340"/>
              <a:gd name="connsiteX22" fmla="*/ 215949 w 240374"/>
              <a:gd name="connsiteY22" fmla="*/ 253608 h 338340"/>
              <a:gd name="connsiteX23" fmla="*/ 212418 w 240374"/>
              <a:gd name="connsiteY23" fmla="*/ 239486 h 338340"/>
              <a:gd name="connsiteX24" fmla="*/ 205357 w 240374"/>
              <a:gd name="connsiteY24" fmla="*/ 228894 h 338340"/>
              <a:gd name="connsiteX25" fmla="*/ 201827 w 240374"/>
              <a:gd name="connsiteY25" fmla="*/ 207711 h 338340"/>
              <a:gd name="connsiteX26" fmla="*/ 198296 w 240374"/>
              <a:gd name="connsiteY26" fmla="*/ 112388 h 338340"/>
              <a:gd name="connsiteX27" fmla="*/ 191235 w 240374"/>
              <a:gd name="connsiteY27" fmla="*/ 91205 h 338340"/>
              <a:gd name="connsiteX28" fmla="*/ 159461 w 240374"/>
              <a:gd name="connsiteY28" fmla="*/ 70022 h 338340"/>
              <a:gd name="connsiteX29" fmla="*/ 148869 w 240374"/>
              <a:gd name="connsiteY29" fmla="*/ 62961 h 338340"/>
              <a:gd name="connsiteX30" fmla="*/ 138278 w 240374"/>
              <a:gd name="connsiteY30" fmla="*/ 55900 h 338340"/>
              <a:gd name="connsiteX31" fmla="*/ 127686 w 240374"/>
              <a:gd name="connsiteY31" fmla="*/ 34717 h 338340"/>
              <a:gd name="connsiteX32" fmla="*/ 124156 w 240374"/>
              <a:gd name="connsiteY32" fmla="*/ 24125 h 338340"/>
              <a:gd name="connsiteX33" fmla="*/ 113564 w 240374"/>
              <a:gd name="connsiteY33" fmla="*/ 31186 h 338340"/>
              <a:gd name="connsiteX34" fmla="*/ 99442 w 240374"/>
              <a:gd name="connsiteY34" fmla="*/ 52369 h 338340"/>
              <a:gd name="connsiteX35" fmla="*/ 78259 w 240374"/>
              <a:gd name="connsiteY35" fmla="*/ 59430 h 338340"/>
              <a:gd name="connsiteX36" fmla="*/ 42954 w 240374"/>
              <a:gd name="connsiteY36" fmla="*/ 34717 h 338340"/>
              <a:gd name="connsiteX37" fmla="*/ 42954 w 240374"/>
              <a:gd name="connsiteY37" fmla="*/ 34717 h 338340"/>
              <a:gd name="connsiteX38" fmla="*/ 32363 w 240374"/>
              <a:gd name="connsiteY38" fmla="*/ 31186 h 338340"/>
              <a:gd name="connsiteX39" fmla="*/ 4119 w 240374"/>
              <a:gd name="connsiteY39" fmla="*/ 2942 h 338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40374" h="338340">
                <a:moveTo>
                  <a:pt x="4119" y="2942"/>
                </a:moveTo>
                <a:cubicBezTo>
                  <a:pt x="0" y="0"/>
                  <a:pt x="6627" y="9956"/>
                  <a:pt x="7649" y="13534"/>
                </a:cubicBezTo>
                <a:cubicBezTo>
                  <a:pt x="8982" y="18200"/>
                  <a:pt x="9268" y="23196"/>
                  <a:pt x="11180" y="27656"/>
                </a:cubicBezTo>
                <a:cubicBezTo>
                  <a:pt x="12851" y="31556"/>
                  <a:pt x="15887" y="34717"/>
                  <a:pt x="18241" y="38247"/>
                </a:cubicBezTo>
                <a:cubicBezTo>
                  <a:pt x="19418" y="64137"/>
                  <a:pt x="19783" y="90077"/>
                  <a:pt x="21771" y="115918"/>
                </a:cubicBezTo>
                <a:cubicBezTo>
                  <a:pt x="22504" y="125446"/>
                  <a:pt x="26606" y="131729"/>
                  <a:pt x="28832" y="140632"/>
                </a:cubicBezTo>
                <a:cubicBezTo>
                  <a:pt x="33864" y="160762"/>
                  <a:pt x="30463" y="154306"/>
                  <a:pt x="35893" y="172406"/>
                </a:cubicBezTo>
                <a:cubicBezTo>
                  <a:pt x="38166" y="179983"/>
                  <a:pt x="42320" y="197448"/>
                  <a:pt x="50015" y="204181"/>
                </a:cubicBezTo>
                <a:cubicBezTo>
                  <a:pt x="56402" y="209769"/>
                  <a:pt x="71198" y="218303"/>
                  <a:pt x="71198" y="218303"/>
                </a:cubicBezTo>
                <a:cubicBezTo>
                  <a:pt x="73552" y="221833"/>
                  <a:pt x="76361" y="225099"/>
                  <a:pt x="78259" y="228894"/>
                </a:cubicBezTo>
                <a:cubicBezTo>
                  <a:pt x="84002" y="240380"/>
                  <a:pt x="78733" y="239959"/>
                  <a:pt x="88851" y="250077"/>
                </a:cubicBezTo>
                <a:cubicBezTo>
                  <a:pt x="95695" y="256921"/>
                  <a:pt x="101419" y="257797"/>
                  <a:pt x="110034" y="260669"/>
                </a:cubicBezTo>
                <a:cubicBezTo>
                  <a:pt x="113564" y="264199"/>
                  <a:pt x="116471" y="268491"/>
                  <a:pt x="120625" y="271260"/>
                </a:cubicBezTo>
                <a:cubicBezTo>
                  <a:pt x="123722" y="273324"/>
                  <a:pt x="127796" y="273325"/>
                  <a:pt x="131217" y="274791"/>
                </a:cubicBezTo>
                <a:cubicBezTo>
                  <a:pt x="161760" y="287881"/>
                  <a:pt x="131088" y="277101"/>
                  <a:pt x="155930" y="285383"/>
                </a:cubicBezTo>
                <a:cubicBezTo>
                  <a:pt x="159461" y="288913"/>
                  <a:pt x="164097" y="291609"/>
                  <a:pt x="166522" y="295974"/>
                </a:cubicBezTo>
                <a:cubicBezTo>
                  <a:pt x="168890" y="300236"/>
                  <a:pt x="172895" y="322906"/>
                  <a:pt x="180644" y="327749"/>
                </a:cubicBezTo>
                <a:cubicBezTo>
                  <a:pt x="186956" y="331694"/>
                  <a:pt x="194766" y="332456"/>
                  <a:pt x="201827" y="334810"/>
                </a:cubicBezTo>
                <a:lnTo>
                  <a:pt x="212418" y="338340"/>
                </a:lnTo>
                <a:cubicBezTo>
                  <a:pt x="217125" y="337163"/>
                  <a:pt x="222503" y="337501"/>
                  <a:pt x="226540" y="334810"/>
                </a:cubicBezTo>
                <a:cubicBezTo>
                  <a:pt x="232405" y="330900"/>
                  <a:pt x="235118" y="319668"/>
                  <a:pt x="237132" y="313627"/>
                </a:cubicBezTo>
                <a:cubicBezTo>
                  <a:pt x="234555" y="285289"/>
                  <a:pt x="240374" y="280800"/>
                  <a:pt x="226540" y="264199"/>
                </a:cubicBezTo>
                <a:cubicBezTo>
                  <a:pt x="223344" y="260363"/>
                  <a:pt x="219479" y="257138"/>
                  <a:pt x="215949" y="253608"/>
                </a:cubicBezTo>
                <a:cubicBezTo>
                  <a:pt x="214772" y="248901"/>
                  <a:pt x="214329" y="243946"/>
                  <a:pt x="212418" y="239486"/>
                </a:cubicBezTo>
                <a:cubicBezTo>
                  <a:pt x="210746" y="235586"/>
                  <a:pt x="206699" y="232920"/>
                  <a:pt x="205357" y="228894"/>
                </a:cubicBezTo>
                <a:cubicBezTo>
                  <a:pt x="203093" y="222103"/>
                  <a:pt x="203004" y="214772"/>
                  <a:pt x="201827" y="207711"/>
                </a:cubicBezTo>
                <a:cubicBezTo>
                  <a:pt x="200650" y="175937"/>
                  <a:pt x="201175" y="144054"/>
                  <a:pt x="198296" y="112388"/>
                </a:cubicBezTo>
                <a:cubicBezTo>
                  <a:pt x="197622" y="104976"/>
                  <a:pt x="197428" y="95334"/>
                  <a:pt x="191235" y="91205"/>
                </a:cubicBezTo>
                <a:lnTo>
                  <a:pt x="159461" y="70022"/>
                </a:lnTo>
                <a:lnTo>
                  <a:pt x="148869" y="62961"/>
                </a:lnTo>
                <a:lnTo>
                  <a:pt x="138278" y="55900"/>
                </a:lnTo>
                <a:cubicBezTo>
                  <a:pt x="129400" y="29269"/>
                  <a:pt x="141377" y="62101"/>
                  <a:pt x="127686" y="34717"/>
                </a:cubicBezTo>
                <a:cubicBezTo>
                  <a:pt x="126022" y="31388"/>
                  <a:pt x="125333" y="27656"/>
                  <a:pt x="124156" y="24125"/>
                </a:cubicBezTo>
                <a:cubicBezTo>
                  <a:pt x="120625" y="26479"/>
                  <a:pt x="116215" y="27873"/>
                  <a:pt x="113564" y="31186"/>
                </a:cubicBezTo>
                <a:cubicBezTo>
                  <a:pt x="101886" y="45784"/>
                  <a:pt x="121480" y="40126"/>
                  <a:pt x="99442" y="52369"/>
                </a:cubicBezTo>
                <a:cubicBezTo>
                  <a:pt x="92936" y="55983"/>
                  <a:pt x="78259" y="59430"/>
                  <a:pt x="78259" y="59430"/>
                </a:cubicBezTo>
                <a:cubicBezTo>
                  <a:pt x="42630" y="54977"/>
                  <a:pt x="53015" y="64901"/>
                  <a:pt x="42954" y="34717"/>
                </a:cubicBezTo>
                <a:lnTo>
                  <a:pt x="42954" y="34717"/>
                </a:lnTo>
                <a:cubicBezTo>
                  <a:pt x="39424" y="33540"/>
                  <a:pt x="35616" y="32993"/>
                  <a:pt x="32363" y="31186"/>
                </a:cubicBezTo>
                <a:cubicBezTo>
                  <a:pt x="24945" y="27065"/>
                  <a:pt x="8238" y="5884"/>
                  <a:pt x="4119" y="2942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3" name="Freeform 62"/>
          <p:cNvSpPr/>
          <p:nvPr/>
        </p:nvSpPr>
        <p:spPr>
          <a:xfrm>
            <a:off x="2882906" y="4974173"/>
            <a:ext cx="138113" cy="268817"/>
          </a:xfrm>
          <a:custGeom>
            <a:avLst/>
            <a:gdLst>
              <a:gd name="connsiteX0" fmla="*/ 40435 w 138070"/>
              <a:gd name="connsiteY0" fmla="*/ 7650 h 268907"/>
              <a:gd name="connsiteX1" fmla="*/ 58087 w 138070"/>
              <a:gd name="connsiteY1" fmla="*/ 14711 h 268907"/>
              <a:gd name="connsiteX2" fmla="*/ 61618 w 138070"/>
              <a:gd name="connsiteY2" fmla="*/ 25303 h 268907"/>
              <a:gd name="connsiteX3" fmla="*/ 68679 w 138070"/>
              <a:gd name="connsiteY3" fmla="*/ 35894 h 268907"/>
              <a:gd name="connsiteX4" fmla="*/ 72209 w 138070"/>
              <a:gd name="connsiteY4" fmla="*/ 46486 h 268907"/>
              <a:gd name="connsiteX5" fmla="*/ 93392 w 138070"/>
              <a:gd name="connsiteY5" fmla="*/ 64138 h 268907"/>
              <a:gd name="connsiteX6" fmla="*/ 107514 w 138070"/>
              <a:gd name="connsiteY6" fmla="*/ 85321 h 268907"/>
              <a:gd name="connsiteX7" fmla="*/ 118106 w 138070"/>
              <a:gd name="connsiteY7" fmla="*/ 110035 h 268907"/>
              <a:gd name="connsiteX8" fmla="*/ 125167 w 138070"/>
              <a:gd name="connsiteY8" fmla="*/ 131218 h 268907"/>
              <a:gd name="connsiteX9" fmla="*/ 128697 w 138070"/>
              <a:gd name="connsiteY9" fmla="*/ 141809 h 268907"/>
              <a:gd name="connsiteX10" fmla="*/ 132228 w 138070"/>
              <a:gd name="connsiteY10" fmla="*/ 152401 h 268907"/>
              <a:gd name="connsiteX11" fmla="*/ 135758 w 138070"/>
              <a:gd name="connsiteY11" fmla="*/ 166523 h 268907"/>
              <a:gd name="connsiteX12" fmla="*/ 132228 w 138070"/>
              <a:gd name="connsiteY12" fmla="*/ 212419 h 268907"/>
              <a:gd name="connsiteX13" fmla="*/ 111045 w 138070"/>
              <a:gd name="connsiteY13" fmla="*/ 226541 h 268907"/>
              <a:gd name="connsiteX14" fmla="*/ 103984 w 138070"/>
              <a:gd name="connsiteY14" fmla="*/ 237133 h 268907"/>
              <a:gd name="connsiteX15" fmla="*/ 93392 w 138070"/>
              <a:gd name="connsiteY15" fmla="*/ 244194 h 268907"/>
              <a:gd name="connsiteX16" fmla="*/ 89862 w 138070"/>
              <a:gd name="connsiteY16" fmla="*/ 254785 h 268907"/>
              <a:gd name="connsiteX17" fmla="*/ 68679 w 138070"/>
              <a:gd name="connsiteY17" fmla="*/ 268907 h 268907"/>
              <a:gd name="connsiteX18" fmla="*/ 51026 w 138070"/>
              <a:gd name="connsiteY18" fmla="*/ 265377 h 268907"/>
              <a:gd name="connsiteX19" fmla="*/ 43965 w 138070"/>
              <a:gd name="connsiteY19" fmla="*/ 251255 h 268907"/>
              <a:gd name="connsiteX20" fmla="*/ 19252 w 138070"/>
              <a:gd name="connsiteY20" fmla="*/ 226541 h 268907"/>
              <a:gd name="connsiteX21" fmla="*/ 15721 w 138070"/>
              <a:gd name="connsiteY21" fmla="*/ 170053 h 268907"/>
              <a:gd name="connsiteX22" fmla="*/ 5130 w 138070"/>
              <a:gd name="connsiteY22" fmla="*/ 148870 h 268907"/>
              <a:gd name="connsiteX23" fmla="*/ 1599 w 138070"/>
              <a:gd name="connsiteY23" fmla="*/ 138279 h 268907"/>
              <a:gd name="connsiteX24" fmla="*/ 12191 w 138070"/>
              <a:gd name="connsiteY24" fmla="*/ 113565 h 268907"/>
              <a:gd name="connsiteX25" fmla="*/ 15721 w 138070"/>
              <a:gd name="connsiteY25" fmla="*/ 102974 h 268907"/>
              <a:gd name="connsiteX26" fmla="*/ 29843 w 138070"/>
              <a:gd name="connsiteY26" fmla="*/ 81791 h 268907"/>
              <a:gd name="connsiteX27" fmla="*/ 36904 w 138070"/>
              <a:gd name="connsiteY27" fmla="*/ 60608 h 268907"/>
              <a:gd name="connsiteX28" fmla="*/ 40435 w 138070"/>
              <a:gd name="connsiteY28" fmla="*/ 7650 h 268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38070" h="268907">
                <a:moveTo>
                  <a:pt x="40435" y="7650"/>
                </a:moveTo>
                <a:cubicBezTo>
                  <a:pt x="43966" y="0"/>
                  <a:pt x="53219" y="10654"/>
                  <a:pt x="58087" y="14711"/>
                </a:cubicBezTo>
                <a:cubicBezTo>
                  <a:pt x="60946" y="17094"/>
                  <a:pt x="59954" y="21974"/>
                  <a:pt x="61618" y="25303"/>
                </a:cubicBezTo>
                <a:cubicBezTo>
                  <a:pt x="63516" y="29098"/>
                  <a:pt x="66325" y="32364"/>
                  <a:pt x="68679" y="35894"/>
                </a:cubicBezTo>
                <a:cubicBezTo>
                  <a:pt x="69856" y="39425"/>
                  <a:pt x="70145" y="43389"/>
                  <a:pt x="72209" y="46486"/>
                </a:cubicBezTo>
                <a:cubicBezTo>
                  <a:pt x="77644" y="54639"/>
                  <a:pt x="85579" y="58929"/>
                  <a:pt x="93392" y="64138"/>
                </a:cubicBezTo>
                <a:cubicBezTo>
                  <a:pt x="98099" y="71199"/>
                  <a:pt x="104830" y="77270"/>
                  <a:pt x="107514" y="85321"/>
                </a:cubicBezTo>
                <a:cubicBezTo>
                  <a:pt x="118883" y="119425"/>
                  <a:pt x="100650" y="66396"/>
                  <a:pt x="118106" y="110035"/>
                </a:cubicBezTo>
                <a:cubicBezTo>
                  <a:pt x="120870" y="116946"/>
                  <a:pt x="122813" y="124157"/>
                  <a:pt x="125167" y="131218"/>
                </a:cubicBezTo>
                <a:lnTo>
                  <a:pt x="128697" y="141809"/>
                </a:lnTo>
                <a:cubicBezTo>
                  <a:pt x="129874" y="145340"/>
                  <a:pt x="131325" y="148790"/>
                  <a:pt x="132228" y="152401"/>
                </a:cubicBezTo>
                <a:lnTo>
                  <a:pt x="135758" y="166523"/>
                </a:lnTo>
                <a:cubicBezTo>
                  <a:pt x="134581" y="181822"/>
                  <a:pt x="138070" y="198231"/>
                  <a:pt x="132228" y="212419"/>
                </a:cubicBezTo>
                <a:cubicBezTo>
                  <a:pt x="128997" y="220266"/>
                  <a:pt x="111045" y="226541"/>
                  <a:pt x="111045" y="226541"/>
                </a:cubicBezTo>
                <a:cubicBezTo>
                  <a:pt x="108691" y="230072"/>
                  <a:pt x="106984" y="234133"/>
                  <a:pt x="103984" y="237133"/>
                </a:cubicBezTo>
                <a:cubicBezTo>
                  <a:pt x="100984" y="240133"/>
                  <a:pt x="96043" y="240881"/>
                  <a:pt x="93392" y="244194"/>
                </a:cubicBezTo>
                <a:cubicBezTo>
                  <a:pt x="91067" y="247100"/>
                  <a:pt x="92493" y="252154"/>
                  <a:pt x="89862" y="254785"/>
                </a:cubicBezTo>
                <a:cubicBezTo>
                  <a:pt x="83861" y="260786"/>
                  <a:pt x="68679" y="268907"/>
                  <a:pt x="68679" y="268907"/>
                </a:cubicBezTo>
                <a:cubicBezTo>
                  <a:pt x="62795" y="267730"/>
                  <a:pt x="55909" y="268865"/>
                  <a:pt x="51026" y="265377"/>
                </a:cubicBezTo>
                <a:cubicBezTo>
                  <a:pt x="46743" y="262318"/>
                  <a:pt x="46673" y="255768"/>
                  <a:pt x="43965" y="251255"/>
                </a:cubicBezTo>
                <a:cubicBezTo>
                  <a:pt x="29802" y="227650"/>
                  <a:pt x="37006" y="232460"/>
                  <a:pt x="19252" y="226541"/>
                </a:cubicBezTo>
                <a:cubicBezTo>
                  <a:pt x="18075" y="207712"/>
                  <a:pt x="17696" y="188815"/>
                  <a:pt x="15721" y="170053"/>
                </a:cubicBezTo>
                <a:cubicBezTo>
                  <a:pt x="14538" y="158813"/>
                  <a:pt x="10049" y="158708"/>
                  <a:pt x="5130" y="148870"/>
                </a:cubicBezTo>
                <a:cubicBezTo>
                  <a:pt x="3466" y="145542"/>
                  <a:pt x="2776" y="141809"/>
                  <a:pt x="1599" y="138279"/>
                </a:cubicBezTo>
                <a:cubicBezTo>
                  <a:pt x="8948" y="108886"/>
                  <a:pt x="0" y="137949"/>
                  <a:pt x="12191" y="113565"/>
                </a:cubicBezTo>
                <a:cubicBezTo>
                  <a:pt x="13855" y="110237"/>
                  <a:pt x="13914" y="106227"/>
                  <a:pt x="15721" y="102974"/>
                </a:cubicBezTo>
                <a:cubicBezTo>
                  <a:pt x="19842" y="95556"/>
                  <a:pt x="27159" y="89842"/>
                  <a:pt x="29843" y="81791"/>
                </a:cubicBezTo>
                <a:lnTo>
                  <a:pt x="36904" y="60608"/>
                </a:lnTo>
                <a:cubicBezTo>
                  <a:pt x="33112" y="22685"/>
                  <a:pt x="36904" y="15300"/>
                  <a:pt x="40435" y="7650"/>
                </a:cubicBezTo>
                <a:close/>
              </a:path>
            </a:pathLst>
          </a:custGeom>
          <a:solidFill>
            <a:srgbClr val="33C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4" name="Title 7"/>
          <p:cNvSpPr txBox="1">
            <a:spLocks/>
          </p:cNvSpPr>
          <p:nvPr/>
        </p:nvSpPr>
        <p:spPr bwMode="auto">
          <a:xfrm>
            <a:off x="2484444" y="5217584"/>
            <a:ext cx="1354137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శ్రీలంక</a:t>
            </a: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6" name="Freeform 65"/>
          <p:cNvSpPr/>
          <p:nvPr/>
        </p:nvSpPr>
        <p:spPr>
          <a:xfrm>
            <a:off x="3816350" y="5255687"/>
            <a:ext cx="642938" cy="774700"/>
          </a:xfrm>
          <a:custGeom>
            <a:avLst/>
            <a:gdLst>
              <a:gd name="connsiteX0" fmla="*/ 713 w 643662"/>
              <a:gd name="connsiteY0" fmla="*/ 13181 h 775769"/>
              <a:gd name="connsiteX1" fmla="*/ 4243 w 643662"/>
              <a:gd name="connsiteY1" fmla="*/ 41425 h 775769"/>
              <a:gd name="connsiteX2" fmla="*/ 25426 w 643662"/>
              <a:gd name="connsiteY2" fmla="*/ 62608 h 775769"/>
              <a:gd name="connsiteX3" fmla="*/ 28957 w 643662"/>
              <a:gd name="connsiteY3" fmla="*/ 76730 h 775769"/>
              <a:gd name="connsiteX4" fmla="*/ 57201 w 643662"/>
              <a:gd name="connsiteY4" fmla="*/ 101443 h 775769"/>
              <a:gd name="connsiteX5" fmla="*/ 67792 w 643662"/>
              <a:gd name="connsiteY5" fmla="*/ 104974 h 775769"/>
              <a:gd name="connsiteX6" fmla="*/ 88975 w 643662"/>
              <a:gd name="connsiteY6" fmla="*/ 119096 h 775769"/>
              <a:gd name="connsiteX7" fmla="*/ 113689 w 643662"/>
              <a:gd name="connsiteY7" fmla="*/ 147340 h 775769"/>
              <a:gd name="connsiteX8" fmla="*/ 134872 w 643662"/>
              <a:gd name="connsiteY8" fmla="*/ 189706 h 775769"/>
              <a:gd name="connsiteX9" fmla="*/ 141933 w 643662"/>
              <a:gd name="connsiteY9" fmla="*/ 210889 h 775769"/>
              <a:gd name="connsiteX10" fmla="*/ 145463 w 643662"/>
              <a:gd name="connsiteY10" fmla="*/ 221480 h 775769"/>
              <a:gd name="connsiteX11" fmla="*/ 166646 w 643662"/>
              <a:gd name="connsiteY11" fmla="*/ 239133 h 775769"/>
              <a:gd name="connsiteX12" fmla="*/ 187829 w 643662"/>
              <a:gd name="connsiteY12" fmla="*/ 249725 h 775769"/>
              <a:gd name="connsiteX13" fmla="*/ 205482 w 643662"/>
              <a:gd name="connsiteY13" fmla="*/ 270908 h 775769"/>
              <a:gd name="connsiteX14" fmla="*/ 216073 w 643662"/>
              <a:gd name="connsiteY14" fmla="*/ 292091 h 775769"/>
              <a:gd name="connsiteX15" fmla="*/ 226665 w 643662"/>
              <a:gd name="connsiteY15" fmla="*/ 313274 h 775769"/>
              <a:gd name="connsiteX16" fmla="*/ 230195 w 643662"/>
              <a:gd name="connsiteY16" fmla="*/ 323865 h 775769"/>
              <a:gd name="connsiteX17" fmla="*/ 233726 w 643662"/>
              <a:gd name="connsiteY17" fmla="*/ 373292 h 775769"/>
              <a:gd name="connsiteX18" fmla="*/ 244317 w 643662"/>
              <a:gd name="connsiteY18" fmla="*/ 376823 h 775769"/>
              <a:gd name="connsiteX19" fmla="*/ 254909 w 643662"/>
              <a:gd name="connsiteY19" fmla="*/ 383884 h 775769"/>
              <a:gd name="connsiteX20" fmla="*/ 269031 w 643662"/>
              <a:gd name="connsiteY20" fmla="*/ 405067 h 775769"/>
              <a:gd name="connsiteX21" fmla="*/ 283153 w 643662"/>
              <a:gd name="connsiteY21" fmla="*/ 447433 h 775769"/>
              <a:gd name="connsiteX22" fmla="*/ 286683 w 643662"/>
              <a:gd name="connsiteY22" fmla="*/ 458024 h 775769"/>
              <a:gd name="connsiteX23" fmla="*/ 297275 w 643662"/>
              <a:gd name="connsiteY23" fmla="*/ 468616 h 775769"/>
              <a:gd name="connsiteX24" fmla="*/ 304336 w 643662"/>
              <a:gd name="connsiteY24" fmla="*/ 479207 h 775769"/>
              <a:gd name="connsiteX25" fmla="*/ 314927 w 643662"/>
              <a:gd name="connsiteY25" fmla="*/ 486268 h 775769"/>
              <a:gd name="connsiteX26" fmla="*/ 321988 w 643662"/>
              <a:gd name="connsiteY26" fmla="*/ 496860 h 775769"/>
              <a:gd name="connsiteX27" fmla="*/ 339641 w 643662"/>
              <a:gd name="connsiteY27" fmla="*/ 514512 h 775769"/>
              <a:gd name="connsiteX28" fmla="*/ 350232 w 643662"/>
              <a:gd name="connsiteY28" fmla="*/ 546287 h 775769"/>
              <a:gd name="connsiteX29" fmla="*/ 360824 w 643662"/>
              <a:gd name="connsiteY29" fmla="*/ 567470 h 775769"/>
              <a:gd name="connsiteX30" fmla="*/ 382007 w 643662"/>
              <a:gd name="connsiteY30" fmla="*/ 585122 h 775769"/>
              <a:gd name="connsiteX31" fmla="*/ 392598 w 643662"/>
              <a:gd name="connsiteY31" fmla="*/ 595714 h 775769"/>
              <a:gd name="connsiteX32" fmla="*/ 403190 w 643662"/>
              <a:gd name="connsiteY32" fmla="*/ 602775 h 775769"/>
              <a:gd name="connsiteX33" fmla="*/ 420842 w 643662"/>
              <a:gd name="connsiteY33" fmla="*/ 623958 h 775769"/>
              <a:gd name="connsiteX34" fmla="*/ 431434 w 643662"/>
              <a:gd name="connsiteY34" fmla="*/ 634549 h 775769"/>
              <a:gd name="connsiteX35" fmla="*/ 445556 w 643662"/>
              <a:gd name="connsiteY35" fmla="*/ 655732 h 775769"/>
              <a:gd name="connsiteX36" fmla="*/ 452617 w 643662"/>
              <a:gd name="connsiteY36" fmla="*/ 666324 h 775769"/>
              <a:gd name="connsiteX37" fmla="*/ 473800 w 643662"/>
              <a:gd name="connsiteY37" fmla="*/ 680446 h 775769"/>
              <a:gd name="connsiteX38" fmla="*/ 484391 w 643662"/>
              <a:gd name="connsiteY38" fmla="*/ 687507 h 775769"/>
              <a:gd name="connsiteX39" fmla="*/ 494983 w 643662"/>
              <a:gd name="connsiteY39" fmla="*/ 694568 h 775769"/>
              <a:gd name="connsiteX40" fmla="*/ 512635 w 643662"/>
              <a:gd name="connsiteY40" fmla="*/ 712220 h 775769"/>
              <a:gd name="connsiteX41" fmla="*/ 530288 w 643662"/>
              <a:gd name="connsiteY41" fmla="*/ 733403 h 775769"/>
              <a:gd name="connsiteX42" fmla="*/ 544410 w 643662"/>
              <a:gd name="connsiteY42" fmla="*/ 754586 h 775769"/>
              <a:gd name="connsiteX43" fmla="*/ 547940 w 643662"/>
              <a:gd name="connsiteY43" fmla="*/ 765178 h 775769"/>
              <a:gd name="connsiteX44" fmla="*/ 555001 w 643662"/>
              <a:gd name="connsiteY44" fmla="*/ 775769 h 775769"/>
              <a:gd name="connsiteX45" fmla="*/ 572654 w 643662"/>
              <a:gd name="connsiteY45" fmla="*/ 772239 h 775769"/>
              <a:gd name="connsiteX46" fmla="*/ 636203 w 643662"/>
              <a:gd name="connsiteY46" fmla="*/ 765178 h 775769"/>
              <a:gd name="connsiteX47" fmla="*/ 632672 w 643662"/>
              <a:gd name="connsiteY47" fmla="*/ 736934 h 775769"/>
              <a:gd name="connsiteX48" fmla="*/ 629142 w 643662"/>
              <a:gd name="connsiteY48" fmla="*/ 726342 h 775769"/>
              <a:gd name="connsiteX49" fmla="*/ 632672 w 643662"/>
              <a:gd name="connsiteY49" fmla="*/ 645141 h 775769"/>
              <a:gd name="connsiteX50" fmla="*/ 636203 w 643662"/>
              <a:gd name="connsiteY50" fmla="*/ 634549 h 775769"/>
              <a:gd name="connsiteX51" fmla="*/ 639733 w 643662"/>
              <a:gd name="connsiteY51" fmla="*/ 620427 h 775769"/>
              <a:gd name="connsiteX52" fmla="*/ 629142 w 643662"/>
              <a:gd name="connsiteY52" fmla="*/ 563939 h 775769"/>
              <a:gd name="connsiteX53" fmla="*/ 615020 w 643662"/>
              <a:gd name="connsiteY53" fmla="*/ 560409 h 775769"/>
              <a:gd name="connsiteX54" fmla="*/ 604428 w 643662"/>
              <a:gd name="connsiteY54" fmla="*/ 553348 h 775769"/>
              <a:gd name="connsiteX55" fmla="*/ 590306 w 643662"/>
              <a:gd name="connsiteY55" fmla="*/ 549817 h 775769"/>
              <a:gd name="connsiteX56" fmla="*/ 569123 w 643662"/>
              <a:gd name="connsiteY56" fmla="*/ 542756 h 775769"/>
              <a:gd name="connsiteX57" fmla="*/ 558532 w 643662"/>
              <a:gd name="connsiteY57" fmla="*/ 539226 h 775769"/>
              <a:gd name="connsiteX58" fmla="*/ 547940 w 643662"/>
              <a:gd name="connsiteY58" fmla="*/ 535695 h 775769"/>
              <a:gd name="connsiteX59" fmla="*/ 540879 w 643662"/>
              <a:gd name="connsiteY59" fmla="*/ 507451 h 775769"/>
              <a:gd name="connsiteX60" fmla="*/ 533818 w 643662"/>
              <a:gd name="connsiteY60" fmla="*/ 468616 h 775769"/>
              <a:gd name="connsiteX61" fmla="*/ 512635 w 643662"/>
              <a:gd name="connsiteY61" fmla="*/ 450963 h 775769"/>
              <a:gd name="connsiteX62" fmla="*/ 491452 w 643662"/>
              <a:gd name="connsiteY62" fmla="*/ 443902 h 775769"/>
              <a:gd name="connsiteX63" fmla="*/ 484391 w 643662"/>
              <a:gd name="connsiteY63" fmla="*/ 376823 h 775769"/>
              <a:gd name="connsiteX64" fmla="*/ 480861 w 643662"/>
              <a:gd name="connsiteY64" fmla="*/ 366231 h 775769"/>
              <a:gd name="connsiteX65" fmla="*/ 470269 w 643662"/>
              <a:gd name="connsiteY65" fmla="*/ 362701 h 775769"/>
              <a:gd name="connsiteX66" fmla="*/ 445556 w 643662"/>
              <a:gd name="connsiteY66" fmla="*/ 309743 h 775769"/>
              <a:gd name="connsiteX67" fmla="*/ 424373 w 643662"/>
              <a:gd name="connsiteY67" fmla="*/ 302682 h 775769"/>
              <a:gd name="connsiteX68" fmla="*/ 410251 w 643662"/>
              <a:gd name="connsiteY68" fmla="*/ 281499 h 775769"/>
              <a:gd name="connsiteX69" fmla="*/ 389068 w 643662"/>
              <a:gd name="connsiteY69" fmla="*/ 274438 h 775769"/>
              <a:gd name="connsiteX70" fmla="*/ 378476 w 643662"/>
              <a:gd name="connsiteY70" fmla="*/ 270908 h 775769"/>
              <a:gd name="connsiteX71" fmla="*/ 346702 w 643662"/>
              <a:gd name="connsiteY71" fmla="*/ 249725 h 775769"/>
              <a:gd name="connsiteX72" fmla="*/ 336110 w 643662"/>
              <a:gd name="connsiteY72" fmla="*/ 242664 h 775769"/>
              <a:gd name="connsiteX73" fmla="*/ 314927 w 643662"/>
              <a:gd name="connsiteY73" fmla="*/ 232072 h 775769"/>
              <a:gd name="connsiteX74" fmla="*/ 304336 w 643662"/>
              <a:gd name="connsiteY74" fmla="*/ 210889 h 775769"/>
              <a:gd name="connsiteX75" fmla="*/ 293744 w 643662"/>
              <a:gd name="connsiteY75" fmla="*/ 189706 h 775769"/>
              <a:gd name="connsiteX76" fmla="*/ 290214 w 643662"/>
              <a:gd name="connsiteY76" fmla="*/ 179114 h 775769"/>
              <a:gd name="connsiteX77" fmla="*/ 265500 w 643662"/>
              <a:gd name="connsiteY77" fmla="*/ 172053 h 775769"/>
              <a:gd name="connsiteX78" fmla="*/ 254909 w 643662"/>
              <a:gd name="connsiteY78" fmla="*/ 164992 h 775769"/>
              <a:gd name="connsiteX79" fmla="*/ 244317 w 643662"/>
              <a:gd name="connsiteY79" fmla="*/ 161462 h 775769"/>
              <a:gd name="connsiteX80" fmla="*/ 223134 w 643662"/>
              <a:gd name="connsiteY80" fmla="*/ 147340 h 775769"/>
              <a:gd name="connsiteX81" fmla="*/ 212543 w 643662"/>
              <a:gd name="connsiteY81" fmla="*/ 140279 h 775769"/>
              <a:gd name="connsiteX82" fmla="*/ 198421 w 643662"/>
              <a:gd name="connsiteY82" fmla="*/ 119096 h 775769"/>
              <a:gd name="connsiteX83" fmla="*/ 191360 w 643662"/>
              <a:gd name="connsiteY83" fmla="*/ 108504 h 775769"/>
              <a:gd name="connsiteX84" fmla="*/ 180768 w 643662"/>
              <a:gd name="connsiteY84" fmla="*/ 97913 h 775769"/>
              <a:gd name="connsiteX85" fmla="*/ 166646 w 643662"/>
              <a:gd name="connsiteY85" fmla="*/ 76730 h 775769"/>
              <a:gd name="connsiteX86" fmla="*/ 159585 w 643662"/>
              <a:gd name="connsiteY86" fmla="*/ 55547 h 775769"/>
              <a:gd name="connsiteX87" fmla="*/ 156055 w 643662"/>
              <a:gd name="connsiteY87" fmla="*/ 41425 h 775769"/>
              <a:gd name="connsiteX88" fmla="*/ 96036 w 643662"/>
              <a:gd name="connsiteY88" fmla="*/ 30833 h 775769"/>
              <a:gd name="connsiteX89" fmla="*/ 64262 w 643662"/>
              <a:gd name="connsiteY89" fmla="*/ 23772 h 775769"/>
              <a:gd name="connsiteX90" fmla="*/ 50140 w 643662"/>
              <a:gd name="connsiteY90" fmla="*/ 20242 h 775769"/>
              <a:gd name="connsiteX91" fmla="*/ 4243 w 643662"/>
              <a:gd name="connsiteY91" fmla="*/ 9650 h 775769"/>
              <a:gd name="connsiteX92" fmla="*/ 713 w 643662"/>
              <a:gd name="connsiteY92" fmla="*/ 13181 h 775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43662" h="775769">
                <a:moveTo>
                  <a:pt x="713" y="13181"/>
                </a:moveTo>
                <a:cubicBezTo>
                  <a:pt x="713" y="18477"/>
                  <a:pt x="0" y="32939"/>
                  <a:pt x="4243" y="41425"/>
                </a:cubicBezTo>
                <a:cubicBezTo>
                  <a:pt x="8709" y="50357"/>
                  <a:pt x="25426" y="62608"/>
                  <a:pt x="25426" y="62608"/>
                </a:cubicBezTo>
                <a:cubicBezTo>
                  <a:pt x="26603" y="67315"/>
                  <a:pt x="27045" y="72270"/>
                  <a:pt x="28957" y="76730"/>
                </a:cubicBezTo>
                <a:cubicBezTo>
                  <a:pt x="33763" y="87943"/>
                  <a:pt x="46414" y="97847"/>
                  <a:pt x="57201" y="101443"/>
                </a:cubicBezTo>
                <a:cubicBezTo>
                  <a:pt x="60731" y="102620"/>
                  <a:pt x="64539" y="103167"/>
                  <a:pt x="67792" y="104974"/>
                </a:cubicBezTo>
                <a:cubicBezTo>
                  <a:pt x="75210" y="109095"/>
                  <a:pt x="88975" y="119096"/>
                  <a:pt x="88975" y="119096"/>
                </a:cubicBezTo>
                <a:cubicBezTo>
                  <a:pt x="105451" y="143810"/>
                  <a:pt x="96036" y="135572"/>
                  <a:pt x="113689" y="147340"/>
                </a:cubicBezTo>
                <a:cubicBezTo>
                  <a:pt x="131939" y="174715"/>
                  <a:pt x="125128" y="160473"/>
                  <a:pt x="134872" y="189706"/>
                </a:cubicBezTo>
                <a:lnTo>
                  <a:pt x="141933" y="210889"/>
                </a:lnTo>
                <a:cubicBezTo>
                  <a:pt x="143110" y="214419"/>
                  <a:pt x="142832" y="218849"/>
                  <a:pt x="145463" y="221480"/>
                </a:cubicBezTo>
                <a:cubicBezTo>
                  <a:pt x="153271" y="229288"/>
                  <a:pt x="156816" y="234218"/>
                  <a:pt x="166646" y="239133"/>
                </a:cubicBezTo>
                <a:cubicBezTo>
                  <a:pt x="182571" y="247096"/>
                  <a:pt x="172651" y="237077"/>
                  <a:pt x="187829" y="249725"/>
                </a:cubicBezTo>
                <a:cubicBezTo>
                  <a:pt x="198025" y="258222"/>
                  <a:pt x="198538" y="260491"/>
                  <a:pt x="205482" y="270908"/>
                </a:cubicBezTo>
                <a:cubicBezTo>
                  <a:pt x="214352" y="297521"/>
                  <a:pt x="202389" y="264723"/>
                  <a:pt x="216073" y="292091"/>
                </a:cubicBezTo>
                <a:cubicBezTo>
                  <a:pt x="230691" y="321325"/>
                  <a:pt x="206428" y="282918"/>
                  <a:pt x="226665" y="313274"/>
                </a:cubicBezTo>
                <a:cubicBezTo>
                  <a:pt x="227842" y="316804"/>
                  <a:pt x="229760" y="320169"/>
                  <a:pt x="230195" y="323865"/>
                </a:cubicBezTo>
                <a:cubicBezTo>
                  <a:pt x="232125" y="340270"/>
                  <a:pt x="229470" y="357332"/>
                  <a:pt x="233726" y="373292"/>
                </a:cubicBezTo>
                <a:cubicBezTo>
                  <a:pt x="234685" y="376888"/>
                  <a:pt x="240989" y="375159"/>
                  <a:pt x="244317" y="376823"/>
                </a:cubicBezTo>
                <a:cubicBezTo>
                  <a:pt x="248112" y="378721"/>
                  <a:pt x="251378" y="381530"/>
                  <a:pt x="254909" y="383884"/>
                </a:cubicBezTo>
                <a:cubicBezTo>
                  <a:pt x="259616" y="390945"/>
                  <a:pt x="266347" y="397016"/>
                  <a:pt x="269031" y="405067"/>
                </a:cubicBezTo>
                <a:lnTo>
                  <a:pt x="283153" y="447433"/>
                </a:lnTo>
                <a:cubicBezTo>
                  <a:pt x="284330" y="450963"/>
                  <a:pt x="284052" y="455393"/>
                  <a:pt x="286683" y="458024"/>
                </a:cubicBezTo>
                <a:cubicBezTo>
                  <a:pt x="290214" y="461555"/>
                  <a:pt x="294078" y="464780"/>
                  <a:pt x="297275" y="468616"/>
                </a:cubicBezTo>
                <a:cubicBezTo>
                  <a:pt x="299991" y="471876"/>
                  <a:pt x="301336" y="476207"/>
                  <a:pt x="304336" y="479207"/>
                </a:cubicBezTo>
                <a:cubicBezTo>
                  <a:pt x="307336" y="482207"/>
                  <a:pt x="311397" y="483914"/>
                  <a:pt x="314927" y="486268"/>
                </a:cubicBezTo>
                <a:cubicBezTo>
                  <a:pt x="317281" y="489799"/>
                  <a:pt x="318988" y="493860"/>
                  <a:pt x="321988" y="496860"/>
                </a:cubicBezTo>
                <a:cubicBezTo>
                  <a:pt x="345528" y="520400"/>
                  <a:pt x="320810" y="486266"/>
                  <a:pt x="339641" y="514512"/>
                </a:cubicBezTo>
                <a:lnTo>
                  <a:pt x="350232" y="546287"/>
                </a:lnTo>
                <a:cubicBezTo>
                  <a:pt x="353770" y="556900"/>
                  <a:pt x="353222" y="558347"/>
                  <a:pt x="360824" y="567470"/>
                </a:cubicBezTo>
                <a:cubicBezTo>
                  <a:pt x="374890" y="584349"/>
                  <a:pt x="366858" y="572497"/>
                  <a:pt x="382007" y="585122"/>
                </a:cubicBezTo>
                <a:cubicBezTo>
                  <a:pt x="385843" y="588318"/>
                  <a:pt x="388762" y="592518"/>
                  <a:pt x="392598" y="595714"/>
                </a:cubicBezTo>
                <a:cubicBezTo>
                  <a:pt x="395858" y="598431"/>
                  <a:pt x="399930" y="600059"/>
                  <a:pt x="403190" y="602775"/>
                </a:cubicBezTo>
                <a:cubicBezTo>
                  <a:pt x="420069" y="616841"/>
                  <a:pt x="408217" y="608809"/>
                  <a:pt x="420842" y="623958"/>
                </a:cubicBezTo>
                <a:cubicBezTo>
                  <a:pt x="424038" y="627794"/>
                  <a:pt x="428369" y="630608"/>
                  <a:pt x="431434" y="634549"/>
                </a:cubicBezTo>
                <a:cubicBezTo>
                  <a:pt x="436644" y="641248"/>
                  <a:pt x="440849" y="648671"/>
                  <a:pt x="445556" y="655732"/>
                </a:cubicBezTo>
                <a:cubicBezTo>
                  <a:pt x="447910" y="659263"/>
                  <a:pt x="449086" y="663970"/>
                  <a:pt x="452617" y="666324"/>
                </a:cubicBezTo>
                <a:lnTo>
                  <a:pt x="473800" y="680446"/>
                </a:lnTo>
                <a:lnTo>
                  <a:pt x="484391" y="687507"/>
                </a:lnTo>
                <a:lnTo>
                  <a:pt x="494983" y="694568"/>
                </a:lnTo>
                <a:cubicBezTo>
                  <a:pt x="507928" y="713985"/>
                  <a:pt x="494983" y="697510"/>
                  <a:pt x="512635" y="712220"/>
                </a:cubicBezTo>
                <a:cubicBezTo>
                  <a:pt x="522829" y="720715"/>
                  <a:pt x="523345" y="722989"/>
                  <a:pt x="530288" y="733403"/>
                </a:cubicBezTo>
                <a:cubicBezTo>
                  <a:pt x="538682" y="758588"/>
                  <a:pt x="526779" y="728140"/>
                  <a:pt x="544410" y="754586"/>
                </a:cubicBezTo>
                <a:cubicBezTo>
                  <a:pt x="546474" y="757683"/>
                  <a:pt x="546276" y="761849"/>
                  <a:pt x="547940" y="765178"/>
                </a:cubicBezTo>
                <a:cubicBezTo>
                  <a:pt x="549837" y="768973"/>
                  <a:pt x="552647" y="772239"/>
                  <a:pt x="555001" y="775769"/>
                </a:cubicBezTo>
                <a:cubicBezTo>
                  <a:pt x="560885" y="774592"/>
                  <a:pt x="566683" y="772836"/>
                  <a:pt x="572654" y="772239"/>
                </a:cubicBezTo>
                <a:cubicBezTo>
                  <a:pt x="637420" y="765762"/>
                  <a:pt x="607124" y="774869"/>
                  <a:pt x="636203" y="765178"/>
                </a:cubicBezTo>
                <a:cubicBezTo>
                  <a:pt x="635026" y="755763"/>
                  <a:pt x="634369" y="746269"/>
                  <a:pt x="632672" y="736934"/>
                </a:cubicBezTo>
                <a:cubicBezTo>
                  <a:pt x="632006" y="733272"/>
                  <a:pt x="629142" y="730064"/>
                  <a:pt x="629142" y="726342"/>
                </a:cubicBezTo>
                <a:cubicBezTo>
                  <a:pt x="629142" y="699249"/>
                  <a:pt x="630594" y="672154"/>
                  <a:pt x="632672" y="645141"/>
                </a:cubicBezTo>
                <a:cubicBezTo>
                  <a:pt x="632957" y="641430"/>
                  <a:pt x="635181" y="638127"/>
                  <a:pt x="636203" y="634549"/>
                </a:cubicBezTo>
                <a:cubicBezTo>
                  <a:pt x="637536" y="629884"/>
                  <a:pt x="638556" y="625134"/>
                  <a:pt x="639733" y="620427"/>
                </a:cubicBezTo>
                <a:cubicBezTo>
                  <a:pt x="639682" y="619765"/>
                  <a:pt x="643662" y="573619"/>
                  <a:pt x="629142" y="563939"/>
                </a:cubicBezTo>
                <a:cubicBezTo>
                  <a:pt x="625105" y="561248"/>
                  <a:pt x="619727" y="561586"/>
                  <a:pt x="615020" y="560409"/>
                </a:cubicBezTo>
                <a:cubicBezTo>
                  <a:pt x="611489" y="558055"/>
                  <a:pt x="608328" y="555020"/>
                  <a:pt x="604428" y="553348"/>
                </a:cubicBezTo>
                <a:cubicBezTo>
                  <a:pt x="599968" y="551437"/>
                  <a:pt x="594954" y="551211"/>
                  <a:pt x="590306" y="549817"/>
                </a:cubicBezTo>
                <a:cubicBezTo>
                  <a:pt x="583177" y="547678"/>
                  <a:pt x="576184" y="545110"/>
                  <a:pt x="569123" y="542756"/>
                </a:cubicBezTo>
                <a:lnTo>
                  <a:pt x="558532" y="539226"/>
                </a:lnTo>
                <a:lnTo>
                  <a:pt x="547940" y="535695"/>
                </a:lnTo>
                <a:cubicBezTo>
                  <a:pt x="543645" y="522810"/>
                  <a:pt x="543313" y="523272"/>
                  <a:pt x="540879" y="507451"/>
                </a:cubicBezTo>
                <a:cubicBezTo>
                  <a:pt x="540683" y="506179"/>
                  <a:pt x="538861" y="476181"/>
                  <a:pt x="533818" y="468616"/>
                </a:cubicBezTo>
                <a:cubicBezTo>
                  <a:pt x="530316" y="463363"/>
                  <a:pt x="518807" y="453706"/>
                  <a:pt x="512635" y="450963"/>
                </a:cubicBezTo>
                <a:cubicBezTo>
                  <a:pt x="505834" y="447940"/>
                  <a:pt x="491452" y="443902"/>
                  <a:pt x="491452" y="443902"/>
                </a:cubicBezTo>
                <a:cubicBezTo>
                  <a:pt x="481215" y="413187"/>
                  <a:pt x="491916" y="448312"/>
                  <a:pt x="484391" y="376823"/>
                </a:cubicBezTo>
                <a:cubicBezTo>
                  <a:pt x="484001" y="373122"/>
                  <a:pt x="483493" y="368863"/>
                  <a:pt x="480861" y="366231"/>
                </a:cubicBezTo>
                <a:cubicBezTo>
                  <a:pt x="478229" y="363599"/>
                  <a:pt x="473800" y="363878"/>
                  <a:pt x="470269" y="362701"/>
                </a:cubicBezTo>
                <a:cubicBezTo>
                  <a:pt x="416717" y="327000"/>
                  <a:pt x="482869" y="379040"/>
                  <a:pt x="445556" y="309743"/>
                </a:cubicBezTo>
                <a:cubicBezTo>
                  <a:pt x="442027" y="303190"/>
                  <a:pt x="424373" y="302682"/>
                  <a:pt x="424373" y="302682"/>
                </a:cubicBezTo>
                <a:cubicBezTo>
                  <a:pt x="419666" y="295621"/>
                  <a:pt x="418302" y="284183"/>
                  <a:pt x="410251" y="281499"/>
                </a:cubicBezTo>
                <a:lnTo>
                  <a:pt x="389068" y="274438"/>
                </a:lnTo>
                <a:lnTo>
                  <a:pt x="378476" y="270908"/>
                </a:lnTo>
                <a:lnTo>
                  <a:pt x="346702" y="249725"/>
                </a:lnTo>
                <a:cubicBezTo>
                  <a:pt x="343171" y="247371"/>
                  <a:pt x="340135" y="244006"/>
                  <a:pt x="336110" y="242664"/>
                </a:cubicBezTo>
                <a:cubicBezTo>
                  <a:pt x="321494" y="237791"/>
                  <a:pt x="328615" y="241197"/>
                  <a:pt x="314927" y="232072"/>
                </a:cubicBezTo>
                <a:cubicBezTo>
                  <a:pt x="306056" y="205455"/>
                  <a:pt x="318021" y="238258"/>
                  <a:pt x="304336" y="210889"/>
                </a:cubicBezTo>
                <a:cubicBezTo>
                  <a:pt x="289719" y="181656"/>
                  <a:pt x="313979" y="220057"/>
                  <a:pt x="293744" y="189706"/>
                </a:cubicBezTo>
                <a:cubicBezTo>
                  <a:pt x="292567" y="186175"/>
                  <a:pt x="292846" y="181746"/>
                  <a:pt x="290214" y="179114"/>
                </a:cubicBezTo>
                <a:cubicBezTo>
                  <a:pt x="288528" y="177428"/>
                  <a:pt x="265619" y="172083"/>
                  <a:pt x="265500" y="172053"/>
                </a:cubicBezTo>
                <a:cubicBezTo>
                  <a:pt x="261970" y="169699"/>
                  <a:pt x="258704" y="166889"/>
                  <a:pt x="254909" y="164992"/>
                </a:cubicBezTo>
                <a:cubicBezTo>
                  <a:pt x="251580" y="163328"/>
                  <a:pt x="247570" y="163269"/>
                  <a:pt x="244317" y="161462"/>
                </a:cubicBezTo>
                <a:cubicBezTo>
                  <a:pt x="236899" y="157341"/>
                  <a:pt x="230195" y="152047"/>
                  <a:pt x="223134" y="147340"/>
                </a:cubicBezTo>
                <a:lnTo>
                  <a:pt x="212543" y="140279"/>
                </a:lnTo>
                <a:lnTo>
                  <a:pt x="198421" y="119096"/>
                </a:lnTo>
                <a:cubicBezTo>
                  <a:pt x="196067" y="115565"/>
                  <a:pt x="194361" y="111504"/>
                  <a:pt x="191360" y="108504"/>
                </a:cubicBezTo>
                <a:lnTo>
                  <a:pt x="180768" y="97913"/>
                </a:lnTo>
                <a:cubicBezTo>
                  <a:pt x="169092" y="62878"/>
                  <a:pt x="188681" y="116391"/>
                  <a:pt x="166646" y="76730"/>
                </a:cubicBezTo>
                <a:cubicBezTo>
                  <a:pt x="163031" y="70224"/>
                  <a:pt x="161390" y="62768"/>
                  <a:pt x="159585" y="55547"/>
                </a:cubicBezTo>
                <a:cubicBezTo>
                  <a:pt x="158408" y="50840"/>
                  <a:pt x="159739" y="44583"/>
                  <a:pt x="156055" y="41425"/>
                </a:cubicBezTo>
                <a:cubicBezTo>
                  <a:pt x="145452" y="32337"/>
                  <a:pt x="102270" y="31400"/>
                  <a:pt x="96036" y="30833"/>
                </a:cubicBezTo>
                <a:cubicBezTo>
                  <a:pt x="61595" y="22224"/>
                  <a:pt x="104600" y="32736"/>
                  <a:pt x="64262" y="23772"/>
                </a:cubicBezTo>
                <a:cubicBezTo>
                  <a:pt x="59525" y="22719"/>
                  <a:pt x="54847" y="21419"/>
                  <a:pt x="50140" y="20242"/>
                </a:cubicBezTo>
                <a:cubicBezTo>
                  <a:pt x="29559" y="6521"/>
                  <a:pt x="29978" y="0"/>
                  <a:pt x="4243" y="9650"/>
                </a:cubicBezTo>
                <a:cubicBezTo>
                  <a:pt x="1779" y="10574"/>
                  <a:pt x="713" y="7885"/>
                  <a:pt x="713" y="13181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7" name="Rectangle 4"/>
          <p:cNvSpPr>
            <a:spLocks noChangeArrowheads="1"/>
          </p:cNvSpPr>
          <p:nvPr/>
        </p:nvSpPr>
        <p:spPr bwMode="auto">
          <a:xfrm rot="2751341">
            <a:off x="3481124" y="5738430"/>
            <a:ext cx="12086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సుమత్రా</a:t>
            </a:r>
          </a:p>
        </p:txBody>
      </p:sp>
      <p:sp>
        <p:nvSpPr>
          <p:cNvPr id="69" name="Freeform 68"/>
          <p:cNvSpPr/>
          <p:nvPr/>
        </p:nvSpPr>
        <p:spPr>
          <a:xfrm>
            <a:off x="4330706" y="5537204"/>
            <a:ext cx="42863" cy="42333"/>
          </a:xfrm>
          <a:custGeom>
            <a:avLst/>
            <a:gdLst>
              <a:gd name="connsiteX0" fmla="*/ 18557 w 43366"/>
              <a:gd name="connsiteY0" fmla="*/ 1772 h 41594"/>
              <a:gd name="connsiteX1" fmla="*/ 7925 w 43366"/>
              <a:gd name="connsiteY1" fmla="*/ 33669 h 41594"/>
              <a:gd name="connsiteX2" fmla="*/ 39822 w 43366"/>
              <a:gd name="connsiteY2" fmla="*/ 23037 h 41594"/>
              <a:gd name="connsiteX3" fmla="*/ 18557 w 43366"/>
              <a:gd name="connsiteY3" fmla="*/ 1772 h 41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366" h="41594">
                <a:moveTo>
                  <a:pt x="18557" y="1772"/>
                </a:moveTo>
                <a:cubicBezTo>
                  <a:pt x="13241" y="3544"/>
                  <a:pt x="0" y="25744"/>
                  <a:pt x="7925" y="33669"/>
                </a:cubicBezTo>
                <a:cubicBezTo>
                  <a:pt x="15850" y="41594"/>
                  <a:pt x="34810" y="33061"/>
                  <a:pt x="39822" y="23037"/>
                </a:cubicBezTo>
                <a:cubicBezTo>
                  <a:pt x="43366" y="15949"/>
                  <a:pt x="23873" y="0"/>
                  <a:pt x="18557" y="1772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0" name="Freeform 69"/>
          <p:cNvSpPr/>
          <p:nvPr/>
        </p:nvSpPr>
        <p:spPr>
          <a:xfrm>
            <a:off x="4405319" y="6036738"/>
            <a:ext cx="630237" cy="192617"/>
          </a:xfrm>
          <a:custGeom>
            <a:avLst/>
            <a:gdLst>
              <a:gd name="connsiteX0" fmla="*/ 4707 w 631322"/>
              <a:gd name="connsiteY0" fmla="*/ 57009 h 193396"/>
              <a:gd name="connsiteX1" fmla="*/ 36481 w 631322"/>
              <a:gd name="connsiteY1" fmla="*/ 49948 h 193396"/>
              <a:gd name="connsiteX2" fmla="*/ 43542 w 631322"/>
              <a:gd name="connsiteY2" fmla="*/ 39357 h 193396"/>
              <a:gd name="connsiteX3" fmla="*/ 50603 w 631322"/>
              <a:gd name="connsiteY3" fmla="*/ 18174 h 193396"/>
              <a:gd name="connsiteX4" fmla="*/ 57664 w 631322"/>
              <a:gd name="connsiteY4" fmla="*/ 7582 h 193396"/>
              <a:gd name="connsiteX5" fmla="*/ 78847 w 631322"/>
              <a:gd name="connsiteY5" fmla="*/ 521 h 193396"/>
              <a:gd name="connsiteX6" fmla="*/ 131805 w 631322"/>
              <a:gd name="connsiteY6" fmla="*/ 4052 h 193396"/>
              <a:gd name="connsiteX7" fmla="*/ 142396 w 631322"/>
              <a:gd name="connsiteY7" fmla="*/ 25235 h 193396"/>
              <a:gd name="connsiteX8" fmla="*/ 152988 w 631322"/>
              <a:gd name="connsiteY8" fmla="*/ 28765 h 193396"/>
              <a:gd name="connsiteX9" fmla="*/ 177702 w 631322"/>
              <a:gd name="connsiteY9" fmla="*/ 32296 h 193396"/>
              <a:gd name="connsiteX10" fmla="*/ 188293 w 631322"/>
              <a:gd name="connsiteY10" fmla="*/ 39357 h 193396"/>
              <a:gd name="connsiteX11" fmla="*/ 202415 w 631322"/>
              <a:gd name="connsiteY11" fmla="*/ 60540 h 193396"/>
              <a:gd name="connsiteX12" fmla="*/ 258903 w 631322"/>
              <a:gd name="connsiteY12" fmla="*/ 64070 h 193396"/>
              <a:gd name="connsiteX13" fmla="*/ 311861 w 631322"/>
              <a:gd name="connsiteY13" fmla="*/ 64070 h 193396"/>
              <a:gd name="connsiteX14" fmla="*/ 318922 w 631322"/>
              <a:gd name="connsiteY14" fmla="*/ 42887 h 193396"/>
              <a:gd name="connsiteX15" fmla="*/ 329513 w 631322"/>
              <a:gd name="connsiteY15" fmla="*/ 35826 h 193396"/>
              <a:gd name="connsiteX16" fmla="*/ 378940 w 631322"/>
              <a:gd name="connsiteY16" fmla="*/ 39357 h 193396"/>
              <a:gd name="connsiteX17" fmla="*/ 382471 w 631322"/>
              <a:gd name="connsiteY17" fmla="*/ 49948 h 193396"/>
              <a:gd name="connsiteX18" fmla="*/ 435428 w 631322"/>
              <a:gd name="connsiteY18" fmla="*/ 53479 h 193396"/>
              <a:gd name="connsiteX19" fmla="*/ 477794 w 631322"/>
              <a:gd name="connsiteY19" fmla="*/ 57009 h 193396"/>
              <a:gd name="connsiteX20" fmla="*/ 523691 w 631322"/>
              <a:gd name="connsiteY20" fmla="*/ 67601 h 193396"/>
              <a:gd name="connsiteX21" fmla="*/ 530752 w 631322"/>
              <a:gd name="connsiteY21" fmla="*/ 78192 h 193396"/>
              <a:gd name="connsiteX22" fmla="*/ 509569 w 631322"/>
              <a:gd name="connsiteY22" fmla="*/ 85253 h 193396"/>
              <a:gd name="connsiteX23" fmla="*/ 453081 w 631322"/>
              <a:gd name="connsiteY23" fmla="*/ 92314 h 193396"/>
              <a:gd name="connsiteX24" fmla="*/ 509569 w 631322"/>
              <a:gd name="connsiteY24" fmla="*/ 117028 h 193396"/>
              <a:gd name="connsiteX25" fmla="*/ 530752 w 631322"/>
              <a:gd name="connsiteY25" fmla="*/ 124089 h 193396"/>
              <a:gd name="connsiteX26" fmla="*/ 537813 w 631322"/>
              <a:gd name="connsiteY26" fmla="*/ 134680 h 193396"/>
              <a:gd name="connsiteX27" fmla="*/ 604892 w 631322"/>
              <a:gd name="connsiteY27" fmla="*/ 145272 h 193396"/>
              <a:gd name="connsiteX28" fmla="*/ 611953 w 631322"/>
              <a:gd name="connsiteY28" fmla="*/ 180577 h 193396"/>
              <a:gd name="connsiteX29" fmla="*/ 587240 w 631322"/>
              <a:gd name="connsiteY29" fmla="*/ 177046 h 193396"/>
              <a:gd name="connsiteX30" fmla="*/ 555465 w 631322"/>
              <a:gd name="connsiteY30" fmla="*/ 173516 h 193396"/>
              <a:gd name="connsiteX31" fmla="*/ 551935 w 631322"/>
              <a:gd name="connsiteY31" fmla="*/ 191168 h 193396"/>
              <a:gd name="connsiteX32" fmla="*/ 513099 w 631322"/>
              <a:gd name="connsiteY32" fmla="*/ 180577 h 193396"/>
              <a:gd name="connsiteX33" fmla="*/ 424837 w 631322"/>
              <a:gd name="connsiteY33" fmla="*/ 173516 h 193396"/>
              <a:gd name="connsiteX34" fmla="*/ 393062 w 631322"/>
              <a:gd name="connsiteY34" fmla="*/ 162924 h 193396"/>
              <a:gd name="connsiteX35" fmla="*/ 382471 w 631322"/>
              <a:gd name="connsiteY35" fmla="*/ 159394 h 193396"/>
              <a:gd name="connsiteX36" fmla="*/ 368349 w 631322"/>
              <a:gd name="connsiteY36" fmla="*/ 155863 h 193396"/>
              <a:gd name="connsiteX37" fmla="*/ 347166 w 631322"/>
              <a:gd name="connsiteY37" fmla="*/ 148802 h 193396"/>
              <a:gd name="connsiteX38" fmla="*/ 311861 w 631322"/>
              <a:gd name="connsiteY38" fmla="*/ 141741 h 193396"/>
              <a:gd name="connsiteX39" fmla="*/ 297739 w 631322"/>
              <a:gd name="connsiteY39" fmla="*/ 138211 h 193396"/>
              <a:gd name="connsiteX40" fmla="*/ 265964 w 631322"/>
              <a:gd name="connsiteY40" fmla="*/ 124089 h 193396"/>
              <a:gd name="connsiteX41" fmla="*/ 255373 w 631322"/>
              <a:gd name="connsiteY41" fmla="*/ 120558 h 193396"/>
              <a:gd name="connsiteX42" fmla="*/ 220068 w 631322"/>
              <a:gd name="connsiteY42" fmla="*/ 124089 h 193396"/>
              <a:gd name="connsiteX43" fmla="*/ 198885 w 631322"/>
              <a:gd name="connsiteY43" fmla="*/ 131150 h 193396"/>
              <a:gd name="connsiteX44" fmla="*/ 188293 w 631322"/>
              <a:gd name="connsiteY44" fmla="*/ 134680 h 193396"/>
              <a:gd name="connsiteX45" fmla="*/ 163579 w 631322"/>
              <a:gd name="connsiteY45" fmla="*/ 131150 h 193396"/>
              <a:gd name="connsiteX46" fmla="*/ 152988 w 631322"/>
              <a:gd name="connsiteY46" fmla="*/ 124089 h 193396"/>
              <a:gd name="connsiteX47" fmla="*/ 131805 w 631322"/>
              <a:gd name="connsiteY47" fmla="*/ 117028 h 193396"/>
              <a:gd name="connsiteX48" fmla="*/ 121213 w 631322"/>
              <a:gd name="connsiteY48" fmla="*/ 113497 h 193396"/>
              <a:gd name="connsiteX49" fmla="*/ 100030 w 631322"/>
              <a:gd name="connsiteY49" fmla="*/ 106436 h 193396"/>
              <a:gd name="connsiteX50" fmla="*/ 89439 w 631322"/>
              <a:gd name="connsiteY50" fmla="*/ 102906 h 193396"/>
              <a:gd name="connsiteX51" fmla="*/ 68256 w 631322"/>
              <a:gd name="connsiteY51" fmla="*/ 81723 h 193396"/>
              <a:gd name="connsiteX52" fmla="*/ 32951 w 631322"/>
              <a:gd name="connsiteY52" fmla="*/ 71131 h 193396"/>
              <a:gd name="connsiteX53" fmla="*/ 22359 w 631322"/>
              <a:gd name="connsiteY53" fmla="*/ 67601 h 193396"/>
              <a:gd name="connsiteX54" fmla="*/ 11768 w 631322"/>
              <a:gd name="connsiteY54" fmla="*/ 64070 h 193396"/>
              <a:gd name="connsiteX55" fmla="*/ 8237 w 631322"/>
              <a:gd name="connsiteY55" fmla="*/ 53479 h 193396"/>
              <a:gd name="connsiteX56" fmla="*/ 4707 w 631322"/>
              <a:gd name="connsiteY56" fmla="*/ 57009 h 193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31322" h="193396">
                <a:moveTo>
                  <a:pt x="4707" y="57009"/>
                </a:moveTo>
                <a:cubicBezTo>
                  <a:pt x="9414" y="56420"/>
                  <a:pt x="31905" y="53609"/>
                  <a:pt x="36481" y="49948"/>
                </a:cubicBezTo>
                <a:cubicBezTo>
                  <a:pt x="39794" y="47297"/>
                  <a:pt x="41819" y="43234"/>
                  <a:pt x="43542" y="39357"/>
                </a:cubicBezTo>
                <a:cubicBezTo>
                  <a:pt x="46565" y="32556"/>
                  <a:pt x="46475" y="24367"/>
                  <a:pt x="50603" y="18174"/>
                </a:cubicBezTo>
                <a:cubicBezTo>
                  <a:pt x="52957" y="14643"/>
                  <a:pt x="54066" y="9831"/>
                  <a:pt x="57664" y="7582"/>
                </a:cubicBezTo>
                <a:cubicBezTo>
                  <a:pt x="63976" y="3637"/>
                  <a:pt x="78847" y="521"/>
                  <a:pt x="78847" y="521"/>
                </a:cubicBezTo>
                <a:cubicBezTo>
                  <a:pt x="96500" y="1698"/>
                  <a:pt x="114583" y="0"/>
                  <a:pt x="131805" y="4052"/>
                </a:cubicBezTo>
                <a:cubicBezTo>
                  <a:pt x="140369" y="6067"/>
                  <a:pt x="138017" y="20856"/>
                  <a:pt x="142396" y="25235"/>
                </a:cubicBezTo>
                <a:cubicBezTo>
                  <a:pt x="145028" y="27867"/>
                  <a:pt x="149339" y="28035"/>
                  <a:pt x="152988" y="28765"/>
                </a:cubicBezTo>
                <a:cubicBezTo>
                  <a:pt x="161148" y="30397"/>
                  <a:pt x="169464" y="31119"/>
                  <a:pt x="177702" y="32296"/>
                </a:cubicBezTo>
                <a:cubicBezTo>
                  <a:pt x="181232" y="34650"/>
                  <a:pt x="185939" y="35827"/>
                  <a:pt x="188293" y="39357"/>
                </a:cubicBezTo>
                <a:cubicBezTo>
                  <a:pt x="195004" y="49423"/>
                  <a:pt x="185906" y="57933"/>
                  <a:pt x="202415" y="60540"/>
                </a:cubicBezTo>
                <a:cubicBezTo>
                  <a:pt x="221050" y="63482"/>
                  <a:pt x="240074" y="62893"/>
                  <a:pt x="258903" y="64070"/>
                </a:cubicBezTo>
                <a:cubicBezTo>
                  <a:pt x="276889" y="70066"/>
                  <a:pt x="288822" y="75590"/>
                  <a:pt x="311861" y="64070"/>
                </a:cubicBezTo>
                <a:cubicBezTo>
                  <a:pt x="318518" y="60741"/>
                  <a:pt x="312729" y="47016"/>
                  <a:pt x="318922" y="42887"/>
                </a:cubicBezTo>
                <a:lnTo>
                  <a:pt x="329513" y="35826"/>
                </a:lnTo>
                <a:cubicBezTo>
                  <a:pt x="345989" y="37003"/>
                  <a:pt x="362980" y="35101"/>
                  <a:pt x="378940" y="39357"/>
                </a:cubicBezTo>
                <a:cubicBezTo>
                  <a:pt x="382536" y="40316"/>
                  <a:pt x="378861" y="49045"/>
                  <a:pt x="382471" y="49948"/>
                </a:cubicBezTo>
                <a:cubicBezTo>
                  <a:pt x="399634" y="54239"/>
                  <a:pt x="417785" y="52172"/>
                  <a:pt x="435428" y="53479"/>
                </a:cubicBezTo>
                <a:lnTo>
                  <a:pt x="477794" y="57009"/>
                </a:lnTo>
                <a:cubicBezTo>
                  <a:pt x="506872" y="66702"/>
                  <a:pt x="491609" y="63017"/>
                  <a:pt x="523691" y="67601"/>
                </a:cubicBezTo>
                <a:cubicBezTo>
                  <a:pt x="526045" y="71131"/>
                  <a:pt x="533403" y="74879"/>
                  <a:pt x="530752" y="78192"/>
                </a:cubicBezTo>
                <a:cubicBezTo>
                  <a:pt x="526102" y="84004"/>
                  <a:pt x="516966" y="84431"/>
                  <a:pt x="509569" y="85253"/>
                </a:cubicBezTo>
                <a:cubicBezTo>
                  <a:pt x="469524" y="89703"/>
                  <a:pt x="488344" y="87277"/>
                  <a:pt x="453081" y="92314"/>
                </a:cubicBezTo>
                <a:cubicBezTo>
                  <a:pt x="459835" y="132846"/>
                  <a:pt x="448687" y="108330"/>
                  <a:pt x="509569" y="117028"/>
                </a:cubicBezTo>
                <a:cubicBezTo>
                  <a:pt x="516937" y="118081"/>
                  <a:pt x="530752" y="124089"/>
                  <a:pt x="530752" y="124089"/>
                </a:cubicBezTo>
                <a:cubicBezTo>
                  <a:pt x="533106" y="127619"/>
                  <a:pt x="534813" y="131680"/>
                  <a:pt x="537813" y="134680"/>
                </a:cubicBezTo>
                <a:cubicBezTo>
                  <a:pt x="554755" y="151622"/>
                  <a:pt x="585726" y="144074"/>
                  <a:pt x="604892" y="145272"/>
                </a:cubicBezTo>
                <a:cubicBezTo>
                  <a:pt x="612290" y="152669"/>
                  <a:pt x="631322" y="166050"/>
                  <a:pt x="611953" y="180577"/>
                </a:cubicBezTo>
                <a:cubicBezTo>
                  <a:pt x="605296" y="185570"/>
                  <a:pt x="595478" y="178223"/>
                  <a:pt x="587240" y="177046"/>
                </a:cubicBezTo>
                <a:cubicBezTo>
                  <a:pt x="562526" y="168808"/>
                  <a:pt x="573118" y="167631"/>
                  <a:pt x="555465" y="173516"/>
                </a:cubicBezTo>
                <a:cubicBezTo>
                  <a:pt x="554288" y="179400"/>
                  <a:pt x="556928" y="187840"/>
                  <a:pt x="551935" y="191168"/>
                </a:cubicBezTo>
                <a:cubicBezTo>
                  <a:pt x="548594" y="193396"/>
                  <a:pt x="513171" y="180584"/>
                  <a:pt x="513099" y="180577"/>
                </a:cubicBezTo>
                <a:cubicBezTo>
                  <a:pt x="460190" y="175285"/>
                  <a:pt x="489595" y="177833"/>
                  <a:pt x="424837" y="173516"/>
                </a:cubicBezTo>
                <a:lnTo>
                  <a:pt x="393062" y="162924"/>
                </a:lnTo>
                <a:cubicBezTo>
                  <a:pt x="389532" y="161747"/>
                  <a:pt x="386081" y="160297"/>
                  <a:pt x="382471" y="159394"/>
                </a:cubicBezTo>
                <a:cubicBezTo>
                  <a:pt x="377764" y="158217"/>
                  <a:pt x="372997" y="157257"/>
                  <a:pt x="368349" y="155863"/>
                </a:cubicBezTo>
                <a:cubicBezTo>
                  <a:pt x="361220" y="153724"/>
                  <a:pt x="354387" y="150607"/>
                  <a:pt x="347166" y="148802"/>
                </a:cubicBezTo>
                <a:cubicBezTo>
                  <a:pt x="314364" y="140603"/>
                  <a:pt x="355143" y="150397"/>
                  <a:pt x="311861" y="141741"/>
                </a:cubicBezTo>
                <a:cubicBezTo>
                  <a:pt x="307103" y="140789"/>
                  <a:pt x="302446" y="139388"/>
                  <a:pt x="297739" y="138211"/>
                </a:cubicBezTo>
                <a:cubicBezTo>
                  <a:pt x="280953" y="127021"/>
                  <a:pt x="291174" y="132493"/>
                  <a:pt x="265964" y="124089"/>
                </a:cubicBezTo>
                <a:lnTo>
                  <a:pt x="255373" y="120558"/>
                </a:lnTo>
                <a:cubicBezTo>
                  <a:pt x="243605" y="121735"/>
                  <a:pt x="231692" y="121909"/>
                  <a:pt x="220068" y="124089"/>
                </a:cubicBezTo>
                <a:cubicBezTo>
                  <a:pt x="212753" y="125461"/>
                  <a:pt x="205946" y="128796"/>
                  <a:pt x="198885" y="131150"/>
                </a:cubicBezTo>
                <a:lnTo>
                  <a:pt x="188293" y="134680"/>
                </a:lnTo>
                <a:cubicBezTo>
                  <a:pt x="180055" y="133503"/>
                  <a:pt x="171550" y="133541"/>
                  <a:pt x="163579" y="131150"/>
                </a:cubicBezTo>
                <a:cubicBezTo>
                  <a:pt x="159515" y="129931"/>
                  <a:pt x="156865" y="125812"/>
                  <a:pt x="152988" y="124089"/>
                </a:cubicBezTo>
                <a:cubicBezTo>
                  <a:pt x="146187" y="121066"/>
                  <a:pt x="138866" y="119382"/>
                  <a:pt x="131805" y="117028"/>
                </a:cubicBezTo>
                <a:lnTo>
                  <a:pt x="121213" y="113497"/>
                </a:lnTo>
                <a:lnTo>
                  <a:pt x="100030" y="106436"/>
                </a:lnTo>
                <a:lnTo>
                  <a:pt x="89439" y="102906"/>
                </a:lnTo>
                <a:cubicBezTo>
                  <a:pt x="82378" y="95845"/>
                  <a:pt x="77944" y="84145"/>
                  <a:pt x="68256" y="81723"/>
                </a:cubicBezTo>
                <a:cubicBezTo>
                  <a:pt x="46909" y="76386"/>
                  <a:pt x="58744" y="79728"/>
                  <a:pt x="32951" y="71131"/>
                </a:cubicBezTo>
                <a:lnTo>
                  <a:pt x="22359" y="67601"/>
                </a:lnTo>
                <a:lnTo>
                  <a:pt x="11768" y="64070"/>
                </a:lnTo>
                <a:cubicBezTo>
                  <a:pt x="10591" y="60540"/>
                  <a:pt x="6573" y="56807"/>
                  <a:pt x="8237" y="53479"/>
                </a:cubicBezTo>
                <a:cubicBezTo>
                  <a:pt x="10561" y="48832"/>
                  <a:pt x="0" y="57598"/>
                  <a:pt x="4707" y="57009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1" name="Rectangle 4"/>
          <p:cNvSpPr>
            <a:spLocks noChangeArrowheads="1"/>
          </p:cNvSpPr>
          <p:nvPr/>
        </p:nvSpPr>
        <p:spPr bwMode="auto">
          <a:xfrm rot="335986">
            <a:off x="4332292" y="6165335"/>
            <a:ext cx="82708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>
                <a:latin typeface="Ramabhadra" pitchFamily="2" charset="0"/>
                <a:cs typeface="Ramabhadra" pitchFamily="2" charset="0"/>
              </a:rPr>
              <a:t>జావా</a:t>
            </a:r>
            <a:endParaRPr lang="en-US" sz="3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3" name="Freeform 72"/>
          <p:cNvSpPr/>
          <p:nvPr/>
        </p:nvSpPr>
        <p:spPr>
          <a:xfrm>
            <a:off x="4622806" y="5331890"/>
            <a:ext cx="600075" cy="577849"/>
          </a:xfrm>
          <a:custGeom>
            <a:avLst/>
            <a:gdLst>
              <a:gd name="connsiteX0" fmla="*/ 44195 w 600159"/>
              <a:gd name="connsiteY0" fmla="*/ 167840 h 575512"/>
              <a:gd name="connsiteX1" fmla="*/ 97152 w 600159"/>
              <a:gd name="connsiteY1" fmla="*/ 245511 h 575512"/>
              <a:gd name="connsiteX2" fmla="*/ 160701 w 600159"/>
              <a:gd name="connsiteY2" fmla="*/ 231389 h 575512"/>
              <a:gd name="connsiteX3" fmla="*/ 181884 w 600159"/>
              <a:gd name="connsiteY3" fmla="*/ 224328 h 575512"/>
              <a:gd name="connsiteX4" fmla="*/ 203067 w 600159"/>
              <a:gd name="connsiteY4" fmla="*/ 206676 h 575512"/>
              <a:gd name="connsiteX5" fmla="*/ 231311 w 600159"/>
              <a:gd name="connsiteY5" fmla="*/ 210206 h 575512"/>
              <a:gd name="connsiteX6" fmla="*/ 280738 w 600159"/>
              <a:gd name="connsiteY6" fmla="*/ 220798 h 575512"/>
              <a:gd name="connsiteX7" fmla="*/ 301921 w 600159"/>
              <a:gd name="connsiteY7" fmla="*/ 210206 h 575512"/>
              <a:gd name="connsiteX8" fmla="*/ 312513 w 600159"/>
              <a:gd name="connsiteY8" fmla="*/ 206676 h 575512"/>
              <a:gd name="connsiteX9" fmla="*/ 337226 w 600159"/>
              <a:gd name="connsiteY9" fmla="*/ 178432 h 575512"/>
              <a:gd name="connsiteX10" fmla="*/ 344287 w 600159"/>
              <a:gd name="connsiteY10" fmla="*/ 167840 h 575512"/>
              <a:gd name="connsiteX11" fmla="*/ 347818 w 600159"/>
              <a:gd name="connsiteY11" fmla="*/ 157249 h 575512"/>
              <a:gd name="connsiteX12" fmla="*/ 354879 w 600159"/>
              <a:gd name="connsiteY12" fmla="*/ 150187 h 575512"/>
              <a:gd name="connsiteX13" fmla="*/ 358409 w 600159"/>
              <a:gd name="connsiteY13" fmla="*/ 136065 h 575512"/>
              <a:gd name="connsiteX14" fmla="*/ 369001 w 600159"/>
              <a:gd name="connsiteY14" fmla="*/ 93699 h 575512"/>
              <a:gd name="connsiteX15" fmla="*/ 379592 w 600159"/>
              <a:gd name="connsiteY15" fmla="*/ 90169 h 575512"/>
              <a:gd name="connsiteX16" fmla="*/ 393714 w 600159"/>
              <a:gd name="connsiteY16" fmla="*/ 58394 h 575512"/>
              <a:gd name="connsiteX17" fmla="*/ 397245 w 600159"/>
              <a:gd name="connsiteY17" fmla="*/ 47803 h 575512"/>
              <a:gd name="connsiteX18" fmla="*/ 400775 w 600159"/>
              <a:gd name="connsiteY18" fmla="*/ 37211 h 575512"/>
              <a:gd name="connsiteX19" fmla="*/ 404306 w 600159"/>
              <a:gd name="connsiteY19" fmla="*/ 12498 h 575512"/>
              <a:gd name="connsiteX20" fmla="*/ 411367 w 600159"/>
              <a:gd name="connsiteY20" fmla="*/ 1906 h 575512"/>
              <a:gd name="connsiteX21" fmla="*/ 443141 w 600159"/>
              <a:gd name="connsiteY21" fmla="*/ 5437 h 575512"/>
              <a:gd name="connsiteX22" fmla="*/ 464324 w 600159"/>
              <a:gd name="connsiteY22" fmla="*/ 12498 h 575512"/>
              <a:gd name="connsiteX23" fmla="*/ 478446 w 600159"/>
              <a:gd name="connsiteY23" fmla="*/ 16028 h 575512"/>
              <a:gd name="connsiteX24" fmla="*/ 499629 w 600159"/>
              <a:gd name="connsiteY24" fmla="*/ 23089 h 575512"/>
              <a:gd name="connsiteX25" fmla="*/ 520812 w 600159"/>
              <a:gd name="connsiteY25" fmla="*/ 37211 h 575512"/>
              <a:gd name="connsiteX26" fmla="*/ 531404 w 600159"/>
              <a:gd name="connsiteY26" fmla="*/ 44272 h 575512"/>
              <a:gd name="connsiteX27" fmla="*/ 527873 w 600159"/>
              <a:gd name="connsiteY27" fmla="*/ 54864 h 575512"/>
              <a:gd name="connsiteX28" fmla="*/ 503160 w 600159"/>
              <a:gd name="connsiteY28" fmla="*/ 68986 h 575512"/>
              <a:gd name="connsiteX29" fmla="*/ 510221 w 600159"/>
              <a:gd name="connsiteY29" fmla="*/ 107821 h 575512"/>
              <a:gd name="connsiteX30" fmla="*/ 517282 w 600159"/>
              <a:gd name="connsiteY30" fmla="*/ 129004 h 575512"/>
              <a:gd name="connsiteX31" fmla="*/ 531404 w 600159"/>
              <a:gd name="connsiteY31" fmla="*/ 164310 h 575512"/>
              <a:gd name="connsiteX32" fmla="*/ 541995 w 600159"/>
              <a:gd name="connsiteY32" fmla="*/ 167840 h 575512"/>
              <a:gd name="connsiteX33" fmla="*/ 552587 w 600159"/>
              <a:gd name="connsiteY33" fmla="*/ 203145 h 575512"/>
              <a:gd name="connsiteX34" fmla="*/ 559648 w 600159"/>
              <a:gd name="connsiteY34" fmla="*/ 224328 h 575512"/>
              <a:gd name="connsiteX35" fmla="*/ 584361 w 600159"/>
              <a:gd name="connsiteY35" fmla="*/ 234920 h 575512"/>
              <a:gd name="connsiteX36" fmla="*/ 594953 w 600159"/>
              <a:gd name="connsiteY36" fmla="*/ 241981 h 575512"/>
              <a:gd name="connsiteX37" fmla="*/ 594953 w 600159"/>
              <a:gd name="connsiteY37" fmla="*/ 266694 h 575512"/>
              <a:gd name="connsiteX38" fmla="*/ 580831 w 600159"/>
              <a:gd name="connsiteY38" fmla="*/ 270225 h 575512"/>
              <a:gd name="connsiteX39" fmla="*/ 527873 w 600159"/>
              <a:gd name="connsiteY39" fmla="*/ 273755 h 575512"/>
              <a:gd name="connsiteX40" fmla="*/ 517282 w 600159"/>
              <a:gd name="connsiteY40" fmla="*/ 277286 h 575512"/>
              <a:gd name="connsiteX41" fmla="*/ 513751 w 600159"/>
              <a:gd name="connsiteY41" fmla="*/ 287877 h 575512"/>
              <a:gd name="connsiteX42" fmla="*/ 510221 w 600159"/>
              <a:gd name="connsiteY42" fmla="*/ 309060 h 575512"/>
              <a:gd name="connsiteX43" fmla="*/ 499629 w 600159"/>
              <a:gd name="connsiteY43" fmla="*/ 351426 h 575512"/>
              <a:gd name="connsiteX44" fmla="*/ 485507 w 600159"/>
              <a:gd name="connsiteY44" fmla="*/ 379670 h 575512"/>
              <a:gd name="connsiteX45" fmla="*/ 453733 w 600159"/>
              <a:gd name="connsiteY45" fmla="*/ 397323 h 575512"/>
              <a:gd name="connsiteX46" fmla="*/ 450202 w 600159"/>
              <a:gd name="connsiteY46" fmla="*/ 453811 h 575512"/>
              <a:gd name="connsiteX47" fmla="*/ 457263 w 600159"/>
              <a:gd name="connsiteY47" fmla="*/ 474994 h 575512"/>
              <a:gd name="connsiteX48" fmla="*/ 453733 w 600159"/>
              <a:gd name="connsiteY48" fmla="*/ 485585 h 575512"/>
              <a:gd name="connsiteX49" fmla="*/ 443141 w 600159"/>
              <a:gd name="connsiteY49" fmla="*/ 492646 h 575512"/>
              <a:gd name="connsiteX50" fmla="*/ 436080 w 600159"/>
              <a:gd name="connsiteY50" fmla="*/ 503238 h 575512"/>
              <a:gd name="connsiteX51" fmla="*/ 439611 w 600159"/>
              <a:gd name="connsiteY51" fmla="*/ 570317 h 575512"/>
              <a:gd name="connsiteX52" fmla="*/ 429019 w 600159"/>
              <a:gd name="connsiteY52" fmla="*/ 573848 h 575512"/>
              <a:gd name="connsiteX53" fmla="*/ 425489 w 600159"/>
              <a:gd name="connsiteY53" fmla="*/ 563256 h 575512"/>
              <a:gd name="connsiteX54" fmla="*/ 414897 w 600159"/>
              <a:gd name="connsiteY54" fmla="*/ 556195 h 575512"/>
              <a:gd name="connsiteX55" fmla="*/ 358409 w 600159"/>
              <a:gd name="connsiteY55" fmla="*/ 563256 h 575512"/>
              <a:gd name="connsiteX56" fmla="*/ 347818 w 600159"/>
              <a:gd name="connsiteY56" fmla="*/ 566787 h 575512"/>
              <a:gd name="connsiteX57" fmla="*/ 333696 w 600159"/>
              <a:gd name="connsiteY57" fmla="*/ 545604 h 575512"/>
              <a:gd name="connsiteX58" fmla="*/ 323104 w 600159"/>
              <a:gd name="connsiteY58" fmla="*/ 542073 h 575512"/>
              <a:gd name="connsiteX59" fmla="*/ 298391 w 600159"/>
              <a:gd name="connsiteY59" fmla="*/ 535012 h 575512"/>
              <a:gd name="connsiteX60" fmla="*/ 287799 w 600159"/>
              <a:gd name="connsiteY60" fmla="*/ 527951 h 575512"/>
              <a:gd name="connsiteX61" fmla="*/ 273677 w 600159"/>
              <a:gd name="connsiteY61" fmla="*/ 524421 h 575512"/>
              <a:gd name="connsiteX62" fmla="*/ 252494 w 600159"/>
              <a:gd name="connsiteY62" fmla="*/ 517360 h 575512"/>
              <a:gd name="connsiteX63" fmla="*/ 224250 w 600159"/>
              <a:gd name="connsiteY63" fmla="*/ 520890 h 575512"/>
              <a:gd name="connsiteX64" fmla="*/ 203067 w 600159"/>
              <a:gd name="connsiteY64" fmla="*/ 527951 h 575512"/>
              <a:gd name="connsiteX65" fmla="*/ 185415 w 600159"/>
              <a:gd name="connsiteY65" fmla="*/ 524421 h 575512"/>
              <a:gd name="connsiteX66" fmla="*/ 160701 w 600159"/>
              <a:gd name="connsiteY66" fmla="*/ 496177 h 575512"/>
              <a:gd name="connsiteX67" fmla="*/ 93622 w 600159"/>
              <a:gd name="connsiteY67" fmla="*/ 492646 h 575512"/>
              <a:gd name="connsiteX68" fmla="*/ 83030 w 600159"/>
              <a:gd name="connsiteY68" fmla="*/ 457341 h 575512"/>
              <a:gd name="connsiteX69" fmla="*/ 75969 w 600159"/>
              <a:gd name="connsiteY69" fmla="*/ 446750 h 575512"/>
              <a:gd name="connsiteX70" fmla="*/ 72439 w 600159"/>
              <a:gd name="connsiteY70" fmla="*/ 422036 h 575512"/>
              <a:gd name="connsiteX71" fmla="*/ 65378 w 600159"/>
              <a:gd name="connsiteY71" fmla="*/ 411445 h 575512"/>
              <a:gd name="connsiteX72" fmla="*/ 58317 w 600159"/>
              <a:gd name="connsiteY72" fmla="*/ 390262 h 575512"/>
              <a:gd name="connsiteX73" fmla="*/ 51256 w 600159"/>
              <a:gd name="connsiteY73" fmla="*/ 379670 h 575512"/>
              <a:gd name="connsiteX74" fmla="*/ 44195 w 600159"/>
              <a:gd name="connsiteY74" fmla="*/ 358487 h 575512"/>
              <a:gd name="connsiteX75" fmla="*/ 33603 w 600159"/>
              <a:gd name="connsiteY75" fmla="*/ 351426 h 575512"/>
              <a:gd name="connsiteX76" fmla="*/ 23012 w 600159"/>
              <a:gd name="connsiteY76" fmla="*/ 340835 h 575512"/>
              <a:gd name="connsiteX77" fmla="*/ 12420 w 600159"/>
              <a:gd name="connsiteY77" fmla="*/ 337304 h 575512"/>
              <a:gd name="connsiteX78" fmla="*/ 5359 w 600159"/>
              <a:gd name="connsiteY78" fmla="*/ 291408 h 575512"/>
              <a:gd name="connsiteX79" fmla="*/ 8890 w 600159"/>
              <a:gd name="connsiteY79" fmla="*/ 259633 h 575512"/>
              <a:gd name="connsiteX80" fmla="*/ 26542 w 600159"/>
              <a:gd name="connsiteY80" fmla="*/ 171371 h 575512"/>
              <a:gd name="connsiteX81" fmla="*/ 44195 w 600159"/>
              <a:gd name="connsiteY81" fmla="*/ 157249 h 575512"/>
              <a:gd name="connsiteX82" fmla="*/ 44195 w 600159"/>
              <a:gd name="connsiteY82" fmla="*/ 167840 h 575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00159" h="575512">
                <a:moveTo>
                  <a:pt x="44195" y="167840"/>
                </a:moveTo>
                <a:cubicBezTo>
                  <a:pt x="53021" y="182550"/>
                  <a:pt x="71209" y="227936"/>
                  <a:pt x="97152" y="245511"/>
                </a:cubicBezTo>
                <a:cubicBezTo>
                  <a:pt x="175730" y="298742"/>
                  <a:pt x="139159" y="244853"/>
                  <a:pt x="160701" y="231389"/>
                </a:cubicBezTo>
                <a:cubicBezTo>
                  <a:pt x="167013" y="227444"/>
                  <a:pt x="181884" y="224328"/>
                  <a:pt x="181884" y="224328"/>
                </a:cubicBezTo>
                <a:cubicBezTo>
                  <a:pt x="184486" y="221727"/>
                  <a:pt x="197662" y="207167"/>
                  <a:pt x="203067" y="206676"/>
                </a:cubicBezTo>
                <a:cubicBezTo>
                  <a:pt x="212516" y="205817"/>
                  <a:pt x="221896" y="209029"/>
                  <a:pt x="231311" y="210206"/>
                </a:cubicBezTo>
                <a:cubicBezTo>
                  <a:pt x="260388" y="229591"/>
                  <a:pt x="244073" y="225380"/>
                  <a:pt x="280738" y="220798"/>
                </a:cubicBezTo>
                <a:cubicBezTo>
                  <a:pt x="307369" y="211920"/>
                  <a:pt x="274537" y="223897"/>
                  <a:pt x="301921" y="210206"/>
                </a:cubicBezTo>
                <a:cubicBezTo>
                  <a:pt x="305250" y="208542"/>
                  <a:pt x="308982" y="207853"/>
                  <a:pt x="312513" y="206676"/>
                </a:cubicBezTo>
                <a:cubicBezTo>
                  <a:pt x="328989" y="181963"/>
                  <a:pt x="319574" y="190200"/>
                  <a:pt x="337226" y="178432"/>
                </a:cubicBezTo>
                <a:cubicBezTo>
                  <a:pt x="339580" y="174901"/>
                  <a:pt x="342389" y="171635"/>
                  <a:pt x="344287" y="167840"/>
                </a:cubicBezTo>
                <a:cubicBezTo>
                  <a:pt x="345951" y="164512"/>
                  <a:pt x="345903" y="160440"/>
                  <a:pt x="347818" y="157249"/>
                </a:cubicBezTo>
                <a:cubicBezTo>
                  <a:pt x="349531" y="154395"/>
                  <a:pt x="352525" y="152541"/>
                  <a:pt x="354879" y="150187"/>
                </a:cubicBezTo>
                <a:cubicBezTo>
                  <a:pt x="356056" y="145480"/>
                  <a:pt x="357671" y="140861"/>
                  <a:pt x="358409" y="136065"/>
                </a:cubicBezTo>
                <a:cubicBezTo>
                  <a:pt x="360161" y="124678"/>
                  <a:pt x="356924" y="103361"/>
                  <a:pt x="369001" y="93699"/>
                </a:cubicBezTo>
                <a:cubicBezTo>
                  <a:pt x="371907" y="91374"/>
                  <a:pt x="376062" y="91346"/>
                  <a:pt x="379592" y="90169"/>
                </a:cubicBezTo>
                <a:cubicBezTo>
                  <a:pt x="390782" y="73383"/>
                  <a:pt x="385310" y="83604"/>
                  <a:pt x="393714" y="58394"/>
                </a:cubicBezTo>
                <a:lnTo>
                  <a:pt x="397245" y="47803"/>
                </a:lnTo>
                <a:lnTo>
                  <a:pt x="400775" y="37211"/>
                </a:lnTo>
                <a:cubicBezTo>
                  <a:pt x="401952" y="28973"/>
                  <a:pt x="401915" y="20468"/>
                  <a:pt x="404306" y="12498"/>
                </a:cubicBezTo>
                <a:cubicBezTo>
                  <a:pt x="405525" y="8434"/>
                  <a:pt x="407192" y="2665"/>
                  <a:pt x="411367" y="1906"/>
                </a:cubicBezTo>
                <a:cubicBezTo>
                  <a:pt x="421852" y="0"/>
                  <a:pt x="432550" y="4260"/>
                  <a:pt x="443141" y="5437"/>
                </a:cubicBezTo>
                <a:cubicBezTo>
                  <a:pt x="450202" y="7791"/>
                  <a:pt x="457103" y="10693"/>
                  <a:pt x="464324" y="12498"/>
                </a:cubicBezTo>
                <a:cubicBezTo>
                  <a:pt x="469031" y="13675"/>
                  <a:pt x="473798" y="14634"/>
                  <a:pt x="478446" y="16028"/>
                </a:cubicBezTo>
                <a:cubicBezTo>
                  <a:pt x="485575" y="18167"/>
                  <a:pt x="499629" y="23089"/>
                  <a:pt x="499629" y="23089"/>
                </a:cubicBezTo>
                <a:lnTo>
                  <a:pt x="520812" y="37211"/>
                </a:lnTo>
                <a:lnTo>
                  <a:pt x="531404" y="44272"/>
                </a:lnTo>
                <a:cubicBezTo>
                  <a:pt x="530227" y="47803"/>
                  <a:pt x="531104" y="53018"/>
                  <a:pt x="527873" y="54864"/>
                </a:cubicBezTo>
                <a:lnTo>
                  <a:pt x="503160" y="68986"/>
                </a:lnTo>
                <a:cubicBezTo>
                  <a:pt x="505647" y="86399"/>
                  <a:pt x="505680" y="92684"/>
                  <a:pt x="510221" y="107821"/>
                </a:cubicBezTo>
                <a:cubicBezTo>
                  <a:pt x="512360" y="114950"/>
                  <a:pt x="517282" y="129004"/>
                  <a:pt x="517282" y="129004"/>
                </a:cubicBezTo>
                <a:cubicBezTo>
                  <a:pt x="520420" y="154111"/>
                  <a:pt x="513328" y="155272"/>
                  <a:pt x="531404" y="164310"/>
                </a:cubicBezTo>
                <a:cubicBezTo>
                  <a:pt x="534732" y="165974"/>
                  <a:pt x="538465" y="166663"/>
                  <a:pt x="541995" y="167840"/>
                </a:cubicBezTo>
                <a:cubicBezTo>
                  <a:pt x="555654" y="188329"/>
                  <a:pt x="544568" y="168400"/>
                  <a:pt x="552587" y="203145"/>
                </a:cubicBezTo>
                <a:cubicBezTo>
                  <a:pt x="554261" y="210397"/>
                  <a:pt x="553455" y="220199"/>
                  <a:pt x="559648" y="224328"/>
                </a:cubicBezTo>
                <a:cubicBezTo>
                  <a:pt x="574276" y="234081"/>
                  <a:pt x="566123" y="230360"/>
                  <a:pt x="584361" y="234920"/>
                </a:cubicBezTo>
                <a:cubicBezTo>
                  <a:pt x="587892" y="237274"/>
                  <a:pt x="592302" y="238668"/>
                  <a:pt x="594953" y="241981"/>
                </a:cubicBezTo>
                <a:cubicBezTo>
                  <a:pt x="599424" y="247569"/>
                  <a:pt x="600159" y="261487"/>
                  <a:pt x="594953" y="266694"/>
                </a:cubicBezTo>
                <a:cubicBezTo>
                  <a:pt x="591522" y="270125"/>
                  <a:pt x="585657" y="269717"/>
                  <a:pt x="580831" y="270225"/>
                </a:cubicBezTo>
                <a:cubicBezTo>
                  <a:pt x="563236" y="272077"/>
                  <a:pt x="545526" y="272578"/>
                  <a:pt x="527873" y="273755"/>
                </a:cubicBezTo>
                <a:cubicBezTo>
                  <a:pt x="524343" y="274932"/>
                  <a:pt x="519913" y="274655"/>
                  <a:pt x="517282" y="277286"/>
                </a:cubicBezTo>
                <a:cubicBezTo>
                  <a:pt x="514651" y="279917"/>
                  <a:pt x="514558" y="284244"/>
                  <a:pt x="513751" y="287877"/>
                </a:cubicBezTo>
                <a:cubicBezTo>
                  <a:pt x="512198" y="294865"/>
                  <a:pt x="511957" y="302115"/>
                  <a:pt x="510221" y="309060"/>
                </a:cubicBezTo>
                <a:cubicBezTo>
                  <a:pt x="498156" y="357322"/>
                  <a:pt x="507019" y="303389"/>
                  <a:pt x="499629" y="351426"/>
                </a:cubicBezTo>
                <a:cubicBezTo>
                  <a:pt x="495243" y="379934"/>
                  <a:pt x="504141" y="373460"/>
                  <a:pt x="485507" y="379670"/>
                </a:cubicBezTo>
                <a:cubicBezTo>
                  <a:pt x="461228" y="395856"/>
                  <a:pt x="472375" y="391108"/>
                  <a:pt x="453733" y="397323"/>
                </a:cubicBezTo>
                <a:cubicBezTo>
                  <a:pt x="444437" y="425210"/>
                  <a:pt x="443539" y="418276"/>
                  <a:pt x="450202" y="453811"/>
                </a:cubicBezTo>
                <a:cubicBezTo>
                  <a:pt x="451574" y="461126"/>
                  <a:pt x="457263" y="474994"/>
                  <a:pt x="457263" y="474994"/>
                </a:cubicBezTo>
                <a:cubicBezTo>
                  <a:pt x="456086" y="478524"/>
                  <a:pt x="456058" y="482679"/>
                  <a:pt x="453733" y="485585"/>
                </a:cubicBezTo>
                <a:cubicBezTo>
                  <a:pt x="451082" y="488898"/>
                  <a:pt x="446141" y="489646"/>
                  <a:pt x="443141" y="492646"/>
                </a:cubicBezTo>
                <a:cubicBezTo>
                  <a:pt x="440141" y="495646"/>
                  <a:pt x="438434" y="499707"/>
                  <a:pt x="436080" y="503238"/>
                </a:cubicBezTo>
                <a:cubicBezTo>
                  <a:pt x="437257" y="525598"/>
                  <a:pt x="441839" y="548037"/>
                  <a:pt x="439611" y="570317"/>
                </a:cubicBezTo>
                <a:cubicBezTo>
                  <a:pt x="439241" y="574020"/>
                  <a:pt x="432348" y="575512"/>
                  <a:pt x="429019" y="573848"/>
                </a:cubicBezTo>
                <a:cubicBezTo>
                  <a:pt x="425690" y="572184"/>
                  <a:pt x="427814" y="566162"/>
                  <a:pt x="425489" y="563256"/>
                </a:cubicBezTo>
                <a:cubicBezTo>
                  <a:pt x="422838" y="559943"/>
                  <a:pt x="418428" y="558549"/>
                  <a:pt x="414897" y="556195"/>
                </a:cubicBezTo>
                <a:cubicBezTo>
                  <a:pt x="390797" y="558386"/>
                  <a:pt x="379247" y="558047"/>
                  <a:pt x="358409" y="563256"/>
                </a:cubicBezTo>
                <a:cubicBezTo>
                  <a:pt x="354799" y="564159"/>
                  <a:pt x="351348" y="565610"/>
                  <a:pt x="347818" y="566787"/>
                </a:cubicBezTo>
                <a:cubicBezTo>
                  <a:pt x="343111" y="559726"/>
                  <a:pt x="341747" y="548288"/>
                  <a:pt x="333696" y="545604"/>
                </a:cubicBezTo>
                <a:cubicBezTo>
                  <a:pt x="330165" y="544427"/>
                  <a:pt x="326682" y="543095"/>
                  <a:pt x="323104" y="542073"/>
                </a:cubicBezTo>
                <a:cubicBezTo>
                  <a:pt x="317817" y="540562"/>
                  <a:pt x="304040" y="537837"/>
                  <a:pt x="298391" y="535012"/>
                </a:cubicBezTo>
                <a:cubicBezTo>
                  <a:pt x="294596" y="533114"/>
                  <a:pt x="291699" y="529622"/>
                  <a:pt x="287799" y="527951"/>
                </a:cubicBezTo>
                <a:cubicBezTo>
                  <a:pt x="283339" y="526040"/>
                  <a:pt x="278325" y="525815"/>
                  <a:pt x="273677" y="524421"/>
                </a:cubicBezTo>
                <a:cubicBezTo>
                  <a:pt x="266548" y="522282"/>
                  <a:pt x="252494" y="517360"/>
                  <a:pt x="252494" y="517360"/>
                </a:cubicBezTo>
                <a:cubicBezTo>
                  <a:pt x="243079" y="518537"/>
                  <a:pt x="233527" y="518902"/>
                  <a:pt x="224250" y="520890"/>
                </a:cubicBezTo>
                <a:cubicBezTo>
                  <a:pt x="216972" y="522449"/>
                  <a:pt x="203067" y="527951"/>
                  <a:pt x="203067" y="527951"/>
                </a:cubicBezTo>
                <a:cubicBezTo>
                  <a:pt x="197183" y="526774"/>
                  <a:pt x="190152" y="528105"/>
                  <a:pt x="185415" y="524421"/>
                </a:cubicBezTo>
                <a:cubicBezTo>
                  <a:pt x="179575" y="519879"/>
                  <a:pt x="173036" y="497859"/>
                  <a:pt x="160701" y="496177"/>
                </a:cubicBezTo>
                <a:cubicBezTo>
                  <a:pt x="138516" y="493152"/>
                  <a:pt x="115982" y="493823"/>
                  <a:pt x="93622" y="492646"/>
                </a:cubicBezTo>
                <a:cubicBezTo>
                  <a:pt x="91649" y="484753"/>
                  <a:pt x="86467" y="462496"/>
                  <a:pt x="83030" y="457341"/>
                </a:cubicBezTo>
                <a:lnTo>
                  <a:pt x="75969" y="446750"/>
                </a:lnTo>
                <a:cubicBezTo>
                  <a:pt x="74792" y="438512"/>
                  <a:pt x="74830" y="430007"/>
                  <a:pt x="72439" y="422036"/>
                </a:cubicBezTo>
                <a:cubicBezTo>
                  <a:pt x="71220" y="417972"/>
                  <a:pt x="67101" y="415322"/>
                  <a:pt x="65378" y="411445"/>
                </a:cubicBezTo>
                <a:cubicBezTo>
                  <a:pt x="62355" y="404644"/>
                  <a:pt x="62445" y="396455"/>
                  <a:pt x="58317" y="390262"/>
                </a:cubicBezTo>
                <a:cubicBezTo>
                  <a:pt x="55963" y="386731"/>
                  <a:pt x="52979" y="383548"/>
                  <a:pt x="51256" y="379670"/>
                </a:cubicBezTo>
                <a:cubicBezTo>
                  <a:pt x="48233" y="372869"/>
                  <a:pt x="50388" y="362615"/>
                  <a:pt x="44195" y="358487"/>
                </a:cubicBezTo>
                <a:cubicBezTo>
                  <a:pt x="40664" y="356133"/>
                  <a:pt x="36863" y="354142"/>
                  <a:pt x="33603" y="351426"/>
                </a:cubicBezTo>
                <a:cubicBezTo>
                  <a:pt x="29767" y="348230"/>
                  <a:pt x="27166" y="343604"/>
                  <a:pt x="23012" y="340835"/>
                </a:cubicBezTo>
                <a:cubicBezTo>
                  <a:pt x="19915" y="338771"/>
                  <a:pt x="15951" y="338481"/>
                  <a:pt x="12420" y="337304"/>
                </a:cubicBezTo>
                <a:cubicBezTo>
                  <a:pt x="8158" y="320252"/>
                  <a:pt x="5359" y="311735"/>
                  <a:pt x="5359" y="291408"/>
                </a:cubicBezTo>
                <a:cubicBezTo>
                  <a:pt x="5359" y="280751"/>
                  <a:pt x="7713" y="270225"/>
                  <a:pt x="8890" y="259633"/>
                </a:cubicBezTo>
                <a:cubicBezTo>
                  <a:pt x="12866" y="184078"/>
                  <a:pt x="0" y="211185"/>
                  <a:pt x="26542" y="171371"/>
                </a:cubicBezTo>
                <a:cubicBezTo>
                  <a:pt x="34557" y="159348"/>
                  <a:pt x="30551" y="160659"/>
                  <a:pt x="44195" y="157249"/>
                </a:cubicBezTo>
                <a:cubicBezTo>
                  <a:pt x="45337" y="156964"/>
                  <a:pt x="35369" y="153130"/>
                  <a:pt x="44195" y="167840"/>
                </a:cubicBezTo>
                <a:close/>
              </a:path>
            </a:pathLst>
          </a:custGeom>
          <a:solidFill>
            <a:srgbClr val="FF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4" name="Freeform 73"/>
          <p:cNvSpPr/>
          <p:nvPr/>
        </p:nvSpPr>
        <p:spPr>
          <a:xfrm>
            <a:off x="5211763" y="5520269"/>
            <a:ext cx="381000" cy="491067"/>
          </a:xfrm>
          <a:custGeom>
            <a:avLst/>
            <a:gdLst>
              <a:gd name="connsiteX0" fmla="*/ 362513 w 380450"/>
              <a:gd name="connsiteY0" fmla="*/ 2354 h 491691"/>
              <a:gd name="connsiteX1" fmla="*/ 369574 w 380450"/>
              <a:gd name="connsiteY1" fmla="*/ 34129 h 491691"/>
              <a:gd name="connsiteX2" fmla="*/ 355452 w 380450"/>
              <a:gd name="connsiteY2" fmla="*/ 55312 h 491691"/>
              <a:gd name="connsiteX3" fmla="*/ 348391 w 380450"/>
              <a:gd name="connsiteY3" fmla="*/ 65903 h 491691"/>
              <a:gd name="connsiteX4" fmla="*/ 320147 w 380450"/>
              <a:gd name="connsiteY4" fmla="*/ 90617 h 491691"/>
              <a:gd name="connsiteX5" fmla="*/ 288372 w 380450"/>
              <a:gd name="connsiteY5" fmla="*/ 101208 h 491691"/>
              <a:gd name="connsiteX6" fmla="*/ 277781 w 380450"/>
              <a:gd name="connsiteY6" fmla="*/ 104739 h 491691"/>
              <a:gd name="connsiteX7" fmla="*/ 231884 w 380450"/>
              <a:gd name="connsiteY7" fmla="*/ 101208 h 491691"/>
              <a:gd name="connsiteX8" fmla="*/ 221292 w 380450"/>
              <a:gd name="connsiteY8" fmla="*/ 94147 h 491691"/>
              <a:gd name="connsiteX9" fmla="*/ 196579 w 380450"/>
              <a:gd name="connsiteY9" fmla="*/ 87086 h 491691"/>
              <a:gd name="connsiteX10" fmla="*/ 185987 w 380450"/>
              <a:gd name="connsiteY10" fmla="*/ 83556 h 491691"/>
              <a:gd name="connsiteX11" fmla="*/ 111847 w 380450"/>
              <a:gd name="connsiteY11" fmla="*/ 90617 h 491691"/>
              <a:gd name="connsiteX12" fmla="*/ 101255 w 380450"/>
              <a:gd name="connsiteY12" fmla="*/ 94147 h 491691"/>
              <a:gd name="connsiteX13" fmla="*/ 87133 w 380450"/>
              <a:gd name="connsiteY13" fmla="*/ 115330 h 491691"/>
              <a:gd name="connsiteX14" fmla="*/ 76542 w 380450"/>
              <a:gd name="connsiteY14" fmla="*/ 136513 h 491691"/>
              <a:gd name="connsiteX15" fmla="*/ 83603 w 380450"/>
              <a:gd name="connsiteY15" fmla="*/ 171818 h 491691"/>
              <a:gd name="connsiteX16" fmla="*/ 97725 w 380450"/>
              <a:gd name="connsiteY16" fmla="*/ 193001 h 491691"/>
              <a:gd name="connsiteX17" fmla="*/ 108316 w 380450"/>
              <a:gd name="connsiteY17" fmla="*/ 196532 h 491691"/>
              <a:gd name="connsiteX18" fmla="*/ 125969 w 380450"/>
              <a:gd name="connsiteY18" fmla="*/ 224776 h 491691"/>
              <a:gd name="connsiteX19" fmla="*/ 143621 w 380450"/>
              <a:gd name="connsiteY19" fmla="*/ 203593 h 491691"/>
              <a:gd name="connsiteX20" fmla="*/ 157743 w 380450"/>
              <a:gd name="connsiteY20" fmla="*/ 178879 h 491691"/>
              <a:gd name="connsiteX21" fmla="*/ 246006 w 380450"/>
              <a:gd name="connsiteY21" fmla="*/ 171818 h 491691"/>
              <a:gd name="connsiteX22" fmla="*/ 256597 w 380450"/>
              <a:gd name="connsiteY22" fmla="*/ 168288 h 491691"/>
              <a:gd name="connsiteX23" fmla="*/ 263658 w 380450"/>
              <a:gd name="connsiteY23" fmla="*/ 182410 h 491691"/>
              <a:gd name="connsiteX24" fmla="*/ 249536 w 380450"/>
              <a:gd name="connsiteY24" fmla="*/ 185940 h 491691"/>
              <a:gd name="connsiteX25" fmla="*/ 228353 w 380450"/>
              <a:gd name="connsiteY25" fmla="*/ 196532 h 491691"/>
              <a:gd name="connsiteX26" fmla="*/ 210701 w 380450"/>
              <a:gd name="connsiteY26" fmla="*/ 217715 h 491691"/>
              <a:gd name="connsiteX27" fmla="*/ 200109 w 380450"/>
              <a:gd name="connsiteY27" fmla="*/ 228306 h 491691"/>
              <a:gd name="connsiteX28" fmla="*/ 189518 w 380450"/>
              <a:gd name="connsiteY28" fmla="*/ 235367 h 491691"/>
              <a:gd name="connsiteX29" fmla="*/ 161274 w 380450"/>
              <a:gd name="connsiteY29" fmla="*/ 238898 h 491691"/>
              <a:gd name="connsiteX30" fmla="*/ 154213 w 380450"/>
              <a:gd name="connsiteY30" fmla="*/ 249489 h 491691"/>
              <a:gd name="connsiteX31" fmla="*/ 161274 w 380450"/>
              <a:gd name="connsiteY31" fmla="*/ 270672 h 491691"/>
              <a:gd name="connsiteX32" fmla="*/ 178926 w 380450"/>
              <a:gd name="connsiteY32" fmla="*/ 291855 h 491691"/>
              <a:gd name="connsiteX33" fmla="*/ 196579 w 380450"/>
              <a:gd name="connsiteY33" fmla="*/ 316569 h 491691"/>
              <a:gd name="connsiteX34" fmla="*/ 207170 w 380450"/>
              <a:gd name="connsiteY34" fmla="*/ 337752 h 491691"/>
              <a:gd name="connsiteX35" fmla="*/ 214231 w 380450"/>
              <a:gd name="connsiteY35" fmla="*/ 369526 h 491691"/>
              <a:gd name="connsiteX36" fmla="*/ 224823 w 380450"/>
              <a:gd name="connsiteY36" fmla="*/ 376587 h 491691"/>
              <a:gd name="connsiteX37" fmla="*/ 238945 w 380450"/>
              <a:gd name="connsiteY37" fmla="*/ 408362 h 491691"/>
              <a:gd name="connsiteX38" fmla="*/ 238945 w 380450"/>
              <a:gd name="connsiteY38" fmla="*/ 433075 h 491691"/>
              <a:gd name="connsiteX39" fmla="*/ 235414 w 380450"/>
              <a:gd name="connsiteY39" fmla="*/ 468380 h 491691"/>
              <a:gd name="connsiteX40" fmla="*/ 228353 w 380450"/>
              <a:gd name="connsiteY40" fmla="*/ 489563 h 491691"/>
              <a:gd name="connsiteX41" fmla="*/ 203640 w 380450"/>
              <a:gd name="connsiteY41" fmla="*/ 482502 h 491691"/>
              <a:gd name="connsiteX42" fmla="*/ 200109 w 380450"/>
              <a:gd name="connsiteY42" fmla="*/ 471911 h 491691"/>
              <a:gd name="connsiteX43" fmla="*/ 196579 w 380450"/>
              <a:gd name="connsiteY43" fmla="*/ 436606 h 491691"/>
              <a:gd name="connsiteX44" fmla="*/ 161274 w 380450"/>
              <a:gd name="connsiteY44" fmla="*/ 436606 h 491691"/>
              <a:gd name="connsiteX45" fmla="*/ 157743 w 380450"/>
              <a:gd name="connsiteY45" fmla="*/ 422484 h 491691"/>
              <a:gd name="connsiteX46" fmla="*/ 154213 w 380450"/>
              <a:gd name="connsiteY46" fmla="*/ 401301 h 491691"/>
              <a:gd name="connsiteX47" fmla="*/ 140091 w 380450"/>
              <a:gd name="connsiteY47" fmla="*/ 365996 h 491691"/>
              <a:gd name="connsiteX48" fmla="*/ 133030 w 380450"/>
              <a:gd name="connsiteY48" fmla="*/ 344813 h 491691"/>
              <a:gd name="connsiteX49" fmla="*/ 125969 w 380450"/>
              <a:gd name="connsiteY49" fmla="*/ 323630 h 491691"/>
              <a:gd name="connsiteX50" fmla="*/ 122438 w 380450"/>
              <a:gd name="connsiteY50" fmla="*/ 309508 h 491691"/>
              <a:gd name="connsiteX51" fmla="*/ 111847 w 380450"/>
              <a:gd name="connsiteY51" fmla="*/ 305977 h 491691"/>
              <a:gd name="connsiteX52" fmla="*/ 83603 w 380450"/>
              <a:gd name="connsiteY52" fmla="*/ 320099 h 491691"/>
              <a:gd name="connsiteX53" fmla="*/ 87133 w 380450"/>
              <a:gd name="connsiteY53" fmla="*/ 341282 h 491691"/>
              <a:gd name="connsiteX54" fmla="*/ 94194 w 380450"/>
              <a:gd name="connsiteY54" fmla="*/ 376587 h 491691"/>
              <a:gd name="connsiteX55" fmla="*/ 94194 w 380450"/>
              <a:gd name="connsiteY55" fmla="*/ 457789 h 491691"/>
              <a:gd name="connsiteX56" fmla="*/ 83603 w 380450"/>
              <a:gd name="connsiteY56" fmla="*/ 482502 h 491691"/>
              <a:gd name="connsiteX57" fmla="*/ 65950 w 380450"/>
              <a:gd name="connsiteY57" fmla="*/ 486033 h 491691"/>
              <a:gd name="connsiteX58" fmla="*/ 37706 w 380450"/>
              <a:gd name="connsiteY58" fmla="*/ 482502 h 491691"/>
              <a:gd name="connsiteX59" fmla="*/ 23584 w 380450"/>
              <a:gd name="connsiteY59" fmla="*/ 355404 h 491691"/>
              <a:gd name="connsiteX60" fmla="*/ 9462 w 380450"/>
              <a:gd name="connsiteY60" fmla="*/ 351874 h 491691"/>
              <a:gd name="connsiteX61" fmla="*/ 5932 w 380450"/>
              <a:gd name="connsiteY61" fmla="*/ 337752 h 491691"/>
              <a:gd name="connsiteX62" fmla="*/ 2401 w 380450"/>
              <a:gd name="connsiteY62" fmla="*/ 327160 h 491691"/>
              <a:gd name="connsiteX63" fmla="*/ 12993 w 380450"/>
              <a:gd name="connsiteY63" fmla="*/ 277733 h 491691"/>
              <a:gd name="connsiteX64" fmla="*/ 23584 w 380450"/>
              <a:gd name="connsiteY64" fmla="*/ 270672 h 491691"/>
              <a:gd name="connsiteX65" fmla="*/ 27115 w 380450"/>
              <a:gd name="connsiteY65" fmla="*/ 260081 h 491691"/>
              <a:gd name="connsiteX66" fmla="*/ 16523 w 380450"/>
              <a:gd name="connsiteY66" fmla="*/ 224776 h 491691"/>
              <a:gd name="connsiteX67" fmla="*/ 23584 w 380450"/>
              <a:gd name="connsiteY67" fmla="*/ 196532 h 491691"/>
              <a:gd name="connsiteX68" fmla="*/ 34176 w 380450"/>
              <a:gd name="connsiteY68" fmla="*/ 189471 h 491691"/>
              <a:gd name="connsiteX69" fmla="*/ 37706 w 380450"/>
              <a:gd name="connsiteY69" fmla="*/ 178879 h 491691"/>
              <a:gd name="connsiteX70" fmla="*/ 41237 w 380450"/>
              <a:gd name="connsiteY70" fmla="*/ 143574 h 491691"/>
              <a:gd name="connsiteX71" fmla="*/ 51828 w 380450"/>
              <a:gd name="connsiteY71" fmla="*/ 136513 h 491691"/>
              <a:gd name="connsiteX72" fmla="*/ 55359 w 380450"/>
              <a:gd name="connsiteY72" fmla="*/ 83556 h 491691"/>
              <a:gd name="connsiteX73" fmla="*/ 58889 w 380450"/>
              <a:gd name="connsiteY73" fmla="*/ 69434 h 491691"/>
              <a:gd name="connsiteX74" fmla="*/ 69481 w 380450"/>
              <a:gd name="connsiteY74" fmla="*/ 62373 h 491691"/>
              <a:gd name="connsiteX75" fmla="*/ 104786 w 380450"/>
              <a:gd name="connsiteY75" fmla="*/ 51781 h 491691"/>
              <a:gd name="connsiteX76" fmla="*/ 111847 w 380450"/>
              <a:gd name="connsiteY76" fmla="*/ 41190 h 491691"/>
              <a:gd name="connsiteX77" fmla="*/ 164804 w 380450"/>
              <a:gd name="connsiteY77" fmla="*/ 44720 h 491691"/>
              <a:gd name="connsiteX78" fmla="*/ 178926 w 380450"/>
              <a:gd name="connsiteY78" fmla="*/ 51781 h 491691"/>
              <a:gd name="connsiteX79" fmla="*/ 203640 w 380450"/>
              <a:gd name="connsiteY79" fmla="*/ 58842 h 491691"/>
              <a:gd name="connsiteX80" fmla="*/ 214231 w 380450"/>
              <a:gd name="connsiteY80" fmla="*/ 62373 h 491691"/>
              <a:gd name="connsiteX81" fmla="*/ 228353 w 380450"/>
              <a:gd name="connsiteY81" fmla="*/ 58842 h 491691"/>
              <a:gd name="connsiteX82" fmla="*/ 238945 w 380450"/>
              <a:gd name="connsiteY82" fmla="*/ 51781 h 491691"/>
              <a:gd name="connsiteX83" fmla="*/ 270719 w 380450"/>
              <a:gd name="connsiteY83" fmla="*/ 55312 h 491691"/>
              <a:gd name="connsiteX84" fmla="*/ 320147 w 380450"/>
              <a:gd name="connsiteY84" fmla="*/ 44720 h 491691"/>
              <a:gd name="connsiteX85" fmla="*/ 327208 w 380450"/>
              <a:gd name="connsiteY85" fmla="*/ 34129 h 491691"/>
              <a:gd name="connsiteX86" fmla="*/ 330738 w 380450"/>
              <a:gd name="connsiteY86" fmla="*/ 23537 h 491691"/>
              <a:gd name="connsiteX87" fmla="*/ 362513 w 380450"/>
              <a:gd name="connsiteY87" fmla="*/ 5885 h 491691"/>
              <a:gd name="connsiteX88" fmla="*/ 380165 w 380450"/>
              <a:gd name="connsiteY88" fmla="*/ 20007 h 491691"/>
              <a:gd name="connsiteX89" fmla="*/ 362513 w 380450"/>
              <a:gd name="connsiteY89" fmla="*/ 2354 h 49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380450" h="491691">
                <a:moveTo>
                  <a:pt x="362513" y="2354"/>
                </a:moveTo>
                <a:cubicBezTo>
                  <a:pt x="360748" y="4708"/>
                  <a:pt x="380191" y="4401"/>
                  <a:pt x="369574" y="34129"/>
                </a:cubicBezTo>
                <a:cubicBezTo>
                  <a:pt x="366720" y="42121"/>
                  <a:pt x="360159" y="48251"/>
                  <a:pt x="355452" y="55312"/>
                </a:cubicBezTo>
                <a:lnTo>
                  <a:pt x="348391" y="65903"/>
                </a:lnTo>
                <a:cubicBezTo>
                  <a:pt x="340153" y="78260"/>
                  <a:pt x="337801" y="84732"/>
                  <a:pt x="320147" y="90617"/>
                </a:cubicBezTo>
                <a:lnTo>
                  <a:pt x="288372" y="101208"/>
                </a:lnTo>
                <a:lnTo>
                  <a:pt x="277781" y="104739"/>
                </a:lnTo>
                <a:cubicBezTo>
                  <a:pt x="262482" y="103562"/>
                  <a:pt x="246965" y="104036"/>
                  <a:pt x="231884" y="101208"/>
                </a:cubicBezTo>
                <a:cubicBezTo>
                  <a:pt x="227713" y="100426"/>
                  <a:pt x="225087" y="96045"/>
                  <a:pt x="221292" y="94147"/>
                </a:cubicBezTo>
                <a:cubicBezTo>
                  <a:pt x="215653" y="91328"/>
                  <a:pt x="201852" y="88592"/>
                  <a:pt x="196579" y="87086"/>
                </a:cubicBezTo>
                <a:cubicBezTo>
                  <a:pt x="193001" y="86064"/>
                  <a:pt x="189518" y="84733"/>
                  <a:pt x="185987" y="83556"/>
                </a:cubicBezTo>
                <a:cubicBezTo>
                  <a:pt x="153798" y="85568"/>
                  <a:pt x="138365" y="83987"/>
                  <a:pt x="111847" y="90617"/>
                </a:cubicBezTo>
                <a:cubicBezTo>
                  <a:pt x="108237" y="91520"/>
                  <a:pt x="104786" y="92970"/>
                  <a:pt x="101255" y="94147"/>
                </a:cubicBezTo>
                <a:cubicBezTo>
                  <a:pt x="96548" y="101208"/>
                  <a:pt x="89816" y="107279"/>
                  <a:pt x="87133" y="115330"/>
                </a:cubicBezTo>
                <a:cubicBezTo>
                  <a:pt x="82261" y="129947"/>
                  <a:pt x="85667" y="122826"/>
                  <a:pt x="76542" y="136513"/>
                </a:cubicBezTo>
                <a:cubicBezTo>
                  <a:pt x="77420" y="142659"/>
                  <a:pt x="78861" y="163283"/>
                  <a:pt x="83603" y="171818"/>
                </a:cubicBezTo>
                <a:cubicBezTo>
                  <a:pt x="87724" y="179236"/>
                  <a:pt x="89674" y="190317"/>
                  <a:pt x="97725" y="193001"/>
                </a:cubicBezTo>
                <a:lnTo>
                  <a:pt x="108316" y="196532"/>
                </a:lnTo>
                <a:cubicBezTo>
                  <a:pt x="116719" y="221741"/>
                  <a:pt x="109184" y="213587"/>
                  <a:pt x="125969" y="224776"/>
                </a:cubicBezTo>
                <a:cubicBezTo>
                  <a:pt x="130884" y="219861"/>
                  <a:pt x="141164" y="210964"/>
                  <a:pt x="143621" y="203593"/>
                </a:cubicBezTo>
                <a:cubicBezTo>
                  <a:pt x="149444" y="186124"/>
                  <a:pt x="139487" y="180835"/>
                  <a:pt x="157743" y="178879"/>
                </a:cubicBezTo>
                <a:cubicBezTo>
                  <a:pt x="187090" y="175735"/>
                  <a:pt x="246006" y="171818"/>
                  <a:pt x="246006" y="171818"/>
                </a:cubicBezTo>
                <a:cubicBezTo>
                  <a:pt x="249536" y="170641"/>
                  <a:pt x="252876" y="168288"/>
                  <a:pt x="256597" y="168288"/>
                </a:cubicBezTo>
                <a:cubicBezTo>
                  <a:pt x="263658" y="168288"/>
                  <a:pt x="275428" y="172994"/>
                  <a:pt x="263658" y="182410"/>
                </a:cubicBezTo>
                <a:cubicBezTo>
                  <a:pt x="259869" y="185441"/>
                  <a:pt x="254201" y="184607"/>
                  <a:pt x="249536" y="185940"/>
                </a:cubicBezTo>
                <a:cubicBezTo>
                  <a:pt x="239846" y="188709"/>
                  <a:pt x="236424" y="189806"/>
                  <a:pt x="228353" y="196532"/>
                </a:cubicBezTo>
                <a:cubicBezTo>
                  <a:pt x="211474" y="210598"/>
                  <a:pt x="223326" y="202566"/>
                  <a:pt x="210701" y="217715"/>
                </a:cubicBezTo>
                <a:cubicBezTo>
                  <a:pt x="207505" y="221551"/>
                  <a:pt x="203945" y="225110"/>
                  <a:pt x="200109" y="228306"/>
                </a:cubicBezTo>
                <a:cubicBezTo>
                  <a:pt x="196849" y="231022"/>
                  <a:pt x="193611" y="234251"/>
                  <a:pt x="189518" y="235367"/>
                </a:cubicBezTo>
                <a:cubicBezTo>
                  <a:pt x="180364" y="237864"/>
                  <a:pt x="170689" y="237721"/>
                  <a:pt x="161274" y="238898"/>
                </a:cubicBezTo>
                <a:cubicBezTo>
                  <a:pt x="158920" y="242428"/>
                  <a:pt x="154213" y="245246"/>
                  <a:pt x="154213" y="249489"/>
                </a:cubicBezTo>
                <a:cubicBezTo>
                  <a:pt x="154213" y="256932"/>
                  <a:pt x="156011" y="265409"/>
                  <a:pt x="161274" y="270672"/>
                </a:cubicBezTo>
                <a:cubicBezTo>
                  <a:pt x="167923" y="277322"/>
                  <a:pt x="174995" y="283010"/>
                  <a:pt x="178926" y="291855"/>
                </a:cubicBezTo>
                <a:cubicBezTo>
                  <a:pt x="190388" y="317643"/>
                  <a:pt x="177314" y="310147"/>
                  <a:pt x="196579" y="316569"/>
                </a:cubicBezTo>
                <a:cubicBezTo>
                  <a:pt x="202928" y="326093"/>
                  <a:pt x="204733" y="326787"/>
                  <a:pt x="207170" y="337752"/>
                </a:cubicBezTo>
                <a:cubicBezTo>
                  <a:pt x="207222" y="337985"/>
                  <a:pt x="210564" y="364943"/>
                  <a:pt x="214231" y="369526"/>
                </a:cubicBezTo>
                <a:cubicBezTo>
                  <a:pt x="216882" y="372839"/>
                  <a:pt x="221292" y="374233"/>
                  <a:pt x="224823" y="376587"/>
                </a:cubicBezTo>
                <a:cubicBezTo>
                  <a:pt x="233226" y="401796"/>
                  <a:pt x="227756" y="391577"/>
                  <a:pt x="238945" y="408362"/>
                </a:cubicBezTo>
                <a:cubicBezTo>
                  <a:pt x="227906" y="452511"/>
                  <a:pt x="238945" y="397621"/>
                  <a:pt x="238945" y="433075"/>
                </a:cubicBezTo>
                <a:cubicBezTo>
                  <a:pt x="238945" y="444902"/>
                  <a:pt x="237594" y="456756"/>
                  <a:pt x="235414" y="468380"/>
                </a:cubicBezTo>
                <a:cubicBezTo>
                  <a:pt x="234042" y="475695"/>
                  <a:pt x="228353" y="489563"/>
                  <a:pt x="228353" y="489563"/>
                </a:cubicBezTo>
                <a:cubicBezTo>
                  <a:pt x="220115" y="487209"/>
                  <a:pt x="210905" y="487043"/>
                  <a:pt x="203640" y="482502"/>
                </a:cubicBezTo>
                <a:cubicBezTo>
                  <a:pt x="200484" y="480530"/>
                  <a:pt x="200675" y="475589"/>
                  <a:pt x="200109" y="471911"/>
                </a:cubicBezTo>
                <a:cubicBezTo>
                  <a:pt x="198311" y="460222"/>
                  <a:pt x="197756" y="448374"/>
                  <a:pt x="196579" y="436606"/>
                </a:cubicBezTo>
                <a:cubicBezTo>
                  <a:pt x="195388" y="436776"/>
                  <a:pt x="167593" y="444505"/>
                  <a:pt x="161274" y="436606"/>
                </a:cubicBezTo>
                <a:cubicBezTo>
                  <a:pt x="158243" y="432817"/>
                  <a:pt x="158695" y="427242"/>
                  <a:pt x="157743" y="422484"/>
                </a:cubicBezTo>
                <a:cubicBezTo>
                  <a:pt x="156339" y="415465"/>
                  <a:pt x="155949" y="408246"/>
                  <a:pt x="154213" y="401301"/>
                </a:cubicBezTo>
                <a:cubicBezTo>
                  <a:pt x="146408" y="370079"/>
                  <a:pt x="149830" y="390343"/>
                  <a:pt x="140091" y="365996"/>
                </a:cubicBezTo>
                <a:cubicBezTo>
                  <a:pt x="137327" y="359085"/>
                  <a:pt x="135384" y="351874"/>
                  <a:pt x="133030" y="344813"/>
                </a:cubicBezTo>
                <a:cubicBezTo>
                  <a:pt x="133027" y="344803"/>
                  <a:pt x="125972" y="323641"/>
                  <a:pt x="125969" y="323630"/>
                </a:cubicBezTo>
                <a:cubicBezTo>
                  <a:pt x="124792" y="318923"/>
                  <a:pt x="125469" y="313297"/>
                  <a:pt x="122438" y="309508"/>
                </a:cubicBezTo>
                <a:cubicBezTo>
                  <a:pt x="120113" y="306602"/>
                  <a:pt x="115377" y="307154"/>
                  <a:pt x="111847" y="305977"/>
                </a:cubicBezTo>
                <a:cubicBezTo>
                  <a:pt x="102281" y="307572"/>
                  <a:pt x="85268" y="305113"/>
                  <a:pt x="83603" y="320099"/>
                </a:cubicBezTo>
                <a:cubicBezTo>
                  <a:pt x="82812" y="327214"/>
                  <a:pt x="85814" y="334246"/>
                  <a:pt x="87133" y="341282"/>
                </a:cubicBezTo>
                <a:cubicBezTo>
                  <a:pt x="89345" y="353078"/>
                  <a:pt x="94194" y="376587"/>
                  <a:pt x="94194" y="376587"/>
                </a:cubicBezTo>
                <a:cubicBezTo>
                  <a:pt x="97340" y="423769"/>
                  <a:pt x="100465" y="420164"/>
                  <a:pt x="94194" y="457789"/>
                </a:cubicBezTo>
                <a:cubicBezTo>
                  <a:pt x="93222" y="463622"/>
                  <a:pt x="90219" y="478721"/>
                  <a:pt x="83603" y="482502"/>
                </a:cubicBezTo>
                <a:cubicBezTo>
                  <a:pt x="78393" y="485479"/>
                  <a:pt x="71834" y="484856"/>
                  <a:pt x="65950" y="486033"/>
                </a:cubicBezTo>
                <a:cubicBezTo>
                  <a:pt x="56535" y="484856"/>
                  <a:pt x="40069" y="491691"/>
                  <a:pt x="37706" y="482502"/>
                </a:cubicBezTo>
                <a:cubicBezTo>
                  <a:pt x="30738" y="455405"/>
                  <a:pt x="67834" y="374367"/>
                  <a:pt x="23584" y="355404"/>
                </a:cubicBezTo>
                <a:cubicBezTo>
                  <a:pt x="19124" y="353493"/>
                  <a:pt x="14169" y="353051"/>
                  <a:pt x="9462" y="351874"/>
                </a:cubicBezTo>
                <a:cubicBezTo>
                  <a:pt x="8285" y="347167"/>
                  <a:pt x="7265" y="342417"/>
                  <a:pt x="5932" y="337752"/>
                </a:cubicBezTo>
                <a:cubicBezTo>
                  <a:pt x="4910" y="334174"/>
                  <a:pt x="2401" y="330882"/>
                  <a:pt x="2401" y="327160"/>
                </a:cubicBezTo>
                <a:cubicBezTo>
                  <a:pt x="2401" y="309873"/>
                  <a:pt x="0" y="290727"/>
                  <a:pt x="12993" y="277733"/>
                </a:cubicBezTo>
                <a:cubicBezTo>
                  <a:pt x="15993" y="274733"/>
                  <a:pt x="20054" y="273026"/>
                  <a:pt x="23584" y="270672"/>
                </a:cubicBezTo>
                <a:cubicBezTo>
                  <a:pt x="24761" y="267142"/>
                  <a:pt x="27115" y="263802"/>
                  <a:pt x="27115" y="260081"/>
                </a:cubicBezTo>
                <a:cubicBezTo>
                  <a:pt x="27115" y="237363"/>
                  <a:pt x="26094" y="239132"/>
                  <a:pt x="16523" y="224776"/>
                </a:cubicBezTo>
                <a:cubicBezTo>
                  <a:pt x="18877" y="215361"/>
                  <a:pt x="19244" y="205212"/>
                  <a:pt x="23584" y="196532"/>
                </a:cubicBezTo>
                <a:cubicBezTo>
                  <a:pt x="25482" y="192737"/>
                  <a:pt x="31525" y="192784"/>
                  <a:pt x="34176" y="189471"/>
                </a:cubicBezTo>
                <a:cubicBezTo>
                  <a:pt x="36501" y="186565"/>
                  <a:pt x="36529" y="182410"/>
                  <a:pt x="37706" y="178879"/>
                </a:cubicBezTo>
                <a:cubicBezTo>
                  <a:pt x="38883" y="167111"/>
                  <a:pt x="37497" y="154794"/>
                  <a:pt x="41237" y="143574"/>
                </a:cubicBezTo>
                <a:cubicBezTo>
                  <a:pt x="42579" y="139549"/>
                  <a:pt x="50856" y="140643"/>
                  <a:pt x="51828" y="136513"/>
                </a:cubicBezTo>
                <a:cubicBezTo>
                  <a:pt x="55880" y="119292"/>
                  <a:pt x="53507" y="101150"/>
                  <a:pt x="55359" y="83556"/>
                </a:cubicBezTo>
                <a:cubicBezTo>
                  <a:pt x="55867" y="78730"/>
                  <a:pt x="56198" y="73471"/>
                  <a:pt x="58889" y="69434"/>
                </a:cubicBezTo>
                <a:cubicBezTo>
                  <a:pt x="61243" y="65903"/>
                  <a:pt x="65603" y="64096"/>
                  <a:pt x="69481" y="62373"/>
                </a:cubicBezTo>
                <a:cubicBezTo>
                  <a:pt x="80530" y="57462"/>
                  <a:pt x="93051" y="54715"/>
                  <a:pt x="104786" y="51781"/>
                </a:cubicBezTo>
                <a:cubicBezTo>
                  <a:pt x="107140" y="48251"/>
                  <a:pt x="107633" y="41686"/>
                  <a:pt x="111847" y="41190"/>
                </a:cubicBezTo>
                <a:cubicBezTo>
                  <a:pt x="129417" y="39123"/>
                  <a:pt x="147329" y="41961"/>
                  <a:pt x="164804" y="44720"/>
                </a:cubicBezTo>
                <a:cubicBezTo>
                  <a:pt x="170003" y="45541"/>
                  <a:pt x="174089" y="49708"/>
                  <a:pt x="178926" y="51781"/>
                </a:cubicBezTo>
                <a:cubicBezTo>
                  <a:pt x="187398" y="55412"/>
                  <a:pt x="194673" y="56280"/>
                  <a:pt x="203640" y="58842"/>
                </a:cubicBezTo>
                <a:cubicBezTo>
                  <a:pt x="207218" y="59864"/>
                  <a:pt x="210701" y="61196"/>
                  <a:pt x="214231" y="62373"/>
                </a:cubicBezTo>
                <a:cubicBezTo>
                  <a:pt x="218938" y="61196"/>
                  <a:pt x="223893" y="60753"/>
                  <a:pt x="228353" y="58842"/>
                </a:cubicBezTo>
                <a:cubicBezTo>
                  <a:pt x="232253" y="57170"/>
                  <a:pt x="234716" y="52133"/>
                  <a:pt x="238945" y="51781"/>
                </a:cubicBezTo>
                <a:cubicBezTo>
                  <a:pt x="249565" y="50896"/>
                  <a:pt x="260128" y="54135"/>
                  <a:pt x="270719" y="55312"/>
                </a:cubicBezTo>
                <a:cubicBezTo>
                  <a:pt x="289735" y="53583"/>
                  <a:pt x="306589" y="58277"/>
                  <a:pt x="320147" y="44720"/>
                </a:cubicBezTo>
                <a:cubicBezTo>
                  <a:pt x="323147" y="41720"/>
                  <a:pt x="324854" y="37659"/>
                  <a:pt x="327208" y="34129"/>
                </a:cubicBezTo>
                <a:cubicBezTo>
                  <a:pt x="328385" y="30598"/>
                  <a:pt x="328106" y="26169"/>
                  <a:pt x="330738" y="23537"/>
                </a:cubicBezTo>
                <a:cubicBezTo>
                  <a:pt x="342878" y="11396"/>
                  <a:pt x="349194" y="10324"/>
                  <a:pt x="362513" y="5885"/>
                </a:cubicBezTo>
                <a:cubicBezTo>
                  <a:pt x="378485" y="9877"/>
                  <a:pt x="376451" y="5149"/>
                  <a:pt x="380165" y="20007"/>
                </a:cubicBezTo>
                <a:cubicBezTo>
                  <a:pt x="380450" y="21149"/>
                  <a:pt x="364278" y="0"/>
                  <a:pt x="362513" y="2354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5" name="Freeform 74"/>
          <p:cNvSpPr/>
          <p:nvPr/>
        </p:nvSpPr>
        <p:spPr>
          <a:xfrm>
            <a:off x="5630869" y="5846238"/>
            <a:ext cx="77787" cy="55033"/>
          </a:xfrm>
          <a:custGeom>
            <a:avLst/>
            <a:gdLst>
              <a:gd name="connsiteX0" fmla="*/ 588 w 78259"/>
              <a:gd name="connsiteY0" fmla="*/ 1177 h 55078"/>
              <a:gd name="connsiteX1" fmla="*/ 11179 w 78259"/>
              <a:gd name="connsiteY1" fmla="*/ 11769 h 55078"/>
              <a:gd name="connsiteX2" fmla="*/ 67667 w 78259"/>
              <a:gd name="connsiteY2" fmla="*/ 18830 h 55078"/>
              <a:gd name="connsiteX3" fmla="*/ 78259 w 78259"/>
              <a:gd name="connsiteY3" fmla="*/ 25891 h 55078"/>
              <a:gd name="connsiteX4" fmla="*/ 74728 w 78259"/>
              <a:gd name="connsiteY4" fmla="*/ 47074 h 55078"/>
              <a:gd name="connsiteX5" fmla="*/ 64137 w 78259"/>
              <a:gd name="connsiteY5" fmla="*/ 54135 h 55078"/>
              <a:gd name="connsiteX6" fmla="*/ 21771 w 78259"/>
              <a:gd name="connsiteY6" fmla="*/ 50604 h 55078"/>
              <a:gd name="connsiteX7" fmla="*/ 14710 w 78259"/>
              <a:gd name="connsiteY7" fmla="*/ 40013 h 55078"/>
              <a:gd name="connsiteX8" fmla="*/ 7649 w 78259"/>
              <a:gd name="connsiteY8" fmla="*/ 18830 h 55078"/>
              <a:gd name="connsiteX9" fmla="*/ 588 w 78259"/>
              <a:gd name="connsiteY9" fmla="*/ 1177 h 55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259" h="55078">
                <a:moveTo>
                  <a:pt x="588" y="1177"/>
                </a:moveTo>
                <a:cubicBezTo>
                  <a:pt x="1176" y="0"/>
                  <a:pt x="6335" y="10558"/>
                  <a:pt x="11179" y="11769"/>
                </a:cubicBezTo>
                <a:cubicBezTo>
                  <a:pt x="26025" y="15481"/>
                  <a:pt x="50950" y="10471"/>
                  <a:pt x="67667" y="18830"/>
                </a:cubicBezTo>
                <a:cubicBezTo>
                  <a:pt x="71462" y="20728"/>
                  <a:pt x="74728" y="23537"/>
                  <a:pt x="78259" y="25891"/>
                </a:cubicBezTo>
                <a:cubicBezTo>
                  <a:pt x="77082" y="32952"/>
                  <a:pt x="77929" y="40671"/>
                  <a:pt x="74728" y="47074"/>
                </a:cubicBezTo>
                <a:cubicBezTo>
                  <a:pt x="72830" y="50869"/>
                  <a:pt x="68371" y="53853"/>
                  <a:pt x="64137" y="54135"/>
                </a:cubicBezTo>
                <a:cubicBezTo>
                  <a:pt x="49997" y="55078"/>
                  <a:pt x="35893" y="51781"/>
                  <a:pt x="21771" y="50604"/>
                </a:cubicBezTo>
                <a:cubicBezTo>
                  <a:pt x="19417" y="47074"/>
                  <a:pt x="16433" y="43890"/>
                  <a:pt x="14710" y="40013"/>
                </a:cubicBezTo>
                <a:cubicBezTo>
                  <a:pt x="11687" y="33212"/>
                  <a:pt x="7649" y="18830"/>
                  <a:pt x="7649" y="18830"/>
                </a:cubicBezTo>
                <a:cubicBezTo>
                  <a:pt x="11551" y="7122"/>
                  <a:pt x="0" y="2354"/>
                  <a:pt x="588" y="1177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6" name="Freeform 75"/>
          <p:cNvSpPr/>
          <p:nvPr/>
        </p:nvSpPr>
        <p:spPr>
          <a:xfrm>
            <a:off x="5267326" y="6176437"/>
            <a:ext cx="198438" cy="69851"/>
          </a:xfrm>
          <a:custGeom>
            <a:avLst/>
            <a:gdLst>
              <a:gd name="connsiteX0" fmla="*/ 11180 w 198297"/>
              <a:gd name="connsiteY0" fmla="*/ 20477 h 69904"/>
              <a:gd name="connsiteX1" fmla="*/ 85321 w 198297"/>
              <a:gd name="connsiteY1" fmla="*/ 27538 h 69904"/>
              <a:gd name="connsiteX2" fmla="*/ 99443 w 198297"/>
              <a:gd name="connsiteY2" fmla="*/ 34599 h 69904"/>
              <a:gd name="connsiteX3" fmla="*/ 110034 w 198297"/>
              <a:gd name="connsiteY3" fmla="*/ 38129 h 69904"/>
              <a:gd name="connsiteX4" fmla="*/ 155931 w 198297"/>
              <a:gd name="connsiteY4" fmla="*/ 34599 h 69904"/>
              <a:gd name="connsiteX5" fmla="*/ 184175 w 198297"/>
              <a:gd name="connsiteY5" fmla="*/ 27538 h 69904"/>
              <a:gd name="connsiteX6" fmla="*/ 191236 w 198297"/>
              <a:gd name="connsiteY6" fmla="*/ 16946 h 69904"/>
              <a:gd name="connsiteX7" fmla="*/ 198297 w 198297"/>
              <a:gd name="connsiteY7" fmla="*/ 16946 h 69904"/>
              <a:gd name="connsiteX8" fmla="*/ 194766 w 198297"/>
              <a:gd name="connsiteY8" fmla="*/ 27538 h 69904"/>
              <a:gd name="connsiteX9" fmla="*/ 173583 w 198297"/>
              <a:gd name="connsiteY9" fmla="*/ 45190 h 69904"/>
              <a:gd name="connsiteX10" fmla="*/ 152400 w 198297"/>
              <a:gd name="connsiteY10" fmla="*/ 52251 h 69904"/>
              <a:gd name="connsiteX11" fmla="*/ 131217 w 198297"/>
              <a:gd name="connsiteY11" fmla="*/ 59312 h 69904"/>
              <a:gd name="connsiteX12" fmla="*/ 106504 w 198297"/>
              <a:gd name="connsiteY12" fmla="*/ 66373 h 69904"/>
              <a:gd name="connsiteX13" fmla="*/ 71199 w 198297"/>
              <a:gd name="connsiteY13" fmla="*/ 69904 h 69904"/>
              <a:gd name="connsiteX14" fmla="*/ 28833 w 198297"/>
              <a:gd name="connsiteY14" fmla="*/ 66373 h 69904"/>
              <a:gd name="connsiteX15" fmla="*/ 18241 w 198297"/>
              <a:gd name="connsiteY15" fmla="*/ 59312 h 69904"/>
              <a:gd name="connsiteX16" fmla="*/ 11180 w 198297"/>
              <a:gd name="connsiteY16" fmla="*/ 20477 h 69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8297" h="69904">
                <a:moveTo>
                  <a:pt x="11180" y="20477"/>
                </a:moveTo>
                <a:cubicBezTo>
                  <a:pt x="22360" y="15181"/>
                  <a:pt x="66964" y="21419"/>
                  <a:pt x="85321" y="27538"/>
                </a:cubicBezTo>
                <a:cubicBezTo>
                  <a:pt x="90314" y="29202"/>
                  <a:pt x="94606" y="32526"/>
                  <a:pt x="99443" y="34599"/>
                </a:cubicBezTo>
                <a:cubicBezTo>
                  <a:pt x="102863" y="36065"/>
                  <a:pt x="106504" y="36952"/>
                  <a:pt x="110034" y="38129"/>
                </a:cubicBezTo>
                <a:cubicBezTo>
                  <a:pt x="125333" y="36952"/>
                  <a:pt x="140741" y="36769"/>
                  <a:pt x="155931" y="34599"/>
                </a:cubicBezTo>
                <a:cubicBezTo>
                  <a:pt x="165538" y="33227"/>
                  <a:pt x="184175" y="27538"/>
                  <a:pt x="184175" y="27538"/>
                </a:cubicBezTo>
                <a:cubicBezTo>
                  <a:pt x="186529" y="24007"/>
                  <a:pt x="189338" y="20741"/>
                  <a:pt x="191236" y="16946"/>
                </a:cubicBezTo>
                <a:cubicBezTo>
                  <a:pt x="196884" y="5649"/>
                  <a:pt x="192647" y="0"/>
                  <a:pt x="198297" y="16946"/>
                </a:cubicBezTo>
                <a:cubicBezTo>
                  <a:pt x="197120" y="20477"/>
                  <a:pt x="196830" y="24441"/>
                  <a:pt x="194766" y="27538"/>
                </a:cubicBezTo>
                <a:cubicBezTo>
                  <a:pt x="191265" y="32790"/>
                  <a:pt x="179753" y="42448"/>
                  <a:pt x="173583" y="45190"/>
                </a:cubicBezTo>
                <a:cubicBezTo>
                  <a:pt x="166782" y="48213"/>
                  <a:pt x="159461" y="49897"/>
                  <a:pt x="152400" y="52251"/>
                </a:cubicBezTo>
                <a:lnTo>
                  <a:pt x="131217" y="59312"/>
                </a:lnTo>
                <a:cubicBezTo>
                  <a:pt x="123665" y="61829"/>
                  <a:pt x="114272" y="65263"/>
                  <a:pt x="106504" y="66373"/>
                </a:cubicBezTo>
                <a:cubicBezTo>
                  <a:pt x="94796" y="68046"/>
                  <a:pt x="82967" y="68727"/>
                  <a:pt x="71199" y="69904"/>
                </a:cubicBezTo>
                <a:cubicBezTo>
                  <a:pt x="57077" y="68727"/>
                  <a:pt x="42729" y="69152"/>
                  <a:pt x="28833" y="66373"/>
                </a:cubicBezTo>
                <a:cubicBezTo>
                  <a:pt x="24672" y="65541"/>
                  <a:pt x="19073" y="63473"/>
                  <a:pt x="18241" y="59312"/>
                </a:cubicBezTo>
                <a:cubicBezTo>
                  <a:pt x="16380" y="50008"/>
                  <a:pt x="0" y="25773"/>
                  <a:pt x="11180" y="20477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7" name="Freeform 76"/>
          <p:cNvSpPr/>
          <p:nvPr/>
        </p:nvSpPr>
        <p:spPr>
          <a:xfrm>
            <a:off x="5222880" y="6267453"/>
            <a:ext cx="104775" cy="74083"/>
          </a:xfrm>
          <a:custGeom>
            <a:avLst/>
            <a:gdLst>
              <a:gd name="connsiteX0" fmla="*/ 10003 w 105326"/>
              <a:gd name="connsiteY0" fmla="*/ 2942 h 75550"/>
              <a:gd name="connsiteX1" fmla="*/ 73552 w 105326"/>
              <a:gd name="connsiteY1" fmla="*/ 10003 h 75550"/>
              <a:gd name="connsiteX2" fmla="*/ 94735 w 105326"/>
              <a:gd name="connsiteY2" fmla="*/ 20595 h 75550"/>
              <a:gd name="connsiteX3" fmla="*/ 101796 w 105326"/>
              <a:gd name="connsiteY3" fmla="*/ 41778 h 75550"/>
              <a:gd name="connsiteX4" fmla="*/ 105326 w 105326"/>
              <a:gd name="connsiteY4" fmla="*/ 52369 h 75550"/>
              <a:gd name="connsiteX5" fmla="*/ 98265 w 105326"/>
              <a:gd name="connsiteY5" fmla="*/ 66491 h 75550"/>
              <a:gd name="connsiteX6" fmla="*/ 66491 w 105326"/>
              <a:gd name="connsiteY6" fmla="*/ 52369 h 75550"/>
              <a:gd name="connsiteX7" fmla="*/ 55899 w 105326"/>
              <a:gd name="connsiteY7" fmla="*/ 45308 h 75550"/>
              <a:gd name="connsiteX8" fmla="*/ 52369 w 105326"/>
              <a:gd name="connsiteY8" fmla="*/ 34717 h 75550"/>
              <a:gd name="connsiteX9" fmla="*/ 38247 w 105326"/>
              <a:gd name="connsiteY9" fmla="*/ 31186 h 75550"/>
              <a:gd name="connsiteX10" fmla="*/ 13533 w 105326"/>
              <a:gd name="connsiteY10" fmla="*/ 27656 h 75550"/>
              <a:gd name="connsiteX11" fmla="*/ 10003 w 105326"/>
              <a:gd name="connsiteY11" fmla="*/ 2942 h 75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326" h="75550">
                <a:moveTo>
                  <a:pt x="10003" y="2942"/>
                </a:moveTo>
                <a:cubicBezTo>
                  <a:pt x="20006" y="0"/>
                  <a:pt x="5547" y="2447"/>
                  <a:pt x="73552" y="10003"/>
                </a:cubicBezTo>
                <a:cubicBezTo>
                  <a:pt x="82320" y="10977"/>
                  <a:pt x="87715" y="15915"/>
                  <a:pt x="94735" y="20595"/>
                </a:cubicBezTo>
                <a:lnTo>
                  <a:pt x="101796" y="41778"/>
                </a:lnTo>
                <a:lnTo>
                  <a:pt x="105326" y="52369"/>
                </a:lnTo>
                <a:cubicBezTo>
                  <a:pt x="102972" y="57076"/>
                  <a:pt x="103258" y="64827"/>
                  <a:pt x="98265" y="66491"/>
                </a:cubicBezTo>
                <a:cubicBezTo>
                  <a:pt x="71090" y="75550"/>
                  <a:pt x="77281" y="63159"/>
                  <a:pt x="66491" y="52369"/>
                </a:cubicBezTo>
                <a:cubicBezTo>
                  <a:pt x="63491" y="49369"/>
                  <a:pt x="59430" y="47662"/>
                  <a:pt x="55899" y="45308"/>
                </a:cubicBezTo>
                <a:cubicBezTo>
                  <a:pt x="54722" y="41778"/>
                  <a:pt x="55275" y="37042"/>
                  <a:pt x="52369" y="34717"/>
                </a:cubicBezTo>
                <a:cubicBezTo>
                  <a:pt x="48580" y="31686"/>
                  <a:pt x="43021" y="32054"/>
                  <a:pt x="38247" y="31186"/>
                </a:cubicBezTo>
                <a:cubicBezTo>
                  <a:pt x="30060" y="29697"/>
                  <a:pt x="21771" y="28833"/>
                  <a:pt x="13533" y="27656"/>
                </a:cubicBezTo>
                <a:cubicBezTo>
                  <a:pt x="8951" y="13906"/>
                  <a:pt x="0" y="5884"/>
                  <a:pt x="10003" y="2942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8" name="Freeform 77"/>
          <p:cNvSpPr/>
          <p:nvPr/>
        </p:nvSpPr>
        <p:spPr>
          <a:xfrm>
            <a:off x="5029203" y="6199719"/>
            <a:ext cx="66675" cy="52916"/>
          </a:xfrm>
          <a:custGeom>
            <a:avLst/>
            <a:gdLst>
              <a:gd name="connsiteX0" fmla="*/ 37825 w 66925"/>
              <a:gd name="connsiteY0" fmla="*/ 588 h 54475"/>
              <a:gd name="connsiteX1" fmla="*/ 59008 w 66925"/>
              <a:gd name="connsiteY1" fmla="*/ 4119 h 54475"/>
              <a:gd name="connsiteX2" fmla="*/ 59008 w 66925"/>
              <a:gd name="connsiteY2" fmla="*/ 35893 h 54475"/>
              <a:gd name="connsiteX3" fmla="*/ 48417 w 66925"/>
              <a:gd name="connsiteY3" fmla="*/ 42954 h 54475"/>
              <a:gd name="connsiteX4" fmla="*/ 20173 w 66925"/>
              <a:gd name="connsiteY4" fmla="*/ 53546 h 54475"/>
              <a:gd name="connsiteX5" fmla="*/ 6051 w 66925"/>
              <a:gd name="connsiteY5" fmla="*/ 50015 h 54475"/>
              <a:gd name="connsiteX6" fmla="*/ 16642 w 66925"/>
              <a:gd name="connsiteY6" fmla="*/ 18241 h 54475"/>
              <a:gd name="connsiteX7" fmla="*/ 20173 w 66925"/>
              <a:gd name="connsiteY7" fmla="*/ 7649 h 54475"/>
              <a:gd name="connsiteX8" fmla="*/ 37825 w 66925"/>
              <a:gd name="connsiteY8" fmla="*/ 588 h 5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925" h="54475">
                <a:moveTo>
                  <a:pt x="37825" y="588"/>
                </a:moveTo>
                <a:cubicBezTo>
                  <a:pt x="44298" y="0"/>
                  <a:pt x="52793" y="567"/>
                  <a:pt x="59008" y="4119"/>
                </a:cubicBezTo>
                <a:cubicBezTo>
                  <a:pt x="66925" y="8643"/>
                  <a:pt x="59068" y="35773"/>
                  <a:pt x="59008" y="35893"/>
                </a:cubicBezTo>
                <a:cubicBezTo>
                  <a:pt x="57110" y="39688"/>
                  <a:pt x="52212" y="41056"/>
                  <a:pt x="48417" y="42954"/>
                </a:cubicBezTo>
                <a:cubicBezTo>
                  <a:pt x="39980" y="47173"/>
                  <a:pt x="29336" y="50491"/>
                  <a:pt x="20173" y="53546"/>
                </a:cubicBezTo>
                <a:cubicBezTo>
                  <a:pt x="15466" y="52369"/>
                  <a:pt x="7962" y="54475"/>
                  <a:pt x="6051" y="50015"/>
                </a:cubicBezTo>
                <a:cubicBezTo>
                  <a:pt x="0" y="35897"/>
                  <a:pt x="11702" y="28120"/>
                  <a:pt x="16642" y="18241"/>
                </a:cubicBezTo>
                <a:cubicBezTo>
                  <a:pt x="18306" y="14912"/>
                  <a:pt x="16752" y="9115"/>
                  <a:pt x="20173" y="7649"/>
                </a:cubicBezTo>
                <a:cubicBezTo>
                  <a:pt x="26663" y="4867"/>
                  <a:pt x="31352" y="1176"/>
                  <a:pt x="37825" y="588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9" name="Freeform 78"/>
          <p:cNvSpPr/>
          <p:nvPr/>
        </p:nvSpPr>
        <p:spPr>
          <a:xfrm>
            <a:off x="5106988" y="6199720"/>
            <a:ext cx="61912" cy="67733"/>
          </a:xfrm>
          <a:custGeom>
            <a:avLst/>
            <a:gdLst>
              <a:gd name="connsiteX0" fmla="*/ 19461 w 62513"/>
              <a:gd name="connsiteY0" fmla="*/ 7061 h 68003"/>
              <a:gd name="connsiteX1" fmla="*/ 26522 w 62513"/>
              <a:gd name="connsiteY1" fmla="*/ 35305 h 68003"/>
              <a:gd name="connsiteX2" fmla="*/ 33583 w 62513"/>
              <a:gd name="connsiteY2" fmla="*/ 45897 h 68003"/>
              <a:gd name="connsiteX3" fmla="*/ 40644 w 62513"/>
              <a:gd name="connsiteY3" fmla="*/ 67080 h 68003"/>
              <a:gd name="connsiteX4" fmla="*/ 12400 w 62513"/>
              <a:gd name="connsiteY4" fmla="*/ 63549 h 68003"/>
              <a:gd name="connsiteX5" fmla="*/ 8869 w 62513"/>
              <a:gd name="connsiteY5" fmla="*/ 52958 h 68003"/>
              <a:gd name="connsiteX6" fmla="*/ 1808 w 62513"/>
              <a:gd name="connsiteY6" fmla="*/ 28244 h 68003"/>
              <a:gd name="connsiteX7" fmla="*/ 5339 w 62513"/>
              <a:gd name="connsiteY7" fmla="*/ 3531 h 68003"/>
              <a:gd name="connsiteX8" fmla="*/ 15930 w 62513"/>
              <a:gd name="connsiteY8" fmla="*/ 0 h 68003"/>
              <a:gd name="connsiteX9" fmla="*/ 44174 w 62513"/>
              <a:gd name="connsiteY9" fmla="*/ 3531 h 68003"/>
              <a:gd name="connsiteX10" fmla="*/ 61827 w 62513"/>
              <a:gd name="connsiteY10" fmla="*/ 21183 h 68003"/>
              <a:gd name="connsiteX11" fmla="*/ 58296 w 62513"/>
              <a:gd name="connsiteY11" fmla="*/ 35305 h 68003"/>
              <a:gd name="connsiteX12" fmla="*/ 19461 w 62513"/>
              <a:gd name="connsiteY12" fmla="*/ 7061 h 6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2513" h="68003">
                <a:moveTo>
                  <a:pt x="19461" y="7061"/>
                </a:moveTo>
                <a:cubicBezTo>
                  <a:pt x="14165" y="7061"/>
                  <a:pt x="23206" y="26185"/>
                  <a:pt x="26522" y="35305"/>
                </a:cubicBezTo>
                <a:cubicBezTo>
                  <a:pt x="27972" y="39293"/>
                  <a:pt x="31860" y="42019"/>
                  <a:pt x="33583" y="45897"/>
                </a:cubicBezTo>
                <a:cubicBezTo>
                  <a:pt x="36606" y="52698"/>
                  <a:pt x="48029" y="68003"/>
                  <a:pt x="40644" y="67080"/>
                </a:cubicBezTo>
                <a:lnTo>
                  <a:pt x="12400" y="63549"/>
                </a:lnTo>
                <a:cubicBezTo>
                  <a:pt x="11223" y="60019"/>
                  <a:pt x="9891" y="56536"/>
                  <a:pt x="8869" y="52958"/>
                </a:cubicBezTo>
                <a:cubicBezTo>
                  <a:pt x="0" y="21918"/>
                  <a:pt x="10276" y="53646"/>
                  <a:pt x="1808" y="28244"/>
                </a:cubicBezTo>
                <a:cubicBezTo>
                  <a:pt x="2985" y="20006"/>
                  <a:pt x="1618" y="10974"/>
                  <a:pt x="5339" y="3531"/>
                </a:cubicBezTo>
                <a:cubicBezTo>
                  <a:pt x="7003" y="203"/>
                  <a:pt x="12209" y="0"/>
                  <a:pt x="15930" y="0"/>
                </a:cubicBezTo>
                <a:cubicBezTo>
                  <a:pt x="25418" y="0"/>
                  <a:pt x="34759" y="2354"/>
                  <a:pt x="44174" y="3531"/>
                </a:cubicBezTo>
                <a:cubicBezTo>
                  <a:pt x="50120" y="7495"/>
                  <a:pt x="60588" y="12512"/>
                  <a:pt x="61827" y="21183"/>
                </a:cubicBezTo>
                <a:cubicBezTo>
                  <a:pt x="62513" y="25986"/>
                  <a:pt x="60792" y="31144"/>
                  <a:pt x="58296" y="35305"/>
                </a:cubicBezTo>
                <a:cubicBezTo>
                  <a:pt x="56942" y="37562"/>
                  <a:pt x="24757" y="7061"/>
                  <a:pt x="19461" y="7061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0" name="Freeform 79"/>
          <p:cNvSpPr/>
          <p:nvPr/>
        </p:nvSpPr>
        <p:spPr>
          <a:xfrm>
            <a:off x="5526088" y="5738287"/>
            <a:ext cx="125412" cy="63500"/>
          </a:xfrm>
          <a:custGeom>
            <a:avLst/>
            <a:gdLst>
              <a:gd name="connsiteX0" fmla="*/ 19976 w 124494"/>
              <a:gd name="connsiteY0" fmla="*/ 2354 h 62373"/>
              <a:gd name="connsiteX1" fmla="*/ 30567 w 124494"/>
              <a:gd name="connsiteY1" fmla="*/ 9415 h 62373"/>
              <a:gd name="connsiteX2" fmla="*/ 44689 w 124494"/>
              <a:gd name="connsiteY2" fmla="*/ 12946 h 62373"/>
              <a:gd name="connsiteX3" fmla="*/ 69403 w 124494"/>
              <a:gd name="connsiteY3" fmla="*/ 20007 h 62373"/>
              <a:gd name="connsiteX4" fmla="*/ 101177 w 124494"/>
              <a:gd name="connsiteY4" fmla="*/ 23537 h 62373"/>
              <a:gd name="connsiteX5" fmla="*/ 111769 w 124494"/>
              <a:gd name="connsiteY5" fmla="*/ 27068 h 62373"/>
              <a:gd name="connsiteX6" fmla="*/ 115299 w 124494"/>
              <a:gd name="connsiteY6" fmla="*/ 62373 h 62373"/>
              <a:gd name="connsiteX7" fmla="*/ 101177 w 124494"/>
              <a:gd name="connsiteY7" fmla="*/ 41190 h 62373"/>
              <a:gd name="connsiteX8" fmla="*/ 90586 w 124494"/>
              <a:gd name="connsiteY8" fmla="*/ 34129 h 62373"/>
              <a:gd name="connsiteX9" fmla="*/ 16445 w 124494"/>
              <a:gd name="connsiteY9" fmla="*/ 27068 h 62373"/>
              <a:gd name="connsiteX10" fmla="*/ 5854 w 124494"/>
              <a:gd name="connsiteY10" fmla="*/ 23537 h 62373"/>
              <a:gd name="connsiteX11" fmla="*/ 19976 w 124494"/>
              <a:gd name="connsiteY11" fmla="*/ 2354 h 62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4494" h="62373">
                <a:moveTo>
                  <a:pt x="19976" y="2354"/>
                </a:moveTo>
                <a:cubicBezTo>
                  <a:pt x="24095" y="0"/>
                  <a:pt x="26667" y="7744"/>
                  <a:pt x="30567" y="9415"/>
                </a:cubicBezTo>
                <a:cubicBezTo>
                  <a:pt x="35027" y="11327"/>
                  <a:pt x="40023" y="11613"/>
                  <a:pt x="44689" y="12946"/>
                </a:cubicBezTo>
                <a:cubicBezTo>
                  <a:pt x="55444" y="16019"/>
                  <a:pt x="57460" y="18170"/>
                  <a:pt x="69403" y="20007"/>
                </a:cubicBezTo>
                <a:cubicBezTo>
                  <a:pt x="79936" y="21627"/>
                  <a:pt x="90586" y="22360"/>
                  <a:pt x="101177" y="23537"/>
                </a:cubicBezTo>
                <a:cubicBezTo>
                  <a:pt x="104708" y="24714"/>
                  <a:pt x="108863" y="24743"/>
                  <a:pt x="111769" y="27068"/>
                </a:cubicBezTo>
                <a:cubicBezTo>
                  <a:pt x="124494" y="37248"/>
                  <a:pt x="117375" y="47845"/>
                  <a:pt x="115299" y="62373"/>
                </a:cubicBezTo>
                <a:cubicBezTo>
                  <a:pt x="110592" y="55312"/>
                  <a:pt x="108238" y="45897"/>
                  <a:pt x="101177" y="41190"/>
                </a:cubicBezTo>
                <a:cubicBezTo>
                  <a:pt x="97647" y="38836"/>
                  <a:pt x="94381" y="36027"/>
                  <a:pt x="90586" y="34129"/>
                </a:cubicBezTo>
                <a:cubicBezTo>
                  <a:pt x="71385" y="24528"/>
                  <a:pt x="18050" y="27157"/>
                  <a:pt x="16445" y="27068"/>
                </a:cubicBezTo>
                <a:cubicBezTo>
                  <a:pt x="12915" y="25891"/>
                  <a:pt x="7518" y="26865"/>
                  <a:pt x="5854" y="23537"/>
                </a:cubicBezTo>
                <a:cubicBezTo>
                  <a:pt x="0" y="11829"/>
                  <a:pt x="15857" y="4708"/>
                  <a:pt x="19976" y="2354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1" name="Freeform 80"/>
          <p:cNvSpPr/>
          <p:nvPr/>
        </p:nvSpPr>
        <p:spPr>
          <a:xfrm>
            <a:off x="5740406" y="5827190"/>
            <a:ext cx="182563" cy="69849"/>
          </a:xfrm>
          <a:custGeom>
            <a:avLst/>
            <a:gdLst>
              <a:gd name="connsiteX0" fmla="*/ 17562 w 182245"/>
              <a:gd name="connsiteY0" fmla="*/ 66835 h 70365"/>
              <a:gd name="connsiteX1" fmla="*/ 6970 w 182245"/>
              <a:gd name="connsiteY1" fmla="*/ 63304 h 70365"/>
              <a:gd name="connsiteX2" fmla="*/ 6970 w 182245"/>
              <a:gd name="connsiteY2" fmla="*/ 20938 h 70365"/>
              <a:gd name="connsiteX3" fmla="*/ 10501 w 182245"/>
              <a:gd name="connsiteY3" fmla="*/ 10347 h 70365"/>
              <a:gd name="connsiteX4" fmla="*/ 98763 w 182245"/>
              <a:gd name="connsiteY4" fmla="*/ 6816 h 70365"/>
              <a:gd name="connsiteX5" fmla="*/ 127007 w 182245"/>
              <a:gd name="connsiteY5" fmla="*/ 6816 h 70365"/>
              <a:gd name="connsiteX6" fmla="*/ 137599 w 182245"/>
              <a:gd name="connsiteY6" fmla="*/ 17408 h 70365"/>
              <a:gd name="connsiteX7" fmla="*/ 158782 w 182245"/>
              <a:gd name="connsiteY7" fmla="*/ 24469 h 70365"/>
              <a:gd name="connsiteX8" fmla="*/ 169373 w 182245"/>
              <a:gd name="connsiteY8" fmla="*/ 31530 h 70365"/>
              <a:gd name="connsiteX9" fmla="*/ 179965 w 182245"/>
              <a:gd name="connsiteY9" fmla="*/ 56243 h 70365"/>
              <a:gd name="connsiteX10" fmla="*/ 169373 w 182245"/>
              <a:gd name="connsiteY10" fmla="*/ 66835 h 70365"/>
              <a:gd name="connsiteX11" fmla="*/ 158782 w 182245"/>
              <a:gd name="connsiteY11" fmla="*/ 70365 h 70365"/>
              <a:gd name="connsiteX12" fmla="*/ 148190 w 182245"/>
              <a:gd name="connsiteY12" fmla="*/ 66835 h 70365"/>
              <a:gd name="connsiteX13" fmla="*/ 141129 w 182245"/>
              <a:gd name="connsiteY13" fmla="*/ 56243 h 70365"/>
              <a:gd name="connsiteX14" fmla="*/ 119946 w 182245"/>
              <a:gd name="connsiteY14" fmla="*/ 59774 h 70365"/>
              <a:gd name="connsiteX15" fmla="*/ 74050 w 182245"/>
              <a:gd name="connsiteY15" fmla="*/ 49182 h 70365"/>
              <a:gd name="connsiteX16" fmla="*/ 52867 w 182245"/>
              <a:gd name="connsiteY16" fmla="*/ 35060 h 70365"/>
              <a:gd name="connsiteX17" fmla="*/ 45806 w 182245"/>
              <a:gd name="connsiteY17" fmla="*/ 45652 h 70365"/>
              <a:gd name="connsiteX18" fmla="*/ 35214 w 182245"/>
              <a:gd name="connsiteY18" fmla="*/ 49182 h 70365"/>
              <a:gd name="connsiteX19" fmla="*/ 24623 w 182245"/>
              <a:gd name="connsiteY19" fmla="*/ 56243 h 70365"/>
              <a:gd name="connsiteX20" fmla="*/ 17562 w 182245"/>
              <a:gd name="connsiteY20" fmla="*/ 66835 h 70365"/>
              <a:gd name="connsiteX21" fmla="*/ 17562 w 182245"/>
              <a:gd name="connsiteY21" fmla="*/ 66835 h 70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82245" h="70365">
                <a:moveTo>
                  <a:pt x="17562" y="66835"/>
                </a:moveTo>
                <a:cubicBezTo>
                  <a:pt x="15797" y="66247"/>
                  <a:pt x="9034" y="66401"/>
                  <a:pt x="6970" y="63304"/>
                </a:cubicBezTo>
                <a:cubicBezTo>
                  <a:pt x="0" y="52849"/>
                  <a:pt x="5099" y="30294"/>
                  <a:pt x="6970" y="20938"/>
                </a:cubicBezTo>
                <a:cubicBezTo>
                  <a:pt x="7700" y="17289"/>
                  <a:pt x="6823" y="10913"/>
                  <a:pt x="10501" y="10347"/>
                </a:cubicBezTo>
                <a:cubicBezTo>
                  <a:pt x="39603" y="5870"/>
                  <a:pt x="69342" y="7993"/>
                  <a:pt x="98763" y="6816"/>
                </a:cubicBezTo>
                <a:cubicBezTo>
                  <a:pt x="110291" y="2974"/>
                  <a:pt x="113375" y="0"/>
                  <a:pt x="127007" y="6816"/>
                </a:cubicBezTo>
                <a:cubicBezTo>
                  <a:pt x="131473" y="9049"/>
                  <a:pt x="133234" y="14983"/>
                  <a:pt x="137599" y="17408"/>
                </a:cubicBezTo>
                <a:cubicBezTo>
                  <a:pt x="144105" y="21023"/>
                  <a:pt x="152589" y="20340"/>
                  <a:pt x="158782" y="24469"/>
                </a:cubicBezTo>
                <a:lnTo>
                  <a:pt x="169373" y="31530"/>
                </a:lnTo>
                <a:cubicBezTo>
                  <a:pt x="173145" y="37187"/>
                  <a:pt x="182245" y="48264"/>
                  <a:pt x="179965" y="56243"/>
                </a:cubicBezTo>
                <a:cubicBezTo>
                  <a:pt x="178593" y="61044"/>
                  <a:pt x="173528" y="64065"/>
                  <a:pt x="169373" y="66835"/>
                </a:cubicBezTo>
                <a:cubicBezTo>
                  <a:pt x="166277" y="68899"/>
                  <a:pt x="162312" y="69188"/>
                  <a:pt x="158782" y="70365"/>
                </a:cubicBezTo>
                <a:cubicBezTo>
                  <a:pt x="155251" y="69188"/>
                  <a:pt x="151096" y="69160"/>
                  <a:pt x="148190" y="66835"/>
                </a:cubicBezTo>
                <a:cubicBezTo>
                  <a:pt x="144877" y="64184"/>
                  <a:pt x="145246" y="57272"/>
                  <a:pt x="141129" y="56243"/>
                </a:cubicBezTo>
                <a:cubicBezTo>
                  <a:pt x="134184" y="54507"/>
                  <a:pt x="127007" y="58597"/>
                  <a:pt x="119946" y="59774"/>
                </a:cubicBezTo>
                <a:cubicBezTo>
                  <a:pt x="90869" y="50082"/>
                  <a:pt x="106131" y="53766"/>
                  <a:pt x="74050" y="49182"/>
                </a:cubicBezTo>
                <a:cubicBezTo>
                  <a:pt x="71600" y="46732"/>
                  <a:pt x="60165" y="32141"/>
                  <a:pt x="52867" y="35060"/>
                </a:cubicBezTo>
                <a:cubicBezTo>
                  <a:pt x="48927" y="36636"/>
                  <a:pt x="49119" y="43001"/>
                  <a:pt x="45806" y="45652"/>
                </a:cubicBezTo>
                <a:cubicBezTo>
                  <a:pt x="42900" y="47977"/>
                  <a:pt x="38745" y="48005"/>
                  <a:pt x="35214" y="49182"/>
                </a:cubicBezTo>
                <a:cubicBezTo>
                  <a:pt x="31684" y="51536"/>
                  <a:pt x="27623" y="53243"/>
                  <a:pt x="24623" y="56243"/>
                </a:cubicBezTo>
                <a:cubicBezTo>
                  <a:pt x="21623" y="59244"/>
                  <a:pt x="20213" y="63522"/>
                  <a:pt x="17562" y="66835"/>
                </a:cubicBezTo>
                <a:lnTo>
                  <a:pt x="17562" y="66835"/>
                </a:ln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2" name="Freeform 81"/>
          <p:cNvSpPr/>
          <p:nvPr/>
        </p:nvSpPr>
        <p:spPr>
          <a:xfrm>
            <a:off x="5702306" y="5482173"/>
            <a:ext cx="98425" cy="218017"/>
          </a:xfrm>
          <a:custGeom>
            <a:avLst/>
            <a:gdLst>
              <a:gd name="connsiteX0" fmla="*/ 49427 w 99686"/>
              <a:gd name="connsiteY0" fmla="*/ 1765 h 217842"/>
              <a:gd name="connsiteX1" fmla="*/ 52957 w 99686"/>
              <a:gd name="connsiteY1" fmla="*/ 47662 h 217842"/>
              <a:gd name="connsiteX2" fmla="*/ 74140 w 99686"/>
              <a:gd name="connsiteY2" fmla="*/ 61784 h 217842"/>
              <a:gd name="connsiteX3" fmla="*/ 98854 w 99686"/>
              <a:gd name="connsiteY3" fmla="*/ 65315 h 217842"/>
              <a:gd name="connsiteX4" fmla="*/ 95323 w 99686"/>
              <a:gd name="connsiteY4" fmla="*/ 79437 h 217842"/>
              <a:gd name="connsiteX5" fmla="*/ 88262 w 99686"/>
              <a:gd name="connsiteY5" fmla="*/ 100620 h 217842"/>
              <a:gd name="connsiteX6" fmla="*/ 91793 w 99686"/>
              <a:gd name="connsiteY6" fmla="*/ 118272 h 217842"/>
              <a:gd name="connsiteX7" fmla="*/ 98854 w 99686"/>
              <a:gd name="connsiteY7" fmla="*/ 128864 h 217842"/>
              <a:gd name="connsiteX8" fmla="*/ 88262 w 99686"/>
              <a:gd name="connsiteY8" fmla="*/ 135925 h 217842"/>
              <a:gd name="connsiteX9" fmla="*/ 60018 w 99686"/>
              <a:gd name="connsiteY9" fmla="*/ 139455 h 217842"/>
              <a:gd name="connsiteX10" fmla="*/ 49427 w 99686"/>
              <a:gd name="connsiteY10" fmla="*/ 142986 h 217842"/>
              <a:gd name="connsiteX11" fmla="*/ 45896 w 99686"/>
              <a:gd name="connsiteY11" fmla="*/ 153577 h 217842"/>
              <a:gd name="connsiteX12" fmla="*/ 38835 w 99686"/>
              <a:gd name="connsiteY12" fmla="*/ 164169 h 217842"/>
              <a:gd name="connsiteX13" fmla="*/ 60018 w 99686"/>
              <a:gd name="connsiteY13" fmla="*/ 174760 h 217842"/>
              <a:gd name="connsiteX14" fmla="*/ 63549 w 99686"/>
              <a:gd name="connsiteY14" fmla="*/ 185352 h 217842"/>
              <a:gd name="connsiteX15" fmla="*/ 70610 w 99686"/>
              <a:gd name="connsiteY15" fmla="*/ 195943 h 217842"/>
              <a:gd name="connsiteX16" fmla="*/ 67079 w 99686"/>
              <a:gd name="connsiteY16" fmla="*/ 210065 h 217842"/>
              <a:gd name="connsiteX17" fmla="*/ 24713 w 99686"/>
              <a:gd name="connsiteY17" fmla="*/ 210065 h 217842"/>
              <a:gd name="connsiteX18" fmla="*/ 21183 w 99686"/>
              <a:gd name="connsiteY18" fmla="*/ 185352 h 217842"/>
              <a:gd name="connsiteX19" fmla="*/ 17652 w 99686"/>
              <a:gd name="connsiteY19" fmla="*/ 174760 h 217842"/>
              <a:gd name="connsiteX20" fmla="*/ 28244 w 99686"/>
              <a:gd name="connsiteY20" fmla="*/ 153577 h 217842"/>
              <a:gd name="connsiteX21" fmla="*/ 21183 w 99686"/>
              <a:gd name="connsiteY21" fmla="*/ 121803 h 217842"/>
              <a:gd name="connsiteX22" fmla="*/ 14122 w 99686"/>
              <a:gd name="connsiteY22" fmla="*/ 100620 h 217842"/>
              <a:gd name="connsiteX23" fmla="*/ 7061 w 99686"/>
              <a:gd name="connsiteY23" fmla="*/ 90028 h 217842"/>
              <a:gd name="connsiteX24" fmla="*/ 0 w 99686"/>
              <a:gd name="connsiteY24" fmla="*/ 68845 h 217842"/>
              <a:gd name="connsiteX25" fmla="*/ 10591 w 99686"/>
              <a:gd name="connsiteY25" fmla="*/ 44132 h 217842"/>
              <a:gd name="connsiteX26" fmla="*/ 24713 w 99686"/>
              <a:gd name="connsiteY26" fmla="*/ 37071 h 217842"/>
              <a:gd name="connsiteX27" fmla="*/ 49427 w 99686"/>
              <a:gd name="connsiteY27" fmla="*/ 1765 h 217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99686" h="217842">
                <a:moveTo>
                  <a:pt x="49427" y="1765"/>
                </a:moveTo>
                <a:cubicBezTo>
                  <a:pt x="54134" y="3530"/>
                  <a:pt x="50129" y="32581"/>
                  <a:pt x="52957" y="47662"/>
                </a:cubicBezTo>
                <a:cubicBezTo>
                  <a:pt x="55241" y="59847"/>
                  <a:pt x="64441" y="60021"/>
                  <a:pt x="74140" y="61784"/>
                </a:cubicBezTo>
                <a:cubicBezTo>
                  <a:pt x="82327" y="63273"/>
                  <a:pt x="90616" y="64138"/>
                  <a:pt x="98854" y="65315"/>
                </a:cubicBezTo>
                <a:cubicBezTo>
                  <a:pt x="97677" y="70022"/>
                  <a:pt x="96717" y="74789"/>
                  <a:pt x="95323" y="79437"/>
                </a:cubicBezTo>
                <a:cubicBezTo>
                  <a:pt x="93184" y="86566"/>
                  <a:pt x="88262" y="100620"/>
                  <a:pt x="88262" y="100620"/>
                </a:cubicBezTo>
                <a:cubicBezTo>
                  <a:pt x="89439" y="106504"/>
                  <a:pt x="89686" y="112654"/>
                  <a:pt x="91793" y="118272"/>
                </a:cubicBezTo>
                <a:cubicBezTo>
                  <a:pt x="93283" y="122245"/>
                  <a:pt x="99686" y="124703"/>
                  <a:pt x="98854" y="128864"/>
                </a:cubicBezTo>
                <a:cubicBezTo>
                  <a:pt x="98022" y="133025"/>
                  <a:pt x="92356" y="134809"/>
                  <a:pt x="88262" y="135925"/>
                </a:cubicBezTo>
                <a:cubicBezTo>
                  <a:pt x="79108" y="138421"/>
                  <a:pt x="69433" y="138278"/>
                  <a:pt x="60018" y="139455"/>
                </a:cubicBezTo>
                <a:cubicBezTo>
                  <a:pt x="56488" y="140632"/>
                  <a:pt x="52058" y="140355"/>
                  <a:pt x="49427" y="142986"/>
                </a:cubicBezTo>
                <a:cubicBezTo>
                  <a:pt x="46796" y="145617"/>
                  <a:pt x="47560" y="150249"/>
                  <a:pt x="45896" y="153577"/>
                </a:cubicBezTo>
                <a:cubicBezTo>
                  <a:pt x="43998" y="157372"/>
                  <a:pt x="41189" y="160638"/>
                  <a:pt x="38835" y="164169"/>
                </a:cubicBezTo>
                <a:cubicBezTo>
                  <a:pt x="45813" y="166495"/>
                  <a:pt x="55040" y="168537"/>
                  <a:pt x="60018" y="174760"/>
                </a:cubicBezTo>
                <a:cubicBezTo>
                  <a:pt x="62343" y="177666"/>
                  <a:pt x="61885" y="182023"/>
                  <a:pt x="63549" y="185352"/>
                </a:cubicBezTo>
                <a:cubicBezTo>
                  <a:pt x="65447" y="189147"/>
                  <a:pt x="68256" y="192413"/>
                  <a:pt x="70610" y="195943"/>
                </a:cubicBezTo>
                <a:cubicBezTo>
                  <a:pt x="69433" y="200650"/>
                  <a:pt x="70510" y="206634"/>
                  <a:pt x="67079" y="210065"/>
                </a:cubicBezTo>
                <a:cubicBezTo>
                  <a:pt x="59302" y="217842"/>
                  <a:pt x="27366" y="210397"/>
                  <a:pt x="24713" y="210065"/>
                </a:cubicBezTo>
                <a:cubicBezTo>
                  <a:pt x="23536" y="201827"/>
                  <a:pt x="22815" y="193512"/>
                  <a:pt x="21183" y="185352"/>
                </a:cubicBezTo>
                <a:cubicBezTo>
                  <a:pt x="20453" y="181703"/>
                  <a:pt x="17652" y="178482"/>
                  <a:pt x="17652" y="174760"/>
                </a:cubicBezTo>
                <a:cubicBezTo>
                  <a:pt x="17652" y="167454"/>
                  <a:pt x="24675" y="158930"/>
                  <a:pt x="28244" y="153577"/>
                </a:cubicBezTo>
                <a:cubicBezTo>
                  <a:pt x="26230" y="143510"/>
                  <a:pt x="24172" y="131766"/>
                  <a:pt x="21183" y="121803"/>
                </a:cubicBezTo>
                <a:cubicBezTo>
                  <a:pt x="19044" y="114674"/>
                  <a:pt x="18250" y="106813"/>
                  <a:pt x="14122" y="100620"/>
                </a:cubicBezTo>
                <a:cubicBezTo>
                  <a:pt x="11768" y="97089"/>
                  <a:pt x="8784" y="93906"/>
                  <a:pt x="7061" y="90028"/>
                </a:cubicBezTo>
                <a:cubicBezTo>
                  <a:pt x="4038" y="83227"/>
                  <a:pt x="0" y="68845"/>
                  <a:pt x="0" y="68845"/>
                </a:cubicBezTo>
                <a:cubicBezTo>
                  <a:pt x="2212" y="59997"/>
                  <a:pt x="2891" y="50548"/>
                  <a:pt x="10591" y="44132"/>
                </a:cubicBezTo>
                <a:cubicBezTo>
                  <a:pt x="14634" y="40763"/>
                  <a:pt x="20200" y="39779"/>
                  <a:pt x="24713" y="37071"/>
                </a:cubicBezTo>
                <a:cubicBezTo>
                  <a:pt x="46972" y="23715"/>
                  <a:pt x="44720" y="0"/>
                  <a:pt x="49427" y="1765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3" name="Freeform 82"/>
          <p:cNvSpPr/>
          <p:nvPr/>
        </p:nvSpPr>
        <p:spPr>
          <a:xfrm>
            <a:off x="5919788" y="5676904"/>
            <a:ext cx="207962" cy="120651"/>
          </a:xfrm>
          <a:custGeom>
            <a:avLst/>
            <a:gdLst>
              <a:gd name="connsiteX0" fmla="*/ 1177 w 208136"/>
              <a:gd name="connsiteY0" fmla="*/ 45897 h 120896"/>
              <a:gd name="connsiteX1" fmla="*/ 11768 w 208136"/>
              <a:gd name="connsiteY1" fmla="*/ 42366 h 120896"/>
              <a:gd name="connsiteX2" fmla="*/ 32951 w 208136"/>
              <a:gd name="connsiteY2" fmla="*/ 24714 h 120896"/>
              <a:gd name="connsiteX3" fmla="*/ 36482 w 208136"/>
              <a:gd name="connsiteY3" fmla="*/ 14122 h 120896"/>
              <a:gd name="connsiteX4" fmla="*/ 57665 w 208136"/>
              <a:gd name="connsiteY4" fmla="*/ 0 h 120896"/>
              <a:gd name="connsiteX5" fmla="*/ 135336 w 208136"/>
              <a:gd name="connsiteY5" fmla="*/ 3531 h 120896"/>
              <a:gd name="connsiteX6" fmla="*/ 145927 w 208136"/>
              <a:gd name="connsiteY6" fmla="*/ 7061 h 120896"/>
              <a:gd name="connsiteX7" fmla="*/ 181232 w 208136"/>
              <a:gd name="connsiteY7" fmla="*/ 10592 h 120896"/>
              <a:gd name="connsiteX8" fmla="*/ 191824 w 208136"/>
              <a:gd name="connsiteY8" fmla="*/ 21183 h 120896"/>
              <a:gd name="connsiteX9" fmla="*/ 198885 w 208136"/>
              <a:gd name="connsiteY9" fmla="*/ 42366 h 120896"/>
              <a:gd name="connsiteX10" fmla="*/ 205946 w 208136"/>
              <a:gd name="connsiteY10" fmla="*/ 67080 h 120896"/>
              <a:gd name="connsiteX11" fmla="*/ 202415 w 208136"/>
              <a:gd name="connsiteY11" fmla="*/ 98854 h 120896"/>
              <a:gd name="connsiteX12" fmla="*/ 181232 w 208136"/>
              <a:gd name="connsiteY12" fmla="*/ 105915 h 120896"/>
              <a:gd name="connsiteX13" fmla="*/ 138866 w 208136"/>
              <a:gd name="connsiteY13" fmla="*/ 109446 h 120896"/>
              <a:gd name="connsiteX14" fmla="*/ 128275 w 208136"/>
              <a:gd name="connsiteY14" fmla="*/ 112976 h 120896"/>
              <a:gd name="connsiteX15" fmla="*/ 117683 w 208136"/>
              <a:gd name="connsiteY15" fmla="*/ 120037 h 120896"/>
              <a:gd name="connsiteX16" fmla="*/ 89439 w 208136"/>
              <a:gd name="connsiteY16" fmla="*/ 116507 h 120896"/>
              <a:gd name="connsiteX17" fmla="*/ 68256 w 208136"/>
              <a:gd name="connsiteY17" fmla="*/ 95324 h 120896"/>
              <a:gd name="connsiteX18" fmla="*/ 61195 w 208136"/>
              <a:gd name="connsiteY18" fmla="*/ 74141 h 120896"/>
              <a:gd name="connsiteX19" fmla="*/ 40012 w 208136"/>
              <a:gd name="connsiteY19" fmla="*/ 67080 h 120896"/>
              <a:gd name="connsiteX20" fmla="*/ 29421 w 208136"/>
              <a:gd name="connsiteY20" fmla="*/ 63549 h 120896"/>
              <a:gd name="connsiteX21" fmla="*/ 18829 w 208136"/>
              <a:gd name="connsiteY21" fmla="*/ 56488 h 120896"/>
              <a:gd name="connsiteX22" fmla="*/ 1177 w 208136"/>
              <a:gd name="connsiteY22" fmla="*/ 45897 h 120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08136" h="120896">
                <a:moveTo>
                  <a:pt x="1177" y="45897"/>
                </a:moveTo>
                <a:cubicBezTo>
                  <a:pt x="0" y="43543"/>
                  <a:pt x="8440" y="44030"/>
                  <a:pt x="11768" y="42366"/>
                </a:cubicBezTo>
                <a:cubicBezTo>
                  <a:pt x="21600" y="37450"/>
                  <a:pt x="25141" y="32524"/>
                  <a:pt x="32951" y="24714"/>
                </a:cubicBezTo>
                <a:cubicBezTo>
                  <a:pt x="34128" y="21183"/>
                  <a:pt x="34418" y="17219"/>
                  <a:pt x="36482" y="14122"/>
                </a:cubicBezTo>
                <a:cubicBezTo>
                  <a:pt x="44038" y="2789"/>
                  <a:pt x="46561" y="3702"/>
                  <a:pt x="57665" y="0"/>
                </a:cubicBezTo>
                <a:cubicBezTo>
                  <a:pt x="83555" y="1177"/>
                  <a:pt x="109501" y="1464"/>
                  <a:pt x="135336" y="3531"/>
                </a:cubicBezTo>
                <a:cubicBezTo>
                  <a:pt x="139045" y="3828"/>
                  <a:pt x="142249" y="6495"/>
                  <a:pt x="145927" y="7061"/>
                </a:cubicBezTo>
                <a:cubicBezTo>
                  <a:pt x="157617" y="8859"/>
                  <a:pt x="169464" y="9415"/>
                  <a:pt x="181232" y="10592"/>
                </a:cubicBezTo>
                <a:cubicBezTo>
                  <a:pt x="184763" y="14122"/>
                  <a:pt x="189399" y="16818"/>
                  <a:pt x="191824" y="21183"/>
                </a:cubicBezTo>
                <a:cubicBezTo>
                  <a:pt x="195439" y="27689"/>
                  <a:pt x="197080" y="35145"/>
                  <a:pt x="198885" y="42366"/>
                </a:cubicBezTo>
                <a:cubicBezTo>
                  <a:pt x="203318" y="60099"/>
                  <a:pt x="200880" y="51885"/>
                  <a:pt x="205946" y="67080"/>
                </a:cubicBezTo>
                <a:cubicBezTo>
                  <a:pt x="204769" y="77671"/>
                  <a:pt x="208136" y="89864"/>
                  <a:pt x="202415" y="98854"/>
                </a:cubicBezTo>
                <a:cubicBezTo>
                  <a:pt x="198419" y="105133"/>
                  <a:pt x="188649" y="105297"/>
                  <a:pt x="181232" y="105915"/>
                </a:cubicBezTo>
                <a:lnTo>
                  <a:pt x="138866" y="109446"/>
                </a:lnTo>
                <a:cubicBezTo>
                  <a:pt x="135336" y="110623"/>
                  <a:pt x="131603" y="111312"/>
                  <a:pt x="128275" y="112976"/>
                </a:cubicBezTo>
                <a:cubicBezTo>
                  <a:pt x="124480" y="114874"/>
                  <a:pt x="121909" y="119653"/>
                  <a:pt x="117683" y="120037"/>
                </a:cubicBezTo>
                <a:cubicBezTo>
                  <a:pt x="108234" y="120896"/>
                  <a:pt x="98854" y="117684"/>
                  <a:pt x="89439" y="116507"/>
                </a:cubicBezTo>
                <a:cubicBezTo>
                  <a:pt x="82378" y="109446"/>
                  <a:pt x="71414" y="104797"/>
                  <a:pt x="68256" y="95324"/>
                </a:cubicBezTo>
                <a:cubicBezTo>
                  <a:pt x="65902" y="88263"/>
                  <a:pt x="68256" y="76495"/>
                  <a:pt x="61195" y="74141"/>
                </a:cubicBezTo>
                <a:lnTo>
                  <a:pt x="40012" y="67080"/>
                </a:lnTo>
                <a:cubicBezTo>
                  <a:pt x="36482" y="65903"/>
                  <a:pt x="32517" y="65613"/>
                  <a:pt x="29421" y="63549"/>
                </a:cubicBezTo>
                <a:lnTo>
                  <a:pt x="18829" y="56488"/>
                </a:lnTo>
                <a:cubicBezTo>
                  <a:pt x="22595" y="30127"/>
                  <a:pt x="2354" y="48251"/>
                  <a:pt x="1177" y="45897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4" name="Freeform 83"/>
          <p:cNvSpPr/>
          <p:nvPr/>
        </p:nvSpPr>
        <p:spPr>
          <a:xfrm>
            <a:off x="5988050" y="5740404"/>
            <a:ext cx="558800" cy="524933"/>
          </a:xfrm>
          <a:custGeom>
            <a:avLst/>
            <a:gdLst>
              <a:gd name="connsiteX0" fmla="*/ 208300 w 559262"/>
              <a:gd name="connsiteY0" fmla="*/ 123568 h 525803"/>
              <a:gd name="connsiteX1" fmla="*/ 250666 w 559262"/>
              <a:gd name="connsiteY1" fmla="*/ 109446 h 525803"/>
              <a:gd name="connsiteX2" fmla="*/ 264788 w 559262"/>
              <a:gd name="connsiteY2" fmla="*/ 88263 h 525803"/>
              <a:gd name="connsiteX3" fmla="*/ 271849 w 559262"/>
              <a:gd name="connsiteY3" fmla="*/ 67080 h 525803"/>
              <a:gd name="connsiteX4" fmla="*/ 275379 w 559262"/>
              <a:gd name="connsiteY4" fmla="*/ 45897 h 525803"/>
              <a:gd name="connsiteX5" fmla="*/ 285971 w 559262"/>
              <a:gd name="connsiteY5" fmla="*/ 42366 h 525803"/>
              <a:gd name="connsiteX6" fmla="*/ 307154 w 559262"/>
              <a:gd name="connsiteY6" fmla="*/ 38836 h 525803"/>
              <a:gd name="connsiteX7" fmla="*/ 317745 w 559262"/>
              <a:gd name="connsiteY7" fmla="*/ 17653 h 525803"/>
              <a:gd name="connsiteX8" fmla="*/ 321276 w 559262"/>
              <a:gd name="connsiteY8" fmla="*/ 7061 h 525803"/>
              <a:gd name="connsiteX9" fmla="*/ 331867 w 559262"/>
              <a:gd name="connsiteY9" fmla="*/ 0 h 525803"/>
              <a:gd name="connsiteX10" fmla="*/ 381294 w 559262"/>
              <a:gd name="connsiteY10" fmla="*/ 10592 h 525803"/>
              <a:gd name="connsiteX11" fmla="*/ 402477 w 559262"/>
              <a:gd name="connsiteY11" fmla="*/ 17653 h 525803"/>
              <a:gd name="connsiteX12" fmla="*/ 413069 w 559262"/>
              <a:gd name="connsiteY12" fmla="*/ 21183 h 525803"/>
              <a:gd name="connsiteX13" fmla="*/ 423661 w 559262"/>
              <a:gd name="connsiteY13" fmla="*/ 28244 h 525803"/>
              <a:gd name="connsiteX14" fmla="*/ 434252 w 559262"/>
              <a:gd name="connsiteY14" fmla="*/ 38836 h 525803"/>
              <a:gd name="connsiteX15" fmla="*/ 444844 w 559262"/>
              <a:gd name="connsiteY15" fmla="*/ 42366 h 525803"/>
              <a:gd name="connsiteX16" fmla="*/ 476618 w 559262"/>
              <a:gd name="connsiteY16" fmla="*/ 60019 h 525803"/>
              <a:gd name="connsiteX17" fmla="*/ 522515 w 559262"/>
              <a:gd name="connsiteY17" fmla="*/ 63549 h 525803"/>
              <a:gd name="connsiteX18" fmla="*/ 540167 w 559262"/>
              <a:gd name="connsiteY18" fmla="*/ 77671 h 525803"/>
              <a:gd name="connsiteX19" fmla="*/ 547228 w 559262"/>
              <a:gd name="connsiteY19" fmla="*/ 98854 h 525803"/>
              <a:gd name="connsiteX20" fmla="*/ 550759 w 559262"/>
              <a:gd name="connsiteY20" fmla="*/ 278910 h 525803"/>
              <a:gd name="connsiteX21" fmla="*/ 557820 w 559262"/>
              <a:gd name="connsiteY21" fmla="*/ 402477 h 525803"/>
              <a:gd name="connsiteX22" fmla="*/ 554289 w 559262"/>
              <a:gd name="connsiteY22" fmla="*/ 455435 h 525803"/>
              <a:gd name="connsiteX23" fmla="*/ 550759 w 559262"/>
              <a:gd name="connsiteY23" fmla="*/ 518984 h 525803"/>
              <a:gd name="connsiteX24" fmla="*/ 529576 w 559262"/>
              <a:gd name="connsiteY24" fmla="*/ 511923 h 525803"/>
              <a:gd name="connsiteX25" fmla="*/ 518984 w 559262"/>
              <a:gd name="connsiteY25" fmla="*/ 490740 h 525803"/>
              <a:gd name="connsiteX26" fmla="*/ 504862 w 559262"/>
              <a:gd name="connsiteY26" fmla="*/ 469557 h 525803"/>
              <a:gd name="connsiteX27" fmla="*/ 483679 w 559262"/>
              <a:gd name="connsiteY27" fmla="*/ 462496 h 525803"/>
              <a:gd name="connsiteX28" fmla="*/ 353050 w 559262"/>
              <a:gd name="connsiteY28" fmla="*/ 451904 h 525803"/>
              <a:gd name="connsiteX29" fmla="*/ 356581 w 559262"/>
              <a:gd name="connsiteY29" fmla="*/ 430721 h 525803"/>
              <a:gd name="connsiteX30" fmla="*/ 360111 w 559262"/>
              <a:gd name="connsiteY30" fmla="*/ 420130 h 525803"/>
              <a:gd name="connsiteX31" fmla="*/ 391886 w 559262"/>
              <a:gd name="connsiteY31" fmla="*/ 402477 h 525803"/>
              <a:gd name="connsiteX32" fmla="*/ 406008 w 559262"/>
              <a:gd name="connsiteY32" fmla="*/ 398947 h 525803"/>
              <a:gd name="connsiteX33" fmla="*/ 413069 w 559262"/>
              <a:gd name="connsiteY33" fmla="*/ 388355 h 525803"/>
              <a:gd name="connsiteX34" fmla="*/ 395416 w 559262"/>
              <a:gd name="connsiteY34" fmla="*/ 360111 h 525803"/>
              <a:gd name="connsiteX35" fmla="*/ 398947 w 559262"/>
              <a:gd name="connsiteY35" fmla="*/ 331867 h 525803"/>
              <a:gd name="connsiteX36" fmla="*/ 402477 w 559262"/>
              <a:gd name="connsiteY36" fmla="*/ 321276 h 525803"/>
              <a:gd name="connsiteX37" fmla="*/ 398947 w 559262"/>
              <a:gd name="connsiteY37" fmla="*/ 310684 h 525803"/>
              <a:gd name="connsiteX38" fmla="*/ 388355 w 559262"/>
              <a:gd name="connsiteY38" fmla="*/ 307154 h 525803"/>
              <a:gd name="connsiteX39" fmla="*/ 370703 w 559262"/>
              <a:gd name="connsiteY39" fmla="*/ 289501 h 525803"/>
              <a:gd name="connsiteX40" fmla="*/ 367172 w 559262"/>
              <a:gd name="connsiteY40" fmla="*/ 278910 h 525803"/>
              <a:gd name="connsiteX41" fmla="*/ 349520 w 559262"/>
              <a:gd name="connsiteY41" fmla="*/ 257727 h 525803"/>
              <a:gd name="connsiteX42" fmla="*/ 345989 w 559262"/>
              <a:gd name="connsiteY42" fmla="*/ 247135 h 525803"/>
              <a:gd name="connsiteX43" fmla="*/ 328337 w 559262"/>
              <a:gd name="connsiteY43" fmla="*/ 229483 h 525803"/>
              <a:gd name="connsiteX44" fmla="*/ 314215 w 559262"/>
              <a:gd name="connsiteY44" fmla="*/ 222422 h 525803"/>
              <a:gd name="connsiteX45" fmla="*/ 275379 w 559262"/>
              <a:gd name="connsiteY45" fmla="*/ 218891 h 525803"/>
              <a:gd name="connsiteX46" fmla="*/ 264788 w 559262"/>
              <a:gd name="connsiteY46" fmla="*/ 215361 h 525803"/>
              <a:gd name="connsiteX47" fmla="*/ 254196 w 559262"/>
              <a:gd name="connsiteY47" fmla="*/ 208300 h 525803"/>
              <a:gd name="connsiteX48" fmla="*/ 240074 w 559262"/>
              <a:gd name="connsiteY48" fmla="*/ 204769 h 525803"/>
              <a:gd name="connsiteX49" fmla="*/ 229483 w 559262"/>
              <a:gd name="connsiteY49" fmla="*/ 197708 h 525803"/>
              <a:gd name="connsiteX50" fmla="*/ 211830 w 559262"/>
              <a:gd name="connsiteY50" fmla="*/ 194178 h 525803"/>
              <a:gd name="connsiteX51" fmla="*/ 187117 w 559262"/>
              <a:gd name="connsiteY51" fmla="*/ 187117 h 525803"/>
              <a:gd name="connsiteX52" fmla="*/ 176525 w 559262"/>
              <a:gd name="connsiteY52" fmla="*/ 180056 h 525803"/>
              <a:gd name="connsiteX53" fmla="*/ 120037 w 559262"/>
              <a:gd name="connsiteY53" fmla="*/ 169464 h 525803"/>
              <a:gd name="connsiteX54" fmla="*/ 116507 w 559262"/>
              <a:gd name="connsiteY54" fmla="*/ 155342 h 525803"/>
              <a:gd name="connsiteX55" fmla="*/ 109446 w 559262"/>
              <a:gd name="connsiteY55" fmla="*/ 116507 h 525803"/>
              <a:gd name="connsiteX56" fmla="*/ 102385 w 559262"/>
              <a:gd name="connsiteY56" fmla="*/ 134159 h 525803"/>
              <a:gd name="connsiteX57" fmla="*/ 95324 w 559262"/>
              <a:gd name="connsiteY57" fmla="*/ 144751 h 525803"/>
              <a:gd name="connsiteX58" fmla="*/ 77671 w 559262"/>
              <a:gd name="connsiteY58" fmla="*/ 169464 h 525803"/>
              <a:gd name="connsiteX59" fmla="*/ 60019 w 559262"/>
              <a:gd name="connsiteY59" fmla="*/ 165934 h 525803"/>
              <a:gd name="connsiteX60" fmla="*/ 49427 w 559262"/>
              <a:gd name="connsiteY60" fmla="*/ 130629 h 525803"/>
              <a:gd name="connsiteX61" fmla="*/ 38836 w 559262"/>
              <a:gd name="connsiteY61" fmla="*/ 123568 h 525803"/>
              <a:gd name="connsiteX62" fmla="*/ 17653 w 559262"/>
              <a:gd name="connsiteY62" fmla="*/ 102385 h 525803"/>
              <a:gd name="connsiteX63" fmla="*/ 10592 w 559262"/>
              <a:gd name="connsiteY63" fmla="*/ 91793 h 525803"/>
              <a:gd name="connsiteX64" fmla="*/ 0 w 559262"/>
              <a:gd name="connsiteY64" fmla="*/ 84732 h 525803"/>
              <a:gd name="connsiteX65" fmla="*/ 56488 w 559262"/>
              <a:gd name="connsiteY65" fmla="*/ 81202 h 525803"/>
              <a:gd name="connsiteX66" fmla="*/ 88263 w 559262"/>
              <a:gd name="connsiteY66" fmla="*/ 63549 h 525803"/>
              <a:gd name="connsiteX67" fmla="*/ 88263 w 559262"/>
              <a:gd name="connsiteY67" fmla="*/ 63549 h 525803"/>
              <a:gd name="connsiteX68" fmla="*/ 112976 w 559262"/>
              <a:gd name="connsiteY68" fmla="*/ 60019 h 525803"/>
              <a:gd name="connsiteX69" fmla="*/ 120037 w 559262"/>
              <a:gd name="connsiteY69" fmla="*/ 49427 h 525803"/>
              <a:gd name="connsiteX70" fmla="*/ 144751 w 559262"/>
              <a:gd name="connsiteY70" fmla="*/ 60019 h 525803"/>
              <a:gd name="connsiteX71" fmla="*/ 155342 w 559262"/>
              <a:gd name="connsiteY71" fmla="*/ 81202 h 525803"/>
              <a:gd name="connsiteX72" fmla="*/ 165934 w 559262"/>
              <a:gd name="connsiteY72" fmla="*/ 102385 h 525803"/>
              <a:gd name="connsiteX73" fmla="*/ 176525 w 559262"/>
              <a:gd name="connsiteY73" fmla="*/ 109446 h 525803"/>
              <a:gd name="connsiteX74" fmla="*/ 211830 w 559262"/>
              <a:gd name="connsiteY74" fmla="*/ 120037 h 525803"/>
              <a:gd name="connsiteX75" fmla="*/ 208300 w 559262"/>
              <a:gd name="connsiteY75" fmla="*/ 123568 h 525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</a:cxnLst>
            <a:rect l="l" t="t" r="r" b="b"/>
            <a:pathLst>
              <a:path w="559262" h="525803">
                <a:moveTo>
                  <a:pt x="208300" y="123568"/>
                </a:moveTo>
                <a:cubicBezTo>
                  <a:pt x="213620" y="122238"/>
                  <a:pt x="243065" y="117047"/>
                  <a:pt x="250666" y="109446"/>
                </a:cubicBezTo>
                <a:cubicBezTo>
                  <a:pt x="256667" y="103445"/>
                  <a:pt x="264788" y="88263"/>
                  <a:pt x="264788" y="88263"/>
                </a:cubicBezTo>
                <a:cubicBezTo>
                  <a:pt x="267142" y="81202"/>
                  <a:pt x="270626" y="74422"/>
                  <a:pt x="271849" y="67080"/>
                </a:cubicBezTo>
                <a:cubicBezTo>
                  <a:pt x="273026" y="60019"/>
                  <a:pt x="271828" y="52112"/>
                  <a:pt x="275379" y="45897"/>
                </a:cubicBezTo>
                <a:cubicBezTo>
                  <a:pt x="277225" y="42666"/>
                  <a:pt x="282338" y="43173"/>
                  <a:pt x="285971" y="42366"/>
                </a:cubicBezTo>
                <a:cubicBezTo>
                  <a:pt x="292959" y="40813"/>
                  <a:pt x="300093" y="40013"/>
                  <a:pt x="307154" y="38836"/>
                </a:cubicBezTo>
                <a:cubicBezTo>
                  <a:pt x="316025" y="12219"/>
                  <a:pt x="304060" y="45022"/>
                  <a:pt x="317745" y="17653"/>
                </a:cubicBezTo>
                <a:cubicBezTo>
                  <a:pt x="319409" y="14324"/>
                  <a:pt x="318951" y="9967"/>
                  <a:pt x="321276" y="7061"/>
                </a:cubicBezTo>
                <a:cubicBezTo>
                  <a:pt x="323927" y="3748"/>
                  <a:pt x="328337" y="2354"/>
                  <a:pt x="331867" y="0"/>
                </a:cubicBezTo>
                <a:cubicBezTo>
                  <a:pt x="367500" y="4455"/>
                  <a:pt x="351107" y="530"/>
                  <a:pt x="381294" y="10592"/>
                </a:cubicBezTo>
                <a:lnTo>
                  <a:pt x="402477" y="17653"/>
                </a:lnTo>
                <a:lnTo>
                  <a:pt x="413069" y="21183"/>
                </a:lnTo>
                <a:cubicBezTo>
                  <a:pt x="416600" y="23537"/>
                  <a:pt x="420401" y="25527"/>
                  <a:pt x="423661" y="28244"/>
                </a:cubicBezTo>
                <a:cubicBezTo>
                  <a:pt x="427497" y="31440"/>
                  <a:pt x="430098" y="36066"/>
                  <a:pt x="434252" y="38836"/>
                </a:cubicBezTo>
                <a:cubicBezTo>
                  <a:pt x="437349" y="40900"/>
                  <a:pt x="441313" y="41189"/>
                  <a:pt x="444844" y="42366"/>
                </a:cubicBezTo>
                <a:cubicBezTo>
                  <a:pt x="452768" y="47649"/>
                  <a:pt x="465148" y="58585"/>
                  <a:pt x="476618" y="60019"/>
                </a:cubicBezTo>
                <a:cubicBezTo>
                  <a:pt x="491844" y="61922"/>
                  <a:pt x="507216" y="62372"/>
                  <a:pt x="522515" y="63549"/>
                </a:cubicBezTo>
                <a:cubicBezTo>
                  <a:pt x="533999" y="67378"/>
                  <a:pt x="534613" y="65174"/>
                  <a:pt x="540167" y="77671"/>
                </a:cubicBezTo>
                <a:cubicBezTo>
                  <a:pt x="543190" y="84472"/>
                  <a:pt x="547228" y="98854"/>
                  <a:pt x="547228" y="98854"/>
                </a:cubicBezTo>
                <a:cubicBezTo>
                  <a:pt x="548405" y="158873"/>
                  <a:pt x="549259" y="218899"/>
                  <a:pt x="550759" y="278910"/>
                </a:cubicBezTo>
                <a:cubicBezTo>
                  <a:pt x="553314" y="381121"/>
                  <a:pt x="548930" y="349146"/>
                  <a:pt x="557820" y="402477"/>
                </a:cubicBezTo>
                <a:cubicBezTo>
                  <a:pt x="556643" y="420130"/>
                  <a:pt x="555359" y="437776"/>
                  <a:pt x="554289" y="455435"/>
                </a:cubicBezTo>
                <a:cubicBezTo>
                  <a:pt x="553006" y="476612"/>
                  <a:pt x="559262" y="499547"/>
                  <a:pt x="550759" y="518984"/>
                </a:cubicBezTo>
                <a:cubicBezTo>
                  <a:pt x="547776" y="525803"/>
                  <a:pt x="529576" y="511923"/>
                  <a:pt x="529576" y="511923"/>
                </a:cubicBezTo>
                <a:cubicBezTo>
                  <a:pt x="520698" y="485292"/>
                  <a:pt x="532675" y="518124"/>
                  <a:pt x="518984" y="490740"/>
                </a:cubicBezTo>
                <a:cubicBezTo>
                  <a:pt x="513369" y="479510"/>
                  <a:pt x="518765" y="477280"/>
                  <a:pt x="504862" y="469557"/>
                </a:cubicBezTo>
                <a:cubicBezTo>
                  <a:pt x="498356" y="465943"/>
                  <a:pt x="483679" y="462496"/>
                  <a:pt x="483679" y="462496"/>
                </a:cubicBezTo>
                <a:cubicBezTo>
                  <a:pt x="434487" y="429700"/>
                  <a:pt x="527281" y="488863"/>
                  <a:pt x="353050" y="451904"/>
                </a:cubicBezTo>
                <a:cubicBezTo>
                  <a:pt x="346047" y="450419"/>
                  <a:pt x="355028" y="437709"/>
                  <a:pt x="356581" y="430721"/>
                </a:cubicBezTo>
                <a:cubicBezTo>
                  <a:pt x="357388" y="427088"/>
                  <a:pt x="357480" y="422761"/>
                  <a:pt x="360111" y="420130"/>
                </a:cubicBezTo>
                <a:cubicBezTo>
                  <a:pt x="370224" y="410017"/>
                  <a:pt x="379456" y="406028"/>
                  <a:pt x="391886" y="402477"/>
                </a:cubicBezTo>
                <a:cubicBezTo>
                  <a:pt x="396551" y="401144"/>
                  <a:pt x="401301" y="400124"/>
                  <a:pt x="406008" y="398947"/>
                </a:cubicBezTo>
                <a:cubicBezTo>
                  <a:pt x="408362" y="395416"/>
                  <a:pt x="413069" y="392598"/>
                  <a:pt x="413069" y="388355"/>
                </a:cubicBezTo>
                <a:cubicBezTo>
                  <a:pt x="413069" y="368748"/>
                  <a:pt x="407410" y="368107"/>
                  <a:pt x="395416" y="360111"/>
                </a:cubicBezTo>
                <a:cubicBezTo>
                  <a:pt x="396593" y="350696"/>
                  <a:pt x="397250" y="341202"/>
                  <a:pt x="398947" y="331867"/>
                </a:cubicBezTo>
                <a:cubicBezTo>
                  <a:pt x="399613" y="328206"/>
                  <a:pt x="402477" y="324997"/>
                  <a:pt x="402477" y="321276"/>
                </a:cubicBezTo>
                <a:cubicBezTo>
                  <a:pt x="402477" y="317554"/>
                  <a:pt x="401579" y="313316"/>
                  <a:pt x="398947" y="310684"/>
                </a:cubicBezTo>
                <a:cubicBezTo>
                  <a:pt x="396315" y="308052"/>
                  <a:pt x="391886" y="308331"/>
                  <a:pt x="388355" y="307154"/>
                </a:cubicBezTo>
                <a:cubicBezTo>
                  <a:pt x="377763" y="300092"/>
                  <a:pt x="376588" y="301270"/>
                  <a:pt x="370703" y="289501"/>
                </a:cubicBezTo>
                <a:cubicBezTo>
                  <a:pt x="369039" y="286173"/>
                  <a:pt x="369236" y="282006"/>
                  <a:pt x="367172" y="278910"/>
                </a:cubicBezTo>
                <a:cubicBezTo>
                  <a:pt x="351559" y="255491"/>
                  <a:pt x="361068" y="280823"/>
                  <a:pt x="349520" y="257727"/>
                </a:cubicBezTo>
                <a:cubicBezTo>
                  <a:pt x="347856" y="254398"/>
                  <a:pt x="347653" y="250464"/>
                  <a:pt x="345989" y="247135"/>
                </a:cubicBezTo>
                <a:cubicBezTo>
                  <a:pt x="340811" y="236780"/>
                  <a:pt x="338221" y="235131"/>
                  <a:pt x="328337" y="229483"/>
                </a:cubicBezTo>
                <a:cubicBezTo>
                  <a:pt x="323767" y="226872"/>
                  <a:pt x="319376" y="223454"/>
                  <a:pt x="314215" y="222422"/>
                </a:cubicBezTo>
                <a:cubicBezTo>
                  <a:pt x="301469" y="219873"/>
                  <a:pt x="288324" y="220068"/>
                  <a:pt x="275379" y="218891"/>
                </a:cubicBezTo>
                <a:cubicBezTo>
                  <a:pt x="271849" y="217714"/>
                  <a:pt x="268116" y="217025"/>
                  <a:pt x="264788" y="215361"/>
                </a:cubicBezTo>
                <a:cubicBezTo>
                  <a:pt x="260993" y="213463"/>
                  <a:pt x="258096" y="209972"/>
                  <a:pt x="254196" y="208300"/>
                </a:cubicBezTo>
                <a:cubicBezTo>
                  <a:pt x="249736" y="206389"/>
                  <a:pt x="244781" y="205946"/>
                  <a:pt x="240074" y="204769"/>
                </a:cubicBezTo>
                <a:cubicBezTo>
                  <a:pt x="236544" y="202415"/>
                  <a:pt x="233456" y="199198"/>
                  <a:pt x="229483" y="197708"/>
                </a:cubicBezTo>
                <a:cubicBezTo>
                  <a:pt x="223864" y="195601"/>
                  <a:pt x="217688" y="195480"/>
                  <a:pt x="211830" y="194178"/>
                </a:cubicBezTo>
                <a:cubicBezTo>
                  <a:pt x="198538" y="191224"/>
                  <a:pt x="198906" y="191046"/>
                  <a:pt x="187117" y="187117"/>
                </a:cubicBezTo>
                <a:cubicBezTo>
                  <a:pt x="183586" y="184763"/>
                  <a:pt x="180403" y="181779"/>
                  <a:pt x="176525" y="180056"/>
                </a:cubicBezTo>
                <a:cubicBezTo>
                  <a:pt x="154574" y="170300"/>
                  <a:pt x="146139" y="172075"/>
                  <a:pt x="120037" y="169464"/>
                </a:cubicBezTo>
                <a:cubicBezTo>
                  <a:pt x="118860" y="164757"/>
                  <a:pt x="117459" y="160100"/>
                  <a:pt x="116507" y="155342"/>
                </a:cubicBezTo>
                <a:cubicBezTo>
                  <a:pt x="113927" y="142440"/>
                  <a:pt x="116744" y="127454"/>
                  <a:pt x="109446" y="116507"/>
                </a:cubicBezTo>
                <a:cubicBezTo>
                  <a:pt x="105931" y="111234"/>
                  <a:pt x="105219" y="128491"/>
                  <a:pt x="102385" y="134159"/>
                </a:cubicBezTo>
                <a:cubicBezTo>
                  <a:pt x="100487" y="137954"/>
                  <a:pt x="97047" y="140873"/>
                  <a:pt x="95324" y="144751"/>
                </a:cubicBezTo>
                <a:cubicBezTo>
                  <a:pt x="83863" y="170539"/>
                  <a:pt x="96936" y="163044"/>
                  <a:pt x="77671" y="169464"/>
                </a:cubicBezTo>
                <a:cubicBezTo>
                  <a:pt x="71787" y="168287"/>
                  <a:pt x="65229" y="168911"/>
                  <a:pt x="60019" y="165934"/>
                </a:cubicBezTo>
                <a:cubicBezTo>
                  <a:pt x="48842" y="159547"/>
                  <a:pt x="52578" y="137718"/>
                  <a:pt x="49427" y="130629"/>
                </a:cubicBezTo>
                <a:cubicBezTo>
                  <a:pt x="47704" y="126752"/>
                  <a:pt x="42007" y="126387"/>
                  <a:pt x="38836" y="123568"/>
                </a:cubicBezTo>
                <a:cubicBezTo>
                  <a:pt x="31373" y="116934"/>
                  <a:pt x="23192" y="110694"/>
                  <a:pt x="17653" y="102385"/>
                </a:cubicBezTo>
                <a:cubicBezTo>
                  <a:pt x="15299" y="98854"/>
                  <a:pt x="13592" y="94793"/>
                  <a:pt x="10592" y="91793"/>
                </a:cubicBezTo>
                <a:cubicBezTo>
                  <a:pt x="7592" y="88793"/>
                  <a:pt x="3531" y="87086"/>
                  <a:pt x="0" y="84732"/>
                </a:cubicBezTo>
                <a:cubicBezTo>
                  <a:pt x="18829" y="83555"/>
                  <a:pt x="37726" y="83177"/>
                  <a:pt x="56488" y="81202"/>
                </a:cubicBezTo>
                <a:cubicBezTo>
                  <a:pt x="67556" y="80037"/>
                  <a:pt x="81255" y="68221"/>
                  <a:pt x="88263" y="63549"/>
                </a:cubicBezTo>
                <a:lnTo>
                  <a:pt x="88263" y="63549"/>
                </a:lnTo>
                <a:lnTo>
                  <a:pt x="112976" y="60019"/>
                </a:lnTo>
                <a:cubicBezTo>
                  <a:pt x="115330" y="56488"/>
                  <a:pt x="116011" y="50769"/>
                  <a:pt x="120037" y="49427"/>
                </a:cubicBezTo>
                <a:cubicBezTo>
                  <a:pt x="127635" y="46894"/>
                  <a:pt x="139426" y="56469"/>
                  <a:pt x="144751" y="60019"/>
                </a:cubicBezTo>
                <a:cubicBezTo>
                  <a:pt x="153621" y="86632"/>
                  <a:pt x="141658" y="53834"/>
                  <a:pt x="155342" y="81202"/>
                </a:cubicBezTo>
                <a:cubicBezTo>
                  <a:pt x="161084" y="92686"/>
                  <a:pt x="155818" y="92268"/>
                  <a:pt x="165934" y="102385"/>
                </a:cubicBezTo>
                <a:cubicBezTo>
                  <a:pt x="168934" y="105385"/>
                  <a:pt x="172648" y="107723"/>
                  <a:pt x="176525" y="109446"/>
                </a:cubicBezTo>
                <a:cubicBezTo>
                  <a:pt x="187579" y="114359"/>
                  <a:pt x="200092" y="117103"/>
                  <a:pt x="211830" y="120037"/>
                </a:cubicBezTo>
                <a:lnTo>
                  <a:pt x="208300" y="123568"/>
                </a:ln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5" name="Freeform 84"/>
          <p:cNvSpPr/>
          <p:nvPr/>
        </p:nvSpPr>
        <p:spPr>
          <a:xfrm>
            <a:off x="5449888" y="6201835"/>
            <a:ext cx="265112" cy="175684"/>
          </a:xfrm>
          <a:custGeom>
            <a:avLst/>
            <a:gdLst>
              <a:gd name="connsiteX0" fmla="*/ 92965 w 264902"/>
              <a:gd name="connsiteY0" fmla="*/ 60156 h 175190"/>
              <a:gd name="connsiteX1" fmla="*/ 71782 w 264902"/>
              <a:gd name="connsiteY1" fmla="*/ 67217 h 175190"/>
              <a:gd name="connsiteX2" fmla="*/ 47069 w 264902"/>
              <a:gd name="connsiteY2" fmla="*/ 98992 h 175190"/>
              <a:gd name="connsiteX3" fmla="*/ 43538 w 264902"/>
              <a:gd name="connsiteY3" fmla="*/ 109583 h 175190"/>
              <a:gd name="connsiteX4" fmla="*/ 43538 w 264902"/>
              <a:gd name="connsiteY4" fmla="*/ 141358 h 175190"/>
              <a:gd name="connsiteX5" fmla="*/ 32946 w 264902"/>
              <a:gd name="connsiteY5" fmla="*/ 144888 h 175190"/>
              <a:gd name="connsiteX6" fmla="*/ 22355 w 264902"/>
              <a:gd name="connsiteY6" fmla="*/ 151949 h 175190"/>
              <a:gd name="connsiteX7" fmla="*/ 8233 w 264902"/>
              <a:gd name="connsiteY7" fmla="*/ 173132 h 175190"/>
              <a:gd name="connsiteX8" fmla="*/ 22355 w 264902"/>
              <a:gd name="connsiteY8" fmla="*/ 169602 h 175190"/>
              <a:gd name="connsiteX9" fmla="*/ 32946 w 264902"/>
              <a:gd name="connsiteY9" fmla="*/ 162541 h 175190"/>
              <a:gd name="connsiteX10" fmla="*/ 47069 w 264902"/>
              <a:gd name="connsiteY10" fmla="*/ 141358 h 175190"/>
              <a:gd name="connsiteX11" fmla="*/ 57660 w 264902"/>
              <a:gd name="connsiteY11" fmla="*/ 137827 h 175190"/>
              <a:gd name="connsiteX12" fmla="*/ 96496 w 264902"/>
              <a:gd name="connsiteY12" fmla="*/ 127236 h 175190"/>
              <a:gd name="connsiteX13" fmla="*/ 110618 w 264902"/>
              <a:gd name="connsiteY13" fmla="*/ 106053 h 175190"/>
              <a:gd name="connsiteX14" fmla="*/ 117679 w 264902"/>
              <a:gd name="connsiteY14" fmla="*/ 95461 h 175190"/>
              <a:gd name="connsiteX15" fmla="*/ 128270 w 264902"/>
              <a:gd name="connsiteY15" fmla="*/ 74278 h 175190"/>
              <a:gd name="connsiteX16" fmla="*/ 163575 w 264902"/>
              <a:gd name="connsiteY16" fmla="*/ 63687 h 175190"/>
              <a:gd name="connsiteX17" fmla="*/ 184758 w 264902"/>
              <a:gd name="connsiteY17" fmla="*/ 56626 h 175190"/>
              <a:gd name="connsiteX18" fmla="*/ 209472 w 264902"/>
              <a:gd name="connsiteY18" fmla="*/ 46034 h 175190"/>
              <a:gd name="connsiteX19" fmla="*/ 220063 w 264902"/>
              <a:gd name="connsiteY19" fmla="*/ 38973 h 175190"/>
              <a:gd name="connsiteX20" fmla="*/ 251838 w 264902"/>
              <a:gd name="connsiteY20" fmla="*/ 24851 h 175190"/>
              <a:gd name="connsiteX21" fmla="*/ 255368 w 264902"/>
              <a:gd name="connsiteY21" fmla="*/ 3668 h 175190"/>
              <a:gd name="connsiteX22" fmla="*/ 241246 w 264902"/>
              <a:gd name="connsiteY22" fmla="*/ 138 h 175190"/>
              <a:gd name="connsiteX23" fmla="*/ 188289 w 264902"/>
              <a:gd name="connsiteY23" fmla="*/ 7199 h 175190"/>
              <a:gd name="connsiteX24" fmla="*/ 160045 w 264902"/>
              <a:gd name="connsiteY24" fmla="*/ 14260 h 175190"/>
              <a:gd name="connsiteX25" fmla="*/ 128270 w 264902"/>
              <a:gd name="connsiteY25" fmla="*/ 31912 h 175190"/>
              <a:gd name="connsiteX26" fmla="*/ 121209 w 264902"/>
              <a:gd name="connsiteY26" fmla="*/ 42504 h 175190"/>
              <a:gd name="connsiteX27" fmla="*/ 92965 w 264902"/>
              <a:gd name="connsiteY27" fmla="*/ 60156 h 175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64902" h="175190">
                <a:moveTo>
                  <a:pt x="92965" y="60156"/>
                </a:moveTo>
                <a:cubicBezTo>
                  <a:pt x="84727" y="64275"/>
                  <a:pt x="77045" y="61954"/>
                  <a:pt x="71782" y="67217"/>
                </a:cubicBezTo>
                <a:cubicBezTo>
                  <a:pt x="62644" y="76356"/>
                  <a:pt x="51292" y="86324"/>
                  <a:pt x="47069" y="98992"/>
                </a:cubicBezTo>
                <a:lnTo>
                  <a:pt x="43538" y="109583"/>
                </a:lnTo>
                <a:cubicBezTo>
                  <a:pt x="48325" y="123944"/>
                  <a:pt x="56789" y="130758"/>
                  <a:pt x="43538" y="141358"/>
                </a:cubicBezTo>
                <a:cubicBezTo>
                  <a:pt x="40632" y="143683"/>
                  <a:pt x="36477" y="143711"/>
                  <a:pt x="32946" y="144888"/>
                </a:cubicBezTo>
                <a:cubicBezTo>
                  <a:pt x="29416" y="147242"/>
                  <a:pt x="25149" y="148756"/>
                  <a:pt x="22355" y="151949"/>
                </a:cubicBezTo>
                <a:cubicBezTo>
                  <a:pt x="16767" y="158336"/>
                  <a:pt x="0" y="175190"/>
                  <a:pt x="8233" y="173132"/>
                </a:cubicBezTo>
                <a:lnTo>
                  <a:pt x="22355" y="169602"/>
                </a:lnTo>
                <a:cubicBezTo>
                  <a:pt x="25885" y="167248"/>
                  <a:pt x="30152" y="165734"/>
                  <a:pt x="32946" y="162541"/>
                </a:cubicBezTo>
                <a:cubicBezTo>
                  <a:pt x="38534" y="156154"/>
                  <a:pt x="39018" y="144042"/>
                  <a:pt x="47069" y="141358"/>
                </a:cubicBezTo>
                <a:cubicBezTo>
                  <a:pt x="50599" y="140181"/>
                  <a:pt x="54070" y="138806"/>
                  <a:pt x="57660" y="137827"/>
                </a:cubicBezTo>
                <a:cubicBezTo>
                  <a:pt x="101484" y="125874"/>
                  <a:pt x="72107" y="135364"/>
                  <a:pt x="96496" y="127236"/>
                </a:cubicBezTo>
                <a:lnTo>
                  <a:pt x="110618" y="106053"/>
                </a:lnTo>
                <a:lnTo>
                  <a:pt x="117679" y="95461"/>
                </a:lnTo>
                <a:cubicBezTo>
                  <a:pt x="119603" y="89690"/>
                  <a:pt x="122507" y="77880"/>
                  <a:pt x="128270" y="74278"/>
                </a:cubicBezTo>
                <a:cubicBezTo>
                  <a:pt x="135954" y="69475"/>
                  <a:pt x="154033" y="66549"/>
                  <a:pt x="163575" y="63687"/>
                </a:cubicBezTo>
                <a:cubicBezTo>
                  <a:pt x="170704" y="61548"/>
                  <a:pt x="184758" y="56626"/>
                  <a:pt x="184758" y="56626"/>
                </a:cubicBezTo>
                <a:cubicBezTo>
                  <a:pt x="211352" y="38897"/>
                  <a:pt x="177552" y="59715"/>
                  <a:pt x="209472" y="46034"/>
                </a:cubicBezTo>
                <a:cubicBezTo>
                  <a:pt x="213372" y="44363"/>
                  <a:pt x="216186" y="40696"/>
                  <a:pt x="220063" y="38973"/>
                </a:cubicBezTo>
                <a:cubicBezTo>
                  <a:pt x="257879" y="22166"/>
                  <a:pt x="227866" y="40832"/>
                  <a:pt x="251838" y="24851"/>
                </a:cubicBezTo>
                <a:cubicBezTo>
                  <a:pt x="255650" y="19133"/>
                  <a:pt x="264902" y="11295"/>
                  <a:pt x="255368" y="3668"/>
                </a:cubicBezTo>
                <a:cubicBezTo>
                  <a:pt x="251579" y="637"/>
                  <a:pt x="245953" y="1315"/>
                  <a:pt x="241246" y="138"/>
                </a:cubicBezTo>
                <a:cubicBezTo>
                  <a:pt x="182410" y="5486"/>
                  <a:pt x="220684" y="0"/>
                  <a:pt x="188289" y="7199"/>
                </a:cubicBezTo>
                <a:cubicBezTo>
                  <a:pt x="183066" y="8360"/>
                  <a:pt x="166358" y="10753"/>
                  <a:pt x="160045" y="14260"/>
                </a:cubicBezTo>
                <a:cubicBezTo>
                  <a:pt x="123633" y="34490"/>
                  <a:pt x="152233" y="23926"/>
                  <a:pt x="128270" y="31912"/>
                </a:cubicBezTo>
                <a:cubicBezTo>
                  <a:pt x="125916" y="35443"/>
                  <a:pt x="124209" y="39503"/>
                  <a:pt x="121209" y="42504"/>
                </a:cubicBezTo>
                <a:cubicBezTo>
                  <a:pt x="118209" y="45504"/>
                  <a:pt x="101203" y="56037"/>
                  <a:pt x="92965" y="60156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6" name="Title 7"/>
          <p:cNvSpPr txBox="1">
            <a:spLocks/>
          </p:cNvSpPr>
          <p:nvPr/>
        </p:nvSpPr>
        <p:spPr bwMode="auto">
          <a:xfrm rot="1044371" flipH="1">
            <a:off x="5645155" y="6453719"/>
            <a:ext cx="2455863" cy="332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ఇండోనేషియా</a:t>
            </a:r>
            <a:endParaRPr lang="en-IN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87" name="Straight Connector 86"/>
          <p:cNvCxnSpPr/>
          <p:nvPr/>
        </p:nvCxnSpPr>
        <p:spPr>
          <a:xfrm flipV="1">
            <a:off x="4237039" y="5662090"/>
            <a:ext cx="550862" cy="122767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4786313" y="5643036"/>
            <a:ext cx="571500" cy="143933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4286256" y="5786971"/>
            <a:ext cx="428625" cy="357717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4714875" y="6144688"/>
            <a:ext cx="1009650" cy="93133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 rot="16200000" flipH="1">
            <a:off x="5286910" y="5857877"/>
            <a:ext cx="427567" cy="285750"/>
          </a:xfrm>
          <a:prstGeom prst="line">
            <a:avLst/>
          </a:prstGeom>
          <a:ln w="28575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>
            <a:off x="5643563" y="6214536"/>
            <a:ext cx="214312" cy="143933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Freeform 96"/>
          <p:cNvSpPr/>
          <p:nvPr/>
        </p:nvSpPr>
        <p:spPr>
          <a:xfrm>
            <a:off x="4676775" y="5166788"/>
            <a:ext cx="565150" cy="440267"/>
          </a:xfrm>
          <a:custGeom>
            <a:avLst/>
            <a:gdLst>
              <a:gd name="connsiteX0" fmla="*/ 1829 w 565484"/>
              <a:gd name="connsiteY0" fmla="*/ 351572 h 439514"/>
              <a:gd name="connsiteX1" fmla="*/ 20117 w 565484"/>
              <a:gd name="connsiteY1" fmla="*/ 355230 h 439514"/>
              <a:gd name="connsiteX2" fmla="*/ 42063 w 565484"/>
              <a:gd name="connsiteY2" fmla="*/ 362545 h 439514"/>
              <a:gd name="connsiteX3" fmla="*/ 71324 w 565484"/>
              <a:gd name="connsiteY3" fmla="*/ 358888 h 439514"/>
              <a:gd name="connsiteX4" fmla="*/ 85954 w 565484"/>
              <a:gd name="connsiteY4" fmla="*/ 336942 h 439514"/>
              <a:gd name="connsiteX5" fmla="*/ 89612 w 565484"/>
              <a:gd name="connsiteY5" fmla="*/ 296708 h 439514"/>
              <a:gd name="connsiteX6" fmla="*/ 100585 w 565484"/>
              <a:gd name="connsiteY6" fmla="*/ 289393 h 439514"/>
              <a:gd name="connsiteX7" fmla="*/ 144476 w 565484"/>
              <a:gd name="connsiteY7" fmla="*/ 282078 h 439514"/>
              <a:gd name="connsiteX8" fmla="*/ 155449 w 565484"/>
              <a:gd name="connsiteY8" fmla="*/ 278420 h 439514"/>
              <a:gd name="connsiteX9" fmla="*/ 173737 w 565484"/>
              <a:gd name="connsiteY9" fmla="*/ 263790 h 439514"/>
              <a:gd name="connsiteX10" fmla="*/ 181052 w 565484"/>
              <a:gd name="connsiteY10" fmla="*/ 252817 h 439514"/>
              <a:gd name="connsiteX11" fmla="*/ 202997 w 565484"/>
              <a:gd name="connsiteY11" fmla="*/ 238187 h 439514"/>
              <a:gd name="connsiteX12" fmla="*/ 213970 w 565484"/>
              <a:gd name="connsiteY12" fmla="*/ 205268 h 439514"/>
              <a:gd name="connsiteX13" fmla="*/ 224943 w 565484"/>
              <a:gd name="connsiteY13" fmla="*/ 186980 h 439514"/>
              <a:gd name="connsiteX14" fmla="*/ 261519 w 565484"/>
              <a:gd name="connsiteY14" fmla="*/ 176008 h 439514"/>
              <a:gd name="connsiteX15" fmla="*/ 272492 w 565484"/>
              <a:gd name="connsiteY15" fmla="*/ 172350 h 439514"/>
              <a:gd name="connsiteX16" fmla="*/ 290780 w 565484"/>
              <a:gd name="connsiteY16" fmla="*/ 143089 h 439514"/>
              <a:gd name="connsiteX17" fmla="*/ 312725 w 565484"/>
              <a:gd name="connsiteY17" fmla="*/ 139432 h 439514"/>
              <a:gd name="connsiteX18" fmla="*/ 320041 w 565484"/>
              <a:gd name="connsiteY18" fmla="*/ 128459 h 439514"/>
              <a:gd name="connsiteX19" fmla="*/ 334671 w 565484"/>
              <a:gd name="connsiteY19" fmla="*/ 124801 h 439514"/>
              <a:gd name="connsiteX20" fmla="*/ 345644 w 565484"/>
              <a:gd name="connsiteY20" fmla="*/ 117486 h 439514"/>
              <a:gd name="connsiteX21" fmla="*/ 352959 w 565484"/>
              <a:gd name="connsiteY21" fmla="*/ 88225 h 439514"/>
              <a:gd name="connsiteX22" fmla="*/ 356617 w 565484"/>
              <a:gd name="connsiteY22" fmla="*/ 77252 h 439514"/>
              <a:gd name="connsiteX23" fmla="*/ 363932 w 565484"/>
              <a:gd name="connsiteY23" fmla="*/ 66280 h 439514"/>
              <a:gd name="connsiteX24" fmla="*/ 385877 w 565484"/>
              <a:gd name="connsiteY24" fmla="*/ 58964 h 439514"/>
              <a:gd name="connsiteX25" fmla="*/ 396850 w 565484"/>
              <a:gd name="connsiteY25" fmla="*/ 40676 h 439514"/>
              <a:gd name="connsiteX26" fmla="*/ 404165 w 565484"/>
              <a:gd name="connsiteY26" fmla="*/ 29704 h 439514"/>
              <a:gd name="connsiteX27" fmla="*/ 411481 w 565484"/>
              <a:gd name="connsiteY27" fmla="*/ 7758 h 439514"/>
              <a:gd name="connsiteX28" fmla="*/ 422453 w 565484"/>
              <a:gd name="connsiteY28" fmla="*/ 443 h 439514"/>
              <a:gd name="connsiteX29" fmla="*/ 455372 w 565484"/>
              <a:gd name="connsiteY29" fmla="*/ 4100 h 439514"/>
              <a:gd name="connsiteX30" fmla="*/ 459029 w 565484"/>
              <a:gd name="connsiteY30" fmla="*/ 15073 h 439514"/>
              <a:gd name="connsiteX31" fmla="*/ 462687 w 565484"/>
              <a:gd name="connsiteY31" fmla="*/ 51649 h 439514"/>
              <a:gd name="connsiteX32" fmla="*/ 466345 w 565484"/>
              <a:gd name="connsiteY32" fmla="*/ 62622 h 439514"/>
              <a:gd name="connsiteX33" fmla="*/ 488290 w 565484"/>
              <a:gd name="connsiteY33" fmla="*/ 80910 h 439514"/>
              <a:gd name="connsiteX34" fmla="*/ 521209 w 565484"/>
              <a:gd name="connsiteY34" fmla="*/ 84568 h 439514"/>
              <a:gd name="connsiteX35" fmla="*/ 535839 w 565484"/>
              <a:gd name="connsiteY35" fmla="*/ 91883 h 439514"/>
              <a:gd name="connsiteX36" fmla="*/ 550469 w 565484"/>
              <a:gd name="connsiteY36" fmla="*/ 95540 h 439514"/>
              <a:gd name="connsiteX37" fmla="*/ 557785 w 565484"/>
              <a:gd name="connsiteY37" fmla="*/ 102856 h 439514"/>
              <a:gd name="connsiteX38" fmla="*/ 557785 w 565484"/>
              <a:gd name="connsiteY38" fmla="*/ 124801 h 439514"/>
              <a:gd name="connsiteX39" fmla="*/ 543154 w 565484"/>
              <a:gd name="connsiteY39" fmla="*/ 128459 h 439514"/>
              <a:gd name="connsiteX40" fmla="*/ 521209 w 565484"/>
              <a:gd name="connsiteY40" fmla="*/ 135774 h 439514"/>
              <a:gd name="connsiteX41" fmla="*/ 510236 w 565484"/>
              <a:gd name="connsiteY41" fmla="*/ 139432 h 439514"/>
              <a:gd name="connsiteX42" fmla="*/ 506578 w 565484"/>
              <a:gd name="connsiteY42" fmla="*/ 154062 h 439514"/>
              <a:gd name="connsiteX43" fmla="*/ 521209 w 565484"/>
              <a:gd name="connsiteY43" fmla="*/ 172350 h 439514"/>
              <a:gd name="connsiteX44" fmla="*/ 513893 w 565484"/>
              <a:gd name="connsiteY44" fmla="*/ 179665 h 439514"/>
              <a:gd name="connsiteX45" fmla="*/ 477317 w 565484"/>
              <a:gd name="connsiteY45" fmla="*/ 190638 h 439514"/>
              <a:gd name="connsiteX46" fmla="*/ 462687 w 565484"/>
              <a:gd name="connsiteY46" fmla="*/ 197953 h 439514"/>
              <a:gd name="connsiteX47" fmla="*/ 407823 w 565484"/>
              <a:gd name="connsiteY47" fmla="*/ 186980 h 439514"/>
              <a:gd name="connsiteX48" fmla="*/ 356617 w 565484"/>
              <a:gd name="connsiteY48" fmla="*/ 194296 h 439514"/>
              <a:gd name="connsiteX49" fmla="*/ 349301 w 565484"/>
              <a:gd name="connsiteY49" fmla="*/ 201611 h 439514"/>
              <a:gd name="connsiteX50" fmla="*/ 338329 w 565484"/>
              <a:gd name="connsiteY50" fmla="*/ 223556 h 439514"/>
              <a:gd name="connsiteX51" fmla="*/ 334671 w 565484"/>
              <a:gd name="connsiteY51" fmla="*/ 234529 h 439514"/>
              <a:gd name="connsiteX52" fmla="*/ 312725 w 565484"/>
              <a:gd name="connsiteY52" fmla="*/ 249160 h 439514"/>
              <a:gd name="connsiteX53" fmla="*/ 301753 w 565484"/>
              <a:gd name="connsiteY53" fmla="*/ 260132 h 439514"/>
              <a:gd name="connsiteX54" fmla="*/ 294437 w 565484"/>
              <a:gd name="connsiteY54" fmla="*/ 282078 h 439514"/>
              <a:gd name="connsiteX55" fmla="*/ 287122 w 565484"/>
              <a:gd name="connsiteY55" fmla="*/ 322312 h 439514"/>
              <a:gd name="connsiteX56" fmla="*/ 272492 w 565484"/>
              <a:gd name="connsiteY56" fmla="*/ 340600 h 439514"/>
              <a:gd name="connsiteX57" fmla="*/ 246889 w 565484"/>
              <a:gd name="connsiteY57" fmla="*/ 373518 h 439514"/>
              <a:gd name="connsiteX58" fmla="*/ 235916 w 565484"/>
              <a:gd name="connsiteY58" fmla="*/ 377176 h 439514"/>
              <a:gd name="connsiteX59" fmla="*/ 213970 w 565484"/>
              <a:gd name="connsiteY59" fmla="*/ 388148 h 439514"/>
              <a:gd name="connsiteX60" fmla="*/ 122530 w 565484"/>
              <a:gd name="connsiteY60" fmla="*/ 388148 h 439514"/>
              <a:gd name="connsiteX61" fmla="*/ 115215 w 565484"/>
              <a:gd name="connsiteY61" fmla="*/ 395464 h 439514"/>
              <a:gd name="connsiteX62" fmla="*/ 100585 w 565484"/>
              <a:gd name="connsiteY62" fmla="*/ 428382 h 439514"/>
              <a:gd name="connsiteX63" fmla="*/ 89612 w 565484"/>
              <a:gd name="connsiteY63" fmla="*/ 435697 h 439514"/>
              <a:gd name="connsiteX64" fmla="*/ 78639 w 565484"/>
              <a:gd name="connsiteY64" fmla="*/ 439355 h 439514"/>
              <a:gd name="connsiteX65" fmla="*/ 60351 w 565484"/>
              <a:gd name="connsiteY65" fmla="*/ 435697 h 439514"/>
              <a:gd name="connsiteX66" fmla="*/ 38405 w 565484"/>
              <a:gd name="connsiteY66" fmla="*/ 391806 h 439514"/>
              <a:gd name="connsiteX67" fmla="*/ 20117 w 565484"/>
              <a:gd name="connsiteY67" fmla="*/ 373518 h 439514"/>
              <a:gd name="connsiteX68" fmla="*/ 12802 w 565484"/>
              <a:gd name="connsiteY68" fmla="*/ 362545 h 439514"/>
              <a:gd name="connsiteX69" fmla="*/ 9145 w 565484"/>
              <a:gd name="connsiteY69" fmla="*/ 351572 h 439514"/>
              <a:gd name="connsiteX70" fmla="*/ 1829 w 565484"/>
              <a:gd name="connsiteY70" fmla="*/ 351572 h 439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565484" h="439514">
                <a:moveTo>
                  <a:pt x="1829" y="351572"/>
                </a:moveTo>
                <a:cubicBezTo>
                  <a:pt x="3658" y="352182"/>
                  <a:pt x="14119" y="353594"/>
                  <a:pt x="20117" y="355230"/>
                </a:cubicBezTo>
                <a:cubicBezTo>
                  <a:pt x="27556" y="357259"/>
                  <a:pt x="42063" y="362545"/>
                  <a:pt x="42063" y="362545"/>
                </a:cubicBezTo>
                <a:cubicBezTo>
                  <a:pt x="51817" y="361326"/>
                  <a:pt x="62833" y="363841"/>
                  <a:pt x="71324" y="358888"/>
                </a:cubicBezTo>
                <a:cubicBezTo>
                  <a:pt x="78918" y="354458"/>
                  <a:pt x="85954" y="336942"/>
                  <a:pt x="85954" y="336942"/>
                </a:cubicBezTo>
                <a:cubicBezTo>
                  <a:pt x="87173" y="323531"/>
                  <a:pt x="85652" y="309579"/>
                  <a:pt x="89612" y="296708"/>
                </a:cubicBezTo>
                <a:cubicBezTo>
                  <a:pt x="90905" y="292506"/>
                  <a:pt x="96653" y="291359"/>
                  <a:pt x="100585" y="289393"/>
                </a:cubicBezTo>
                <a:cubicBezTo>
                  <a:pt x="112839" y="283266"/>
                  <a:pt x="134051" y="283236"/>
                  <a:pt x="144476" y="282078"/>
                </a:cubicBezTo>
                <a:cubicBezTo>
                  <a:pt x="148134" y="280859"/>
                  <a:pt x="152001" y="280144"/>
                  <a:pt x="155449" y="278420"/>
                </a:cubicBezTo>
                <a:cubicBezTo>
                  <a:pt x="161783" y="275253"/>
                  <a:pt x="169202" y="269458"/>
                  <a:pt x="173737" y="263790"/>
                </a:cubicBezTo>
                <a:cubicBezTo>
                  <a:pt x="176483" y="260357"/>
                  <a:pt x="177744" y="255712"/>
                  <a:pt x="181052" y="252817"/>
                </a:cubicBezTo>
                <a:cubicBezTo>
                  <a:pt x="187668" y="247028"/>
                  <a:pt x="202997" y="238187"/>
                  <a:pt x="202997" y="238187"/>
                </a:cubicBezTo>
                <a:lnTo>
                  <a:pt x="213970" y="205268"/>
                </a:lnTo>
                <a:cubicBezTo>
                  <a:pt x="216472" y="197762"/>
                  <a:pt x="216912" y="190996"/>
                  <a:pt x="224943" y="186980"/>
                </a:cubicBezTo>
                <a:cubicBezTo>
                  <a:pt x="236535" y="181184"/>
                  <a:pt x="249267" y="179509"/>
                  <a:pt x="261519" y="176008"/>
                </a:cubicBezTo>
                <a:cubicBezTo>
                  <a:pt x="265226" y="174949"/>
                  <a:pt x="268834" y="173569"/>
                  <a:pt x="272492" y="172350"/>
                </a:cubicBezTo>
                <a:cubicBezTo>
                  <a:pt x="277385" y="157672"/>
                  <a:pt x="275564" y="148161"/>
                  <a:pt x="290780" y="143089"/>
                </a:cubicBezTo>
                <a:cubicBezTo>
                  <a:pt x="297815" y="140744"/>
                  <a:pt x="305410" y="140651"/>
                  <a:pt x="312725" y="139432"/>
                </a:cubicBezTo>
                <a:cubicBezTo>
                  <a:pt x="315164" y="135774"/>
                  <a:pt x="316383" y="130898"/>
                  <a:pt x="320041" y="128459"/>
                </a:cubicBezTo>
                <a:cubicBezTo>
                  <a:pt x="324224" y="125671"/>
                  <a:pt x="330051" y="126781"/>
                  <a:pt x="334671" y="124801"/>
                </a:cubicBezTo>
                <a:cubicBezTo>
                  <a:pt x="338711" y="123069"/>
                  <a:pt x="341986" y="119924"/>
                  <a:pt x="345644" y="117486"/>
                </a:cubicBezTo>
                <a:cubicBezTo>
                  <a:pt x="348082" y="107732"/>
                  <a:pt x="349779" y="97763"/>
                  <a:pt x="352959" y="88225"/>
                </a:cubicBezTo>
                <a:cubicBezTo>
                  <a:pt x="354178" y="84567"/>
                  <a:pt x="354893" y="80700"/>
                  <a:pt x="356617" y="77252"/>
                </a:cubicBezTo>
                <a:cubicBezTo>
                  <a:pt x="358583" y="73320"/>
                  <a:pt x="360205" y="68610"/>
                  <a:pt x="363932" y="66280"/>
                </a:cubicBezTo>
                <a:cubicBezTo>
                  <a:pt x="370471" y="62193"/>
                  <a:pt x="385877" y="58964"/>
                  <a:pt x="385877" y="58964"/>
                </a:cubicBezTo>
                <a:cubicBezTo>
                  <a:pt x="400167" y="44676"/>
                  <a:pt x="387354" y="59668"/>
                  <a:pt x="396850" y="40676"/>
                </a:cubicBezTo>
                <a:cubicBezTo>
                  <a:pt x="398816" y="36744"/>
                  <a:pt x="402380" y="33721"/>
                  <a:pt x="404165" y="29704"/>
                </a:cubicBezTo>
                <a:cubicBezTo>
                  <a:pt x="407297" y="22658"/>
                  <a:pt x="405065" y="12035"/>
                  <a:pt x="411481" y="7758"/>
                </a:cubicBezTo>
                <a:lnTo>
                  <a:pt x="422453" y="443"/>
                </a:lnTo>
                <a:cubicBezTo>
                  <a:pt x="433426" y="1662"/>
                  <a:pt x="445121" y="0"/>
                  <a:pt x="455372" y="4100"/>
                </a:cubicBezTo>
                <a:cubicBezTo>
                  <a:pt x="458952" y="5532"/>
                  <a:pt x="458443" y="11262"/>
                  <a:pt x="459029" y="15073"/>
                </a:cubicBezTo>
                <a:cubicBezTo>
                  <a:pt x="460892" y="27183"/>
                  <a:pt x="460824" y="39539"/>
                  <a:pt x="462687" y="51649"/>
                </a:cubicBezTo>
                <a:cubicBezTo>
                  <a:pt x="463273" y="55460"/>
                  <a:pt x="464206" y="59414"/>
                  <a:pt x="466345" y="62622"/>
                </a:cubicBezTo>
                <a:cubicBezTo>
                  <a:pt x="468803" y="66309"/>
                  <a:pt x="482891" y="79560"/>
                  <a:pt x="488290" y="80910"/>
                </a:cubicBezTo>
                <a:cubicBezTo>
                  <a:pt x="499001" y="83588"/>
                  <a:pt x="510236" y="83349"/>
                  <a:pt x="521209" y="84568"/>
                </a:cubicBezTo>
                <a:cubicBezTo>
                  <a:pt x="526086" y="87006"/>
                  <a:pt x="530734" y="89969"/>
                  <a:pt x="535839" y="91883"/>
                </a:cubicBezTo>
                <a:cubicBezTo>
                  <a:pt x="540546" y="93648"/>
                  <a:pt x="545973" y="93292"/>
                  <a:pt x="550469" y="95540"/>
                </a:cubicBezTo>
                <a:cubicBezTo>
                  <a:pt x="553554" y="97082"/>
                  <a:pt x="555346" y="100417"/>
                  <a:pt x="557785" y="102856"/>
                </a:cubicBezTo>
                <a:cubicBezTo>
                  <a:pt x="559838" y="109016"/>
                  <a:pt x="565484" y="118641"/>
                  <a:pt x="557785" y="124801"/>
                </a:cubicBezTo>
                <a:cubicBezTo>
                  <a:pt x="553860" y="127941"/>
                  <a:pt x="547969" y="127014"/>
                  <a:pt x="543154" y="128459"/>
                </a:cubicBezTo>
                <a:cubicBezTo>
                  <a:pt x="535769" y="130675"/>
                  <a:pt x="528524" y="133336"/>
                  <a:pt x="521209" y="135774"/>
                </a:cubicBezTo>
                <a:lnTo>
                  <a:pt x="510236" y="139432"/>
                </a:lnTo>
                <a:cubicBezTo>
                  <a:pt x="509017" y="144309"/>
                  <a:pt x="505867" y="149086"/>
                  <a:pt x="506578" y="154062"/>
                </a:cubicBezTo>
                <a:cubicBezTo>
                  <a:pt x="507347" y="159447"/>
                  <a:pt x="517420" y="168562"/>
                  <a:pt x="521209" y="172350"/>
                </a:cubicBezTo>
                <a:cubicBezTo>
                  <a:pt x="518770" y="174788"/>
                  <a:pt x="516978" y="178123"/>
                  <a:pt x="513893" y="179665"/>
                </a:cubicBezTo>
                <a:cubicBezTo>
                  <a:pt x="488883" y="192170"/>
                  <a:pt x="498317" y="182763"/>
                  <a:pt x="477317" y="190638"/>
                </a:cubicBezTo>
                <a:cubicBezTo>
                  <a:pt x="472212" y="192552"/>
                  <a:pt x="467564" y="195515"/>
                  <a:pt x="462687" y="197953"/>
                </a:cubicBezTo>
                <a:cubicBezTo>
                  <a:pt x="414993" y="190004"/>
                  <a:pt x="432867" y="195329"/>
                  <a:pt x="407823" y="186980"/>
                </a:cubicBezTo>
                <a:cubicBezTo>
                  <a:pt x="407192" y="187037"/>
                  <a:pt x="367928" y="187509"/>
                  <a:pt x="356617" y="194296"/>
                </a:cubicBezTo>
                <a:cubicBezTo>
                  <a:pt x="353660" y="196070"/>
                  <a:pt x="351740" y="199173"/>
                  <a:pt x="349301" y="201611"/>
                </a:cubicBezTo>
                <a:cubicBezTo>
                  <a:pt x="340111" y="229186"/>
                  <a:pt x="352506" y="195203"/>
                  <a:pt x="338329" y="223556"/>
                </a:cubicBezTo>
                <a:cubicBezTo>
                  <a:pt x="336605" y="227004"/>
                  <a:pt x="337397" y="231803"/>
                  <a:pt x="334671" y="234529"/>
                </a:cubicBezTo>
                <a:cubicBezTo>
                  <a:pt x="328454" y="240746"/>
                  <a:pt x="318942" y="242943"/>
                  <a:pt x="312725" y="249160"/>
                </a:cubicBezTo>
                <a:lnTo>
                  <a:pt x="301753" y="260132"/>
                </a:lnTo>
                <a:cubicBezTo>
                  <a:pt x="299314" y="267447"/>
                  <a:pt x="295393" y="274426"/>
                  <a:pt x="294437" y="282078"/>
                </a:cubicBezTo>
                <a:cubicBezTo>
                  <a:pt x="293176" y="292169"/>
                  <a:pt x="292761" y="311034"/>
                  <a:pt x="287122" y="322312"/>
                </a:cubicBezTo>
                <a:cubicBezTo>
                  <a:pt x="278175" y="340205"/>
                  <a:pt x="282694" y="326997"/>
                  <a:pt x="272492" y="340600"/>
                </a:cubicBezTo>
                <a:cubicBezTo>
                  <a:pt x="265229" y="350283"/>
                  <a:pt x="258054" y="366074"/>
                  <a:pt x="246889" y="373518"/>
                </a:cubicBezTo>
                <a:cubicBezTo>
                  <a:pt x="243681" y="375657"/>
                  <a:pt x="239365" y="375452"/>
                  <a:pt x="235916" y="377176"/>
                </a:cubicBezTo>
                <a:cubicBezTo>
                  <a:pt x="207562" y="391353"/>
                  <a:pt x="241544" y="378958"/>
                  <a:pt x="213970" y="388148"/>
                </a:cubicBezTo>
                <a:cubicBezTo>
                  <a:pt x="183021" y="385938"/>
                  <a:pt x="153294" y="381049"/>
                  <a:pt x="122530" y="388148"/>
                </a:cubicBezTo>
                <a:cubicBezTo>
                  <a:pt x="119170" y="388923"/>
                  <a:pt x="117653" y="393025"/>
                  <a:pt x="115215" y="395464"/>
                </a:cubicBezTo>
                <a:cubicBezTo>
                  <a:pt x="111594" y="406327"/>
                  <a:pt x="109279" y="419688"/>
                  <a:pt x="100585" y="428382"/>
                </a:cubicBezTo>
                <a:cubicBezTo>
                  <a:pt x="97477" y="431490"/>
                  <a:pt x="93544" y="433731"/>
                  <a:pt x="89612" y="435697"/>
                </a:cubicBezTo>
                <a:cubicBezTo>
                  <a:pt x="86163" y="437421"/>
                  <a:pt x="82297" y="438136"/>
                  <a:pt x="78639" y="439355"/>
                </a:cubicBezTo>
                <a:cubicBezTo>
                  <a:pt x="72543" y="438136"/>
                  <a:pt x="65258" y="439514"/>
                  <a:pt x="60351" y="435697"/>
                </a:cubicBezTo>
                <a:cubicBezTo>
                  <a:pt x="36449" y="417107"/>
                  <a:pt x="52882" y="413522"/>
                  <a:pt x="38405" y="391806"/>
                </a:cubicBezTo>
                <a:cubicBezTo>
                  <a:pt x="28652" y="377175"/>
                  <a:pt x="34748" y="383271"/>
                  <a:pt x="20117" y="373518"/>
                </a:cubicBezTo>
                <a:cubicBezTo>
                  <a:pt x="17679" y="369860"/>
                  <a:pt x="14768" y="366477"/>
                  <a:pt x="12802" y="362545"/>
                </a:cubicBezTo>
                <a:cubicBezTo>
                  <a:pt x="11078" y="359097"/>
                  <a:pt x="11458" y="354656"/>
                  <a:pt x="9145" y="351572"/>
                </a:cubicBezTo>
                <a:cubicBezTo>
                  <a:pt x="7509" y="349391"/>
                  <a:pt x="0" y="350962"/>
                  <a:pt x="1829" y="351572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9" name="Rectangle 4"/>
          <p:cNvSpPr>
            <a:spLocks noChangeArrowheads="1"/>
          </p:cNvSpPr>
          <p:nvPr/>
        </p:nvSpPr>
        <p:spPr bwMode="auto">
          <a:xfrm>
            <a:off x="5724526" y="5084233"/>
            <a:ext cx="14287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>
                <a:latin typeface="Ramabhadra" pitchFamily="2" charset="0"/>
                <a:cs typeface="Ramabhadra" pitchFamily="2" charset="0"/>
              </a:rPr>
              <a:t>మలేషియా</a:t>
            </a:r>
          </a:p>
        </p:txBody>
      </p:sp>
      <p:cxnSp>
        <p:nvCxnSpPr>
          <p:cNvPr id="103" name="Straight Arrow Connector 102"/>
          <p:cNvCxnSpPr>
            <a:stCxn id="97" idx="7"/>
          </p:cNvCxnSpPr>
          <p:nvPr/>
        </p:nvCxnSpPr>
        <p:spPr>
          <a:xfrm flipV="1">
            <a:off x="4821238" y="5334006"/>
            <a:ext cx="965200" cy="11641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Freeform 106"/>
          <p:cNvSpPr/>
          <p:nvPr/>
        </p:nvSpPr>
        <p:spPr>
          <a:xfrm>
            <a:off x="5402269" y="4976290"/>
            <a:ext cx="295275" cy="273049"/>
          </a:xfrm>
          <a:custGeom>
            <a:avLst/>
            <a:gdLst>
              <a:gd name="connsiteX0" fmla="*/ 610 w 295819"/>
              <a:gd name="connsiteY0" fmla="*/ 186396 h 274178"/>
              <a:gd name="connsiteX1" fmla="*/ 7925 w 295819"/>
              <a:gd name="connsiteY1" fmla="*/ 135189 h 274178"/>
              <a:gd name="connsiteX2" fmla="*/ 22556 w 295819"/>
              <a:gd name="connsiteY2" fmla="*/ 131532 h 274178"/>
              <a:gd name="connsiteX3" fmla="*/ 51817 w 295819"/>
              <a:gd name="connsiteY3" fmla="*/ 116901 h 274178"/>
              <a:gd name="connsiteX4" fmla="*/ 59132 w 295819"/>
              <a:gd name="connsiteY4" fmla="*/ 105928 h 274178"/>
              <a:gd name="connsiteX5" fmla="*/ 113996 w 295819"/>
              <a:gd name="connsiteY5" fmla="*/ 98613 h 274178"/>
              <a:gd name="connsiteX6" fmla="*/ 117653 w 295819"/>
              <a:gd name="connsiteY6" fmla="*/ 109586 h 274178"/>
              <a:gd name="connsiteX7" fmla="*/ 113996 w 295819"/>
              <a:gd name="connsiteY7" fmla="*/ 120559 h 274178"/>
              <a:gd name="connsiteX8" fmla="*/ 124969 w 295819"/>
              <a:gd name="connsiteY8" fmla="*/ 109586 h 274178"/>
              <a:gd name="connsiteX9" fmla="*/ 135941 w 295819"/>
              <a:gd name="connsiteY9" fmla="*/ 105928 h 274178"/>
              <a:gd name="connsiteX10" fmla="*/ 157887 w 295819"/>
              <a:gd name="connsiteY10" fmla="*/ 87640 h 274178"/>
              <a:gd name="connsiteX11" fmla="*/ 190805 w 295819"/>
              <a:gd name="connsiteY11" fmla="*/ 65695 h 274178"/>
              <a:gd name="connsiteX12" fmla="*/ 198121 w 295819"/>
              <a:gd name="connsiteY12" fmla="*/ 54722 h 274178"/>
              <a:gd name="connsiteX13" fmla="*/ 201778 w 295819"/>
              <a:gd name="connsiteY13" fmla="*/ 7173 h 274178"/>
              <a:gd name="connsiteX14" fmla="*/ 227381 w 295819"/>
              <a:gd name="connsiteY14" fmla="*/ 10831 h 274178"/>
              <a:gd name="connsiteX15" fmla="*/ 234697 w 295819"/>
              <a:gd name="connsiteY15" fmla="*/ 18146 h 274178"/>
              <a:gd name="connsiteX16" fmla="*/ 238354 w 295819"/>
              <a:gd name="connsiteY16" fmla="*/ 29119 h 274178"/>
              <a:gd name="connsiteX17" fmla="*/ 260300 w 295819"/>
              <a:gd name="connsiteY17" fmla="*/ 40092 h 274178"/>
              <a:gd name="connsiteX18" fmla="*/ 263957 w 295819"/>
              <a:gd name="connsiteY18" fmla="*/ 98613 h 274178"/>
              <a:gd name="connsiteX19" fmla="*/ 274930 w 295819"/>
              <a:gd name="connsiteY19" fmla="*/ 109586 h 274178"/>
              <a:gd name="connsiteX20" fmla="*/ 278588 w 295819"/>
              <a:gd name="connsiteY20" fmla="*/ 120559 h 274178"/>
              <a:gd name="connsiteX21" fmla="*/ 282245 w 295819"/>
              <a:gd name="connsiteY21" fmla="*/ 146162 h 274178"/>
              <a:gd name="connsiteX22" fmla="*/ 293218 w 295819"/>
              <a:gd name="connsiteY22" fmla="*/ 149820 h 274178"/>
              <a:gd name="connsiteX23" fmla="*/ 282245 w 295819"/>
              <a:gd name="connsiteY23" fmla="*/ 190053 h 274178"/>
              <a:gd name="connsiteX24" fmla="*/ 271273 w 295819"/>
              <a:gd name="connsiteY24" fmla="*/ 193711 h 274178"/>
              <a:gd name="connsiteX25" fmla="*/ 252985 w 295819"/>
              <a:gd name="connsiteY25" fmla="*/ 219314 h 274178"/>
              <a:gd name="connsiteX26" fmla="*/ 231039 w 295819"/>
              <a:gd name="connsiteY26" fmla="*/ 204684 h 274178"/>
              <a:gd name="connsiteX27" fmla="*/ 227381 w 295819"/>
              <a:gd name="connsiteY27" fmla="*/ 190053 h 274178"/>
              <a:gd name="connsiteX28" fmla="*/ 201778 w 295819"/>
              <a:gd name="connsiteY28" fmla="*/ 204684 h 274178"/>
              <a:gd name="connsiteX29" fmla="*/ 209093 w 295819"/>
              <a:gd name="connsiteY29" fmla="*/ 215656 h 274178"/>
              <a:gd name="connsiteX30" fmla="*/ 220066 w 295819"/>
              <a:gd name="connsiteY30" fmla="*/ 237602 h 274178"/>
              <a:gd name="connsiteX31" fmla="*/ 216409 w 295819"/>
              <a:gd name="connsiteY31" fmla="*/ 270520 h 274178"/>
              <a:gd name="connsiteX32" fmla="*/ 205436 w 295819"/>
              <a:gd name="connsiteY32" fmla="*/ 274178 h 274178"/>
              <a:gd name="connsiteX33" fmla="*/ 161545 w 295819"/>
              <a:gd name="connsiteY33" fmla="*/ 270520 h 274178"/>
              <a:gd name="connsiteX34" fmla="*/ 157887 w 295819"/>
              <a:gd name="connsiteY34" fmla="*/ 259548 h 274178"/>
              <a:gd name="connsiteX35" fmla="*/ 139599 w 295819"/>
              <a:gd name="connsiteY35" fmla="*/ 244917 h 274178"/>
              <a:gd name="connsiteX36" fmla="*/ 128626 w 295819"/>
              <a:gd name="connsiteY36" fmla="*/ 233944 h 274178"/>
              <a:gd name="connsiteX37" fmla="*/ 117653 w 295819"/>
              <a:gd name="connsiteY37" fmla="*/ 197368 h 274178"/>
              <a:gd name="connsiteX38" fmla="*/ 113996 w 295819"/>
              <a:gd name="connsiteY38" fmla="*/ 186396 h 274178"/>
              <a:gd name="connsiteX39" fmla="*/ 110338 w 295819"/>
              <a:gd name="connsiteY39" fmla="*/ 175423 h 274178"/>
              <a:gd name="connsiteX40" fmla="*/ 103023 w 295819"/>
              <a:gd name="connsiteY40" fmla="*/ 146162 h 274178"/>
              <a:gd name="connsiteX41" fmla="*/ 77420 w 295819"/>
              <a:gd name="connsiteY41" fmla="*/ 149820 h 274178"/>
              <a:gd name="connsiteX42" fmla="*/ 66447 w 295819"/>
              <a:gd name="connsiteY42" fmla="*/ 157135 h 274178"/>
              <a:gd name="connsiteX43" fmla="*/ 44501 w 295819"/>
              <a:gd name="connsiteY43" fmla="*/ 164450 h 274178"/>
              <a:gd name="connsiteX44" fmla="*/ 18898 w 295819"/>
              <a:gd name="connsiteY44" fmla="*/ 175423 h 274178"/>
              <a:gd name="connsiteX45" fmla="*/ 11583 w 295819"/>
              <a:gd name="connsiteY45" fmla="*/ 186396 h 274178"/>
              <a:gd name="connsiteX46" fmla="*/ 610 w 295819"/>
              <a:gd name="connsiteY46" fmla="*/ 186396 h 274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95819" h="274178">
                <a:moveTo>
                  <a:pt x="610" y="186396"/>
                </a:moveTo>
                <a:cubicBezTo>
                  <a:pt x="0" y="177862"/>
                  <a:pt x="1521" y="151198"/>
                  <a:pt x="7925" y="135189"/>
                </a:cubicBezTo>
                <a:cubicBezTo>
                  <a:pt x="9792" y="130522"/>
                  <a:pt x="17916" y="133465"/>
                  <a:pt x="22556" y="131532"/>
                </a:cubicBezTo>
                <a:cubicBezTo>
                  <a:pt x="32622" y="127338"/>
                  <a:pt x="51817" y="116901"/>
                  <a:pt x="51817" y="116901"/>
                </a:cubicBezTo>
                <a:cubicBezTo>
                  <a:pt x="54255" y="113243"/>
                  <a:pt x="57166" y="109860"/>
                  <a:pt x="59132" y="105928"/>
                </a:cubicBezTo>
                <a:cubicBezTo>
                  <a:pt x="72578" y="79034"/>
                  <a:pt x="39509" y="93293"/>
                  <a:pt x="113996" y="98613"/>
                </a:cubicBezTo>
                <a:cubicBezTo>
                  <a:pt x="115215" y="102271"/>
                  <a:pt x="117653" y="105731"/>
                  <a:pt x="117653" y="109586"/>
                </a:cubicBezTo>
                <a:cubicBezTo>
                  <a:pt x="117653" y="113441"/>
                  <a:pt x="110141" y="120559"/>
                  <a:pt x="113996" y="120559"/>
                </a:cubicBezTo>
                <a:cubicBezTo>
                  <a:pt x="119169" y="120559"/>
                  <a:pt x="120665" y="112455"/>
                  <a:pt x="124969" y="109586"/>
                </a:cubicBezTo>
                <a:cubicBezTo>
                  <a:pt x="128177" y="107447"/>
                  <a:pt x="132284" y="107147"/>
                  <a:pt x="135941" y="105928"/>
                </a:cubicBezTo>
                <a:cubicBezTo>
                  <a:pt x="152039" y="81785"/>
                  <a:pt x="132184" y="107632"/>
                  <a:pt x="157887" y="87640"/>
                </a:cubicBezTo>
                <a:cubicBezTo>
                  <a:pt x="188924" y="63499"/>
                  <a:pt x="162450" y="72783"/>
                  <a:pt x="190805" y="65695"/>
                </a:cubicBezTo>
                <a:cubicBezTo>
                  <a:pt x="193244" y="62037"/>
                  <a:pt x="197311" y="59043"/>
                  <a:pt x="198121" y="54722"/>
                </a:cubicBezTo>
                <a:cubicBezTo>
                  <a:pt x="201051" y="39098"/>
                  <a:pt x="192960" y="20400"/>
                  <a:pt x="201778" y="7173"/>
                </a:cubicBezTo>
                <a:cubicBezTo>
                  <a:pt x="206560" y="0"/>
                  <a:pt x="218847" y="9612"/>
                  <a:pt x="227381" y="10831"/>
                </a:cubicBezTo>
                <a:cubicBezTo>
                  <a:pt x="229820" y="13269"/>
                  <a:pt x="232923" y="15189"/>
                  <a:pt x="234697" y="18146"/>
                </a:cubicBezTo>
                <a:cubicBezTo>
                  <a:pt x="236681" y="21452"/>
                  <a:pt x="235946" y="26108"/>
                  <a:pt x="238354" y="29119"/>
                </a:cubicBezTo>
                <a:cubicBezTo>
                  <a:pt x="243510" y="35564"/>
                  <a:pt x="253073" y="37683"/>
                  <a:pt x="260300" y="40092"/>
                </a:cubicBezTo>
                <a:cubicBezTo>
                  <a:pt x="261519" y="59599"/>
                  <a:pt x="259931" y="79487"/>
                  <a:pt x="263957" y="98613"/>
                </a:cubicBezTo>
                <a:cubicBezTo>
                  <a:pt x="265023" y="103675"/>
                  <a:pt x="272061" y="105282"/>
                  <a:pt x="274930" y="109586"/>
                </a:cubicBezTo>
                <a:cubicBezTo>
                  <a:pt x="277069" y="112794"/>
                  <a:pt x="277369" y="116901"/>
                  <a:pt x="278588" y="120559"/>
                </a:cubicBezTo>
                <a:cubicBezTo>
                  <a:pt x="279807" y="129093"/>
                  <a:pt x="278390" y="138451"/>
                  <a:pt x="282245" y="146162"/>
                </a:cubicBezTo>
                <a:cubicBezTo>
                  <a:pt x="283969" y="149611"/>
                  <a:pt x="292462" y="146039"/>
                  <a:pt x="293218" y="149820"/>
                </a:cubicBezTo>
                <a:cubicBezTo>
                  <a:pt x="295819" y="162823"/>
                  <a:pt x="295294" y="182223"/>
                  <a:pt x="282245" y="190053"/>
                </a:cubicBezTo>
                <a:cubicBezTo>
                  <a:pt x="278939" y="192037"/>
                  <a:pt x="274930" y="192492"/>
                  <a:pt x="271273" y="193711"/>
                </a:cubicBezTo>
                <a:cubicBezTo>
                  <a:pt x="262738" y="219313"/>
                  <a:pt x="271272" y="213217"/>
                  <a:pt x="252985" y="219314"/>
                </a:cubicBezTo>
                <a:cubicBezTo>
                  <a:pt x="242512" y="215823"/>
                  <a:pt x="237485" y="215964"/>
                  <a:pt x="231039" y="204684"/>
                </a:cubicBezTo>
                <a:cubicBezTo>
                  <a:pt x="228545" y="200319"/>
                  <a:pt x="228600" y="194930"/>
                  <a:pt x="227381" y="190053"/>
                </a:cubicBezTo>
                <a:cubicBezTo>
                  <a:pt x="227342" y="190073"/>
                  <a:pt x="202353" y="201811"/>
                  <a:pt x="201778" y="204684"/>
                </a:cubicBezTo>
                <a:cubicBezTo>
                  <a:pt x="200916" y="208994"/>
                  <a:pt x="207127" y="211724"/>
                  <a:pt x="209093" y="215656"/>
                </a:cubicBezTo>
                <a:cubicBezTo>
                  <a:pt x="224239" y="245947"/>
                  <a:pt x="199099" y="206151"/>
                  <a:pt x="220066" y="237602"/>
                </a:cubicBezTo>
                <a:cubicBezTo>
                  <a:pt x="218847" y="248575"/>
                  <a:pt x="220509" y="260269"/>
                  <a:pt x="216409" y="270520"/>
                </a:cubicBezTo>
                <a:cubicBezTo>
                  <a:pt x="214977" y="274100"/>
                  <a:pt x="209292" y="274178"/>
                  <a:pt x="205436" y="274178"/>
                </a:cubicBezTo>
                <a:cubicBezTo>
                  <a:pt x="190755" y="274178"/>
                  <a:pt x="176175" y="271739"/>
                  <a:pt x="161545" y="270520"/>
                </a:cubicBezTo>
                <a:cubicBezTo>
                  <a:pt x="160326" y="266863"/>
                  <a:pt x="159871" y="262854"/>
                  <a:pt x="157887" y="259548"/>
                </a:cubicBezTo>
                <a:cubicBezTo>
                  <a:pt x="153628" y="252450"/>
                  <a:pt x="145583" y="249904"/>
                  <a:pt x="139599" y="244917"/>
                </a:cubicBezTo>
                <a:cubicBezTo>
                  <a:pt x="135625" y="241606"/>
                  <a:pt x="132284" y="237602"/>
                  <a:pt x="128626" y="233944"/>
                </a:cubicBezTo>
                <a:cubicBezTo>
                  <a:pt x="123098" y="211829"/>
                  <a:pt x="126560" y="224089"/>
                  <a:pt x="117653" y="197368"/>
                </a:cubicBezTo>
                <a:lnTo>
                  <a:pt x="113996" y="186396"/>
                </a:lnTo>
                <a:cubicBezTo>
                  <a:pt x="112777" y="182738"/>
                  <a:pt x="111094" y="179204"/>
                  <a:pt x="110338" y="175423"/>
                </a:cubicBezTo>
                <a:cubicBezTo>
                  <a:pt x="105925" y="153354"/>
                  <a:pt x="108647" y="163033"/>
                  <a:pt x="103023" y="146162"/>
                </a:cubicBezTo>
                <a:cubicBezTo>
                  <a:pt x="94489" y="147381"/>
                  <a:pt x="85677" y="147343"/>
                  <a:pt x="77420" y="149820"/>
                </a:cubicBezTo>
                <a:cubicBezTo>
                  <a:pt x="73209" y="151083"/>
                  <a:pt x="70464" y="155350"/>
                  <a:pt x="66447" y="157135"/>
                </a:cubicBezTo>
                <a:cubicBezTo>
                  <a:pt x="59401" y="160267"/>
                  <a:pt x="51398" y="161002"/>
                  <a:pt x="44501" y="164450"/>
                </a:cubicBezTo>
                <a:cubicBezTo>
                  <a:pt x="26422" y="173489"/>
                  <a:pt x="35043" y="170041"/>
                  <a:pt x="18898" y="175423"/>
                </a:cubicBezTo>
                <a:cubicBezTo>
                  <a:pt x="16460" y="179081"/>
                  <a:pt x="13368" y="182379"/>
                  <a:pt x="11583" y="186396"/>
                </a:cubicBezTo>
                <a:cubicBezTo>
                  <a:pt x="3882" y="203723"/>
                  <a:pt x="1220" y="194930"/>
                  <a:pt x="610" y="186396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9" name="Freeform 108"/>
          <p:cNvSpPr/>
          <p:nvPr/>
        </p:nvSpPr>
        <p:spPr>
          <a:xfrm>
            <a:off x="5389568" y="4847171"/>
            <a:ext cx="92075" cy="71967"/>
          </a:xfrm>
          <a:custGeom>
            <a:avLst/>
            <a:gdLst>
              <a:gd name="connsiteX0" fmla="*/ 20254 w 91882"/>
              <a:gd name="connsiteY0" fmla="*/ 0 h 73152"/>
              <a:gd name="connsiteX1" fmla="*/ 42200 w 91882"/>
              <a:gd name="connsiteY1" fmla="*/ 7315 h 73152"/>
              <a:gd name="connsiteX2" fmla="*/ 53173 w 91882"/>
              <a:gd name="connsiteY2" fmla="*/ 14630 h 73152"/>
              <a:gd name="connsiteX3" fmla="*/ 75118 w 91882"/>
              <a:gd name="connsiteY3" fmla="*/ 25603 h 73152"/>
              <a:gd name="connsiteX4" fmla="*/ 89749 w 91882"/>
              <a:gd name="connsiteY4" fmla="*/ 47549 h 73152"/>
              <a:gd name="connsiteX5" fmla="*/ 86091 w 91882"/>
              <a:gd name="connsiteY5" fmla="*/ 62179 h 73152"/>
              <a:gd name="connsiteX6" fmla="*/ 12939 w 91882"/>
              <a:gd name="connsiteY6" fmla="*/ 73152 h 73152"/>
              <a:gd name="connsiteX7" fmla="*/ 1966 w 91882"/>
              <a:gd name="connsiteY7" fmla="*/ 69494 h 73152"/>
              <a:gd name="connsiteX8" fmla="*/ 5624 w 91882"/>
              <a:gd name="connsiteY8" fmla="*/ 51206 h 73152"/>
              <a:gd name="connsiteX9" fmla="*/ 12939 w 91882"/>
              <a:gd name="connsiteY9" fmla="*/ 25603 h 73152"/>
              <a:gd name="connsiteX10" fmla="*/ 20254 w 91882"/>
              <a:gd name="connsiteY10" fmla="*/ 0 h 73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1882" h="73152">
                <a:moveTo>
                  <a:pt x="20254" y="0"/>
                </a:moveTo>
                <a:cubicBezTo>
                  <a:pt x="27569" y="2438"/>
                  <a:pt x="35784" y="3038"/>
                  <a:pt x="42200" y="7315"/>
                </a:cubicBezTo>
                <a:cubicBezTo>
                  <a:pt x="45858" y="9753"/>
                  <a:pt x="49241" y="12664"/>
                  <a:pt x="53173" y="14630"/>
                </a:cubicBezTo>
                <a:cubicBezTo>
                  <a:pt x="83454" y="29770"/>
                  <a:pt x="43680" y="4643"/>
                  <a:pt x="75118" y="25603"/>
                </a:cubicBezTo>
                <a:cubicBezTo>
                  <a:pt x="79995" y="32918"/>
                  <a:pt x="91882" y="39020"/>
                  <a:pt x="89749" y="47549"/>
                </a:cubicBezTo>
                <a:cubicBezTo>
                  <a:pt x="88530" y="52426"/>
                  <a:pt x="89908" y="58908"/>
                  <a:pt x="86091" y="62179"/>
                </a:cubicBezTo>
                <a:cubicBezTo>
                  <a:pt x="73365" y="73087"/>
                  <a:pt x="15349" y="72980"/>
                  <a:pt x="12939" y="73152"/>
                </a:cubicBezTo>
                <a:cubicBezTo>
                  <a:pt x="9281" y="71933"/>
                  <a:pt x="3185" y="73152"/>
                  <a:pt x="1966" y="69494"/>
                </a:cubicBezTo>
                <a:cubicBezTo>
                  <a:pt x="0" y="63596"/>
                  <a:pt x="4275" y="57275"/>
                  <a:pt x="5624" y="51206"/>
                </a:cubicBezTo>
                <a:cubicBezTo>
                  <a:pt x="8685" y="37433"/>
                  <a:pt x="8868" y="37819"/>
                  <a:pt x="12939" y="25603"/>
                </a:cubicBezTo>
                <a:lnTo>
                  <a:pt x="20254" y="0"/>
                </a:ln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6" name="Freeform 115"/>
          <p:cNvSpPr/>
          <p:nvPr/>
        </p:nvSpPr>
        <p:spPr>
          <a:xfrm>
            <a:off x="5537205" y="4785788"/>
            <a:ext cx="100013" cy="107949"/>
          </a:xfrm>
          <a:custGeom>
            <a:avLst/>
            <a:gdLst>
              <a:gd name="connsiteX0" fmla="*/ 8481 w 100677"/>
              <a:gd name="connsiteY0" fmla="*/ 1609 h 107680"/>
              <a:gd name="connsiteX1" fmla="*/ 63345 w 100677"/>
              <a:gd name="connsiteY1" fmla="*/ 5267 h 107680"/>
              <a:gd name="connsiteX2" fmla="*/ 81633 w 100677"/>
              <a:gd name="connsiteY2" fmla="*/ 23555 h 107680"/>
              <a:gd name="connsiteX3" fmla="*/ 92605 w 100677"/>
              <a:gd name="connsiteY3" fmla="*/ 30870 h 107680"/>
              <a:gd name="connsiteX4" fmla="*/ 96263 w 100677"/>
              <a:gd name="connsiteY4" fmla="*/ 89392 h 107680"/>
              <a:gd name="connsiteX5" fmla="*/ 99921 w 100677"/>
              <a:gd name="connsiteY5" fmla="*/ 100365 h 107680"/>
              <a:gd name="connsiteX6" fmla="*/ 92605 w 100677"/>
              <a:gd name="connsiteY6" fmla="*/ 107680 h 107680"/>
              <a:gd name="connsiteX7" fmla="*/ 59687 w 100677"/>
              <a:gd name="connsiteY7" fmla="*/ 104022 h 107680"/>
              <a:gd name="connsiteX8" fmla="*/ 48714 w 100677"/>
              <a:gd name="connsiteY8" fmla="*/ 96707 h 107680"/>
              <a:gd name="connsiteX9" fmla="*/ 37741 w 100677"/>
              <a:gd name="connsiteY9" fmla="*/ 74761 h 107680"/>
              <a:gd name="connsiteX10" fmla="*/ 23111 w 100677"/>
              <a:gd name="connsiteY10" fmla="*/ 34528 h 107680"/>
              <a:gd name="connsiteX11" fmla="*/ 12138 w 100677"/>
              <a:gd name="connsiteY11" fmla="*/ 30870 h 107680"/>
              <a:gd name="connsiteX12" fmla="*/ 1165 w 100677"/>
              <a:gd name="connsiteY12" fmla="*/ 8925 h 107680"/>
              <a:gd name="connsiteX13" fmla="*/ 8481 w 100677"/>
              <a:gd name="connsiteY13" fmla="*/ 1609 h 107680"/>
              <a:gd name="connsiteX14" fmla="*/ 8481 w 100677"/>
              <a:gd name="connsiteY14" fmla="*/ 1609 h 107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677" h="107680">
                <a:moveTo>
                  <a:pt x="8481" y="1609"/>
                </a:moveTo>
                <a:cubicBezTo>
                  <a:pt x="17625" y="2219"/>
                  <a:pt x="45789" y="0"/>
                  <a:pt x="63345" y="5267"/>
                </a:cubicBezTo>
                <a:cubicBezTo>
                  <a:pt x="71602" y="7744"/>
                  <a:pt x="74460" y="18773"/>
                  <a:pt x="81633" y="23555"/>
                </a:cubicBezTo>
                <a:lnTo>
                  <a:pt x="92605" y="30870"/>
                </a:lnTo>
                <a:cubicBezTo>
                  <a:pt x="93824" y="50377"/>
                  <a:pt x="94217" y="69954"/>
                  <a:pt x="96263" y="89392"/>
                </a:cubicBezTo>
                <a:cubicBezTo>
                  <a:pt x="96667" y="93226"/>
                  <a:pt x="100677" y="96584"/>
                  <a:pt x="99921" y="100365"/>
                </a:cubicBezTo>
                <a:cubicBezTo>
                  <a:pt x="99245" y="103747"/>
                  <a:pt x="95044" y="105242"/>
                  <a:pt x="92605" y="107680"/>
                </a:cubicBezTo>
                <a:cubicBezTo>
                  <a:pt x="81632" y="106461"/>
                  <a:pt x="70398" y="106700"/>
                  <a:pt x="59687" y="104022"/>
                </a:cubicBezTo>
                <a:cubicBezTo>
                  <a:pt x="55422" y="102956"/>
                  <a:pt x="51822" y="99815"/>
                  <a:pt x="48714" y="96707"/>
                </a:cubicBezTo>
                <a:cubicBezTo>
                  <a:pt x="41624" y="89617"/>
                  <a:pt x="40716" y="83684"/>
                  <a:pt x="37741" y="74761"/>
                </a:cubicBezTo>
                <a:cubicBezTo>
                  <a:pt x="34591" y="46407"/>
                  <a:pt x="42875" y="44410"/>
                  <a:pt x="23111" y="34528"/>
                </a:cubicBezTo>
                <a:cubicBezTo>
                  <a:pt x="19662" y="32804"/>
                  <a:pt x="15796" y="32089"/>
                  <a:pt x="12138" y="30870"/>
                </a:cubicBezTo>
                <a:cubicBezTo>
                  <a:pt x="9769" y="27316"/>
                  <a:pt x="0" y="14747"/>
                  <a:pt x="1165" y="8925"/>
                </a:cubicBezTo>
                <a:cubicBezTo>
                  <a:pt x="1841" y="5543"/>
                  <a:pt x="5612" y="3522"/>
                  <a:pt x="8481" y="1609"/>
                </a:cubicBezTo>
                <a:lnTo>
                  <a:pt x="8481" y="1609"/>
                </a:ln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7" name="Freeform 116"/>
          <p:cNvSpPr/>
          <p:nvPr/>
        </p:nvSpPr>
        <p:spPr>
          <a:xfrm>
            <a:off x="5307019" y="4728639"/>
            <a:ext cx="98425" cy="107951"/>
          </a:xfrm>
          <a:custGeom>
            <a:avLst/>
            <a:gdLst>
              <a:gd name="connsiteX0" fmla="*/ 47973 w 99180"/>
              <a:gd name="connsiteY0" fmla="*/ 87327 h 107406"/>
              <a:gd name="connsiteX1" fmla="*/ 40658 w 99180"/>
              <a:gd name="connsiteY1" fmla="*/ 47094 h 107406"/>
              <a:gd name="connsiteX2" fmla="*/ 33343 w 99180"/>
              <a:gd name="connsiteY2" fmla="*/ 39778 h 107406"/>
              <a:gd name="connsiteX3" fmla="*/ 22370 w 99180"/>
              <a:gd name="connsiteY3" fmla="*/ 32463 h 107406"/>
              <a:gd name="connsiteX4" fmla="*/ 11397 w 99180"/>
              <a:gd name="connsiteY4" fmla="*/ 14175 h 107406"/>
              <a:gd name="connsiteX5" fmla="*/ 4082 w 99180"/>
              <a:gd name="connsiteY5" fmla="*/ 3202 h 107406"/>
              <a:gd name="connsiteX6" fmla="*/ 29685 w 99180"/>
              <a:gd name="connsiteY6" fmla="*/ 6860 h 107406"/>
              <a:gd name="connsiteX7" fmla="*/ 40658 w 99180"/>
              <a:gd name="connsiteY7" fmla="*/ 10518 h 107406"/>
              <a:gd name="connsiteX8" fmla="*/ 66261 w 99180"/>
              <a:gd name="connsiteY8" fmla="*/ 14175 h 107406"/>
              <a:gd name="connsiteX9" fmla="*/ 77234 w 99180"/>
              <a:gd name="connsiteY9" fmla="*/ 25148 h 107406"/>
              <a:gd name="connsiteX10" fmla="*/ 91865 w 99180"/>
              <a:gd name="connsiteY10" fmla="*/ 32463 h 107406"/>
              <a:gd name="connsiteX11" fmla="*/ 99180 w 99180"/>
              <a:gd name="connsiteY11" fmla="*/ 43436 h 107406"/>
              <a:gd name="connsiteX12" fmla="*/ 91865 w 99180"/>
              <a:gd name="connsiteY12" fmla="*/ 65382 h 107406"/>
              <a:gd name="connsiteX13" fmla="*/ 88207 w 99180"/>
              <a:gd name="connsiteY13" fmla="*/ 76354 h 107406"/>
              <a:gd name="connsiteX14" fmla="*/ 77234 w 99180"/>
              <a:gd name="connsiteY14" fmla="*/ 98300 h 107406"/>
              <a:gd name="connsiteX15" fmla="*/ 66261 w 99180"/>
              <a:gd name="connsiteY15" fmla="*/ 101958 h 107406"/>
              <a:gd name="connsiteX16" fmla="*/ 33343 w 99180"/>
              <a:gd name="connsiteY16" fmla="*/ 87327 h 107406"/>
              <a:gd name="connsiteX17" fmla="*/ 47973 w 99180"/>
              <a:gd name="connsiteY17" fmla="*/ 87327 h 1074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9180" h="107406">
                <a:moveTo>
                  <a:pt x="47973" y="87327"/>
                </a:moveTo>
                <a:cubicBezTo>
                  <a:pt x="49192" y="80622"/>
                  <a:pt x="46001" y="55999"/>
                  <a:pt x="40658" y="47094"/>
                </a:cubicBezTo>
                <a:cubicBezTo>
                  <a:pt x="38884" y="44137"/>
                  <a:pt x="36036" y="41932"/>
                  <a:pt x="33343" y="39778"/>
                </a:cubicBezTo>
                <a:cubicBezTo>
                  <a:pt x="29910" y="37032"/>
                  <a:pt x="26028" y="34901"/>
                  <a:pt x="22370" y="32463"/>
                </a:cubicBezTo>
                <a:cubicBezTo>
                  <a:pt x="16019" y="13406"/>
                  <a:pt x="22874" y="28521"/>
                  <a:pt x="11397" y="14175"/>
                </a:cubicBezTo>
                <a:cubicBezTo>
                  <a:pt x="8651" y="10742"/>
                  <a:pt x="0" y="4835"/>
                  <a:pt x="4082" y="3202"/>
                </a:cubicBezTo>
                <a:cubicBezTo>
                  <a:pt x="12086" y="0"/>
                  <a:pt x="21151" y="5641"/>
                  <a:pt x="29685" y="6860"/>
                </a:cubicBezTo>
                <a:cubicBezTo>
                  <a:pt x="33343" y="8079"/>
                  <a:pt x="36877" y="9762"/>
                  <a:pt x="40658" y="10518"/>
                </a:cubicBezTo>
                <a:cubicBezTo>
                  <a:pt x="49112" y="12209"/>
                  <a:pt x="58257" y="10973"/>
                  <a:pt x="66261" y="14175"/>
                </a:cubicBezTo>
                <a:cubicBezTo>
                  <a:pt x="71064" y="16096"/>
                  <a:pt x="73025" y="22141"/>
                  <a:pt x="77234" y="25148"/>
                </a:cubicBezTo>
                <a:cubicBezTo>
                  <a:pt x="81671" y="28317"/>
                  <a:pt x="86988" y="30025"/>
                  <a:pt x="91865" y="32463"/>
                </a:cubicBezTo>
                <a:cubicBezTo>
                  <a:pt x="94303" y="36121"/>
                  <a:pt x="99180" y="39040"/>
                  <a:pt x="99180" y="43436"/>
                </a:cubicBezTo>
                <a:cubicBezTo>
                  <a:pt x="99180" y="51147"/>
                  <a:pt x="94304" y="58067"/>
                  <a:pt x="91865" y="65382"/>
                </a:cubicBezTo>
                <a:lnTo>
                  <a:pt x="88207" y="76354"/>
                </a:lnTo>
                <a:cubicBezTo>
                  <a:pt x="85797" y="83582"/>
                  <a:pt x="83679" y="93144"/>
                  <a:pt x="77234" y="98300"/>
                </a:cubicBezTo>
                <a:cubicBezTo>
                  <a:pt x="74223" y="100709"/>
                  <a:pt x="69919" y="100739"/>
                  <a:pt x="66261" y="101958"/>
                </a:cubicBezTo>
                <a:cubicBezTo>
                  <a:pt x="37626" y="98378"/>
                  <a:pt x="38364" y="107406"/>
                  <a:pt x="33343" y="87327"/>
                </a:cubicBezTo>
                <a:cubicBezTo>
                  <a:pt x="33047" y="86144"/>
                  <a:pt x="46754" y="94032"/>
                  <a:pt x="47973" y="87327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9" name="Freeform 118"/>
          <p:cNvSpPr/>
          <p:nvPr/>
        </p:nvSpPr>
        <p:spPr>
          <a:xfrm>
            <a:off x="5295906" y="4383622"/>
            <a:ext cx="150813" cy="359833"/>
          </a:xfrm>
          <a:custGeom>
            <a:avLst/>
            <a:gdLst>
              <a:gd name="connsiteX0" fmla="*/ 139242 w 151434"/>
              <a:gd name="connsiteY0" fmla="*/ 16264 h 360279"/>
              <a:gd name="connsiteX1" fmla="*/ 66090 w 151434"/>
              <a:gd name="connsiteY1" fmla="*/ 12606 h 360279"/>
              <a:gd name="connsiteX2" fmla="*/ 51459 w 151434"/>
              <a:gd name="connsiteY2" fmla="*/ 8949 h 360279"/>
              <a:gd name="connsiteX3" fmla="*/ 44144 w 151434"/>
              <a:gd name="connsiteY3" fmla="*/ 1633 h 360279"/>
              <a:gd name="connsiteX4" fmla="*/ 25856 w 151434"/>
              <a:gd name="connsiteY4" fmla="*/ 82101 h 360279"/>
              <a:gd name="connsiteX5" fmla="*/ 22198 w 151434"/>
              <a:gd name="connsiteY5" fmla="*/ 125992 h 360279"/>
              <a:gd name="connsiteX6" fmla="*/ 14883 w 151434"/>
              <a:gd name="connsiteY6" fmla="*/ 147937 h 360279"/>
              <a:gd name="connsiteX7" fmla="*/ 11226 w 151434"/>
              <a:gd name="connsiteY7" fmla="*/ 169883 h 360279"/>
              <a:gd name="connsiteX8" fmla="*/ 3910 w 151434"/>
              <a:gd name="connsiteY8" fmla="*/ 177198 h 360279"/>
              <a:gd name="connsiteX9" fmla="*/ 7568 w 151434"/>
              <a:gd name="connsiteY9" fmla="*/ 261323 h 360279"/>
              <a:gd name="connsiteX10" fmla="*/ 29514 w 151434"/>
              <a:gd name="connsiteY10" fmla="*/ 268638 h 360279"/>
              <a:gd name="connsiteX11" fmla="*/ 58774 w 151434"/>
              <a:gd name="connsiteY11" fmla="*/ 275953 h 360279"/>
              <a:gd name="connsiteX12" fmla="*/ 62432 w 151434"/>
              <a:gd name="connsiteY12" fmla="*/ 327160 h 360279"/>
              <a:gd name="connsiteX13" fmla="*/ 102666 w 151434"/>
              <a:gd name="connsiteY13" fmla="*/ 312529 h 360279"/>
              <a:gd name="connsiteX14" fmla="*/ 106323 w 151434"/>
              <a:gd name="connsiteY14" fmla="*/ 290584 h 360279"/>
              <a:gd name="connsiteX15" fmla="*/ 109981 w 151434"/>
              <a:gd name="connsiteY15" fmla="*/ 254008 h 360279"/>
              <a:gd name="connsiteX16" fmla="*/ 120954 w 151434"/>
              <a:gd name="connsiteY16" fmla="*/ 250350 h 360279"/>
              <a:gd name="connsiteX17" fmla="*/ 99008 w 151434"/>
              <a:gd name="connsiteY17" fmla="*/ 239377 h 360279"/>
              <a:gd name="connsiteX18" fmla="*/ 95350 w 151434"/>
              <a:gd name="connsiteY18" fmla="*/ 228405 h 360279"/>
              <a:gd name="connsiteX19" fmla="*/ 109981 w 151434"/>
              <a:gd name="connsiteY19" fmla="*/ 184513 h 360279"/>
              <a:gd name="connsiteX20" fmla="*/ 120954 w 151434"/>
              <a:gd name="connsiteY20" fmla="*/ 177198 h 360279"/>
              <a:gd name="connsiteX21" fmla="*/ 139242 w 151434"/>
              <a:gd name="connsiteY21" fmla="*/ 144280 h 360279"/>
              <a:gd name="connsiteX22" fmla="*/ 135584 w 151434"/>
              <a:gd name="connsiteY22" fmla="*/ 96731 h 360279"/>
              <a:gd name="connsiteX23" fmla="*/ 128269 w 151434"/>
              <a:gd name="connsiteY23" fmla="*/ 74785 h 360279"/>
              <a:gd name="connsiteX24" fmla="*/ 131926 w 151434"/>
              <a:gd name="connsiteY24" fmla="*/ 41867 h 360279"/>
              <a:gd name="connsiteX25" fmla="*/ 139242 w 151434"/>
              <a:gd name="connsiteY25" fmla="*/ 19921 h 360279"/>
              <a:gd name="connsiteX26" fmla="*/ 139242 w 151434"/>
              <a:gd name="connsiteY26" fmla="*/ 16264 h 36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51434" h="360279">
                <a:moveTo>
                  <a:pt x="139242" y="16264"/>
                </a:moveTo>
                <a:cubicBezTo>
                  <a:pt x="127050" y="15045"/>
                  <a:pt x="90420" y="14633"/>
                  <a:pt x="66090" y="12606"/>
                </a:cubicBezTo>
                <a:cubicBezTo>
                  <a:pt x="61080" y="12189"/>
                  <a:pt x="55955" y="11197"/>
                  <a:pt x="51459" y="8949"/>
                </a:cubicBezTo>
                <a:cubicBezTo>
                  <a:pt x="48375" y="7407"/>
                  <a:pt x="46582" y="4072"/>
                  <a:pt x="44144" y="1633"/>
                </a:cubicBezTo>
                <a:cubicBezTo>
                  <a:pt x="4436" y="11561"/>
                  <a:pt x="30832" y="0"/>
                  <a:pt x="25856" y="82101"/>
                </a:cubicBezTo>
                <a:cubicBezTo>
                  <a:pt x="24968" y="96755"/>
                  <a:pt x="24612" y="111511"/>
                  <a:pt x="22198" y="125992"/>
                </a:cubicBezTo>
                <a:cubicBezTo>
                  <a:pt x="20930" y="133598"/>
                  <a:pt x="14883" y="147937"/>
                  <a:pt x="14883" y="147937"/>
                </a:cubicBezTo>
                <a:cubicBezTo>
                  <a:pt x="13664" y="155252"/>
                  <a:pt x="13830" y="162939"/>
                  <a:pt x="11226" y="169883"/>
                </a:cubicBezTo>
                <a:cubicBezTo>
                  <a:pt x="10015" y="173112"/>
                  <a:pt x="4048" y="173752"/>
                  <a:pt x="3910" y="177198"/>
                </a:cubicBezTo>
                <a:cubicBezTo>
                  <a:pt x="2788" y="205244"/>
                  <a:pt x="0" y="234294"/>
                  <a:pt x="7568" y="261323"/>
                </a:cubicBezTo>
                <a:cubicBezTo>
                  <a:pt x="9647" y="268748"/>
                  <a:pt x="22199" y="266199"/>
                  <a:pt x="29514" y="268638"/>
                </a:cubicBezTo>
                <a:cubicBezTo>
                  <a:pt x="46390" y="274263"/>
                  <a:pt x="36695" y="271538"/>
                  <a:pt x="58774" y="275953"/>
                </a:cubicBezTo>
                <a:cubicBezTo>
                  <a:pt x="59993" y="293022"/>
                  <a:pt x="51378" y="314097"/>
                  <a:pt x="62432" y="327160"/>
                </a:cubicBezTo>
                <a:cubicBezTo>
                  <a:pt x="90456" y="360279"/>
                  <a:pt x="99031" y="323433"/>
                  <a:pt x="102666" y="312529"/>
                </a:cubicBezTo>
                <a:cubicBezTo>
                  <a:pt x="103885" y="305214"/>
                  <a:pt x="105403" y="297943"/>
                  <a:pt x="106323" y="290584"/>
                </a:cubicBezTo>
                <a:cubicBezTo>
                  <a:pt x="107843" y="278426"/>
                  <a:pt x="105794" y="265523"/>
                  <a:pt x="109981" y="254008"/>
                </a:cubicBezTo>
                <a:cubicBezTo>
                  <a:pt x="111299" y="250385"/>
                  <a:pt x="117296" y="251569"/>
                  <a:pt x="120954" y="250350"/>
                </a:cubicBezTo>
                <a:cubicBezTo>
                  <a:pt x="110432" y="247720"/>
                  <a:pt x="104764" y="248970"/>
                  <a:pt x="99008" y="239377"/>
                </a:cubicBezTo>
                <a:cubicBezTo>
                  <a:pt x="97024" y="236071"/>
                  <a:pt x="96569" y="232062"/>
                  <a:pt x="95350" y="228405"/>
                </a:cubicBezTo>
                <a:cubicBezTo>
                  <a:pt x="97789" y="213774"/>
                  <a:pt x="98583" y="195911"/>
                  <a:pt x="109981" y="184513"/>
                </a:cubicBezTo>
                <a:cubicBezTo>
                  <a:pt x="113089" y="181405"/>
                  <a:pt x="117296" y="179636"/>
                  <a:pt x="120954" y="177198"/>
                </a:cubicBezTo>
                <a:cubicBezTo>
                  <a:pt x="137723" y="152045"/>
                  <a:pt x="132804" y="163593"/>
                  <a:pt x="139242" y="144280"/>
                </a:cubicBezTo>
                <a:cubicBezTo>
                  <a:pt x="138023" y="128430"/>
                  <a:pt x="138063" y="112433"/>
                  <a:pt x="135584" y="96731"/>
                </a:cubicBezTo>
                <a:cubicBezTo>
                  <a:pt x="134381" y="89114"/>
                  <a:pt x="128269" y="74785"/>
                  <a:pt x="128269" y="74785"/>
                </a:cubicBezTo>
                <a:cubicBezTo>
                  <a:pt x="129488" y="63812"/>
                  <a:pt x="129761" y="52693"/>
                  <a:pt x="131926" y="41867"/>
                </a:cubicBezTo>
                <a:cubicBezTo>
                  <a:pt x="133438" y="34306"/>
                  <a:pt x="136803" y="27236"/>
                  <a:pt x="139242" y="19921"/>
                </a:cubicBezTo>
                <a:cubicBezTo>
                  <a:pt x="143445" y="7314"/>
                  <a:pt x="151434" y="17483"/>
                  <a:pt x="139242" y="16264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0" name="Freeform 119"/>
          <p:cNvSpPr/>
          <p:nvPr/>
        </p:nvSpPr>
        <p:spPr>
          <a:xfrm>
            <a:off x="5410200" y="4673600"/>
            <a:ext cx="120650" cy="112184"/>
          </a:xfrm>
          <a:custGeom>
            <a:avLst/>
            <a:gdLst>
              <a:gd name="connsiteX0" fmla="*/ 39784 w 120251"/>
              <a:gd name="connsiteY0" fmla="*/ 609 h 110636"/>
              <a:gd name="connsiteX1" fmla="*/ 61730 w 120251"/>
              <a:gd name="connsiteY1" fmla="*/ 4266 h 110636"/>
              <a:gd name="connsiteX2" fmla="*/ 72702 w 120251"/>
              <a:gd name="connsiteY2" fmla="*/ 22554 h 110636"/>
              <a:gd name="connsiteX3" fmla="*/ 80018 w 120251"/>
              <a:gd name="connsiteY3" fmla="*/ 29870 h 110636"/>
              <a:gd name="connsiteX4" fmla="*/ 109278 w 120251"/>
              <a:gd name="connsiteY4" fmla="*/ 33527 h 110636"/>
              <a:gd name="connsiteX5" fmla="*/ 112936 w 120251"/>
              <a:gd name="connsiteY5" fmla="*/ 44500 h 110636"/>
              <a:gd name="connsiteX6" fmla="*/ 112936 w 120251"/>
              <a:gd name="connsiteY6" fmla="*/ 77418 h 110636"/>
              <a:gd name="connsiteX7" fmla="*/ 120251 w 120251"/>
              <a:gd name="connsiteY7" fmla="*/ 84734 h 110636"/>
              <a:gd name="connsiteX8" fmla="*/ 116594 w 120251"/>
              <a:gd name="connsiteY8" fmla="*/ 95706 h 110636"/>
              <a:gd name="connsiteX9" fmla="*/ 80018 w 120251"/>
              <a:gd name="connsiteY9" fmla="*/ 99364 h 110636"/>
              <a:gd name="connsiteX10" fmla="*/ 61730 w 120251"/>
              <a:gd name="connsiteY10" fmla="*/ 66446 h 110636"/>
              <a:gd name="connsiteX11" fmla="*/ 54414 w 120251"/>
              <a:gd name="connsiteY11" fmla="*/ 59130 h 110636"/>
              <a:gd name="connsiteX12" fmla="*/ 32469 w 120251"/>
              <a:gd name="connsiteY12" fmla="*/ 51815 h 110636"/>
              <a:gd name="connsiteX13" fmla="*/ 28811 w 120251"/>
              <a:gd name="connsiteY13" fmla="*/ 73761 h 110636"/>
              <a:gd name="connsiteX14" fmla="*/ 3208 w 120251"/>
              <a:gd name="connsiteY14" fmla="*/ 70103 h 110636"/>
              <a:gd name="connsiteX15" fmla="*/ 6866 w 120251"/>
              <a:gd name="connsiteY15" fmla="*/ 59130 h 110636"/>
              <a:gd name="connsiteX16" fmla="*/ 14181 w 120251"/>
              <a:gd name="connsiteY16" fmla="*/ 48158 h 110636"/>
              <a:gd name="connsiteX17" fmla="*/ 6866 w 120251"/>
              <a:gd name="connsiteY17" fmla="*/ 26212 h 110636"/>
              <a:gd name="connsiteX18" fmla="*/ 36126 w 120251"/>
              <a:gd name="connsiteY18" fmla="*/ 609 h 110636"/>
              <a:gd name="connsiteX19" fmla="*/ 39784 w 120251"/>
              <a:gd name="connsiteY19" fmla="*/ 609 h 110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0251" h="110636">
                <a:moveTo>
                  <a:pt x="39784" y="609"/>
                </a:moveTo>
                <a:cubicBezTo>
                  <a:pt x="44051" y="1218"/>
                  <a:pt x="54786" y="1662"/>
                  <a:pt x="61730" y="4266"/>
                </a:cubicBezTo>
                <a:cubicBezTo>
                  <a:pt x="71296" y="7853"/>
                  <a:pt x="68485" y="15526"/>
                  <a:pt x="72702" y="22554"/>
                </a:cubicBezTo>
                <a:cubicBezTo>
                  <a:pt x="74476" y="25511"/>
                  <a:pt x="76715" y="28879"/>
                  <a:pt x="80018" y="29870"/>
                </a:cubicBezTo>
                <a:cubicBezTo>
                  <a:pt x="89433" y="32694"/>
                  <a:pt x="99525" y="32308"/>
                  <a:pt x="109278" y="33527"/>
                </a:cubicBezTo>
                <a:cubicBezTo>
                  <a:pt x="110497" y="37185"/>
                  <a:pt x="112936" y="40644"/>
                  <a:pt x="112936" y="44500"/>
                </a:cubicBezTo>
                <a:cubicBezTo>
                  <a:pt x="112936" y="71081"/>
                  <a:pt x="97097" y="35181"/>
                  <a:pt x="112936" y="77418"/>
                </a:cubicBezTo>
                <a:cubicBezTo>
                  <a:pt x="114147" y="80647"/>
                  <a:pt x="117813" y="82295"/>
                  <a:pt x="120251" y="84734"/>
                </a:cubicBezTo>
                <a:cubicBezTo>
                  <a:pt x="119032" y="88391"/>
                  <a:pt x="118577" y="92400"/>
                  <a:pt x="116594" y="95706"/>
                </a:cubicBezTo>
                <a:cubicBezTo>
                  <a:pt x="107636" y="110636"/>
                  <a:pt x="97571" y="101558"/>
                  <a:pt x="80018" y="99364"/>
                </a:cubicBezTo>
                <a:cubicBezTo>
                  <a:pt x="75418" y="85566"/>
                  <a:pt x="74306" y="79022"/>
                  <a:pt x="61730" y="66446"/>
                </a:cubicBezTo>
                <a:cubicBezTo>
                  <a:pt x="59291" y="64007"/>
                  <a:pt x="57499" y="60672"/>
                  <a:pt x="54414" y="59130"/>
                </a:cubicBezTo>
                <a:cubicBezTo>
                  <a:pt x="47517" y="55682"/>
                  <a:pt x="32469" y="51815"/>
                  <a:pt x="32469" y="51815"/>
                </a:cubicBezTo>
                <a:cubicBezTo>
                  <a:pt x="31250" y="59130"/>
                  <a:pt x="35100" y="69830"/>
                  <a:pt x="28811" y="73761"/>
                </a:cubicBezTo>
                <a:cubicBezTo>
                  <a:pt x="21500" y="78330"/>
                  <a:pt x="10381" y="74885"/>
                  <a:pt x="3208" y="70103"/>
                </a:cubicBezTo>
                <a:cubicBezTo>
                  <a:pt x="0" y="67964"/>
                  <a:pt x="5142" y="62578"/>
                  <a:pt x="6866" y="59130"/>
                </a:cubicBezTo>
                <a:cubicBezTo>
                  <a:pt x="8832" y="55198"/>
                  <a:pt x="11743" y="51815"/>
                  <a:pt x="14181" y="48158"/>
                </a:cubicBezTo>
                <a:cubicBezTo>
                  <a:pt x="11743" y="40843"/>
                  <a:pt x="2589" y="32628"/>
                  <a:pt x="6866" y="26212"/>
                </a:cubicBezTo>
                <a:cubicBezTo>
                  <a:pt x="20602" y="5606"/>
                  <a:pt x="15072" y="3240"/>
                  <a:pt x="36126" y="609"/>
                </a:cubicBezTo>
                <a:cubicBezTo>
                  <a:pt x="40965" y="4"/>
                  <a:pt x="35517" y="0"/>
                  <a:pt x="39784" y="609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1" name="Freeform 120"/>
          <p:cNvSpPr/>
          <p:nvPr/>
        </p:nvSpPr>
        <p:spPr>
          <a:xfrm>
            <a:off x="5440368" y="4885271"/>
            <a:ext cx="115887" cy="154517"/>
          </a:xfrm>
          <a:custGeom>
            <a:avLst/>
            <a:gdLst>
              <a:gd name="connsiteX0" fmla="*/ 75320 w 116665"/>
              <a:gd name="connsiteY0" fmla="*/ 12630 h 153566"/>
              <a:gd name="connsiteX1" fmla="*/ 64347 w 116665"/>
              <a:gd name="connsiteY1" fmla="*/ 34576 h 153566"/>
              <a:gd name="connsiteX2" fmla="*/ 53374 w 116665"/>
              <a:gd name="connsiteY2" fmla="*/ 38234 h 153566"/>
              <a:gd name="connsiteX3" fmla="*/ 31429 w 116665"/>
              <a:gd name="connsiteY3" fmla="*/ 52864 h 153566"/>
              <a:gd name="connsiteX4" fmla="*/ 20456 w 116665"/>
              <a:gd name="connsiteY4" fmla="*/ 60179 h 153566"/>
              <a:gd name="connsiteX5" fmla="*/ 13141 w 116665"/>
              <a:gd name="connsiteY5" fmla="*/ 71152 h 153566"/>
              <a:gd name="connsiteX6" fmla="*/ 5825 w 116665"/>
              <a:gd name="connsiteY6" fmla="*/ 96755 h 153566"/>
              <a:gd name="connsiteX7" fmla="*/ 9483 w 116665"/>
              <a:gd name="connsiteY7" fmla="*/ 133331 h 153566"/>
              <a:gd name="connsiteX8" fmla="*/ 53374 w 116665"/>
              <a:gd name="connsiteY8" fmla="*/ 118701 h 153566"/>
              <a:gd name="connsiteX9" fmla="*/ 57032 w 116665"/>
              <a:gd name="connsiteY9" fmla="*/ 96755 h 153566"/>
              <a:gd name="connsiteX10" fmla="*/ 60689 w 116665"/>
              <a:gd name="connsiteY10" fmla="*/ 85782 h 153566"/>
              <a:gd name="connsiteX11" fmla="*/ 93608 w 116665"/>
              <a:gd name="connsiteY11" fmla="*/ 89440 h 153566"/>
              <a:gd name="connsiteX12" fmla="*/ 93608 w 116665"/>
              <a:gd name="connsiteY12" fmla="*/ 85782 h 153566"/>
              <a:gd name="connsiteX13" fmla="*/ 89950 w 116665"/>
              <a:gd name="connsiteY13" fmla="*/ 74810 h 153566"/>
              <a:gd name="connsiteX14" fmla="*/ 82635 w 116665"/>
              <a:gd name="connsiteY14" fmla="*/ 1658 h 153566"/>
              <a:gd name="connsiteX15" fmla="*/ 75320 w 116665"/>
              <a:gd name="connsiteY15" fmla="*/ 12630 h 153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16665" h="153566">
                <a:moveTo>
                  <a:pt x="75320" y="12630"/>
                </a:moveTo>
                <a:cubicBezTo>
                  <a:pt x="72272" y="18116"/>
                  <a:pt x="70792" y="29420"/>
                  <a:pt x="64347" y="34576"/>
                </a:cubicBezTo>
                <a:cubicBezTo>
                  <a:pt x="61336" y="36985"/>
                  <a:pt x="56744" y="36362"/>
                  <a:pt x="53374" y="38234"/>
                </a:cubicBezTo>
                <a:cubicBezTo>
                  <a:pt x="45689" y="42504"/>
                  <a:pt x="38744" y="47987"/>
                  <a:pt x="31429" y="52864"/>
                </a:cubicBezTo>
                <a:lnTo>
                  <a:pt x="20456" y="60179"/>
                </a:lnTo>
                <a:cubicBezTo>
                  <a:pt x="18018" y="63837"/>
                  <a:pt x="15107" y="67220"/>
                  <a:pt x="13141" y="71152"/>
                </a:cubicBezTo>
                <a:cubicBezTo>
                  <a:pt x="10517" y="76400"/>
                  <a:pt x="6997" y="92067"/>
                  <a:pt x="5825" y="96755"/>
                </a:cubicBezTo>
                <a:cubicBezTo>
                  <a:pt x="7044" y="108947"/>
                  <a:pt x="0" y="125572"/>
                  <a:pt x="9483" y="133331"/>
                </a:cubicBezTo>
                <a:cubicBezTo>
                  <a:pt x="34214" y="153566"/>
                  <a:pt x="45081" y="131141"/>
                  <a:pt x="53374" y="118701"/>
                </a:cubicBezTo>
                <a:cubicBezTo>
                  <a:pt x="54593" y="111386"/>
                  <a:pt x="55423" y="103995"/>
                  <a:pt x="57032" y="96755"/>
                </a:cubicBezTo>
                <a:cubicBezTo>
                  <a:pt x="57868" y="92991"/>
                  <a:pt x="56908" y="86538"/>
                  <a:pt x="60689" y="85782"/>
                </a:cubicBezTo>
                <a:cubicBezTo>
                  <a:pt x="71515" y="83617"/>
                  <a:pt x="82635" y="88221"/>
                  <a:pt x="93608" y="89440"/>
                </a:cubicBezTo>
                <a:cubicBezTo>
                  <a:pt x="116665" y="97126"/>
                  <a:pt x="98766" y="92229"/>
                  <a:pt x="93608" y="85782"/>
                </a:cubicBezTo>
                <a:cubicBezTo>
                  <a:pt x="91200" y="82772"/>
                  <a:pt x="91169" y="78467"/>
                  <a:pt x="89950" y="74810"/>
                </a:cubicBezTo>
                <a:cubicBezTo>
                  <a:pt x="89319" y="65971"/>
                  <a:pt x="87566" y="18916"/>
                  <a:pt x="82635" y="1658"/>
                </a:cubicBezTo>
                <a:cubicBezTo>
                  <a:pt x="82161" y="0"/>
                  <a:pt x="78368" y="7144"/>
                  <a:pt x="75320" y="12630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2" name="Freeform 121"/>
          <p:cNvSpPr/>
          <p:nvPr/>
        </p:nvSpPr>
        <p:spPr>
          <a:xfrm>
            <a:off x="5110164" y="4885267"/>
            <a:ext cx="157162" cy="190500"/>
          </a:xfrm>
          <a:custGeom>
            <a:avLst/>
            <a:gdLst>
              <a:gd name="connsiteX0" fmla="*/ 153619 w 156894"/>
              <a:gd name="connsiteY0" fmla="*/ 1928 h 190335"/>
              <a:gd name="connsiteX1" fmla="*/ 142647 w 156894"/>
              <a:gd name="connsiteY1" fmla="*/ 12900 h 190335"/>
              <a:gd name="connsiteX2" fmla="*/ 131674 w 156894"/>
              <a:gd name="connsiteY2" fmla="*/ 20216 h 190335"/>
              <a:gd name="connsiteX3" fmla="*/ 124359 w 156894"/>
              <a:gd name="connsiteY3" fmla="*/ 31188 h 190335"/>
              <a:gd name="connsiteX4" fmla="*/ 120701 w 156894"/>
              <a:gd name="connsiteY4" fmla="*/ 64107 h 190335"/>
              <a:gd name="connsiteX5" fmla="*/ 113386 w 156894"/>
              <a:gd name="connsiteY5" fmla="*/ 75080 h 190335"/>
              <a:gd name="connsiteX6" fmla="*/ 91440 w 156894"/>
              <a:gd name="connsiteY6" fmla="*/ 86052 h 190335"/>
              <a:gd name="connsiteX7" fmla="*/ 73152 w 156894"/>
              <a:gd name="connsiteY7" fmla="*/ 107998 h 190335"/>
              <a:gd name="connsiteX8" fmla="*/ 62179 w 156894"/>
              <a:gd name="connsiteY8" fmla="*/ 118971 h 190335"/>
              <a:gd name="connsiteX9" fmla="*/ 54864 w 156894"/>
              <a:gd name="connsiteY9" fmla="*/ 129944 h 190335"/>
              <a:gd name="connsiteX10" fmla="*/ 32919 w 156894"/>
              <a:gd name="connsiteY10" fmla="*/ 148232 h 190335"/>
              <a:gd name="connsiteX11" fmla="*/ 21946 w 156894"/>
              <a:gd name="connsiteY11" fmla="*/ 151889 h 190335"/>
              <a:gd name="connsiteX12" fmla="*/ 10973 w 156894"/>
              <a:gd name="connsiteY12" fmla="*/ 159204 h 190335"/>
              <a:gd name="connsiteX13" fmla="*/ 0 w 156894"/>
              <a:gd name="connsiteY13" fmla="*/ 181150 h 190335"/>
              <a:gd name="connsiteX14" fmla="*/ 36576 w 156894"/>
              <a:gd name="connsiteY14" fmla="*/ 184808 h 190335"/>
              <a:gd name="connsiteX15" fmla="*/ 62179 w 156894"/>
              <a:gd name="connsiteY15" fmla="*/ 162862 h 190335"/>
              <a:gd name="connsiteX16" fmla="*/ 73152 w 156894"/>
              <a:gd name="connsiteY16" fmla="*/ 140916 h 190335"/>
              <a:gd name="connsiteX17" fmla="*/ 95098 w 156894"/>
              <a:gd name="connsiteY17" fmla="*/ 111656 h 190335"/>
              <a:gd name="connsiteX18" fmla="*/ 117043 w 156894"/>
              <a:gd name="connsiteY18" fmla="*/ 97025 h 190335"/>
              <a:gd name="connsiteX19" fmla="*/ 131674 w 156894"/>
              <a:gd name="connsiteY19" fmla="*/ 67764 h 190335"/>
              <a:gd name="connsiteX20" fmla="*/ 142647 w 156894"/>
              <a:gd name="connsiteY20" fmla="*/ 49476 h 190335"/>
              <a:gd name="connsiteX21" fmla="*/ 153619 w 156894"/>
              <a:gd name="connsiteY21" fmla="*/ 31188 h 190335"/>
              <a:gd name="connsiteX22" fmla="*/ 142647 w 156894"/>
              <a:gd name="connsiteY22" fmla="*/ 1928 h 190335"/>
              <a:gd name="connsiteX23" fmla="*/ 153619 w 156894"/>
              <a:gd name="connsiteY23" fmla="*/ 1928 h 190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56894" h="190335">
                <a:moveTo>
                  <a:pt x="153619" y="1928"/>
                </a:moveTo>
                <a:cubicBezTo>
                  <a:pt x="153619" y="3757"/>
                  <a:pt x="146620" y="9589"/>
                  <a:pt x="142647" y="12900"/>
                </a:cubicBezTo>
                <a:cubicBezTo>
                  <a:pt x="139270" y="15714"/>
                  <a:pt x="134783" y="17107"/>
                  <a:pt x="131674" y="20216"/>
                </a:cubicBezTo>
                <a:cubicBezTo>
                  <a:pt x="128566" y="23324"/>
                  <a:pt x="126797" y="27531"/>
                  <a:pt x="124359" y="31188"/>
                </a:cubicBezTo>
                <a:cubicBezTo>
                  <a:pt x="123140" y="42161"/>
                  <a:pt x="123379" y="53396"/>
                  <a:pt x="120701" y="64107"/>
                </a:cubicBezTo>
                <a:cubicBezTo>
                  <a:pt x="119635" y="68372"/>
                  <a:pt x="116494" y="71972"/>
                  <a:pt x="113386" y="75080"/>
                </a:cubicBezTo>
                <a:cubicBezTo>
                  <a:pt x="106296" y="82170"/>
                  <a:pt x="100365" y="83078"/>
                  <a:pt x="91440" y="86052"/>
                </a:cubicBezTo>
                <a:cubicBezTo>
                  <a:pt x="59382" y="118110"/>
                  <a:pt x="98613" y="77444"/>
                  <a:pt x="73152" y="107998"/>
                </a:cubicBezTo>
                <a:cubicBezTo>
                  <a:pt x="69841" y="111972"/>
                  <a:pt x="65490" y="114997"/>
                  <a:pt x="62179" y="118971"/>
                </a:cubicBezTo>
                <a:cubicBezTo>
                  <a:pt x="59365" y="122348"/>
                  <a:pt x="57678" y="126567"/>
                  <a:pt x="54864" y="129944"/>
                </a:cubicBezTo>
                <a:cubicBezTo>
                  <a:pt x="49090" y="136873"/>
                  <a:pt x="41135" y="144124"/>
                  <a:pt x="32919" y="148232"/>
                </a:cubicBezTo>
                <a:cubicBezTo>
                  <a:pt x="29471" y="149956"/>
                  <a:pt x="25604" y="150670"/>
                  <a:pt x="21946" y="151889"/>
                </a:cubicBezTo>
                <a:cubicBezTo>
                  <a:pt x="18288" y="154327"/>
                  <a:pt x="14081" y="156096"/>
                  <a:pt x="10973" y="159204"/>
                </a:cubicBezTo>
                <a:cubicBezTo>
                  <a:pt x="3883" y="166294"/>
                  <a:pt x="2975" y="172227"/>
                  <a:pt x="0" y="181150"/>
                </a:cubicBezTo>
                <a:cubicBezTo>
                  <a:pt x="26715" y="190055"/>
                  <a:pt x="14465" y="190335"/>
                  <a:pt x="36576" y="184808"/>
                </a:cubicBezTo>
                <a:cubicBezTo>
                  <a:pt x="54315" y="167069"/>
                  <a:pt x="45468" y="174003"/>
                  <a:pt x="62179" y="162862"/>
                </a:cubicBezTo>
                <a:cubicBezTo>
                  <a:pt x="71372" y="135284"/>
                  <a:pt x="58972" y="169274"/>
                  <a:pt x="73152" y="140916"/>
                </a:cubicBezTo>
                <a:cubicBezTo>
                  <a:pt x="81974" y="123272"/>
                  <a:pt x="68633" y="129300"/>
                  <a:pt x="95098" y="111656"/>
                </a:cubicBezTo>
                <a:lnTo>
                  <a:pt x="117043" y="97025"/>
                </a:lnTo>
                <a:cubicBezTo>
                  <a:pt x="125450" y="71808"/>
                  <a:pt x="118907" y="80533"/>
                  <a:pt x="131674" y="67764"/>
                </a:cubicBezTo>
                <a:cubicBezTo>
                  <a:pt x="142033" y="36686"/>
                  <a:pt x="127585" y="74578"/>
                  <a:pt x="142647" y="49476"/>
                </a:cubicBezTo>
                <a:cubicBezTo>
                  <a:pt x="156894" y="25732"/>
                  <a:pt x="135081" y="49729"/>
                  <a:pt x="153619" y="31188"/>
                </a:cubicBezTo>
                <a:cubicBezTo>
                  <a:pt x="151002" y="18103"/>
                  <a:pt x="152065" y="11346"/>
                  <a:pt x="142647" y="1928"/>
                </a:cubicBezTo>
                <a:cubicBezTo>
                  <a:pt x="140719" y="0"/>
                  <a:pt x="153619" y="99"/>
                  <a:pt x="153619" y="1928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3" name="Freeform 122"/>
          <p:cNvSpPr/>
          <p:nvPr/>
        </p:nvSpPr>
        <p:spPr>
          <a:xfrm>
            <a:off x="5472115" y="4798490"/>
            <a:ext cx="60325" cy="55033"/>
          </a:xfrm>
          <a:custGeom>
            <a:avLst/>
            <a:gdLst>
              <a:gd name="connsiteX0" fmla="*/ 335 w 60472"/>
              <a:gd name="connsiteY0" fmla="*/ 0 h 54609"/>
              <a:gd name="connsiteX1" fmla="*/ 3992 w 60472"/>
              <a:gd name="connsiteY1" fmla="*/ 29261 h 54609"/>
              <a:gd name="connsiteX2" fmla="*/ 14965 w 60472"/>
              <a:gd name="connsiteY2" fmla="*/ 32919 h 54609"/>
              <a:gd name="connsiteX3" fmla="*/ 29595 w 60472"/>
              <a:gd name="connsiteY3" fmla="*/ 36576 h 54609"/>
              <a:gd name="connsiteX4" fmla="*/ 51541 w 60472"/>
              <a:gd name="connsiteY4" fmla="*/ 43891 h 54609"/>
              <a:gd name="connsiteX5" fmla="*/ 58856 w 60472"/>
              <a:gd name="connsiteY5" fmla="*/ 51207 h 54609"/>
              <a:gd name="connsiteX6" fmla="*/ 55199 w 60472"/>
              <a:gd name="connsiteY6" fmla="*/ 21946 h 54609"/>
              <a:gd name="connsiteX7" fmla="*/ 51541 w 60472"/>
              <a:gd name="connsiteY7" fmla="*/ 10973 h 54609"/>
              <a:gd name="connsiteX8" fmla="*/ 40568 w 60472"/>
              <a:gd name="connsiteY8" fmla="*/ 7315 h 54609"/>
              <a:gd name="connsiteX9" fmla="*/ 29595 w 60472"/>
              <a:gd name="connsiteY9" fmla="*/ 0 h 54609"/>
              <a:gd name="connsiteX10" fmla="*/ 335 w 60472"/>
              <a:gd name="connsiteY10" fmla="*/ 0 h 5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0472" h="54609">
                <a:moveTo>
                  <a:pt x="335" y="0"/>
                </a:moveTo>
                <a:cubicBezTo>
                  <a:pt x="1554" y="9754"/>
                  <a:pt x="0" y="20279"/>
                  <a:pt x="3992" y="29261"/>
                </a:cubicBezTo>
                <a:cubicBezTo>
                  <a:pt x="5558" y="32784"/>
                  <a:pt x="11258" y="31860"/>
                  <a:pt x="14965" y="32919"/>
                </a:cubicBezTo>
                <a:cubicBezTo>
                  <a:pt x="19798" y="34300"/>
                  <a:pt x="24780" y="35132"/>
                  <a:pt x="29595" y="36576"/>
                </a:cubicBezTo>
                <a:cubicBezTo>
                  <a:pt x="36981" y="38792"/>
                  <a:pt x="51541" y="43891"/>
                  <a:pt x="51541" y="43891"/>
                </a:cubicBezTo>
                <a:cubicBezTo>
                  <a:pt x="53979" y="46330"/>
                  <a:pt x="58289" y="54609"/>
                  <a:pt x="58856" y="51207"/>
                </a:cubicBezTo>
                <a:cubicBezTo>
                  <a:pt x="60472" y="41511"/>
                  <a:pt x="56957" y="31617"/>
                  <a:pt x="55199" y="21946"/>
                </a:cubicBezTo>
                <a:cubicBezTo>
                  <a:pt x="54509" y="18153"/>
                  <a:pt x="54267" y="13699"/>
                  <a:pt x="51541" y="10973"/>
                </a:cubicBezTo>
                <a:cubicBezTo>
                  <a:pt x="48815" y="8247"/>
                  <a:pt x="44017" y="9039"/>
                  <a:pt x="40568" y="7315"/>
                </a:cubicBezTo>
                <a:cubicBezTo>
                  <a:pt x="36636" y="5349"/>
                  <a:pt x="33253" y="2438"/>
                  <a:pt x="29595" y="0"/>
                </a:cubicBezTo>
                <a:lnTo>
                  <a:pt x="335" y="0"/>
                </a:ln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4" name="Freeform 123"/>
          <p:cNvSpPr/>
          <p:nvPr/>
        </p:nvSpPr>
        <p:spPr>
          <a:xfrm>
            <a:off x="5545143" y="4859867"/>
            <a:ext cx="66675" cy="114300"/>
          </a:xfrm>
          <a:custGeom>
            <a:avLst/>
            <a:gdLst>
              <a:gd name="connsiteX0" fmla="*/ 0 w 66588"/>
              <a:gd name="connsiteY0" fmla="*/ 23425 h 113557"/>
              <a:gd name="connsiteX1" fmla="*/ 18288 w 66588"/>
              <a:gd name="connsiteY1" fmla="*/ 38055 h 113557"/>
              <a:gd name="connsiteX2" fmla="*/ 32918 w 66588"/>
              <a:gd name="connsiteY2" fmla="*/ 107550 h 113557"/>
              <a:gd name="connsiteX3" fmla="*/ 43891 w 66588"/>
              <a:gd name="connsiteY3" fmla="*/ 111207 h 113557"/>
              <a:gd name="connsiteX4" fmla="*/ 62179 w 66588"/>
              <a:gd name="connsiteY4" fmla="*/ 107550 h 113557"/>
              <a:gd name="connsiteX5" fmla="*/ 58521 w 66588"/>
              <a:gd name="connsiteY5" fmla="*/ 56343 h 113557"/>
              <a:gd name="connsiteX6" fmla="*/ 54864 w 66588"/>
              <a:gd name="connsiteY6" fmla="*/ 45371 h 113557"/>
              <a:gd name="connsiteX7" fmla="*/ 43891 w 66588"/>
              <a:gd name="connsiteY7" fmla="*/ 41713 h 113557"/>
              <a:gd name="connsiteX8" fmla="*/ 32918 w 66588"/>
              <a:gd name="connsiteY8" fmla="*/ 19767 h 113557"/>
              <a:gd name="connsiteX9" fmla="*/ 18288 w 66588"/>
              <a:gd name="connsiteY9" fmla="*/ 1479 h 113557"/>
              <a:gd name="connsiteX10" fmla="*/ 0 w 66588"/>
              <a:gd name="connsiteY10" fmla="*/ 23425 h 1135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6588" h="113557">
                <a:moveTo>
                  <a:pt x="0" y="23425"/>
                </a:moveTo>
                <a:cubicBezTo>
                  <a:pt x="0" y="29521"/>
                  <a:pt x="17675" y="34173"/>
                  <a:pt x="18288" y="38055"/>
                </a:cubicBezTo>
                <a:cubicBezTo>
                  <a:pt x="25552" y="84058"/>
                  <a:pt x="3960" y="93072"/>
                  <a:pt x="32918" y="107550"/>
                </a:cubicBezTo>
                <a:cubicBezTo>
                  <a:pt x="36366" y="109274"/>
                  <a:pt x="40233" y="109988"/>
                  <a:pt x="43891" y="111207"/>
                </a:cubicBezTo>
                <a:cubicBezTo>
                  <a:pt x="49987" y="109988"/>
                  <a:pt x="60577" y="113557"/>
                  <a:pt x="62179" y="107550"/>
                </a:cubicBezTo>
                <a:cubicBezTo>
                  <a:pt x="66588" y="91015"/>
                  <a:pt x="60520" y="73338"/>
                  <a:pt x="58521" y="56343"/>
                </a:cubicBezTo>
                <a:cubicBezTo>
                  <a:pt x="58071" y="52514"/>
                  <a:pt x="57590" y="48097"/>
                  <a:pt x="54864" y="45371"/>
                </a:cubicBezTo>
                <a:cubicBezTo>
                  <a:pt x="52138" y="42645"/>
                  <a:pt x="47549" y="42932"/>
                  <a:pt x="43891" y="41713"/>
                </a:cubicBezTo>
                <a:cubicBezTo>
                  <a:pt x="34698" y="14135"/>
                  <a:pt x="47098" y="48125"/>
                  <a:pt x="32918" y="19767"/>
                </a:cubicBezTo>
                <a:cubicBezTo>
                  <a:pt x="27948" y="9827"/>
                  <a:pt x="32379" y="5002"/>
                  <a:pt x="18288" y="1479"/>
                </a:cubicBezTo>
                <a:cubicBezTo>
                  <a:pt x="12374" y="0"/>
                  <a:pt x="0" y="17329"/>
                  <a:pt x="0" y="23425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5" name="TextBox 81"/>
          <p:cNvSpPr txBox="1">
            <a:spLocks noChangeArrowheads="1"/>
          </p:cNvSpPr>
          <p:nvPr/>
        </p:nvSpPr>
        <p:spPr bwMode="auto">
          <a:xfrm>
            <a:off x="5435601" y="4436533"/>
            <a:ext cx="15938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ఫిలిప్పైన్స్</a:t>
            </a:r>
          </a:p>
        </p:txBody>
      </p:sp>
      <p:sp>
        <p:nvSpPr>
          <p:cNvPr id="126" name="Freeform 125"/>
          <p:cNvSpPr/>
          <p:nvPr/>
        </p:nvSpPr>
        <p:spPr>
          <a:xfrm>
            <a:off x="5329238" y="3924302"/>
            <a:ext cx="107950" cy="237067"/>
          </a:xfrm>
          <a:custGeom>
            <a:avLst/>
            <a:gdLst>
              <a:gd name="connsiteX0" fmla="*/ 105255 w 108544"/>
              <a:gd name="connsiteY0" fmla="*/ 8843 h 235394"/>
              <a:gd name="connsiteX1" fmla="*/ 55917 w 108544"/>
              <a:gd name="connsiteY1" fmla="*/ 21999 h 235394"/>
              <a:gd name="connsiteX2" fmla="*/ 49338 w 108544"/>
              <a:gd name="connsiteY2" fmla="*/ 28578 h 235394"/>
              <a:gd name="connsiteX3" fmla="*/ 39470 w 108544"/>
              <a:gd name="connsiteY3" fmla="*/ 45024 h 235394"/>
              <a:gd name="connsiteX4" fmla="*/ 29603 w 108544"/>
              <a:gd name="connsiteY4" fmla="*/ 61470 h 235394"/>
              <a:gd name="connsiteX5" fmla="*/ 26314 w 108544"/>
              <a:gd name="connsiteY5" fmla="*/ 74627 h 235394"/>
              <a:gd name="connsiteX6" fmla="*/ 19735 w 108544"/>
              <a:gd name="connsiteY6" fmla="*/ 81205 h 235394"/>
              <a:gd name="connsiteX7" fmla="*/ 6578 w 108544"/>
              <a:gd name="connsiteY7" fmla="*/ 107519 h 235394"/>
              <a:gd name="connsiteX8" fmla="*/ 0 w 108544"/>
              <a:gd name="connsiteY8" fmla="*/ 137122 h 235394"/>
              <a:gd name="connsiteX9" fmla="*/ 3289 w 108544"/>
              <a:gd name="connsiteY9" fmla="*/ 193038 h 235394"/>
              <a:gd name="connsiteX10" fmla="*/ 19735 w 108544"/>
              <a:gd name="connsiteY10" fmla="*/ 216063 h 235394"/>
              <a:gd name="connsiteX11" fmla="*/ 26314 w 108544"/>
              <a:gd name="connsiteY11" fmla="*/ 222641 h 235394"/>
              <a:gd name="connsiteX12" fmla="*/ 29603 w 108544"/>
              <a:gd name="connsiteY12" fmla="*/ 232509 h 235394"/>
              <a:gd name="connsiteX13" fmla="*/ 32892 w 108544"/>
              <a:gd name="connsiteY13" fmla="*/ 212773 h 235394"/>
              <a:gd name="connsiteX14" fmla="*/ 46049 w 108544"/>
              <a:gd name="connsiteY14" fmla="*/ 193038 h 235394"/>
              <a:gd name="connsiteX15" fmla="*/ 59206 w 108544"/>
              <a:gd name="connsiteY15" fmla="*/ 176592 h 235394"/>
              <a:gd name="connsiteX16" fmla="*/ 72363 w 108544"/>
              <a:gd name="connsiteY16" fmla="*/ 160146 h 235394"/>
              <a:gd name="connsiteX17" fmla="*/ 75652 w 108544"/>
              <a:gd name="connsiteY17" fmla="*/ 146989 h 235394"/>
              <a:gd name="connsiteX18" fmla="*/ 88809 w 108544"/>
              <a:gd name="connsiteY18" fmla="*/ 104230 h 235394"/>
              <a:gd name="connsiteX19" fmla="*/ 92098 w 108544"/>
              <a:gd name="connsiteY19" fmla="*/ 81205 h 235394"/>
              <a:gd name="connsiteX20" fmla="*/ 98676 w 108544"/>
              <a:gd name="connsiteY20" fmla="*/ 61470 h 235394"/>
              <a:gd name="connsiteX21" fmla="*/ 95387 w 108544"/>
              <a:gd name="connsiteY21" fmla="*/ 38445 h 235394"/>
              <a:gd name="connsiteX22" fmla="*/ 85519 w 108544"/>
              <a:gd name="connsiteY22" fmla="*/ 35156 h 235394"/>
              <a:gd name="connsiteX23" fmla="*/ 75652 w 108544"/>
              <a:gd name="connsiteY23" fmla="*/ 28578 h 235394"/>
              <a:gd name="connsiteX24" fmla="*/ 105255 w 108544"/>
              <a:gd name="connsiteY24" fmla="*/ 8843 h 235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08544" h="235394">
                <a:moveTo>
                  <a:pt x="105255" y="8843"/>
                </a:moveTo>
                <a:cubicBezTo>
                  <a:pt x="101966" y="7746"/>
                  <a:pt x="73517" y="0"/>
                  <a:pt x="55917" y="21999"/>
                </a:cubicBezTo>
                <a:cubicBezTo>
                  <a:pt x="53980" y="24421"/>
                  <a:pt x="51531" y="26385"/>
                  <a:pt x="49338" y="28578"/>
                </a:cubicBezTo>
                <a:cubicBezTo>
                  <a:pt x="40022" y="56527"/>
                  <a:pt x="53015" y="22450"/>
                  <a:pt x="39470" y="45024"/>
                </a:cubicBezTo>
                <a:cubicBezTo>
                  <a:pt x="26658" y="66377"/>
                  <a:pt x="46274" y="44797"/>
                  <a:pt x="29603" y="61470"/>
                </a:cubicBezTo>
                <a:cubicBezTo>
                  <a:pt x="28507" y="65856"/>
                  <a:pt x="28336" y="70584"/>
                  <a:pt x="26314" y="74627"/>
                </a:cubicBezTo>
                <a:cubicBezTo>
                  <a:pt x="24927" y="77401"/>
                  <a:pt x="21122" y="78431"/>
                  <a:pt x="19735" y="81205"/>
                </a:cubicBezTo>
                <a:cubicBezTo>
                  <a:pt x="4615" y="111443"/>
                  <a:pt x="21442" y="92655"/>
                  <a:pt x="6578" y="107519"/>
                </a:cubicBezTo>
                <a:cubicBezTo>
                  <a:pt x="5310" y="112593"/>
                  <a:pt x="0" y="132946"/>
                  <a:pt x="0" y="137122"/>
                </a:cubicBezTo>
                <a:cubicBezTo>
                  <a:pt x="0" y="155793"/>
                  <a:pt x="1431" y="174460"/>
                  <a:pt x="3289" y="193038"/>
                </a:cubicBezTo>
                <a:cubicBezTo>
                  <a:pt x="4456" y="204706"/>
                  <a:pt x="11431" y="207759"/>
                  <a:pt x="19735" y="216063"/>
                </a:cubicBezTo>
                <a:lnTo>
                  <a:pt x="26314" y="222641"/>
                </a:lnTo>
                <a:cubicBezTo>
                  <a:pt x="27410" y="225930"/>
                  <a:pt x="27680" y="235394"/>
                  <a:pt x="29603" y="232509"/>
                </a:cubicBezTo>
                <a:cubicBezTo>
                  <a:pt x="33302" y="226960"/>
                  <a:pt x="30327" y="218929"/>
                  <a:pt x="32892" y="212773"/>
                </a:cubicBezTo>
                <a:cubicBezTo>
                  <a:pt x="35933" y="205475"/>
                  <a:pt x="41663" y="199616"/>
                  <a:pt x="46049" y="193038"/>
                </a:cubicBezTo>
                <a:cubicBezTo>
                  <a:pt x="66295" y="162669"/>
                  <a:pt x="40458" y="200027"/>
                  <a:pt x="59206" y="176592"/>
                </a:cubicBezTo>
                <a:cubicBezTo>
                  <a:pt x="75804" y="155845"/>
                  <a:pt x="56477" y="176032"/>
                  <a:pt x="72363" y="160146"/>
                </a:cubicBezTo>
                <a:cubicBezTo>
                  <a:pt x="73459" y="155760"/>
                  <a:pt x="74353" y="151319"/>
                  <a:pt x="75652" y="146989"/>
                </a:cubicBezTo>
                <a:cubicBezTo>
                  <a:pt x="79911" y="132793"/>
                  <a:pt x="86139" y="118913"/>
                  <a:pt x="88809" y="104230"/>
                </a:cubicBezTo>
                <a:cubicBezTo>
                  <a:pt x="90196" y="96602"/>
                  <a:pt x="90355" y="88759"/>
                  <a:pt x="92098" y="81205"/>
                </a:cubicBezTo>
                <a:cubicBezTo>
                  <a:pt x="93657" y="74448"/>
                  <a:pt x="98676" y="61470"/>
                  <a:pt x="98676" y="61470"/>
                </a:cubicBezTo>
                <a:cubicBezTo>
                  <a:pt x="97580" y="53795"/>
                  <a:pt x="98854" y="45379"/>
                  <a:pt x="95387" y="38445"/>
                </a:cubicBezTo>
                <a:cubicBezTo>
                  <a:pt x="93836" y="35344"/>
                  <a:pt x="88620" y="36707"/>
                  <a:pt x="85519" y="35156"/>
                </a:cubicBezTo>
                <a:cubicBezTo>
                  <a:pt x="81983" y="33388"/>
                  <a:pt x="79188" y="30346"/>
                  <a:pt x="75652" y="28578"/>
                </a:cubicBezTo>
                <a:cubicBezTo>
                  <a:pt x="72551" y="27027"/>
                  <a:pt x="108544" y="9940"/>
                  <a:pt x="105255" y="8843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7" name="Rectangle 4"/>
          <p:cNvSpPr>
            <a:spLocks noChangeArrowheads="1"/>
          </p:cNvSpPr>
          <p:nvPr/>
        </p:nvSpPr>
        <p:spPr bwMode="auto">
          <a:xfrm>
            <a:off x="5286381" y="3983567"/>
            <a:ext cx="11842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>
                <a:latin typeface="Ramabhadra" pitchFamily="2" charset="0"/>
                <a:cs typeface="Ramabhadra" pitchFamily="2" charset="0"/>
              </a:rPr>
              <a:t>తైవాన్</a:t>
            </a:r>
          </a:p>
        </p:txBody>
      </p:sp>
      <p:sp>
        <p:nvSpPr>
          <p:cNvPr id="128" name="Freeform 127"/>
          <p:cNvSpPr/>
          <p:nvPr/>
        </p:nvSpPr>
        <p:spPr>
          <a:xfrm>
            <a:off x="5665788" y="2772835"/>
            <a:ext cx="360362" cy="328084"/>
          </a:xfrm>
          <a:custGeom>
            <a:avLst/>
            <a:gdLst>
              <a:gd name="connsiteX0" fmla="*/ 107111 w 360004"/>
              <a:gd name="connsiteY0" fmla="*/ 318379 h 328247"/>
              <a:gd name="connsiteX1" fmla="*/ 70930 w 360004"/>
              <a:gd name="connsiteY1" fmla="*/ 315090 h 328247"/>
              <a:gd name="connsiteX2" fmla="*/ 61062 w 360004"/>
              <a:gd name="connsiteY2" fmla="*/ 311801 h 328247"/>
              <a:gd name="connsiteX3" fmla="*/ 31459 w 360004"/>
              <a:gd name="connsiteY3" fmla="*/ 318379 h 328247"/>
              <a:gd name="connsiteX4" fmla="*/ 15013 w 360004"/>
              <a:gd name="connsiteY4" fmla="*/ 305222 h 328247"/>
              <a:gd name="connsiteX5" fmla="*/ 8435 w 360004"/>
              <a:gd name="connsiteY5" fmla="*/ 285487 h 328247"/>
              <a:gd name="connsiteX6" fmla="*/ 15013 w 360004"/>
              <a:gd name="connsiteY6" fmla="*/ 275619 h 328247"/>
              <a:gd name="connsiteX7" fmla="*/ 21592 w 360004"/>
              <a:gd name="connsiteY7" fmla="*/ 269041 h 328247"/>
              <a:gd name="connsiteX8" fmla="*/ 34749 w 360004"/>
              <a:gd name="connsiteY8" fmla="*/ 249306 h 328247"/>
              <a:gd name="connsiteX9" fmla="*/ 41327 w 360004"/>
              <a:gd name="connsiteY9" fmla="*/ 226281 h 328247"/>
              <a:gd name="connsiteX10" fmla="*/ 44616 w 360004"/>
              <a:gd name="connsiteY10" fmla="*/ 216414 h 328247"/>
              <a:gd name="connsiteX11" fmla="*/ 41327 w 360004"/>
              <a:gd name="connsiteY11" fmla="*/ 196678 h 328247"/>
              <a:gd name="connsiteX12" fmla="*/ 1856 w 360004"/>
              <a:gd name="connsiteY12" fmla="*/ 180232 h 328247"/>
              <a:gd name="connsiteX13" fmla="*/ 11724 w 360004"/>
              <a:gd name="connsiteY13" fmla="*/ 137473 h 328247"/>
              <a:gd name="connsiteX14" fmla="*/ 21592 w 360004"/>
              <a:gd name="connsiteY14" fmla="*/ 134183 h 328247"/>
              <a:gd name="connsiteX15" fmla="*/ 31459 w 360004"/>
              <a:gd name="connsiteY15" fmla="*/ 127605 h 328247"/>
              <a:gd name="connsiteX16" fmla="*/ 51195 w 360004"/>
              <a:gd name="connsiteY16" fmla="*/ 121027 h 328247"/>
              <a:gd name="connsiteX17" fmla="*/ 67641 w 360004"/>
              <a:gd name="connsiteY17" fmla="*/ 107870 h 328247"/>
              <a:gd name="connsiteX18" fmla="*/ 87376 w 360004"/>
              <a:gd name="connsiteY18" fmla="*/ 101291 h 328247"/>
              <a:gd name="connsiteX19" fmla="*/ 97244 w 360004"/>
              <a:gd name="connsiteY19" fmla="*/ 98002 h 328247"/>
              <a:gd name="connsiteX20" fmla="*/ 107111 w 360004"/>
              <a:gd name="connsiteY20" fmla="*/ 94713 h 328247"/>
              <a:gd name="connsiteX21" fmla="*/ 123557 w 360004"/>
              <a:gd name="connsiteY21" fmla="*/ 91424 h 328247"/>
              <a:gd name="connsiteX22" fmla="*/ 133425 w 360004"/>
              <a:gd name="connsiteY22" fmla="*/ 88135 h 328247"/>
              <a:gd name="connsiteX23" fmla="*/ 192631 w 360004"/>
              <a:gd name="connsiteY23" fmla="*/ 84845 h 328247"/>
              <a:gd name="connsiteX24" fmla="*/ 209077 w 360004"/>
              <a:gd name="connsiteY24" fmla="*/ 55242 h 328247"/>
              <a:gd name="connsiteX25" fmla="*/ 212366 w 360004"/>
              <a:gd name="connsiteY25" fmla="*/ 45375 h 328247"/>
              <a:gd name="connsiteX26" fmla="*/ 225523 w 360004"/>
              <a:gd name="connsiteY26" fmla="*/ 42086 h 328247"/>
              <a:gd name="connsiteX27" fmla="*/ 251836 w 360004"/>
              <a:gd name="connsiteY27" fmla="*/ 38796 h 328247"/>
              <a:gd name="connsiteX28" fmla="*/ 278150 w 360004"/>
              <a:gd name="connsiteY28" fmla="*/ 32218 h 328247"/>
              <a:gd name="connsiteX29" fmla="*/ 288018 w 360004"/>
              <a:gd name="connsiteY29" fmla="*/ 22350 h 328247"/>
              <a:gd name="connsiteX30" fmla="*/ 294596 w 360004"/>
              <a:gd name="connsiteY30" fmla="*/ 12483 h 328247"/>
              <a:gd name="connsiteX31" fmla="*/ 314331 w 360004"/>
              <a:gd name="connsiteY31" fmla="*/ 2615 h 328247"/>
              <a:gd name="connsiteX32" fmla="*/ 353802 w 360004"/>
              <a:gd name="connsiteY32" fmla="*/ 5904 h 328247"/>
              <a:gd name="connsiteX33" fmla="*/ 334067 w 360004"/>
              <a:gd name="connsiteY33" fmla="*/ 12483 h 328247"/>
              <a:gd name="connsiteX34" fmla="*/ 314331 w 360004"/>
              <a:gd name="connsiteY34" fmla="*/ 22350 h 328247"/>
              <a:gd name="connsiteX35" fmla="*/ 304464 w 360004"/>
              <a:gd name="connsiteY35" fmla="*/ 91424 h 328247"/>
              <a:gd name="connsiteX36" fmla="*/ 301174 w 360004"/>
              <a:gd name="connsiteY36" fmla="*/ 101291 h 328247"/>
              <a:gd name="connsiteX37" fmla="*/ 284728 w 360004"/>
              <a:gd name="connsiteY37" fmla="*/ 114448 h 328247"/>
              <a:gd name="connsiteX38" fmla="*/ 264993 w 360004"/>
              <a:gd name="connsiteY38" fmla="*/ 121027 h 328247"/>
              <a:gd name="connsiteX39" fmla="*/ 255126 w 360004"/>
              <a:gd name="connsiteY39" fmla="*/ 124316 h 328247"/>
              <a:gd name="connsiteX40" fmla="*/ 245258 w 360004"/>
              <a:gd name="connsiteY40" fmla="*/ 127605 h 328247"/>
              <a:gd name="connsiteX41" fmla="*/ 232101 w 360004"/>
              <a:gd name="connsiteY41" fmla="*/ 140762 h 328247"/>
              <a:gd name="connsiteX42" fmla="*/ 218944 w 360004"/>
              <a:gd name="connsiteY42" fmla="*/ 157208 h 328247"/>
              <a:gd name="connsiteX43" fmla="*/ 215655 w 360004"/>
              <a:gd name="connsiteY43" fmla="*/ 167076 h 328247"/>
              <a:gd name="connsiteX44" fmla="*/ 205787 w 360004"/>
              <a:gd name="connsiteY44" fmla="*/ 176943 h 328247"/>
              <a:gd name="connsiteX45" fmla="*/ 182763 w 360004"/>
              <a:gd name="connsiteY45" fmla="*/ 183522 h 328247"/>
              <a:gd name="connsiteX46" fmla="*/ 163028 w 360004"/>
              <a:gd name="connsiteY46" fmla="*/ 190100 h 328247"/>
              <a:gd name="connsiteX47" fmla="*/ 159738 w 360004"/>
              <a:gd name="connsiteY47" fmla="*/ 229570 h 328247"/>
              <a:gd name="connsiteX48" fmla="*/ 163028 w 360004"/>
              <a:gd name="connsiteY48" fmla="*/ 239438 h 328247"/>
              <a:gd name="connsiteX49" fmla="*/ 182763 w 360004"/>
              <a:gd name="connsiteY49" fmla="*/ 252595 h 328247"/>
              <a:gd name="connsiteX50" fmla="*/ 192631 w 360004"/>
              <a:gd name="connsiteY50" fmla="*/ 259173 h 328247"/>
              <a:gd name="connsiteX51" fmla="*/ 192631 w 360004"/>
              <a:gd name="connsiteY51" fmla="*/ 285487 h 328247"/>
              <a:gd name="connsiteX52" fmla="*/ 130136 w 360004"/>
              <a:gd name="connsiteY52" fmla="*/ 295355 h 328247"/>
              <a:gd name="connsiteX53" fmla="*/ 120268 w 360004"/>
              <a:gd name="connsiteY53" fmla="*/ 301933 h 328247"/>
              <a:gd name="connsiteX54" fmla="*/ 110400 w 360004"/>
              <a:gd name="connsiteY54" fmla="*/ 321668 h 328247"/>
              <a:gd name="connsiteX55" fmla="*/ 90665 w 360004"/>
              <a:gd name="connsiteY55" fmla="*/ 328247 h 328247"/>
              <a:gd name="connsiteX56" fmla="*/ 24881 w 360004"/>
              <a:gd name="connsiteY56" fmla="*/ 318379 h 328247"/>
              <a:gd name="connsiteX57" fmla="*/ 15013 w 360004"/>
              <a:gd name="connsiteY57" fmla="*/ 298644 h 328247"/>
              <a:gd name="connsiteX58" fmla="*/ 5146 w 360004"/>
              <a:gd name="connsiteY58" fmla="*/ 295355 h 32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360004" h="328247">
                <a:moveTo>
                  <a:pt x="107111" y="318379"/>
                </a:moveTo>
                <a:cubicBezTo>
                  <a:pt x="95051" y="317283"/>
                  <a:pt x="82918" y="316803"/>
                  <a:pt x="70930" y="315090"/>
                </a:cubicBezTo>
                <a:cubicBezTo>
                  <a:pt x="67498" y="314600"/>
                  <a:pt x="64529" y="311801"/>
                  <a:pt x="61062" y="311801"/>
                </a:cubicBezTo>
                <a:cubicBezTo>
                  <a:pt x="49485" y="311801"/>
                  <a:pt x="41634" y="314988"/>
                  <a:pt x="31459" y="318379"/>
                </a:cubicBezTo>
                <a:cubicBezTo>
                  <a:pt x="20759" y="314812"/>
                  <a:pt x="20188" y="316866"/>
                  <a:pt x="15013" y="305222"/>
                </a:cubicBezTo>
                <a:cubicBezTo>
                  <a:pt x="12197" y="298886"/>
                  <a:pt x="8435" y="285487"/>
                  <a:pt x="8435" y="285487"/>
                </a:cubicBezTo>
                <a:cubicBezTo>
                  <a:pt x="10628" y="282198"/>
                  <a:pt x="12543" y="278706"/>
                  <a:pt x="15013" y="275619"/>
                </a:cubicBezTo>
                <a:cubicBezTo>
                  <a:pt x="16950" y="273197"/>
                  <a:pt x="19731" y="271522"/>
                  <a:pt x="21592" y="269041"/>
                </a:cubicBezTo>
                <a:cubicBezTo>
                  <a:pt x="26336" y="262716"/>
                  <a:pt x="34749" y="249306"/>
                  <a:pt x="34749" y="249306"/>
                </a:cubicBezTo>
                <a:cubicBezTo>
                  <a:pt x="42637" y="225640"/>
                  <a:pt x="33065" y="255200"/>
                  <a:pt x="41327" y="226281"/>
                </a:cubicBezTo>
                <a:cubicBezTo>
                  <a:pt x="42279" y="222947"/>
                  <a:pt x="43520" y="219703"/>
                  <a:pt x="44616" y="216414"/>
                </a:cubicBezTo>
                <a:cubicBezTo>
                  <a:pt x="43520" y="209835"/>
                  <a:pt x="44036" y="202773"/>
                  <a:pt x="41327" y="196678"/>
                </a:cubicBezTo>
                <a:cubicBezTo>
                  <a:pt x="34801" y="181995"/>
                  <a:pt x="13203" y="182754"/>
                  <a:pt x="1856" y="180232"/>
                </a:cubicBezTo>
                <a:cubicBezTo>
                  <a:pt x="2847" y="170322"/>
                  <a:pt x="0" y="146853"/>
                  <a:pt x="11724" y="137473"/>
                </a:cubicBezTo>
                <a:cubicBezTo>
                  <a:pt x="14432" y="135307"/>
                  <a:pt x="18491" y="135734"/>
                  <a:pt x="21592" y="134183"/>
                </a:cubicBezTo>
                <a:cubicBezTo>
                  <a:pt x="25128" y="132415"/>
                  <a:pt x="27847" y="129210"/>
                  <a:pt x="31459" y="127605"/>
                </a:cubicBezTo>
                <a:cubicBezTo>
                  <a:pt x="37796" y="124789"/>
                  <a:pt x="51195" y="121027"/>
                  <a:pt x="51195" y="121027"/>
                </a:cubicBezTo>
                <a:cubicBezTo>
                  <a:pt x="56664" y="115557"/>
                  <a:pt x="60169" y="111191"/>
                  <a:pt x="67641" y="107870"/>
                </a:cubicBezTo>
                <a:cubicBezTo>
                  <a:pt x="73978" y="105054"/>
                  <a:pt x="80798" y="103484"/>
                  <a:pt x="87376" y="101291"/>
                </a:cubicBezTo>
                <a:lnTo>
                  <a:pt x="97244" y="98002"/>
                </a:lnTo>
                <a:cubicBezTo>
                  <a:pt x="100533" y="96906"/>
                  <a:pt x="103711" y="95393"/>
                  <a:pt x="107111" y="94713"/>
                </a:cubicBezTo>
                <a:cubicBezTo>
                  <a:pt x="112593" y="93617"/>
                  <a:pt x="118133" y="92780"/>
                  <a:pt x="123557" y="91424"/>
                </a:cubicBezTo>
                <a:cubicBezTo>
                  <a:pt x="126921" y="90583"/>
                  <a:pt x="129973" y="88464"/>
                  <a:pt x="133425" y="88135"/>
                </a:cubicBezTo>
                <a:cubicBezTo>
                  <a:pt x="153102" y="86261"/>
                  <a:pt x="172896" y="85942"/>
                  <a:pt x="192631" y="84845"/>
                </a:cubicBezTo>
                <a:cubicBezTo>
                  <a:pt x="207401" y="70075"/>
                  <a:pt x="201027" y="79390"/>
                  <a:pt x="209077" y="55242"/>
                </a:cubicBezTo>
                <a:cubicBezTo>
                  <a:pt x="210173" y="51953"/>
                  <a:pt x="209003" y="46216"/>
                  <a:pt x="212366" y="45375"/>
                </a:cubicBezTo>
                <a:cubicBezTo>
                  <a:pt x="216752" y="44279"/>
                  <a:pt x="221064" y="42829"/>
                  <a:pt x="225523" y="42086"/>
                </a:cubicBezTo>
                <a:cubicBezTo>
                  <a:pt x="234242" y="40633"/>
                  <a:pt x="243100" y="40140"/>
                  <a:pt x="251836" y="38796"/>
                </a:cubicBezTo>
                <a:cubicBezTo>
                  <a:pt x="266580" y="36527"/>
                  <a:pt x="266142" y="36220"/>
                  <a:pt x="278150" y="32218"/>
                </a:cubicBezTo>
                <a:cubicBezTo>
                  <a:pt x="281439" y="28929"/>
                  <a:pt x="285040" y="25924"/>
                  <a:pt x="288018" y="22350"/>
                </a:cubicBezTo>
                <a:cubicBezTo>
                  <a:pt x="290549" y="19313"/>
                  <a:pt x="291801" y="15278"/>
                  <a:pt x="294596" y="12483"/>
                </a:cubicBezTo>
                <a:cubicBezTo>
                  <a:pt x="300973" y="6106"/>
                  <a:pt x="306305" y="5290"/>
                  <a:pt x="314331" y="2615"/>
                </a:cubicBezTo>
                <a:cubicBezTo>
                  <a:pt x="327488" y="3711"/>
                  <a:pt x="341993" y="0"/>
                  <a:pt x="353802" y="5904"/>
                </a:cubicBezTo>
                <a:cubicBezTo>
                  <a:pt x="360004" y="9005"/>
                  <a:pt x="340645" y="10290"/>
                  <a:pt x="334067" y="12483"/>
                </a:cubicBezTo>
                <a:cubicBezTo>
                  <a:pt x="320447" y="17023"/>
                  <a:pt x="327086" y="13847"/>
                  <a:pt x="314331" y="22350"/>
                </a:cubicBezTo>
                <a:cubicBezTo>
                  <a:pt x="310582" y="78593"/>
                  <a:pt x="316253" y="56057"/>
                  <a:pt x="304464" y="91424"/>
                </a:cubicBezTo>
                <a:cubicBezTo>
                  <a:pt x="303368" y="94713"/>
                  <a:pt x="303625" y="98839"/>
                  <a:pt x="301174" y="101291"/>
                </a:cubicBezTo>
                <a:cubicBezTo>
                  <a:pt x="295705" y="106761"/>
                  <a:pt x="292200" y="111127"/>
                  <a:pt x="284728" y="114448"/>
                </a:cubicBezTo>
                <a:cubicBezTo>
                  <a:pt x="278391" y="117264"/>
                  <a:pt x="271571" y="118834"/>
                  <a:pt x="264993" y="121027"/>
                </a:cubicBezTo>
                <a:lnTo>
                  <a:pt x="255126" y="124316"/>
                </a:lnTo>
                <a:lnTo>
                  <a:pt x="245258" y="127605"/>
                </a:lnTo>
                <a:cubicBezTo>
                  <a:pt x="240872" y="131991"/>
                  <a:pt x="235541" y="135601"/>
                  <a:pt x="232101" y="140762"/>
                </a:cubicBezTo>
                <a:cubicBezTo>
                  <a:pt x="223803" y="153209"/>
                  <a:pt x="228318" y="147834"/>
                  <a:pt x="218944" y="157208"/>
                </a:cubicBezTo>
                <a:cubicBezTo>
                  <a:pt x="217848" y="160497"/>
                  <a:pt x="217578" y="164191"/>
                  <a:pt x="215655" y="167076"/>
                </a:cubicBezTo>
                <a:cubicBezTo>
                  <a:pt x="213075" y="170946"/>
                  <a:pt x="209657" y="174363"/>
                  <a:pt x="205787" y="176943"/>
                </a:cubicBezTo>
                <a:cubicBezTo>
                  <a:pt x="202774" y="178951"/>
                  <a:pt x="184754" y="182925"/>
                  <a:pt x="182763" y="183522"/>
                </a:cubicBezTo>
                <a:cubicBezTo>
                  <a:pt x="176121" y="185515"/>
                  <a:pt x="163028" y="190100"/>
                  <a:pt x="163028" y="190100"/>
                </a:cubicBezTo>
                <a:cubicBezTo>
                  <a:pt x="155261" y="213398"/>
                  <a:pt x="154423" y="205654"/>
                  <a:pt x="159738" y="229570"/>
                </a:cubicBezTo>
                <a:cubicBezTo>
                  <a:pt x="160490" y="232955"/>
                  <a:pt x="160576" y="236986"/>
                  <a:pt x="163028" y="239438"/>
                </a:cubicBezTo>
                <a:cubicBezTo>
                  <a:pt x="168619" y="245029"/>
                  <a:pt x="176185" y="248209"/>
                  <a:pt x="182763" y="252595"/>
                </a:cubicBezTo>
                <a:lnTo>
                  <a:pt x="192631" y="259173"/>
                </a:lnTo>
                <a:cubicBezTo>
                  <a:pt x="195226" y="266959"/>
                  <a:pt x="200569" y="277549"/>
                  <a:pt x="192631" y="285487"/>
                </a:cubicBezTo>
                <a:cubicBezTo>
                  <a:pt x="183383" y="294735"/>
                  <a:pt x="130232" y="295348"/>
                  <a:pt x="130136" y="295355"/>
                </a:cubicBezTo>
                <a:cubicBezTo>
                  <a:pt x="126847" y="297548"/>
                  <a:pt x="122738" y="298846"/>
                  <a:pt x="120268" y="301933"/>
                </a:cubicBezTo>
                <a:cubicBezTo>
                  <a:pt x="113455" y="310449"/>
                  <a:pt x="121495" y="314734"/>
                  <a:pt x="110400" y="321668"/>
                </a:cubicBezTo>
                <a:cubicBezTo>
                  <a:pt x="104520" y="325343"/>
                  <a:pt x="90665" y="328247"/>
                  <a:pt x="90665" y="328247"/>
                </a:cubicBezTo>
                <a:cubicBezTo>
                  <a:pt x="76109" y="326791"/>
                  <a:pt x="38682" y="324130"/>
                  <a:pt x="24881" y="318379"/>
                </a:cubicBezTo>
                <a:cubicBezTo>
                  <a:pt x="14426" y="314023"/>
                  <a:pt x="21267" y="304897"/>
                  <a:pt x="15013" y="298644"/>
                </a:cubicBezTo>
                <a:cubicBezTo>
                  <a:pt x="12561" y="296193"/>
                  <a:pt x="5146" y="295355"/>
                  <a:pt x="5146" y="295355"/>
                </a:cubicBezTo>
              </a:path>
            </a:pathLst>
          </a:custGeom>
          <a:blipFill>
            <a:blip r:embed="rId2" cstate="print"/>
            <a:stretch>
              <a:fillRect/>
            </a:stretch>
          </a:blip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9" name="Rectangle 4"/>
          <p:cNvSpPr>
            <a:spLocks noChangeArrowheads="1"/>
          </p:cNvSpPr>
          <p:nvPr/>
        </p:nvSpPr>
        <p:spPr bwMode="auto">
          <a:xfrm>
            <a:off x="7072313" y="2404539"/>
            <a:ext cx="78581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600">
                <a:latin typeface="Ramabhadra" pitchFamily="2" charset="0"/>
                <a:cs typeface="Ramabhadra" pitchFamily="2" charset="0"/>
              </a:rPr>
              <a:t>ఉత్తర కొరియా</a:t>
            </a:r>
          </a:p>
        </p:txBody>
      </p:sp>
      <p:cxnSp>
        <p:nvCxnSpPr>
          <p:cNvPr id="130" name="Straight Arrow Connector 129"/>
          <p:cNvCxnSpPr/>
          <p:nvPr/>
        </p:nvCxnSpPr>
        <p:spPr>
          <a:xfrm flipV="1">
            <a:off x="5715006" y="2667004"/>
            <a:ext cx="1357313" cy="262467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Freeform 130"/>
          <p:cNvSpPr/>
          <p:nvPr/>
        </p:nvSpPr>
        <p:spPr>
          <a:xfrm>
            <a:off x="5729293" y="3045888"/>
            <a:ext cx="192087" cy="277283"/>
          </a:xfrm>
          <a:custGeom>
            <a:avLst/>
            <a:gdLst>
              <a:gd name="connsiteX0" fmla="*/ 151696 w 192436"/>
              <a:gd name="connsiteY0" fmla="*/ 0 h 276131"/>
              <a:gd name="connsiteX1" fmla="*/ 174329 w 192436"/>
              <a:gd name="connsiteY1" fmla="*/ 22634 h 276131"/>
              <a:gd name="connsiteX2" fmla="*/ 183383 w 192436"/>
              <a:gd name="connsiteY2" fmla="*/ 49794 h 276131"/>
              <a:gd name="connsiteX3" fmla="*/ 192436 w 192436"/>
              <a:gd name="connsiteY3" fmla="*/ 81481 h 276131"/>
              <a:gd name="connsiteX4" fmla="*/ 187910 w 192436"/>
              <a:gd name="connsiteY4" fmla="*/ 167489 h 276131"/>
              <a:gd name="connsiteX5" fmla="*/ 169803 w 192436"/>
              <a:gd name="connsiteY5" fmla="*/ 208230 h 276131"/>
              <a:gd name="connsiteX6" fmla="*/ 133589 w 192436"/>
              <a:gd name="connsiteY6" fmla="*/ 217283 h 276131"/>
              <a:gd name="connsiteX7" fmla="*/ 97375 w 192436"/>
              <a:gd name="connsiteY7" fmla="*/ 226337 h 276131"/>
              <a:gd name="connsiteX8" fmla="*/ 92848 w 192436"/>
              <a:gd name="connsiteY8" fmla="*/ 239917 h 276131"/>
              <a:gd name="connsiteX9" fmla="*/ 79268 w 192436"/>
              <a:gd name="connsiteY9" fmla="*/ 244444 h 276131"/>
              <a:gd name="connsiteX10" fmla="*/ 38527 w 192436"/>
              <a:gd name="connsiteY10" fmla="*/ 248970 h 276131"/>
              <a:gd name="connsiteX11" fmla="*/ 29474 w 192436"/>
              <a:gd name="connsiteY11" fmla="*/ 258024 h 276131"/>
              <a:gd name="connsiteX12" fmla="*/ 24947 w 192436"/>
              <a:gd name="connsiteY12" fmla="*/ 271604 h 276131"/>
              <a:gd name="connsiteX13" fmla="*/ 11367 w 192436"/>
              <a:gd name="connsiteY13" fmla="*/ 276131 h 276131"/>
              <a:gd name="connsiteX14" fmla="*/ 2314 w 192436"/>
              <a:gd name="connsiteY14" fmla="*/ 248970 h 276131"/>
              <a:gd name="connsiteX15" fmla="*/ 6840 w 192436"/>
              <a:gd name="connsiteY15" fmla="*/ 230863 h 276131"/>
              <a:gd name="connsiteX16" fmla="*/ 11367 w 192436"/>
              <a:gd name="connsiteY16" fmla="*/ 203703 h 276131"/>
              <a:gd name="connsiteX17" fmla="*/ 20420 w 192436"/>
              <a:gd name="connsiteY17" fmla="*/ 190123 h 276131"/>
              <a:gd name="connsiteX18" fmla="*/ 24947 w 192436"/>
              <a:gd name="connsiteY18" fmla="*/ 176543 h 276131"/>
              <a:gd name="connsiteX19" fmla="*/ 20420 w 192436"/>
              <a:gd name="connsiteY19" fmla="*/ 153909 h 276131"/>
              <a:gd name="connsiteX20" fmla="*/ 15894 w 192436"/>
              <a:gd name="connsiteY20" fmla="*/ 122222 h 276131"/>
              <a:gd name="connsiteX21" fmla="*/ 29474 w 192436"/>
              <a:gd name="connsiteY21" fmla="*/ 117695 h 276131"/>
              <a:gd name="connsiteX22" fmla="*/ 43054 w 192436"/>
              <a:gd name="connsiteY22" fmla="*/ 90535 h 276131"/>
              <a:gd name="connsiteX23" fmla="*/ 38527 w 192436"/>
              <a:gd name="connsiteY23" fmla="*/ 76955 h 276131"/>
              <a:gd name="connsiteX24" fmla="*/ 43054 w 192436"/>
              <a:gd name="connsiteY24" fmla="*/ 54321 h 276131"/>
              <a:gd name="connsiteX25" fmla="*/ 47581 w 192436"/>
              <a:gd name="connsiteY25" fmla="*/ 40741 h 276131"/>
              <a:gd name="connsiteX26" fmla="*/ 61161 w 192436"/>
              <a:gd name="connsiteY26" fmla="*/ 36214 h 276131"/>
              <a:gd name="connsiteX27" fmla="*/ 83795 w 192436"/>
              <a:gd name="connsiteY27" fmla="*/ 31687 h 276131"/>
              <a:gd name="connsiteX28" fmla="*/ 97375 w 192436"/>
              <a:gd name="connsiteY28" fmla="*/ 27160 h 276131"/>
              <a:gd name="connsiteX29" fmla="*/ 120009 w 192436"/>
              <a:gd name="connsiteY29" fmla="*/ 22634 h 276131"/>
              <a:gd name="connsiteX30" fmla="*/ 151696 w 192436"/>
              <a:gd name="connsiteY30" fmla="*/ 0 h 276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92436" h="276131">
                <a:moveTo>
                  <a:pt x="151696" y="0"/>
                </a:moveTo>
                <a:cubicBezTo>
                  <a:pt x="160749" y="0"/>
                  <a:pt x="170955" y="12512"/>
                  <a:pt x="174329" y="22634"/>
                </a:cubicBezTo>
                <a:cubicBezTo>
                  <a:pt x="177347" y="31687"/>
                  <a:pt x="181068" y="40536"/>
                  <a:pt x="183383" y="49794"/>
                </a:cubicBezTo>
                <a:cubicBezTo>
                  <a:pt x="189067" y="72530"/>
                  <a:pt x="185943" y="61999"/>
                  <a:pt x="192436" y="81481"/>
                </a:cubicBezTo>
                <a:cubicBezTo>
                  <a:pt x="190927" y="110150"/>
                  <a:pt x="191330" y="138984"/>
                  <a:pt x="187910" y="167489"/>
                </a:cubicBezTo>
                <a:cubicBezTo>
                  <a:pt x="187685" y="169368"/>
                  <a:pt x="178136" y="204064"/>
                  <a:pt x="169803" y="208230"/>
                </a:cubicBezTo>
                <a:cubicBezTo>
                  <a:pt x="158674" y="213794"/>
                  <a:pt x="145790" y="214843"/>
                  <a:pt x="133589" y="217283"/>
                </a:cubicBezTo>
                <a:cubicBezTo>
                  <a:pt x="106276" y="222746"/>
                  <a:pt x="118254" y="219377"/>
                  <a:pt x="97375" y="226337"/>
                </a:cubicBezTo>
                <a:cubicBezTo>
                  <a:pt x="95866" y="230864"/>
                  <a:pt x="96222" y="236543"/>
                  <a:pt x="92848" y="239917"/>
                </a:cubicBezTo>
                <a:cubicBezTo>
                  <a:pt x="89474" y="243291"/>
                  <a:pt x="83975" y="243660"/>
                  <a:pt x="79268" y="244444"/>
                </a:cubicBezTo>
                <a:cubicBezTo>
                  <a:pt x="65790" y="246690"/>
                  <a:pt x="52107" y="247461"/>
                  <a:pt x="38527" y="248970"/>
                </a:cubicBezTo>
                <a:cubicBezTo>
                  <a:pt x="35509" y="251988"/>
                  <a:pt x="31670" y="254364"/>
                  <a:pt x="29474" y="258024"/>
                </a:cubicBezTo>
                <a:cubicBezTo>
                  <a:pt x="27019" y="262116"/>
                  <a:pt x="28321" y="268230"/>
                  <a:pt x="24947" y="271604"/>
                </a:cubicBezTo>
                <a:cubicBezTo>
                  <a:pt x="21573" y="274978"/>
                  <a:pt x="15894" y="274622"/>
                  <a:pt x="11367" y="276131"/>
                </a:cubicBezTo>
                <a:cubicBezTo>
                  <a:pt x="8349" y="267077"/>
                  <a:pt x="0" y="258228"/>
                  <a:pt x="2314" y="248970"/>
                </a:cubicBezTo>
                <a:cubicBezTo>
                  <a:pt x="3823" y="242934"/>
                  <a:pt x="5620" y="236964"/>
                  <a:pt x="6840" y="230863"/>
                </a:cubicBezTo>
                <a:cubicBezTo>
                  <a:pt x="8640" y="221863"/>
                  <a:pt x="8465" y="212410"/>
                  <a:pt x="11367" y="203703"/>
                </a:cubicBezTo>
                <a:cubicBezTo>
                  <a:pt x="13087" y="198542"/>
                  <a:pt x="17987" y="194989"/>
                  <a:pt x="20420" y="190123"/>
                </a:cubicBezTo>
                <a:cubicBezTo>
                  <a:pt x="22554" y="185855"/>
                  <a:pt x="23438" y="181070"/>
                  <a:pt x="24947" y="176543"/>
                </a:cubicBezTo>
                <a:cubicBezTo>
                  <a:pt x="23438" y="168998"/>
                  <a:pt x="22853" y="161208"/>
                  <a:pt x="20420" y="153909"/>
                </a:cubicBezTo>
                <a:cubicBezTo>
                  <a:pt x="16739" y="142866"/>
                  <a:pt x="3925" y="134191"/>
                  <a:pt x="15894" y="122222"/>
                </a:cubicBezTo>
                <a:cubicBezTo>
                  <a:pt x="19268" y="118848"/>
                  <a:pt x="24947" y="119204"/>
                  <a:pt x="29474" y="117695"/>
                </a:cubicBezTo>
                <a:cubicBezTo>
                  <a:pt x="34051" y="110830"/>
                  <a:pt x="43054" y="99905"/>
                  <a:pt x="43054" y="90535"/>
                </a:cubicBezTo>
                <a:cubicBezTo>
                  <a:pt x="43054" y="85763"/>
                  <a:pt x="40036" y="81482"/>
                  <a:pt x="38527" y="76955"/>
                </a:cubicBezTo>
                <a:cubicBezTo>
                  <a:pt x="40036" y="69410"/>
                  <a:pt x="41188" y="61785"/>
                  <a:pt x="43054" y="54321"/>
                </a:cubicBezTo>
                <a:cubicBezTo>
                  <a:pt x="44211" y="49692"/>
                  <a:pt x="44207" y="44115"/>
                  <a:pt x="47581" y="40741"/>
                </a:cubicBezTo>
                <a:cubicBezTo>
                  <a:pt x="50955" y="37367"/>
                  <a:pt x="56532" y="37371"/>
                  <a:pt x="61161" y="36214"/>
                </a:cubicBezTo>
                <a:cubicBezTo>
                  <a:pt x="68625" y="34348"/>
                  <a:pt x="76331" y="33553"/>
                  <a:pt x="83795" y="31687"/>
                </a:cubicBezTo>
                <a:cubicBezTo>
                  <a:pt x="88424" y="30530"/>
                  <a:pt x="92746" y="28317"/>
                  <a:pt x="97375" y="27160"/>
                </a:cubicBezTo>
                <a:cubicBezTo>
                  <a:pt x="104839" y="25294"/>
                  <a:pt x="112464" y="24143"/>
                  <a:pt x="120009" y="22634"/>
                </a:cubicBezTo>
                <a:cubicBezTo>
                  <a:pt x="137140" y="11213"/>
                  <a:pt x="142643" y="0"/>
                  <a:pt x="151696" y="0"/>
                </a:cubicBezTo>
                <a:close/>
              </a:path>
            </a:pathLst>
          </a:custGeom>
          <a:blipFill>
            <a:blip r:embed="rId3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2" name="Title 7"/>
          <p:cNvSpPr txBox="1">
            <a:spLocks/>
          </p:cNvSpPr>
          <p:nvPr/>
        </p:nvSpPr>
        <p:spPr bwMode="auto">
          <a:xfrm flipH="1">
            <a:off x="5940431" y="3617386"/>
            <a:ext cx="1381125" cy="28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1600">
                <a:latin typeface="Ramabhadra" pitchFamily="2" charset="0"/>
                <a:cs typeface="Ramabhadra" pitchFamily="2" charset="0"/>
              </a:rPr>
              <a:t>దక్షిణ కొరియా</a:t>
            </a:r>
            <a:endParaRPr lang="en-IN" sz="1600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33" name="Straight Arrow Connector 132"/>
          <p:cNvCxnSpPr/>
          <p:nvPr/>
        </p:nvCxnSpPr>
        <p:spPr>
          <a:xfrm>
            <a:off x="5786444" y="3143255"/>
            <a:ext cx="714375" cy="499533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4"/>
          <p:cNvSpPr>
            <a:spLocks noChangeArrowheads="1"/>
          </p:cNvSpPr>
          <p:nvPr/>
        </p:nvSpPr>
        <p:spPr bwMode="auto">
          <a:xfrm rot="-2308140">
            <a:off x="4164016" y="4988353"/>
            <a:ext cx="122078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100">
                <a:latin typeface="Ramabhadra" pitchFamily="2" charset="0"/>
                <a:cs typeface="Ramabhadra" pitchFamily="2" charset="0"/>
              </a:rPr>
              <a:t>సింగపూర్</a:t>
            </a:r>
          </a:p>
        </p:txBody>
      </p:sp>
      <p:sp>
        <p:nvSpPr>
          <p:cNvPr id="134" name="Freeform 133"/>
          <p:cNvSpPr/>
          <p:nvPr/>
        </p:nvSpPr>
        <p:spPr>
          <a:xfrm>
            <a:off x="5911856" y="3348570"/>
            <a:ext cx="138113" cy="207433"/>
          </a:xfrm>
          <a:custGeom>
            <a:avLst/>
            <a:gdLst>
              <a:gd name="connsiteX0" fmla="*/ 5715 w 139065"/>
              <a:gd name="connsiteY0" fmla="*/ 42322 h 207804"/>
              <a:gd name="connsiteX1" fmla="*/ 43815 w 139065"/>
              <a:gd name="connsiteY1" fmla="*/ 34702 h 207804"/>
              <a:gd name="connsiteX2" fmla="*/ 55245 w 139065"/>
              <a:gd name="connsiteY2" fmla="*/ 30892 h 207804"/>
              <a:gd name="connsiteX3" fmla="*/ 81915 w 139065"/>
              <a:gd name="connsiteY3" fmla="*/ 11842 h 207804"/>
              <a:gd name="connsiteX4" fmla="*/ 104775 w 139065"/>
              <a:gd name="connsiteY4" fmla="*/ 15652 h 207804"/>
              <a:gd name="connsiteX5" fmla="*/ 116205 w 139065"/>
              <a:gd name="connsiteY5" fmla="*/ 61372 h 207804"/>
              <a:gd name="connsiteX6" fmla="*/ 139065 w 139065"/>
              <a:gd name="connsiteY6" fmla="*/ 72802 h 207804"/>
              <a:gd name="connsiteX7" fmla="*/ 131445 w 139065"/>
              <a:gd name="connsiteY7" fmla="*/ 103282 h 207804"/>
              <a:gd name="connsiteX8" fmla="*/ 120015 w 139065"/>
              <a:gd name="connsiteY8" fmla="*/ 114712 h 207804"/>
              <a:gd name="connsiteX9" fmla="*/ 108585 w 139065"/>
              <a:gd name="connsiteY9" fmla="*/ 137572 h 207804"/>
              <a:gd name="connsiteX10" fmla="*/ 100965 w 139065"/>
              <a:gd name="connsiteY10" fmla="*/ 160432 h 207804"/>
              <a:gd name="connsiteX11" fmla="*/ 93345 w 139065"/>
              <a:gd name="connsiteY11" fmla="*/ 171862 h 207804"/>
              <a:gd name="connsiteX12" fmla="*/ 74295 w 139065"/>
              <a:gd name="connsiteY12" fmla="*/ 202342 h 207804"/>
              <a:gd name="connsiteX13" fmla="*/ 62865 w 139065"/>
              <a:gd name="connsiteY13" fmla="*/ 206152 h 207804"/>
              <a:gd name="connsiteX14" fmla="*/ 40005 w 139065"/>
              <a:gd name="connsiteY14" fmla="*/ 202342 h 207804"/>
              <a:gd name="connsiteX15" fmla="*/ 43815 w 139065"/>
              <a:gd name="connsiteY15" fmla="*/ 187102 h 207804"/>
              <a:gd name="connsiteX16" fmla="*/ 32385 w 139065"/>
              <a:gd name="connsiteY16" fmla="*/ 179482 h 207804"/>
              <a:gd name="connsiteX17" fmla="*/ 24765 w 139065"/>
              <a:gd name="connsiteY17" fmla="*/ 168052 h 207804"/>
              <a:gd name="connsiteX18" fmla="*/ 28575 w 139065"/>
              <a:gd name="connsiteY18" fmla="*/ 152812 h 207804"/>
              <a:gd name="connsiteX19" fmla="*/ 36195 w 139065"/>
              <a:gd name="connsiteY19" fmla="*/ 129952 h 207804"/>
              <a:gd name="connsiteX20" fmla="*/ 40005 w 139065"/>
              <a:gd name="connsiteY20" fmla="*/ 118522 h 207804"/>
              <a:gd name="connsiteX21" fmla="*/ 47625 w 139065"/>
              <a:gd name="connsiteY21" fmla="*/ 107092 h 207804"/>
              <a:gd name="connsiteX22" fmla="*/ 43815 w 139065"/>
              <a:gd name="connsiteY22" fmla="*/ 95662 h 207804"/>
              <a:gd name="connsiteX23" fmla="*/ 20955 w 139065"/>
              <a:gd name="connsiteY23" fmla="*/ 88042 h 207804"/>
              <a:gd name="connsiteX24" fmla="*/ 9525 w 139065"/>
              <a:gd name="connsiteY24" fmla="*/ 80422 h 207804"/>
              <a:gd name="connsiteX25" fmla="*/ 5715 w 139065"/>
              <a:gd name="connsiteY25" fmla="*/ 42322 h 207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39065" h="207804">
                <a:moveTo>
                  <a:pt x="5715" y="42322"/>
                </a:moveTo>
                <a:cubicBezTo>
                  <a:pt x="11430" y="34702"/>
                  <a:pt x="31195" y="37614"/>
                  <a:pt x="43815" y="34702"/>
                </a:cubicBezTo>
                <a:cubicBezTo>
                  <a:pt x="47728" y="33799"/>
                  <a:pt x="51903" y="33120"/>
                  <a:pt x="55245" y="30892"/>
                </a:cubicBezTo>
                <a:cubicBezTo>
                  <a:pt x="101583" y="0"/>
                  <a:pt x="29292" y="38153"/>
                  <a:pt x="81915" y="11842"/>
                </a:cubicBezTo>
                <a:cubicBezTo>
                  <a:pt x="89535" y="13112"/>
                  <a:pt x="97865" y="12197"/>
                  <a:pt x="104775" y="15652"/>
                </a:cubicBezTo>
                <a:cubicBezTo>
                  <a:pt x="117326" y="21927"/>
                  <a:pt x="115528" y="59509"/>
                  <a:pt x="116205" y="61372"/>
                </a:cubicBezTo>
                <a:cubicBezTo>
                  <a:pt x="118242" y="66975"/>
                  <a:pt x="134460" y="71267"/>
                  <a:pt x="139065" y="72802"/>
                </a:cubicBezTo>
                <a:cubicBezTo>
                  <a:pt x="138515" y="75550"/>
                  <a:pt x="134792" y="98261"/>
                  <a:pt x="131445" y="103282"/>
                </a:cubicBezTo>
                <a:cubicBezTo>
                  <a:pt x="128456" y="107765"/>
                  <a:pt x="123825" y="110902"/>
                  <a:pt x="120015" y="114712"/>
                </a:cubicBezTo>
                <a:cubicBezTo>
                  <a:pt x="106120" y="156397"/>
                  <a:pt x="128280" y="93257"/>
                  <a:pt x="108585" y="137572"/>
                </a:cubicBezTo>
                <a:cubicBezTo>
                  <a:pt x="105323" y="144912"/>
                  <a:pt x="105420" y="153749"/>
                  <a:pt x="100965" y="160432"/>
                </a:cubicBezTo>
                <a:cubicBezTo>
                  <a:pt x="98425" y="164242"/>
                  <a:pt x="95205" y="167678"/>
                  <a:pt x="93345" y="171862"/>
                </a:cubicBezTo>
                <a:cubicBezTo>
                  <a:pt x="83417" y="194201"/>
                  <a:pt x="92899" y="193040"/>
                  <a:pt x="74295" y="202342"/>
                </a:cubicBezTo>
                <a:cubicBezTo>
                  <a:pt x="70703" y="204138"/>
                  <a:pt x="66675" y="204882"/>
                  <a:pt x="62865" y="206152"/>
                </a:cubicBezTo>
                <a:cubicBezTo>
                  <a:pt x="55245" y="204882"/>
                  <a:pt x="45467" y="207804"/>
                  <a:pt x="40005" y="202342"/>
                </a:cubicBezTo>
                <a:cubicBezTo>
                  <a:pt x="36302" y="198639"/>
                  <a:pt x="45471" y="192070"/>
                  <a:pt x="43815" y="187102"/>
                </a:cubicBezTo>
                <a:cubicBezTo>
                  <a:pt x="42367" y="182758"/>
                  <a:pt x="36195" y="182022"/>
                  <a:pt x="32385" y="179482"/>
                </a:cubicBezTo>
                <a:cubicBezTo>
                  <a:pt x="29845" y="175672"/>
                  <a:pt x="25413" y="172585"/>
                  <a:pt x="24765" y="168052"/>
                </a:cubicBezTo>
                <a:cubicBezTo>
                  <a:pt x="24024" y="162868"/>
                  <a:pt x="27070" y="157828"/>
                  <a:pt x="28575" y="152812"/>
                </a:cubicBezTo>
                <a:cubicBezTo>
                  <a:pt x="30883" y="145119"/>
                  <a:pt x="33655" y="137572"/>
                  <a:pt x="36195" y="129952"/>
                </a:cubicBezTo>
                <a:cubicBezTo>
                  <a:pt x="37465" y="126142"/>
                  <a:pt x="37777" y="121864"/>
                  <a:pt x="40005" y="118522"/>
                </a:cubicBezTo>
                <a:lnTo>
                  <a:pt x="47625" y="107092"/>
                </a:lnTo>
                <a:cubicBezTo>
                  <a:pt x="46355" y="103282"/>
                  <a:pt x="47083" y="97996"/>
                  <a:pt x="43815" y="95662"/>
                </a:cubicBezTo>
                <a:cubicBezTo>
                  <a:pt x="37279" y="90993"/>
                  <a:pt x="27638" y="92497"/>
                  <a:pt x="20955" y="88042"/>
                </a:cubicBezTo>
                <a:lnTo>
                  <a:pt x="9525" y="80422"/>
                </a:lnTo>
                <a:cubicBezTo>
                  <a:pt x="4791" y="61486"/>
                  <a:pt x="0" y="49942"/>
                  <a:pt x="5715" y="42322"/>
                </a:cubicBezTo>
                <a:close/>
              </a:path>
            </a:pathLst>
          </a:custGeom>
          <a:blipFill>
            <a:blip r:embed="rId4" cstate="print"/>
            <a:stretch>
              <a:fillRect/>
            </a:stretch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5" name="Freeform 134"/>
          <p:cNvSpPr/>
          <p:nvPr/>
        </p:nvSpPr>
        <p:spPr>
          <a:xfrm>
            <a:off x="5991226" y="2855390"/>
            <a:ext cx="649288" cy="527049"/>
          </a:xfrm>
          <a:custGeom>
            <a:avLst/>
            <a:gdLst>
              <a:gd name="connsiteX0" fmla="*/ 5080 w 648970"/>
              <a:gd name="connsiteY0" fmla="*/ 473271 h 526611"/>
              <a:gd name="connsiteX1" fmla="*/ 35560 w 648970"/>
              <a:gd name="connsiteY1" fmla="*/ 465651 h 526611"/>
              <a:gd name="connsiteX2" fmla="*/ 46990 w 648970"/>
              <a:gd name="connsiteY2" fmla="*/ 461841 h 526611"/>
              <a:gd name="connsiteX3" fmla="*/ 69850 w 648970"/>
              <a:gd name="connsiteY3" fmla="*/ 438981 h 526611"/>
              <a:gd name="connsiteX4" fmla="*/ 85090 w 648970"/>
              <a:gd name="connsiteY4" fmla="*/ 404691 h 526611"/>
              <a:gd name="connsiteX5" fmla="*/ 96520 w 648970"/>
              <a:gd name="connsiteY5" fmla="*/ 400881 h 526611"/>
              <a:gd name="connsiteX6" fmla="*/ 138430 w 648970"/>
              <a:gd name="connsiteY6" fmla="*/ 397071 h 526611"/>
              <a:gd name="connsiteX7" fmla="*/ 161290 w 648970"/>
              <a:gd name="connsiteY7" fmla="*/ 393261 h 526611"/>
              <a:gd name="connsiteX8" fmla="*/ 176530 w 648970"/>
              <a:gd name="connsiteY8" fmla="*/ 389451 h 526611"/>
              <a:gd name="connsiteX9" fmla="*/ 260350 w 648970"/>
              <a:gd name="connsiteY9" fmla="*/ 385641 h 526611"/>
              <a:gd name="connsiteX10" fmla="*/ 275590 w 648970"/>
              <a:gd name="connsiteY10" fmla="*/ 381831 h 526611"/>
              <a:gd name="connsiteX11" fmla="*/ 290830 w 648970"/>
              <a:gd name="connsiteY11" fmla="*/ 358971 h 526611"/>
              <a:gd name="connsiteX12" fmla="*/ 294640 w 648970"/>
              <a:gd name="connsiteY12" fmla="*/ 347541 h 526611"/>
              <a:gd name="connsiteX13" fmla="*/ 306070 w 648970"/>
              <a:gd name="connsiteY13" fmla="*/ 343731 h 526611"/>
              <a:gd name="connsiteX14" fmla="*/ 325120 w 648970"/>
              <a:gd name="connsiteY14" fmla="*/ 286581 h 526611"/>
              <a:gd name="connsiteX15" fmla="*/ 328930 w 648970"/>
              <a:gd name="connsiteY15" fmla="*/ 275151 h 526611"/>
              <a:gd name="connsiteX16" fmla="*/ 332740 w 648970"/>
              <a:gd name="connsiteY16" fmla="*/ 263721 h 526611"/>
              <a:gd name="connsiteX17" fmla="*/ 359410 w 648970"/>
              <a:gd name="connsiteY17" fmla="*/ 252291 h 526611"/>
              <a:gd name="connsiteX18" fmla="*/ 355600 w 648970"/>
              <a:gd name="connsiteY18" fmla="*/ 259911 h 526611"/>
              <a:gd name="connsiteX19" fmla="*/ 347980 w 648970"/>
              <a:gd name="connsiteY19" fmla="*/ 271341 h 526611"/>
              <a:gd name="connsiteX20" fmla="*/ 351790 w 648970"/>
              <a:gd name="connsiteY20" fmla="*/ 290391 h 526611"/>
              <a:gd name="connsiteX21" fmla="*/ 401320 w 648970"/>
              <a:gd name="connsiteY21" fmla="*/ 298011 h 526611"/>
              <a:gd name="connsiteX22" fmla="*/ 412750 w 648970"/>
              <a:gd name="connsiteY22" fmla="*/ 290391 h 526611"/>
              <a:gd name="connsiteX23" fmla="*/ 420370 w 648970"/>
              <a:gd name="connsiteY23" fmla="*/ 278961 h 526611"/>
              <a:gd name="connsiteX24" fmla="*/ 443230 w 648970"/>
              <a:gd name="connsiteY24" fmla="*/ 271341 h 526611"/>
              <a:gd name="connsiteX25" fmla="*/ 454660 w 648970"/>
              <a:gd name="connsiteY25" fmla="*/ 267531 h 526611"/>
              <a:gd name="connsiteX26" fmla="*/ 466090 w 648970"/>
              <a:gd name="connsiteY26" fmla="*/ 244671 h 526611"/>
              <a:gd name="connsiteX27" fmla="*/ 473710 w 648970"/>
              <a:gd name="connsiteY27" fmla="*/ 218001 h 526611"/>
              <a:gd name="connsiteX28" fmla="*/ 481330 w 648970"/>
              <a:gd name="connsiteY28" fmla="*/ 206571 h 526611"/>
              <a:gd name="connsiteX29" fmla="*/ 504190 w 648970"/>
              <a:gd name="connsiteY29" fmla="*/ 187521 h 526611"/>
              <a:gd name="connsiteX30" fmla="*/ 515620 w 648970"/>
              <a:gd name="connsiteY30" fmla="*/ 176091 h 526611"/>
              <a:gd name="connsiteX31" fmla="*/ 523240 w 648970"/>
              <a:gd name="connsiteY31" fmla="*/ 153231 h 526611"/>
              <a:gd name="connsiteX32" fmla="*/ 527050 w 648970"/>
              <a:gd name="connsiteY32" fmla="*/ 141801 h 526611"/>
              <a:gd name="connsiteX33" fmla="*/ 523240 w 648970"/>
              <a:gd name="connsiteY33" fmla="*/ 96081 h 526611"/>
              <a:gd name="connsiteX34" fmla="*/ 527050 w 648970"/>
              <a:gd name="connsiteY34" fmla="*/ 73221 h 526611"/>
              <a:gd name="connsiteX35" fmla="*/ 534670 w 648970"/>
              <a:gd name="connsiteY35" fmla="*/ 46551 h 526611"/>
              <a:gd name="connsiteX36" fmla="*/ 553720 w 648970"/>
              <a:gd name="connsiteY36" fmla="*/ 23691 h 526611"/>
              <a:gd name="connsiteX37" fmla="*/ 561340 w 648970"/>
              <a:gd name="connsiteY37" fmla="*/ 12261 h 526611"/>
              <a:gd name="connsiteX38" fmla="*/ 614680 w 648970"/>
              <a:gd name="connsiteY38" fmla="*/ 27501 h 526611"/>
              <a:gd name="connsiteX39" fmla="*/ 622300 w 648970"/>
              <a:gd name="connsiteY39" fmla="*/ 38931 h 526611"/>
              <a:gd name="connsiteX40" fmla="*/ 626110 w 648970"/>
              <a:gd name="connsiteY40" fmla="*/ 77031 h 526611"/>
              <a:gd name="connsiteX41" fmla="*/ 641350 w 648970"/>
              <a:gd name="connsiteY41" fmla="*/ 99891 h 526611"/>
              <a:gd name="connsiteX42" fmla="*/ 648970 w 648970"/>
              <a:gd name="connsiteY42" fmla="*/ 111321 h 526611"/>
              <a:gd name="connsiteX43" fmla="*/ 645160 w 648970"/>
              <a:gd name="connsiteY43" fmla="*/ 145611 h 526611"/>
              <a:gd name="connsiteX44" fmla="*/ 641350 w 648970"/>
              <a:gd name="connsiteY44" fmla="*/ 157041 h 526611"/>
              <a:gd name="connsiteX45" fmla="*/ 618490 w 648970"/>
              <a:gd name="connsiteY45" fmla="*/ 176091 h 526611"/>
              <a:gd name="connsiteX46" fmla="*/ 599440 w 648970"/>
              <a:gd name="connsiteY46" fmla="*/ 198951 h 526611"/>
              <a:gd name="connsiteX47" fmla="*/ 588010 w 648970"/>
              <a:gd name="connsiteY47" fmla="*/ 210381 h 526611"/>
              <a:gd name="connsiteX48" fmla="*/ 580390 w 648970"/>
              <a:gd name="connsiteY48" fmla="*/ 233241 h 526611"/>
              <a:gd name="connsiteX49" fmla="*/ 576580 w 648970"/>
              <a:gd name="connsiteY49" fmla="*/ 298011 h 526611"/>
              <a:gd name="connsiteX50" fmla="*/ 568960 w 648970"/>
              <a:gd name="connsiteY50" fmla="*/ 320871 h 526611"/>
              <a:gd name="connsiteX51" fmla="*/ 557530 w 648970"/>
              <a:gd name="connsiteY51" fmla="*/ 332301 h 526611"/>
              <a:gd name="connsiteX52" fmla="*/ 549910 w 648970"/>
              <a:gd name="connsiteY52" fmla="*/ 355161 h 526611"/>
              <a:gd name="connsiteX53" fmla="*/ 546100 w 648970"/>
              <a:gd name="connsiteY53" fmla="*/ 412311 h 526611"/>
              <a:gd name="connsiteX54" fmla="*/ 523240 w 648970"/>
              <a:gd name="connsiteY54" fmla="*/ 427551 h 526611"/>
              <a:gd name="connsiteX55" fmla="*/ 515620 w 648970"/>
              <a:gd name="connsiteY55" fmla="*/ 416121 h 526611"/>
              <a:gd name="connsiteX56" fmla="*/ 511810 w 648970"/>
              <a:gd name="connsiteY56" fmla="*/ 389451 h 526611"/>
              <a:gd name="connsiteX57" fmla="*/ 500380 w 648970"/>
              <a:gd name="connsiteY57" fmla="*/ 393261 h 526611"/>
              <a:gd name="connsiteX58" fmla="*/ 488950 w 648970"/>
              <a:gd name="connsiteY58" fmla="*/ 400881 h 526611"/>
              <a:gd name="connsiteX59" fmla="*/ 477520 w 648970"/>
              <a:gd name="connsiteY59" fmla="*/ 423741 h 526611"/>
              <a:gd name="connsiteX60" fmla="*/ 466090 w 648970"/>
              <a:gd name="connsiteY60" fmla="*/ 431361 h 526611"/>
              <a:gd name="connsiteX61" fmla="*/ 443230 w 648970"/>
              <a:gd name="connsiteY61" fmla="*/ 450411 h 526611"/>
              <a:gd name="connsiteX62" fmla="*/ 439420 w 648970"/>
              <a:gd name="connsiteY62" fmla="*/ 438981 h 526611"/>
              <a:gd name="connsiteX63" fmla="*/ 412750 w 648970"/>
              <a:gd name="connsiteY63" fmla="*/ 442791 h 526611"/>
              <a:gd name="connsiteX64" fmla="*/ 355600 w 648970"/>
              <a:gd name="connsiteY64" fmla="*/ 438981 h 526611"/>
              <a:gd name="connsiteX65" fmla="*/ 328930 w 648970"/>
              <a:gd name="connsiteY65" fmla="*/ 435171 h 526611"/>
              <a:gd name="connsiteX66" fmla="*/ 325120 w 648970"/>
              <a:gd name="connsiteY66" fmla="*/ 461841 h 526611"/>
              <a:gd name="connsiteX67" fmla="*/ 321310 w 648970"/>
              <a:gd name="connsiteY67" fmla="*/ 477081 h 526611"/>
              <a:gd name="connsiteX68" fmla="*/ 302260 w 648970"/>
              <a:gd name="connsiteY68" fmla="*/ 496131 h 526611"/>
              <a:gd name="connsiteX69" fmla="*/ 290830 w 648970"/>
              <a:gd name="connsiteY69" fmla="*/ 499941 h 526611"/>
              <a:gd name="connsiteX70" fmla="*/ 271780 w 648970"/>
              <a:gd name="connsiteY70" fmla="*/ 526611 h 526611"/>
              <a:gd name="connsiteX71" fmla="*/ 264160 w 648970"/>
              <a:gd name="connsiteY71" fmla="*/ 503751 h 526611"/>
              <a:gd name="connsiteX72" fmla="*/ 260350 w 648970"/>
              <a:gd name="connsiteY72" fmla="*/ 492321 h 526611"/>
              <a:gd name="connsiteX73" fmla="*/ 252730 w 648970"/>
              <a:gd name="connsiteY73" fmla="*/ 480891 h 526611"/>
              <a:gd name="connsiteX74" fmla="*/ 256540 w 648970"/>
              <a:gd name="connsiteY74" fmla="*/ 450411 h 526611"/>
              <a:gd name="connsiteX75" fmla="*/ 180340 w 648970"/>
              <a:gd name="connsiteY75" fmla="*/ 435171 h 526611"/>
              <a:gd name="connsiteX76" fmla="*/ 168910 w 648970"/>
              <a:gd name="connsiteY76" fmla="*/ 442791 h 526611"/>
              <a:gd name="connsiteX77" fmla="*/ 104140 w 648970"/>
              <a:gd name="connsiteY77" fmla="*/ 450411 h 526611"/>
              <a:gd name="connsiteX78" fmla="*/ 81280 w 648970"/>
              <a:gd name="connsiteY78" fmla="*/ 458031 h 526611"/>
              <a:gd name="connsiteX79" fmla="*/ 69850 w 648970"/>
              <a:gd name="connsiteY79" fmla="*/ 465651 h 526611"/>
              <a:gd name="connsiteX80" fmla="*/ 54610 w 648970"/>
              <a:gd name="connsiteY80" fmla="*/ 469461 h 526611"/>
              <a:gd name="connsiteX81" fmla="*/ 31750 w 648970"/>
              <a:gd name="connsiteY81" fmla="*/ 477081 h 526611"/>
              <a:gd name="connsiteX82" fmla="*/ 5080 w 648970"/>
              <a:gd name="connsiteY82" fmla="*/ 484701 h 526611"/>
              <a:gd name="connsiteX83" fmla="*/ 5080 w 648970"/>
              <a:gd name="connsiteY83" fmla="*/ 473271 h 526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648970" h="526611">
                <a:moveTo>
                  <a:pt x="5080" y="473271"/>
                </a:moveTo>
                <a:cubicBezTo>
                  <a:pt x="10160" y="470096"/>
                  <a:pt x="25456" y="468407"/>
                  <a:pt x="35560" y="465651"/>
                </a:cubicBezTo>
                <a:cubicBezTo>
                  <a:pt x="39435" y="464594"/>
                  <a:pt x="43820" y="464307"/>
                  <a:pt x="46990" y="461841"/>
                </a:cubicBezTo>
                <a:cubicBezTo>
                  <a:pt x="55496" y="455225"/>
                  <a:pt x="69850" y="438981"/>
                  <a:pt x="69850" y="438981"/>
                </a:cubicBezTo>
                <a:cubicBezTo>
                  <a:pt x="72178" y="431996"/>
                  <a:pt x="76857" y="411278"/>
                  <a:pt x="85090" y="404691"/>
                </a:cubicBezTo>
                <a:cubicBezTo>
                  <a:pt x="88226" y="402182"/>
                  <a:pt x="92544" y="401449"/>
                  <a:pt x="96520" y="400881"/>
                </a:cubicBezTo>
                <a:cubicBezTo>
                  <a:pt x="110407" y="398897"/>
                  <a:pt x="124498" y="398710"/>
                  <a:pt x="138430" y="397071"/>
                </a:cubicBezTo>
                <a:cubicBezTo>
                  <a:pt x="146102" y="396168"/>
                  <a:pt x="153715" y="394776"/>
                  <a:pt x="161290" y="393261"/>
                </a:cubicBezTo>
                <a:cubicBezTo>
                  <a:pt x="166425" y="392234"/>
                  <a:pt x="171309" y="389853"/>
                  <a:pt x="176530" y="389451"/>
                </a:cubicBezTo>
                <a:cubicBezTo>
                  <a:pt x="204416" y="387306"/>
                  <a:pt x="232410" y="386911"/>
                  <a:pt x="260350" y="385641"/>
                </a:cubicBezTo>
                <a:cubicBezTo>
                  <a:pt x="265430" y="384371"/>
                  <a:pt x="271649" y="385279"/>
                  <a:pt x="275590" y="381831"/>
                </a:cubicBezTo>
                <a:cubicBezTo>
                  <a:pt x="282482" y="375800"/>
                  <a:pt x="287934" y="367659"/>
                  <a:pt x="290830" y="358971"/>
                </a:cubicBezTo>
                <a:cubicBezTo>
                  <a:pt x="292100" y="355161"/>
                  <a:pt x="291800" y="350381"/>
                  <a:pt x="294640" y="347541"/>
                </a:cubicBezTo>
                <a:cubicBezTo>
                  <a:pt x="297480" y="344701"/>
                  <a:pt x="302260" y="345001"/>
                  <a:pt x="306070" y="343731"/>
                </a:cubicBezTo>
                <a:lnTo>
                  <a:pt x="325120" y="286581"/>
                </a:lnTo>
                <a:lnTo>
                  <a:pt x="328930" y="275151"/>
                </a:lnTo>
                <a:cubicBezTo>
                  <a:pt x="330200" y="271341"/>
                  <a:pt x="329398" y="265949"/>
                  <a:pt x="332740" y="263721"/>
                </a:cubicBezTo>
                <a:cubicBezTo>
                  <a:pt x="348527" y="253196"/>
                  <a:pt x="339728" y="257212"/>
                  <a:pt x="359410" y="252291"/>
                </a:cubicBezTo>
                <a:cubicBezTo>
                  <a:pt x="381923" y="259795"/>
                  <a:pt x="366763" y="252469"/>
                  <a:pt x="355600" y="259911"/>
                </a:cubicBezTo>
                <a:cubicBezTo>
                  <a:pt x="351790" y="262451"/>
                  <a:pt x="350520" y="267531"/>
                  <a:pt x="347980" y="271341"/>
                </a:cubicBezTo>
                <a:cubicBezTo>
                  <a:pt x="349250" y="277691"/>
                  <a:pt x="348358" y="284900"/>
                  <a:pt x="351790" y="290391"/>
                </a:cubicBezTo>
                <a:cubicBezTo>
                  <a:pt x="364089" y="310070"/>
                  <a:pt x="382707" y="300079"/>
                  <a:pt x="401320" y="298011"/>
                </a:cubicBezTo>
                <a:cubicBezTo>
                  <a:pt x="405130" y="295471"/>
                  <a:pt x="409512" y="293629"/>
                  <a:pt x="412750" y="290391"/>
                </a:cubicBezTo>
                <a:cubicBezTo>
                  <a:pt x="415988" y="287153"/>
                  <a:pt x="416487" y="281388"/>
                  <a:pt x="420370" y="278961"/>
                </a:cubicBezTo>
                <a:cubicBezTo>
                  <a:pt x="427181" y="274704"/>
                  <a:pt x="435610" y="273881"/>
                  <a:pt x="443230" y="271341"/>
                </a:cubicBezTo>
                <a:lnTo>
                  <a:pt x="454660" y="267531"/>
                </a:lnTo>
                <a:cubicBezTo>
                  <a:pt x="464237" y="238801"/>
                  <a:pt x="451318" y="274214"/>
                  <a:pt x="466090" y="244671"/>
                </a:cubicBezTo>
                <a:cubicBezTo>
                  <a:pt x="473504" y="229843"/>
                  <a:pt x="466386" y="235091"/>
                  <a:pt x="473710" y="218001"/>
                </a:cubicBezTo>
                <a:cubicBezTo>
                  <a:pt x="475514" y="213792"/>
                  <a:pt x="478399" y="210089"/>
                  <a:pt x="481330" y="206571"/>
                </a:cubicBezTo>
                <a:cubicBezTo>
                  <a:pt x="496509" y="188357"/>
                  <a:pt x="487843" y="201144"/>
                  <a:pt x="504190" y="187521"/>
                </a:cubicBezTo>
                <a:cubicBezTo>
                  <a:pt x="508329" y="184072"/>
                  <a:pt x="511810" y="179901"/>
                  <a:pt x="515620" y="176091"/>
                </a:cubicBezTo>
                <a:lnTo>
                  <a:pt x="523240" y="153231"/>
                </a:lnTo>
                <a:lnTo>
                  <a:pt x="527050" y="141801"/>
                </a:lnTo>
                <a:cubicBezTo>
                  <a:pt x="525780" y="126561"/>
                  <a:pt x="523240" y="111374"/>
                  <a:pt x="523240" y="96081"/>
                </a:cubicBezTo>
                <a:cubicBezTo>
                  <a:pt x="523240" y="88356"/>
                  <a:pt x="525535" y="80796"/>
                  <a:pt x="527050" y="73221"/>
                </a:cubicBezTo>
                <a:cubicBezTo>
                  <a:pt x="527864" y="69152"/>
                  <a:pt x="532249" y="51393"/>
                  <a:pt x="534670" y="46551"/>
                </a:cubicBezTo>
                <a:cubicBezTo>
                  <a:pt x="541765" y="32362"/>
                  <a:pt x="543187" y="36330"/>
                  <a:pt x="553720" y="23691"/>
                </a:cubicBezTo>
                <a:cubicBezTo>
                  <a:pt x="556651" y="20173"/>
                  <a:pt x="558800" y="16071"/>
                  <a:pt x="561340" y="12261"/>
                </a:cubicBezTo>
                <a:cubicBezTo>
                  <a:pt x="634270" y="17871"/>
                  <a:pt x="600930" y="0"/>
                  <a:pt x="614680" y="27501"/>
                </a:cubicBezTo>
                <a:cubicBezTo>
                  <a:pt x="616728" y="31597"/>
                  <a:pt x="619760" y="35121"/>
                  <a:pt x="622300" y="38931"/>
                </a:cubicBezTo>
                <a:cubicBezTo>
                  <a:pt x="623570" y="51631"/>
                  <a:pt x="622303" y="64849"/>
                  <a:pt x="626110" y="77031"/>
                </a:cubicBezTo>
                <a:cubicBezTo>
                  <a:pt x="628842" y="85772"/>
                  <a:pt x="636270" y="92271"/>
                  <a:pt x="641350" y="99891"/>
                </a:cubicBezTo>
                <a:lnTo>
                  <a:pt x="648970" y="111321"/>
                </a:lnTo>
                <a:cubicBezTo>
                  <a:pt x="647700" y="122751"/>
                  <a:pt x="647051" y="134267"/>
                  <a:pt x="645160" y="145611"/>
                </a:cubicBezTo>
                <a:cubicBezTo>
                  <a:pt x="644500" y="149572"/>
                  <a:pt x="643578" y="153699"/>
                  <a:pt x="641350" y="157041"/>
                </a:cubicBezTo>
                <a:cubicBezTo>
                  <a:pt x="633002" y="169563"/>
                  <a:pt x="629033" y="167306"/>
                  <a:pt x="618490" y="176091"/>
                </a:cubicBezTo>
                <a:cubicBezTo>
                  <a:pt x="600276" y="191270"/>
                  <a:pt x="613063" y="182604"/>
                  <a:pt x="599440" y="198951"/>
                </a:cubicBezTo>
                <a:cubicBezTo>
                  <a:pt x="595991" y="203090"/>
                  <a:pt x="591820" y="206571"/>
                  <a:pt x="588010" y="210381"/>
                </a:cubicBezTo>
                <a:cubicBezTo>
                  <a:pt x="585470" y="218001"/>
                  <a:pt x="580862" y="225223"/>
                  <a:pt x="580390" y="233241"/>
                </a:cubicBezTo>
                <a:cubicBezTo>
                  <a:pt x="579120" y="254831"/>
                  <a:pt x="579377" y="276565"/>
                  <a:pt x="576580" y="298011"/>
                </a:cubicBezTo>
                <a:cubicBezTo>
                  <a:pt x="575541" y="305976"/>
                  <a:pt x="574640" y="315191"/>
                  <a:pt x="568960" y="320871"/>
                </a:cubicBezTo>
                <a:lnTo>
                  <a:pt x="557530" y="332301"/>
                </a:lnTo>
                <a:cubicBezTo>
                  <a:pt x="554990" y="339921"/>
                  <a:pt x="550444" y="347147"/>
                  <a:pt x="549910" y="355161"/>
                </a:cubicBezTo>
                <a:cubicBezTo>
                  <a:pt x="548640" y="374211"/>
                  <a:pt x="552700" y="394396"/>
                  <a:pt x="546100" y="412311"/>
                </a:cubicBezTo>
                <a:cubicBezTo>
                  <a:pt x="542934" y="420904"/>
                  <a:pt x="523240" y="427551"/>
                  <a:pt x="523240" y="427551"/>
                </a:cubicBezTo>
                <a:cubicBezTo>
                  <a:pt x="520700" y="423741"/>
                  <a:pt x="516936" y="420507"/>
                  <a:pt x="515620" y="416121"/>
                </a:cubicBezTo>
                <a:cubicBezTo>
                  <a:pt x="513040" y="407519"/>
                  <a:pt x="516791" y="396923"/>
                  <a:pt x="511810" y="389451"/>
                </a:cubicBezTo>
                <a:cubicBezTo>
                  <a:pt x="509582" y="386109"/>
                  <a:pt x="503972" y="391465"/>
                  <a:pt x="500380" y="393261"/>
                </a:cubicBezTo>
                <a:cubicBezTo>
                  <a:pt x="496284" y="395309"/>
                  <a:pt x="492760" y="398341"/>
                  <a:pt x="488950" y="400881"/>
                </a:cubicBezTo>
                <a:cubicBezTo>
                  <a:pt x="485851" y="410177"/>
                  <a:pt x="484906" y="416355"/>
                  <a:pt x="477520" y="423741"/>
                </a:cubicBezTo>
                <a:cubicBezTo>
                  <a:pt x="474282" y="426979"/>
                  <a:pt x="469608" y="428430"/>
                  <a:pt x="466090" y="431361"/>
                </a:cubicBezTo>
                <a:cubicBezTo>
                  <a:pt x="436754" y="455807"/>
                  <a:pt x="471609" y="431492"/>
                  <a:pt x="443230" y="450411"/>
                </a:cubicBezTo>
                <a:cubicBezTo>
                  <a:pt x="441960" y="446601"/>
                  <a:pt x="443316" y="439955"/>
                  <a:pt x="439420" y="438981"/>
                </a:cubicBezTo>
                <a:cubicBezTo>
                  <a:pt x="430708" y="436803"/>
                  <a:pt x="421730" y="442791"/>
                  <a:pt x="412750" y="442791"/>
                </a:cubicBezTo>
                <a:cubicBezTo>
                  <a:pt x="393658" y="442791"/>
                  <a:pt x="374650" y="440251"/>
                  <a:pt x="355600" y="438981"/>
                </a:cubicBezTo>
                <a:cubicBezTo>
                  <a:pt x="350064" y="435290"/>
                  <a:pt x="336890" y="422435"/>
                  <a:pt x="328930" y="435171"/>
                </a:cubicBezTo>
                <a:cubicBezTo>
                  <a:pt x="324170" y="442786"/>
                  <a:pt x="326726" y="453006"/>
                  <a:pt x="325120" y="461841"/>
                </a:cubicBezTo>
                <a:cubicBezTo>
                  <a:pt x="324183" y="466993"/>
                  <a:pt x="323373" y="472268"/>
                  <a:pt x="321310" y="477081"/>
                </a:cubicBezTo>
                <a:cubicBezTo>
                  <a:pt x="317154" y="486779"/>
                  <a:pt x="311496" y="491513"/>
                  <a:pt x="302260" y="496131"/>
                </a:cubicBezTo>
                <a:cubicBezTo>
                  <a:pt x="298668" y="497927"/>
                  <a:pt x="294640" y="498671"/>
                  <a:pt x="290830" y="499941"/>
                </a:cubicBezTo>
                <a:cubicBezTo>
                  <a:pt x="281940" y="526611"/>
                  <a:pt x="290830" y="520261"/>
                  <a:pt x="271780" y="526611"/>
                </a:cubicBezTo>
                <a:lnTo>
                  <a:pt x="264160" y="503751"/>
                </a:lnTo>
                <a:cubicBezTo>
                  <a:pt x="262890" y="499941"/>
                  <a:pt x="262578" y="495663"/>
                  <a:pt x="260350" y="492321"/>
                </a:cubicBezTo>
                <a:lnTo>
                  <a:pt x="252730" y="480891"/>
                </a:lnTo>
                <a:cubicBezTo>
                  <a:pt x="254000" y="470731"/>
                  <a:pt x="256540" y="460650"/>
                  <a:pt x="256540" y="450411"/>
                </a:cubicBezTo>
                <a:cubicBezTo>
                  <a:pt x="256540" y="407217"/>
                  <a:pt x="227298" y="432700"/>
                  <a:pt x="180340" y="435171"/>
                </a:cubicBezTo>
                <a:cubicBezTo>
                  <a:pt x="176530" y="437711"/>
                  <a:pt x="173006" y="440743"/>
                  <a:pt x="168910" y="442791"/>
                </a:cubicBezTo>
                <a:cubicBezTo>
                  <a:pt x="151591" y="451451"/>
                  <a:pt x="112568" y="449809"/>
                  <a:pt x="104140" y="450411"/>
                </a:cubicBezTo>
                <a:cubicBezTo>
                  <a:pt x="96520" y="452951"/>
                  <a:pt x="87963" y="453576"/>
                  <a:pt x="81280" y="458031"/>
                </a:cubicBezTo>
                <a:cubicBezTo>
                  <a:pt x="77470" y="460571"/>
                  <a:pt x="74059" y="463847"/>
                  <a:pt x="69850" y="465651"/>
                </a:cubicBezTo>
                <a:cubicBezTo>
                  <a:pt x="65037" y="467714"/>
                  <a:pt x="59626" y="467956"/>
                  <a:pt x="54610" y="469461"/>
                </a:cubicBezTo>
                <a:cubicBezTo>
                  <a:pt x="46917" y="471769"/>
                  <a:pt x="39370" y="474541"/>
                  <a:pt x="31750" y="477081"/>
                </a:cubicBezTo>
                <a:cubicBezTo>
                  <a:pt x="26360" y="478878"/>
                  <a:pt x="9864" y="484701"/>
                  <a:pt x="5080" y="484701"/>
                </a:cubicBezTo>
                <a:cubicBezTo>
                  <a:pt x="3810" y="484701"/>
                  <a:pt x="0" y="476446"/>
                  <a:pt x="5080" y="473271"/>
                </a:cubicBez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6" name="Freeform 135"/>
          <p:cNvSpPr/>
          <p:nvPr/>
        </p:nvSpPr>
        <p:spPr>
          <a:xfrm>
            <a:off x="6061081" y="3331639"/>
            <a:ext cx="130175" cy="97367"/>
          </a:xfrm>
          <a:custGeom>
            <a:avLst/>
            <a:gdLst>
              <a:gd name="connsiteX0" fmla="*/ 0 w 130092"/>
              <a:gd name="connsiteY0" fmla="*/ 60960 h 99060"/>
              <a:gd name="connsiteX1" fmla="*/ 3810 w 130092"/>
              <a:gd name="connsiteY1" fmla="*/ 49530 h 99060"/>
              <a:gd name="connsiteX2" fmla="*/ 15240 w 130092"/>
              <a:gd name="connsiteY2" fmla="*/ 30480 h 99060"/>
              <a:gd name="connsiteX3" fmla="*/ 76200 w 130092"/>
              <a:gd name="connsiteY3" fmla="*/ 19050 h 99060"/>
              <a:gd name="connsiteX4" fmla="*/ 83820 w 130092"/>
              <a:gd name="connsiteY4" fmla="*/ 7620 h 99060"/>
              <a:gd name="connsiteX5" fmla="*/ 106680 w 130092"/>
              <a:gd name="connsiteY5" fmla="*/ 0 h 99060"/>
              <a:gd name="connsiteX6" fmla="*/ 125730 w 130092"/>
              <a:gd name="connsiteY6" fmla="*/ 3810 h 99060"/>
              <a:gd name="connsiteX7" fmla="*/ 129540 w 130092"/>
              <a:gd name="connsiteY7" fmla="*/ 15240 h 99060"/>
              <a:gd name="connsiteX8" fmla="*/ 125730 w 130092"/>
              <a:gd name="connsiteY8" fmla="*/ 53340 h 99060"/>
              <a:gd name="connsiteX9" fmla="*/ 114300 w 130092"/>
              <a:gd name="connsiteY9" fmla="*/ 57150 h 99060"/>
              <a:gd name="connsiteX10" fmla="*/ 72390 w 130092"/>
              <a:gd name="connsiteY10" fmla="*/ 64770 h 99060"/>
              <a:gd name="connsiteX11" fmla="*/ 45720 w 130092"/>
              <a:gd name="connsiteY11" fmla="*/ 95250 h 99060"/>
              <a:gd name="connsiteX12" fmla="*/ 30480 w 130092"/>
              <a:gd name="connsiteY12" fmla="*/ 99060 h 99060"/>
              <a:gd name="connsiteX13" fmla="*/ 11430 w 130092"/>
              <a:gd name="connsiteY13" fmla="*/ 72390 h 99060"/>
              <a:gd name="connsiteX14" fmla="*/ 0 w 130092"/>
              <a:gd name="connsiteY14" fmla="*/ 60960 h 9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0092" h="99060">
                <a:moveTo>
                  <a:pt x="0" y="60960"/>
                </a:moveTo>
                <a:cubicBezTo>
                  <a:pt x="1270" y="57150"/>
                  <a:pt x="2014" y="53122"/>
                  <a:pt x="3810" y="49530"/>
                </a:cubicBezTo>
                <a:cubicBezTo>
                  <a:pt x="7122" y="42906"/>
                  <a:pt x="10421" y="36103"/>
                  <a:pt x="15240" y="30480"/>
                </a:cubicBezTo>
                <a:cubicBezTo>
                  <a:pt x="28882" y="14565"/>
                  <a:pt x="63929" y="19994"/>
                  <a:pt x="76200" y="19050"/>
                </a:cubicBezTo>
                <a:cubicBezTo>
                  <a:pt x="78740" y="15240"/>
                  <a:pt x="79937" y="10047"/>
                  <a:pt x="83820" y="7620"/>
                </a:cubicBezTo>
                <a:cubicBezTo>
                  <a:pt x="90631" y="3363"/>
                  <a:pt x="106680" y="0"/>
                  <a:pt x="106680" y="0"/>
                </a:cubicBezTo>
                <a:cubicBezTo>
                  <a:pt x="113030" y="1270"/>
                  <a:pt x="120342" y="218"/>
                  <a:pt x="125730" y="3810"/>
                </a:cubicBezTo>
                <a:cubicBezTo>
                  <a:pt x="129072" y="6038"/>
                  <a:pt x="129540" y="11224"/>
                  <a:pt x="129540" y="15240"/>
                </a:cubicBezTo>
                <a:cubicBezTo>
                  <a:pt x="129540" y="28003"/>
                  <a:pt x="130092" y="41345"/>
                  <a:pt x="125730" y="53340"/>
                </a:cubicBezTo>
                <a:cubicBezTo>
                  <a:pt x="124358" y="57114"/>
                  <a:pt x="118238" y="56362"/>
                  <a:pt x="114300" y="57150"/>
                </a:cubicBezTo>
                <a:cubicBezTo>
                  <a:pt x="46042" y="70802"/>
                  <a:pt x="117569" y="53475"/>
                  <a:pt x="72390" y="64770"/>
                </a:cubicBezTo>
                <a:cubicBezTo>
                  <a:pt x="63077" y="78740"/>
                  <a:pt x="60537" y="88900"/>
                  <a:pt x="45720" y="95250"/>
                </a:cubicBezTo>
                <a:cubicBezTo>
                  <a:pt x="40907" y="97313"/>
                  <a:pt x="35560" y="97790"/>
                  <a:pt x="30480" y="99060"/>
                </a:cubicBezTo>
                <a:cubicBezTo>
                  <a:pt x="12642" y="93114"/>
                  <a:pt x="17895" y="98252"/>
                  <a:pt x="11430" y="72390"/>
                </a:cubicBezTo>
                <a:lnTo>
                  <a:pt x="0" y="60960"/>
                </a:lnTo>
                <a:close/>
              </a:path>
            </a:pathLst>
          </a:custGeom>
          <a:blipFill>
            <a:blip r:embed="rId6" cstate="print"/>
            <a:stretch>
              <a:fillRect/>
            </a:stretch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7" name="Freeform 136"/>
          <p:cNvSpPr/>
          <p:nvPr/>
        </p:nvSpPr>
        <p:spPr>
          <a:xfrm>
            <a:off x="6523044" y="2588690"/>
            <a:ext cx="325437" cy="258233"/>
          </a:xfrm>
          <a:custGeom>
            <a:avLst/>
            <a:gdLst>
              <a:gd name="connsiteX0" fmla="*/ 60960 w 325959"/>
              <a:gd name="connsiteY0" fmla="*/ 4851 h 256342"/>
              <a:gd name="connsiteX1" fmla="*/ 95250 w 325959"/>
              <a:gd name="connsiteY1" fmla="*/ 1041 h 256342"/>
              <a:gd name="connsiteX2" fmla="*/ 129540 w 325959"/>
              <a:gd name="connsiteY2" fmla="*/ 8661 h 256342"/>
              <a:gd name="connsiteX3" fmla="*/ 140970 w 325959"/>
              <a:gd name="connsiteY3" fmla="*/ 16281 h 256342"/>
              <a:gd name="connsiteX4" fmla="*/ 152400 w 325959"/>
              <a:gd name="connsiteY4" fmla="*/ 42951 h 256342"/>
              <a:gd name="connsiteX5" fmla="*/ 163830 w 325959"/>
              <a:gd name="connsiteY5" fmla="*/ 46761 h 256342"/>
              <a:gd name="connsiteX6" fmla="*/ 186690 w 325959"/>
              <a:gd name="connsiteY6" fmla="*/ 62001 h 256342"/>
              <a:gd name="connsiteX7" fmla="*/ 198120 w 325959"/>
              <a:gd name="connsiteY7" fmla="*/ 69621 h 256342"/>
              <a:gd name="connsiteX8" fmla="*/ 209550 w 325959"/>
              <a:gd name="connsiteY8" fmla="*/ 73431 h 256342"/>
              <a:gd name="connsiteX9" fmla="*/ 281940 w 325959"/>
              <a:gd name="connsiteY9" fmla="*/ 69621 h 256342"/>
              <a:gd name="connsiteX10" fmla="*/ 293370 w 325959"/>
              <a:gd name="connsiteY10" fmla="*/ 65811 h 256342"/>
              <a:gd name="connsiteX11" fmla="*/ 308610 w 325959"/>
              <a:gd name="connsiteY11" fmla="*/ 62001 h 256342"/>
              <a:gd name="connsiteX12" fmla="*/ 323850 w 325959"/>
              <a:gd name="connsiteY12" fmla="*/ 65811 h 256342"/>
              <a:gd name="connsiteX13" fmla="*/ 316230 w 325959"/>
              <a:gd name="connsiteY13" fmla="*/ 81051 h 256342"/>
              <a:gd name="connsiteX14" fmla="*/ 304800 w 325959"/>
              <a:gd name="connsiteY14" fmla="*/ 84861 h 256342"/>
              <a:gd name="connsiteX15" fmla="*/ 278130 w 325959"/>
              <a:gd name="connsiteY15" fmla="*/ 96291 h 256342"/>
              <a:gd name="connsiteX16" fmla="*/ 262890 w 325959"/>
              <a:gd name="connsiteY16" fmla="*/ 119151 h 256342"/>
              <a:gd name="connsiteX17" fmla="*/ 251460 w 325959"/>
              <a:gd name="connsiteY17" fmla="*/ 157251 h 256342"/>
              <a:gd name="connsiteX18" fmla="*/ 228600 w 325959"/>
              <a:gd name="connsiteY18" fmla="*/ 164871 h 256342"/>
              <a:gd name="connsiteX19" fmla="*/ 217170 w 325959"/>
              <a:gd name="connsiteY19" fmla="*/ 168681 h 256342"/>
              <a:gd name="connsiteX20" fmla="*/ 209550 w 325959"/>
              <a:gd name="connsiteY20" fmla="*/ 180111 h 256342"/>
              <a:gd name="connsiteX21" fmla="*/ 190500 w 325959"/>
              <a:gd name="connsiteY21" fmla="*/ 214401 h 256342"/>
              <a:gd name="connsiteX22" fmla="*/ 179070 w 325959"/>
              <a:gd name="connsiteY22" fmla="*/ 222021 h 256342"/>
              <a:gd name="connsiteX23" fmla="*/ 152400 w 325959"/>
              <a:gd name="connsiteY23" fmla="*/ 218211 h 256342"/>
              <a:gd name="connsiteX24" fmla="*/ 140970 w 325959"/>
              <a:gd name="connsiteY24" fmla="*/ 214401 h 256342"/>
              <a:gd name="connsiteX25" fmla="*/ 118110 w 325959"/>
              <a:gd name="connsiteY25" fmla="*/ 191541 h 256342"/>
              <a:gd name="connsiteX26" fmla="*/ 106680 w 325959"/>
              <a:gd name="connsiteY26" fmla="*/ 183921 h 256342"/>
              <a:gd name="connsiteX27" fmla="*/ 68580 w 325959"/>
              <a:gd name="connsiteY27" fmla="*/ 187731 h 256342"/>
              <a:gd name="connsiteX28" fmla="*/ 45720 w 325959"/>
              <a:gd name="connsiteY28" fmla="*/ 195351 h 256342"/>
              <a:gd name="connsiteX29" fmla="*/ 34290 w 325959"/>
              <a:gd name="connsiteY29" fmla="*/ 191541 h 256342"/>
              <a:gd name="connsiteX30" fmla="*/ 30480 w 325959"/>
              <a:gd name="connsiteY30" fmla="*/ 202971 h 256342"/>
              <a:gd name="connsiteX31" fmla="*/ 34290 w 325959"/>
              <a:gd name="connsiteY31" fmla="*/ 233451 h 256342"/>
              <a:gd name="connsiteX32" fmla="*/ 30480 w 325959"/>
              <a:gd name="connsiteY32" fmla="*/ 248691 h 256342"/>
              <a:gd name="connsiteX33" fmla="*/ 3810 w 325959"/>
              <a:gd name="connsiteY33" fmla="*/ 233451 h 256342"/>
              <a:gd name="connsiteX34" fmla="*/ 0 w 325959"/>
              <a:gd name="connsiteY34" fmla="*/ 214401 h 256342"/>
              <a:gd name="connsiteX35" fmla="*/ 3810 w 325959"/>
              <a:gd name="connsiteY35" fmla="*/ 172491 h 256342"/>
              <a:gd name="connsiteX36" fmla="*/ 15240 w 325959"/>
              <a:gd name="connsiteY36" fmla="*/ 149631 h 256342"/>
              <a:gd name="connsiteX37" fmla="*/ 26670 w 325959"/>
              <a:gd name="connsiteY37" fmla="*/ 145821 h 256342"/>
              <a:gd name="connsiteX38" fmla="*/ 38100 w 325959"/>
              <a:gd name="connsiteY38" fmla="*/ 138201 h 256342"/>
              <a:gd name="connsiteX39" fmla="*/ 60960 w 325959"/>
              <a:gd name="connsiteY39" fmla="*/ 130581 h 256342"/>
              <a:gd name="connsiteX40" fmla="*/ 83820 w 325959"/>
              <a:gd name="connsiteY40" fmla="*/ 111531 h 256342"/>
              <a:gd name="connsiteX41" fmla="*/ 87630 w 325959"/>
              <a:gd name="connsiteY41" fmla="*/ 81051 h 256342"/>
              <a:gd name="connsiteX42" fmla="*/ 91440 w 325959"/>
              <a:gd name="connsiteY42" fmla="*/ 69621 h 256342"/>
              <a:gd name="connsiteX43" fmla="*/ 102870 w 325959"/>
              <a:gd name="connsiteY43" fmla="*/ 62001 h 256342"/>
              <a:gd name="connsiteX44" fmla="*/ 83820 w 325959"/>
              <a:gd name="connsiteY44" fmla="*/ 16281 h 256342"/>
              <a:gd name="connsiteX45" fmla="*/ 60960 w 325959"/>
              <a:gd name="connsiteY45" fmla="*/ 4851 h 256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325959" h="256342">
                <a:moveTo>
                  <a:pt x="60960" y="4851"/>
                </a:moveTo>
                <a:cubicBezTo>
                  <a:pt x="62865" y="2311"/>
                  <a:pt x="83750" y="1041"/>
                  <a:pt x="95250" y="1041"/>
                </a:cubicBezTo>
                <a:cubicBezTo>
                  <a:pt x="101103" y="1041"/>
                  <a:pt x="121682" y="4732"/>
                  <a:pt x="129540" y="8661"/>
                </a:cubicBezTo>
                <a:cubicBezTo>
                  <a:pt x="133636" y="10709"/>
                  <a:pt x="137160" y="13741"/>
                  <a:pt x="140970" y="16281"/>
                </a:cubicBezTo>
                <a:cubicBezTo>
                  <a:pt x="143258" y="25432"/>
                  <a:pt x="144178" y="36373"/>
                  <a:pt x="152400" y="42951"/>
                </a:cubicBezTo>
                <a:cubicBezTo>
                  <a:pt x="155536" y="45460"/>
                  <a:pt x="160319" y="44811"/>
                  <a:pt x="163830" y="46761"/>
                </a:cubicBezTo>
                <a:cubicBezTo>
                  <a:pt x="171836" y="51209"/>
                  <a:pt x="179070" y="56921"/>
                  <a:pt x="186690" y="62001"/>
                </a:cubicBezTo>
                <a:cubicBezTo>
                  <a:pt x="190500" y="64541"/>
                  <a:pt x="193776" y="68173"/>
                  <a:pt x="198120" y="69621"/>
                </a:cubicBezTo>
                <a:lnTo>
                  <a:pt x="209550" y="73431"/>
                </a:lnTo>
                <a:cubicBezTo>
                  <a:pt x="233680" y="72161"/>
                  <a:pt x="257876" y="71809"/>
                  <a:pt x="281940" y="69621"/>
                </a:cubicBezTo>
                <a:cubicBezTo>
                  <a:pt x="285940" y="69257"/>
                  <a:pt x="289508" y="66914"/>
                  <a:pt x="293370" y="65811"/>
                </a:cubicBezTo>
                <a:cubicBezTo>
                  <a:pt x="298405" y="64372"/>
                  <a:pt x="303530" y="63271"/>
                  <a:pt x="308610" y="62001"/>
                </a:cubicBezTo>
                <a:cubicBezTo>
                  <a:pt x="313690" y="63271"/>
                  <a:pt x="321905" y="60949"/>
                  <a:pt x="323850" y="65811"/>
                </a:cubicBezTo>
                <a:cubicBezTo>
                  <a:pt x="325959" y="71084"/>
                  <a:pt x="320246" y="77035"/>
                  <a:pt x="316230" y="81051"/>
                </a:cubicBezTo>
                <a:cubicBezTo>
                  <a:pt x="313390" y="83891"/>
                  <a:pt x="308392" y="83065"/>
                  <a:pt x="304800" y="84861"/>
                </a:cubicBezTo>
                <a:cubicBezTo>
                  <a:pt x="278488" y="98017"/>
                  <a:pt x="309848" y="88362"/>
                  <a:pt x="278130" y="96291"/>
                </a:cubicBezTo>
                <a:cubicBezTo>
                  <a:pt x="273050" y="103911"/>
                  <a:pt x="264185" y="110085"/>
                  <a:pt x="262890" y="119151"/>
                </a:cubicBezTo>
                <a:cubicBezTo>
                  <a:pt x="261824" y="126610"/>
                  <a:pt x="262332" y="150456"/>
                  <a:pt x="251460" y="157251"/>
                </a:cubicBezTo>
                <a:cubicBezTo>
                  <a:pt x="244649" y="161508"/>
                  <a:pt x="236220" y="162331"/>
                  <a:pt x="228600" y="164871"/>
                </a:cubicBezTo>
                <a:lnTo>
                  <a:pt x="217170" y="168681"/>
                </a:lnTo>
                <a:cubicBezTo>
                  <a:pt x="214630" y="172491"/>
                  <a:pt x="211598" y="176015"/>
                  <a:pt x="209550" y="180111"/>
                </a:cubicBezTo>
                <a:cubicBezTo>
                  <a:pt x="202602" y="194007"/>
                  <a:pt x="208520" y="202388"/>
                  <a:pt x="190500" y="214401"/>
                </a:cubicBezTo>
                <a:lnTo>
                  <a:pt x="179070" y="222021"/>
                </a:lnTo>
                <a:cubicBezTo>
                  <a:pt x="170180" y="220751"/>
                  <a:pt x="161206" y="219972"/>
                  <a:pt x="152400" y="218211"/>
                </a:cubicBezTo>
                <a:cubicBezTo>
                  <a:pt x="148462" y="217423"/>
                  <a:pt x="144140" y="216867"/>
                  <a:pt x="140970" y="214401"/>
                </a:cubicBezTo>
                <a:cubicBezTo>
                  <a:pt x="132464" y="207785"/>
                  <a:pt x="127076" y="197519"/>
                  <a:pt x="118110" y="191541"/>
                </a:cubicBezTo>
                <a:lnTo>
                  <a:pt x="106680" y="183921"/>
                </a:lnTo>
                <a:cubicBezTo>
                  <a:pt x="93980" y="185191"/>
                  <a:pt x="81125" y="185379"/>
                  <a:pt x="68580" y="187731"/>
                </a:cubicBezTo>
                <a:cubicBezTo>
                  <a:pt x="60685" y="189211"/>
                  <a:pt x="45720" y="195351"/>
                  <a:pt x="45720" y="195351"/>
                </a:cubicBezTo>
                <a:cubicBezTo>
                  <a:pt x="41910" y="194081"/>
                  <a:pt x="37882" y="189745"/>
                  <a:pt x="34290" y="191541"/>
                </a:cubicBezTo>
                <a:cubicBezTo>
                  <a:pt x="30698" y="193337"/>
                  <a:pt x="30480" y="198955"/>
                  <a:pt x="30480" y="202971"/>
                </a:cubicBezTo>
                <a:cubicBezTo>
                  <a:pt x="30480" y="213210"/>
                  <a:pt x="33020" y="223291"/>
                  <a:pt x="34290" y="233451"/>
                </a:cubicBezTo>
                <a:cubicBezTo>
                  <a:pt x="33020" y="238531"/>
                  <a:pt x="35164" y="246349"/>
                  <a:pt x="30480" y="248691"/>
                </a:cubicBezTo>
                <a:cubicBezTo>
                  <a:pt x="15179" y="256342"/>
                  <a:pt x="9196" y="241530"/>
                  <a:pt x="3810" y="233451"/>
                </a:cubicBezTo>
                <a:cubicBezTo>
                  <a:pt x="2540" y="227101"/>
                  <a:pt x="0" y="220877"/>
                  <a:pt x="0" y="214401"/>
                </a:cubicBezTo>
                <a:cubicBezTo>
                  <a:pt x="0" y="200373"/>
                  <a:pt x="1826" y="186378"/>
                  <a:pt x="3810" y="172491"/>
                </a:cubicBezTo>
                <a:cubicBezTo>
                  <a:pt x="4701" y="166257"/>
                  <a:pt x="10372" y="153525"/>
                  <a:pt x="15240" y="149631"/>
                </a:cubicBezTo>
                <a:cubicBezTo>
                  <a:pt x="18376" y="147122"/>
                  <a:pt x="23078" y="147617"/>
                  <a:pt x="26670" y="145821"/>
                </a:cubicBezTo>
                <a:cubicBezTo>
                  <a:pt x="30766" y="143773"/>
                  <a:pt x="33916" y="140061"/>
                  <a:pt x="38100" y="138201"/>
                </a:cubicBezTo>
                <a:cubicBezTo>
                  <a:pt x="45440" y="134939"/>
                  <a:pt x="54277" y="135036"/>
                  <a:pt x="60960" y="130581"/>
                </a:cubicBezTo>
                <a:cubicBezTo>
                  <a:pt x="76873" y="119972"/>
                  <a:pt x="69152" y="126199"/>
                  <a:pt x="83820" y="111531"/>
                </a:cubicBezTo>
                <a:cubicBezTo>
                  <a:pt x="85090" y="101371"/>
                  <a:pt x="85798" y="91125"/>
                  <a:pt x="87630" y="81051"/>
                </a:cubicBezTo>
                <a:cubicBezTo>
                  <a:pt x="88348" y="77100"/>
                  <a:pt x="88931" y="72757"/>
                  <a:pt x="91440" y="69621"/>
                </a:cubicBezTo>
                <a:cubicBezTo>
                  <a:pt x="94301" y="66045"/>
                  <a:pt x="99060" y="64541"/>
                  <a:pt x="102870" y="62001"/>
                </a:cubicBezTo>
                <a:cubicBezTo>
                  <a:pt x="91597" y="0"/>
                  <a:pt x="109550" y="29146"/>
                  <a:pt x="83820" y="16281"/>
                </a:cubicBezTo>
                <a:cubicBezTo>
                  <a:pt x="82214" y="15478"/>
                  <a:pt x="59055" y="7391"/>
                  <a:pt x="60960" y="4851"/>
                </a:cubicBezTo>
                <a:close/>
              </a:path>
            </a:pathLst>
          </a:custGeom>
          <a:blipFill>
            <a:blip r:embed="rId7" cstate="print"/>
            <a:stretch>
              <a:fillRect/>
            </a:stretch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8" name="Freeform 137"/>
          <p:cNvSpPr/>
          <p:nvPr/>
        </p:nvSpPr>
        <p:spPr>
          <a:xfrm>
            <a:off x="6637344" y="2002367"/>
            <a:ext cx="155575" cy="569384"/>
          </a:xfrm>
          <a:custGeom>
            <a:avLst/>
            <a:gdLst>
              <a:gd name="connsiteX0" fmla="*/ 11430 w 156416"/>
              <a:gd name="connsiteY0" fmla="*/ 535045 h 569525"/>
              <a:gd name="connsiteX1" fmla="*/ 41910 w 156416"/>
              <a:gd name="connsiteY1" fmla="*/ 504565 h 569525"/>
              <a:gd name="connsiteX2" fmla="*/ 72390 w 156416"/>
              <a:gd name="connsiteY2" fmla="*/ 508375 h 569525"/>
              <a:gd name="connsiteX3" fmla="*/ 95250 w 156416"/>
              <a:gd name="connsiteY3" fmla="*/ 515995 h 569525"/>
              <a:gd name="connsiteX4" fmla="*/ 99060 w 156416"/>
              <a:gd name="connsiteY4" fmla="*/ 504565 h 569525"/>
              <a:gd name="connsiteX5" fmla="*/ 95250 w 156416"/>
              <a:gd name="connsiteY5" fmla="*/ 493135 h 569525"/>
              <a:gd name="connsiteX6" fmla="*/ 76200 w 156416"/>
              <a:gd name="connsiteY6" fmla="*/ 470275 h 569525"/>
              <a:gd name="connsiteX7" fmla="*/ 64770 w 156416"/>
              <a:gd name="connsiteY7" fmla="*/ 462655 h 569525"/>
              <a:gd name="connsiteX8" fmla="*/ 49530 w 156416"/>
              <a:gd name="connsiteY8" fmla="*/ 439795 h 569525"/>
              <a:gd name="connsiteX9" fmla="*/ 60960 w 156416"/>
              <a:gd name="connsiteY9" fmla="*/ 359785 h 569525"/>
              <a:gd name="connsiteX10" fmla="*/ 64770 w 156416"/>
              <a:gd name="connsiteY10" fmla="*/ 348355 h 569525"/>
              <a:gd name="connsiteX11" fmla="*/ 87630 w 156416"/>
              <a:gd name="connsiteY11" fmla="*/ 336925 h 569525"/>
              <a:gd name="connsiteX12" fmla="*/ 148590 w 156416"/>
              <a:gd name="connsiteY12" fmla="*/ 340735 h 569525"/>
              <a:gd name="connsiteX13" fmla="*/ 152400 w 156416"/>
              <a:gd name="connsiteY13" fmla="*/ 352165 h 569525"/>
              <a:gd name="connsiteX14" fmla="*/ 144780 w 156416"/>
              <a:gd name="connsiteY14" fmla="*/ 340735 h 569525"/>
              <a:gd name="connsiteX15" fmla="*/ 137160 w 156416"/>
              <a:gd name="connsiteY15" fmla="*/ 317875 h 569525"/>
              <a:gd name="connsiteX16" fmla="*/ 121920 w 156416"/>
              <a:gd name="connsiteY16" fmla="*/ 295015 h 569525"/>
              <a:gd name="connsiteX17" fmla="*/ 95250 w 156416"/>
              <a:gd name="connsiteY17" fmla="*/ 215005 h 569525"/>
              <a:gd name="connsiteX18" fmla="*/ 83820 w 156416"/>
              <a:gd name="connsiteY18" fmla="*/ 180715 h 569525"/>
              <a:gd name="connsiteX19" fmla="*/ 80010 w 156416"/>
              <a:gd name="connsiteY19" fmla="*/ 169285 h 569525"/>
              <a:gd name="connsiteX20" fmla="*/ 68580 w 156416"/>
              <a:gd name="connsiteY20" fmla="*/ 54985 h 569525"/>
              <a:gd name="connsiteX21" fmla="*/ 68580 w 156416"/>
              <a:gd name="connsiteY21" fmla="*/ 54985 h 569525"/>
              <a:gd name="connsiteX22" fmla="*/ 64770 w 156416"/>
              <a:gd name="connsiteY22" fmla="*/ 35935 h 569525"/>
              <a:gd name="connsiteX23" fmla="*/ 60960 w 156416"/>
              <a:gd name="connsiteY23" fmla="*/ 24505 h 569525"/>
              <a:gd name="connsiteX24" fmla="*/ 49530 w 156416"/>
              <a:gd name="connsiteY24" fmla="*/ 20695 h 569525"/>
              <a:gd name="connsiteX25" fmla="*/ 38100 w 156416"/>
              <a:gd name="connsiteY25" fmla="*/ 62605 h 569525"/>
              <a:gd name="connsiteX26" fmla="*/ 26670 w 156416"/>
              <a:gd name="connsiteY26" fmla="*/ 74035 h 569525"/>
              <a:gd name="connsiteX27" fmla="*/ 22860 w 156416"/>
              <a:gd name="connsiteY27" fmla="*/ 119755 h 569525"/>
              <a:gd name="connsiteX28" fmla="*/ 22860 w 156416"/>
              <a:gd name="connsiteY28" fmla="*/ 169285 h 569525"/>
              <a:gd name="connsiteX29" fmla="*/ 30480 w 156416"/>
              <a:gd name="connsiteY29" fmla="*/ 180715 h 569525"/>
              <a:gd name="connsiteX30" fmla="*/ 38100 w 156416"/>
              <a:gd name="connsiteY30" fmla="*/ 203575 h 569525"/>
              <a:gd name="connsiteX31" fmla="*/ 26670 w 156416"/>
              <a:gd name="connsiteY31" fmla="*/ 253105 h 569525"/>
              <a:gd name="connsiteX32" fmla="*/ 19050 w 156416"/>
              <a:gd name="connsiteY32" fmla="*/ 283585 h 569525"/>
              <a:gd name="connsiteX33" fmla="*/ 15240 w 156416"/>
              <a:gd name="connsiteY33" fmla="*/ 394075 h 569525"/>
              <a:gd name="connsiteX34" fmla="*/ 11430 w 156416"/>
              <a:gd name="connsiteY34" fmla="*/ 432175 h 569525"/>
              <a:gd name="connsiteX35" fmla="*/ 3810 w 156416"/>
              <a:gd name="connsiteY35" fmla="*/ 455035 h 569525"/>
              <a:gd name="connsiteX36" fmla="*/ 0 w 156416"/>
              <a:gd name="connsiteY36" fmla="*/ 470275 h 569525"/>
              <a:gd name="connsiteX37" fmla="*/ 3810 w 156416"/>
              <a:gd name="connsiteY37" fmla="*/ 565525 h 569525"/>
              <a:gd name="connsiteX38" fmla="*/ 7620 w 156416"/>
              <a:gd name="connsiteY38" fmla="*/ 554095 h 569525"/>
              <a:gd name="connsiteX39" fmla="*/ 19050 w 156416"/>
              <a:gd name="connsiteY39" fmla="*/ 546475 h 569525"/>
              <a:gd name="connsiteX40" fmla="*/ 30480 w 156416"/>
              <a:gd name="connsiteY40" fmla="*/ 508375 h 569525"/>
              <a:gd name="connsiteX41" fmla="*/ 41910 w 156416"/>
              <a:gd name="connsiteY41" fmla="*/ 496945 h 569525"/>
              <a:gd name="connsiteX42" fmla="*/ 72390 w 156416"/>
              <a:gd name="connsiteY42" fmla="*/ 504565 h 569525"/>
              <a:gd name="connsiteX43" fmla="*/ 72390 w 156416"/>
              <a:gd name="connsiteY43" fmla="*/ 508375 h 569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56416" h="569525">
                <a:moveTo>
                  <a:pt x="11430" y="535045"/>
                </a:moveTo>
                <a:cubicBezTo>
                  <a:pt x="29820" y="507459"/>
                  <a:pt x="18479" y="516281"/>
                  <a:pt x="41910" y="504565"/>
                </a:cubicBezTo>
                <a:cubicBezTo>
                  <a:pt x="52070" y="505835"/>
                  <a:pt x="62378" y="506230"/>
                  <a:pt x="72390" y="508375"/>
                </a:cubicBezTo>
                <a:cubicBezTo>
                  <a:pt x="80244" y="510058"/>
                  <a:pt x="95250" y="515995"/>
                  <a:pt x="95250" y="515995"/>
                </a:cubicBezTo>
                <a:cubicBezTo>
                  <a:pt x="96520" y="512185"/>
                  <a:pt x="99060" y="508581"/>
                  <a:pt x="99060" y="504565"/>
                </a:cubicBezTo>
                <a:cubicBezTo>
                  <a:pt x="99060" y="500549"/>
                  <a:pt x="97046" y="496727"/>
                  <a:pt x="95250" y="493135"/>
                </a:cubicBezTo>
                <a:cubicBezTo>
                  <a:pt x="90969" y="484572"/>
                  <a:pt x="83422" y="476294"/>
                  <a:pt x="76200" y="470275"/>
                </a:cubicBezTo>
                <a:cubicBezTo>
                  <a:pt x="72682" y="467344"/>
                  <a:pt x="68580" y="465195"/>
                  <a:pt x="64770" y="462655"/>
                </a:cubicBezTo>
                <a:cubicBezTo>
                  <a:pt x="59690" y="455035"/>
                  <a:pt x="48921" y="448933"/>
                  <a:pt x="49530" y="439795"/>
                </a:cubicBezTo>
                <a:cubicBezTo>
                  <a:pt x="53874" y="374631"/>
                  <a:pt x="47302" y="400758"/>
                  <a:pt x="60960" y="359785"/>
                </a:cubicBezTo>
                <a:cubicBezTo>
                  <a:pt x="62230" y="355975"/>
                  <a:pt x="61428" y="350583"/>
                  <a:pt x="64770" y="348355"/>
                </a:cubicBezTo>
                <a:cubicBezTo>
                  <a:pt x="79542" y="338507"/>
                  <a:pt x="71856" y="342183"/>
                  <a:pt x="87630" y="336925"/>
                </a:cubicBezTo>
                <a:cubicBezTo>
                  <a:pt x="107950" y="338195"/>
                  <a:pt x="128772" y="336072"/>
                  <a:pt x="148590" y="340735"/>
                </a:cubicBezTo>
                <a:cubicBezTo>
                  <a:pt x="152499" y="341655"/>
                  <a:pt x="156416" y="352165"/>
                  <a:pt x="152400" y="352165"/>
                </a:cubicBezTo>
                <a:cubicBezTo>
                  <a:pt x="147821" y="352165"/>
                  <a:pt x="146640" y="344919"/>
                  <a:pt x="144780" y="340735"/>
                </a:cubicBezTo>
                <a:cubicBezTo>
                  <a:pt x="141518" y="333395"/>
                  <a:pt x="141615" y="324558"/>
                  <a:pt x="137160" y="317875"/>
                </a:cubicBezTo>
                <a:cubicBezTo>
                  <a:pt x="132080" y="310255"/>
                  <a:pt x="124816" y="303703"/>
                  <a:pt x="121920" y="295015"/>
                </a:cubicBezTo>
                <a:lnTo>
                  <a:pt x="95250" y="215005"/>
                </a:lnTo>
                <a:lnTo>
                  <a:pt x="83820" y="180715"/>
                </a:lnTo>
                <a:lnTo>
                  <a:pt x="80010" y="169285"/>
                </a:lnTo>
                <a:cubicBezTo>
                  <a:pt x="75866" y="69820"/>
                  <a:pt x="85847" y="106786"/>
                  <a:pt x="68580" y="54985"/>
                </a:cubicBezTo>
                <a:lnTo>
                  <a:pt x="68580" y="54985"/>
                </a:lnTo>
                <a:cubicBezTo>
                  <a:pt x="67310" y="48635"/>
                  <a:pt x="66341" y="42217"/>
                  <a:pt x="64770" y="35935"/>
                </a:cubicBezTo>
                <a:cubicBezTo>
                  <a:pt x="63796" y="32039"/>
                  <a:pt x="63800" y="27345"/>
                  <a:pt x="60960" y="24505"/>
                </a:cubicBezTo>
                <a:cubicBezTo>
                  <a:pt x="58120" y="21665"/>
                  <a:pt x="53340" y="21965"/>
                  <a:pt x="49530" y="20695"/>
                </a:cubicBezTo>
                <a:cubicBezTo>
                  <a:pt x="28007" y="52979"/>
                  <a:pt x="60865" y="0"/>
                  <a:pt x="38100" y="62605"/>
                </a:cubicBezTo>
                <a:cubicBezTo>
                  <a:pt x="36259" y="67669"/>
                  <a:pt x="30480" y="70225"/>
                  <a:pt x="26670" y="74035"/>
                </a:cubicBezTo>
                <a:cubicBezTo>
                  <a:pt x="25400" y="89275"/>
                  <a:pt x="24881" y="104596"/>
                  <a:pt x="22860" y="119755"/>
                </a:cubicBezTo>
                <a:cubicBezTo>
                  <a:pt x="18632" y="151466"/>
                  <a:pt x="7152" y="101217"/>
                  <a:pt x="22860" y="169285"/>
                </a:cubicBezTo>
                <a:cubicBezTo>
                  <a:pt x="23890" y="173747"/>
                  <a:pt x="28620" y="176531"/>
                  <a:pt x="30480" y="180715"/>
                </a:cubicBezTo>
                <a:cubicBezTo>
                  <a:pt x="33742" y="188055"/>
                  <a:pt x="38100" y="203575"/>
                  <a:pt x="38100" y="203575"/>
                </a:cubicBezTo>
                <a:cubicBezTo>
                  <a:pt x="29256" y="265483"/>
                  <a:pt x="40616" y="197319"/>
                  <a:pt x="26670" y="253105"/>
                </a:cubicBezTo>
                <a:lnTo>
                  <a:pt x="19050" y="283585"/>
                </a:lnTo>
                <a:cubicBezTo>
                  <a:pt x="17780" y="320415"/>
                  <a:pt x="17127" y="357271"/>
                  <a:pt x="15240" y="394075"/>
                </a:cubicBezTo>
                <a:cubicBezTo>
                  <a:pt x="14586" y="406822"/>
                  <a:pt x="13782" y="419630"/>
                  <a:pt x="11430" y="432175"/>
                </a:cubicBezTo>
                <a:cubicBezTo>
                  <a:pt x="9950" y="440070"/>
                  <a:pt x="5758" y="447243"/>
                  <a:pt x="3810" y="455035"/>
                </a:cubicBezTo>
                <a:lnTo>
                  <a:pt x="0" y="470275"/>
                </a:lnTo>
                <a:cubicBezTo>
                  <a:pt x="1270" y="502025"/>
                  <a:pt x="933" y="533880"/>
                  <a:pt x="3810" y="565525"/>
                </a:cubicBezTo>
                <a:cubicBezTo>
                  <a:pt x="4174" y="569525"/>
                  <a:pt x="5111" y="557231"/>
                  <a:pt x="7620" y="554095"/>
                </a:cubicBezTo>
                <a:cubicBezTo>
                  <a:pt x="10481" y="550519"/>
                  <a:pt x="15240" y="549015"/>
                  <a:pt x="19050" y="546475"/>
                </a:cubicBezTo>
                <a:cubicBezTo>
                  <a:pt x="20777" y="539568"/>
                  <a:pt x="27388" y="511467"/>
                  <a:pt x="30480" y="508375"/>
                </a:cubicBezTo>
                <a:lnTo>
                  <a:pt x="41910" y="496945"/>
                </a:lnTo>
                <a:cubicBezTo>
                  <a:pt x="44658" y="497495"/>
                  <a:pt x="67369" y="501218"/>
                  <a:pt x="72390" y="504565"/>
                </a:cubicBezTo>
                <a:cubicBezTo>
                  <a:pt x="73447" y="505269"/>
                  <a:pt x="72390" y="507105"/>
                  <a:pt x="72390" y="508375"/>
                </a:cubicBezTo>
              </a:path>
            </a:pathLst>
          </a:custGeom>
          <a:blipFill>
            <a:blip r:embed="rId8" cstate="print"/>
            <a:stretch>
              <a:fillRect/>
            </a:stretch>
          </a:blip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9" name="Title 7"/>
          <p:cNvSpPr txBox="1">
            <a:spLocks/>
          </p:cNvSpPr>
          <p:nvPr/>
        </p:nvSpPr>
        <p:spPr bwMode="auto">
          <a:xfrm rot="781384">
            <a:off x="6510341" y="3236390"/>
            <a:ext cx="1658937" cy="224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జపాన్</a:t>
            </a: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1" name="Freeform 140"/>
          <p:cNvSpPr/>
          <p:nvPr/>
        </p:nvSpPr>
        <p:spPr>
          <a:xfrm>
            <a:off x="4162430" y="4112690"/>
            <a:ext cx="396875" cy="588433"/>
          </a:xfrm>
          <a:custGeom>
            <a:avLst/>
            <a:gdLst>
              <a:gd name="connsiteX0" fmla="*/ 115851 w 397205"/>
              <a:gd name="connsiteY0" fmla="*/ 0 h 588592"/>
              <a:gd name="connsiteX1" fmla="*/ 124127 w 397205"/>
              <a:gd name="connsiteY1" fmla="*/ 12413 h 588592"/>
              <a:gd name="connsiteX2" fmla="*/ 128264 w 397205"/>
              <a:gd name="connsiteY2" fmla="*/ 24826 h 588592"/>
              <a:gd name="connsiteX3" fmla="*/ 136539 w 397205"/>
              <a:gd name="connsiteY3" fmla="*/ 41376 h 588592"/>
              <a:gd name="connsiteX4" fmla="*/ 148952 w 397205"/>
              <a:gd name="connsiteY4" fmla="*/ 66201 h 588592"/>
              <a:gd name="connsiteX5" fmla="*/ 153089 w 397205"/>
              <a:gd name="connsiteY5" fmla="*/ 107577 h 588592"/>
              <a:gd name="connsiteX6" fmla="*/ 173777 w 397205"/>
              <a:gd name="connsiteY6" fmla="*/ 119989 h 588592"/>
              <a:gd name="connsiteX7" fmla="*/ 223428 w 397205"/>
              <a:gd name="connsiteY7" fmla="*/ 124127 h 588592"/>
              <a:gd name="connsiteX8" fmla="*/ 235841 w 397205"/>
              <a:gd name="connsiteY8" fmla="*/ 128264 h 588592"/>
              <a:gd name="connsiteX9" fmla="*/ 248253 w 397205"/>
              <a:gd name="connsiteY9" fmla="*/ 148952 h 588592"/>
              <a:gd name="connsiteX10" fmla="*/ 256528 w 397205"/>
              <a:gd name="connsiteY10" fmla="*/ 177915 h 588592"/>
              <a:gd name="connsiteX11" fmla="*/ 239978 w 397205"/>
              <a:gd name="connsiteY11" fmla="*/ 206878 h 588592"/>
              <a:gd name="connsiteX12" fmla="*/ 215153 w 397205"/>
              <a:gd name="connsiteY12" fmla="*/ 215153 h 588592"/>
              <a:gd name="connsiteX13" fmla="*/ 211015 w 397205"/>
              <a:gd name="connsiteY13" fmla="*/ 227566 h 588592"/>
              <a:gd name="connsiteX14" fmla="*/ 256528 w 397205"/>
              <a:gd name="connsiteY14" fmla="*/ 248254 h 588592"/>
              <a:gd name="connsiteX15" fmla="*/ 268941 w 397205"/>
              <a:gd name="connsiteY15" fmla="*/ 256529 h 588592"/>
              <a:gd name="connsiteX16" fmla="*/ 277216 w 397205"/>
              <a:gd name="connsiteY16" fmla="*/ 285492 h 588592"/>
              <a:gd name="connsiteX17" fmla="*/ 285491 w 397205"/>
              <a:gd name="connsiteY17" fmla="*/ 297904 h 588592"/>
              <a:gd name="connsiteX18" fmla="*/ 310317 w 397205"/>
              <a:gd name="connsiteY18" fmla="*/ 318592 h 588592"/>
              <a:gd name="connsiteX19" fmla="*/ 326867 w 397205"/>
              <a:gd name="connsiteY19" fmla="*/ 326867 h 588592"/>
              <a:gd name="connsiteX20" fmla="*/ 335142 w 397205"/>
              <a:gd name="connsiteY20" fmla="*/ 339280 h 588592"/>
              <a:gd name="connsiteX21" fmla="*/ 343417 w 397205"/>
              <a:gd name="connsiteY21" fmla="*/ 364105 h 588592"/>
              <a:gd name="connsiteX22" fmla="*/ 347555 w 397205"/>
              <a:gd name="connsiteY22" fmla="*/ 405481 h 588592"/>
              <a:gd name="connsiteX23" fmla="*/ 351692 w 397205"/>
              <a:gd name="connsiteY23" fmla="*/ 417893 h 588592"/>
              <a:gd name="connsiteX24" fmla="*/ 372380 w 397205"/>
              <a:gd name="connsiteY24" fmla="*/ 438581 h 588592"/>
              <a:gd name="connsiteX25" fmla="*/ 380655 w 397205"/>
              <a:gd name="connsiteY25" fmla="*/ 463407 h 588592"/>
              <a:gd name="connsiteX26" fmla="*/ 384793 w 397205"/>
              <a:gd name="connsiteY26" fmla="*/ 475819 h 588592"/>
              <a:gd name="connsiteX27" fmla="*/ 388930 w 397205"/>
              <a:gd name="connsiteY27" fmla="*/ 521332 h 588592"/>
              <a:gd name="connsiteX28" fmla="*/ 397205 w 397205"/>
              <a:gd name="connsiteY28" fmla="*/ 546158 h 588592"/>
              <a:gd name="connsiteX29" fmla="*/ 351692 w 397205"/>
              <a:gd name="connsiteY29" fmla="*/ 562708 h 588592"/>
              <a:gd name="connsiteX30" fmla="*/ 326867 w 397205"/>
              <a:gd name="connsiteY30" fmla="*/ 570983 h 588592"/>
              <a:gd name="connsiteX31" fmla="*/ 302042 w 397205"/>
              <a:gd name="connsiteY31" fmla="*/ 583396 h 588592"/>
              <a:gd name="connsiteX32" fmla="*/ 264804 w 397205"/>
              <a:gd name="connsiteY32" fmla="*/ 579258 h 588592"/>
              <a:gd name="connsiteX33" fmla="*/ 273079 w 397205"/>
              <a:gd name="connsiteY33" fmla="*/ 533745 h 588592"/>
              <a:gd name="connsiteX34" fmla="*/ 260666 w 397205"/>
              <a:gd name="connsiteY34" fmla="*/ 446856 h 588592"/>
              <a:gd name="connsiteX35" fmla="*/ 248253 w 397205"/>
              <a:gd name="connsiteY35" fmla="*/ 434444 h 588592"/>
              <a:gd name="connsiteX36" fmla="*/ 231703 w 397205"/>
              <a:gd name="connsiteY36" fmla="*/ 426169 h 588592"/>
              <a:gd name="connsiteX37" fmla="*/ 219290 w 397205"/>
              <a:gd name="connsiteY37" fmla="*/ 368243 h 588592"/>
              <a:gd name="connsiteX38" fmla="*/ 194465 w 397205"/>
              <a:gd name="connsiteY38" fmla="*/ 318592 h 588592"/>
              <a:gd name="connsiteX39" fmla="*/ 186190 w 397205"/>
              <a:gd name="connsiteY39" fmla="*/ 306179 h 588592"/>
              <a:gd name="connsiteX40" fmla="*/ 165502 w 397205"/>
              <a:gd name="connsiteY40" fmla="*/ 302042 h 588592"/>
              <a:gd name="connsiteX41" fmla="*/ 153089 w 397205"/>
              <a:gd name="connsiteY41" fmla="*/ 306179 h 588592"/>
              <a:gd name="connsiteX42" fmla="*/ 132402 w 397205"/>
              <a:gd name="connsiteY42" fmla="*/ 318592 h 588592"/>
              <a:gd name="connsiteX43" fmla="*/ 103439 w 397205"/>
              <a:gd name="connsiteY43" fmla="*/ 318592 h 588592"/>
              <a:gd name="connsiteX44" fmla="*/ 66201 w 397205"/>
              <a:gd name="connsiteY44" fmla="*/ 322730 h 588592"/>
              <a:gd name="connsiteX45" fmla="*/ 24825 w 397205"/>
              <a:gd name="connsiteY45" fmla="*/ 322730 h 588592"/>
              <a:gd name="connsiteX46" fmla="*/ 16550 w 397205"/>
              <a:gd name="connsiteY46" fmla="*/ 297904 h 588592"/>
              <a:gd name="connsiteX47" fmla="*/ 20688 w 397205"/>
              <a:gd name="connsiteY47" fmla="*/ 273079 h 588592"/>
              <a:gd name="connsiteX48" fmla="*/ 28963 w 397205"/>
              <a:gd name="connsiteY48" fmla="*/ 248254 h 588592"/>
              <a:gd name="connsiteX49" fmla="*/ 8275 w 397205"/>
              <a:gd name="connsiteY49" fmla="*/ 190328 h 588592"/>
              <a:gd name="connsiteX50" fmla="*/ 8275 w 397205"/>
              <a:gd name="connsiteY50" fmla="*/ 190328 h 588592"/>
              <a:gd name="connsiteX51" fmla="*/ 0 w 397205"/>
              <a:gd name="connsiteY51" fmla="*/ 165502 h 588592"/>
              <a:gd name="connsiteX52" fmla="*/ 8275 w 397205"/>
              <a:gd name="connsiteY52" fmla="*/ 128264 h 588592"/>
              <a:gd name="connsiteX53" fmla="*/ 24825 w 397205"/>
              <a:gd name="connsiteY53" fmla="*/ 103439 h 588592"/>
              <a:gd name="connsiteX54" fmla="*/ 45513 w 397205"/>
              <a:gd name="connsiteY54" fmla="*/ 74476 h 588592"/>
              <a:gd name="connsiteX55" fmla="*/ 78613 w 397205"/>
              <a:gd name="connsiteY55" fmla="*/ 74476 h 588592"/>
              <a:gd name="connsiteX56" fmla="*/ 82751 w 397205"/>
              <a:gd name="connsiteY56" fmla="*/ 62064 h 588592"/>
              <a:gd name="connsiteX57" fmla="*/ 99301 w 397205"/>
              <a:gd name="connsiteY57" fmla="*/ 8275 h 588592"/>
              <a:gd name="connsiteX58" fmla="*/ 111714 w 397205"/>
              <a:gd name="connsiteY58" fmla="*/ 12413 h 588592"/>
              <a:gd name="connsiteX59" fmla="*/ 115851 w 397205"/>
              <a:gd name="connsiteY59" fmla="*/ 0 h 588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97205" h="588592">
                <a:moveTo>
                  <a:pt x="115851" y="0"/>
                </a:moveTo>
                <a:cubicBezTo>
                  <a:pt x="117920" y="0"/>
                  <a:pt x="121903" y="7965"/>
                  <a:pt x="124127" y="12413"/>
                </a:cubicBezTo>
                <a:cubicBezTo>
                  <a:pt x="126077" y="16314"/>
                  <a:pt x="126546" y="20817"/>
                  <a:pt x="128264" y="24826"/>
                </a:cubicBezTo>
                <a:cubicBezTo>
                  <a:pt x="130694" y="30495"/>
                  <a:pt x="133479" y="36021"/>
                  <a:pt x="136539" y="41376"/>
                </a:cubicBezTo>
                <a:cubicBezTo>
                  <a:pt x="149373" y="63835"/>
                  <a:pt x="141365" y="43441"/>
                  <a:pt x="148952" y="66201"/>
                </a:cubicBezTo>
                <a:cubicBezTo>
                  <a:pt x="150331" y="79993"/>
                  <a:pt x="149727" y="94130"/>
                  <a:pt x="153089" y="107577"/>
                </a:cubicBezTo>
                <a:cubicBezTo>
                  <a:pt x="154889" y="114779"/>
                  <a:pt x="168351" y="119266"/>
                  <a:pt x="173777" y="119989"/>
                </a:cubicBezTo>
                <a:cubicBezTo>
                  <a:pt x="190239" y="122184"/>
                  <a:pt x="206878" y="122748"/>
                  <a:pt x="223428" y="124127"/>
                </a:cubicBezTo>
                <a:cubicBezTo>
                  <a:pt x="227566" y="125506"/>
                  <a:pt x="232101" y="126020"/>
                  <a:pt x="235841" y="128264"/>
                </a:cubicBezTo>
                <a:cubicBezTo>
                  <a:pt x="244805" y="133642"/>
                  <a:pt x="245560" y="139526"/>
                  <a:pt x="248253" y="148952"/>
                </a:cubicBezTo>
                <a:cubicBezTo>
                  <a:pt x="258646" y="185327"/>
                  <a:pt x="246607" y="148147"/>
                  <a:pt x="256528" y="177915"/>
                </a:cubicBezTo>
                <a:cubicBezTo>
                  <a:pt x="252676" y="197180"/>
                  <a:pt x="257352" y="199156"/>
                  <a:pt x="239978" y="206878"/>
                </a:cubicBezTo>
                <a:cubicBezTo>
                  <a:pt x="232007" y="210421"/>
                  <a:pt x="215153" y="215153"/>
                  <a:pt x="215153" y="215153"/>
                </a:cubicBezTo>
                <a:cubicBezTo>
                  <a:pt x="213774" y="219291"/>
                  <a:pt x="207931" y="224482"/>
                  <a:pt x="211015" y="227566"/>
                </a:cubicBezTo>
                <a:cubicBezTo>
                  <a:pt x="233745" y="250296"/>
                  <a:pt x="237459" y="238719"/>
                  <a:pt x="256528" y="248254"/>
                </a:cubicBezTo>
                <a:cubicBezTo>
                  <a:pt x="260976" y="250478"/>
                  <a:pt x="264803" y="253771"/>
                  <a:pt x="268941" y="256529"/>
                </a:cubicBezTo>
                <a:cubicBezTo>
                  <a:pt x="270265" y="261825"/>
                  <a:pt x="274251" y="279561"/>
                  <a:pt x="277216" y="285492"/>
                </a:cubicBezTo>
                <a:cubicBezTo>
                  <a:pt x="279440" y="289940"/>
                  <a:pt x="282308" y="294084"/>
                  <a:pt x="285491" y="297904"/>
                </a:cubicBezTo>
                <a:cubicBezTo>
                  <a:pt x="293272" y="307241"/>
                  <a:pt x="299960" y="312674"/>
                  <a:pt x="310317" y="318592"/>
                </a:cubicBezTo>
                <a:cubicBezTo>
                  <a:pt x="315672" y="321652"/>
                  <a:pt x="321350" y="324109"/>
                  <a:pt x="326867" y="326867"/>
                </a:cubicBezTo>
                <a:cubicBezTo>
                  <a:pt x="329625" y="331005"/>
                  <a:pt x="333122" y="334736"/>
                  <a:pt x="335142" y="339280"/>
                </a:cubicBezTo>
                <a:cubicBezTo>
                  <a:pt x="338685" y="347251"/>
                  <a:pt x="343417" y="364105"/>
                  <a:pt x="343417" y="364105"/>
                </a:cubicBezTo>
                <a:cubicBezTo>
                  <a:pt x="344796" y="377897"/>
                  <a:pt x="345447" y="391781"/>
                  <a:pt x="347555" y="405481"/>
                </a:cubicBezTo>
                <a:cubicBezTo>
                  <a:pt x="348218" y="409791"/>
                  <a:pt x="349075" y="414404"/>
                  <a:pt x="351692" y="417893"/>
                </a:cubicBezTo>
                <a:cubicBezTo>
                  <a:pt x="357543" y="425695"/>
                  <a:pt x="372380" y="438581"/>
                  <a:pt x="372380" y="438581"/>
                </a:cubicBezTo>
                <a:lnTo>
                  <a:pt x="380655" y="463407"/>
                </a:lnTo>
                <a:lnTo>
                  <a:pt x="384793" y="475819"/>
                </a:lnTo>
                <a:cubicBezTo>
                  <a:pt x="386172" y="490990"/>
                  <a:pt x="386283" y="506330"/>
                  <a:pt x="388930" y="521332"/>
                </a:cubicBezTo>
                <a:cubicBezTo>
                  <a:pt x="390446" y="529922"/>
                  <a:pt x="397205" y="546158"/>
                  <a:pt x="397205" y="546158"/>
                </a:cubicBezTo>
                <a:cubicBezTo>
                  <a:pt x="380854" y="570684"/>
                  <a:pt x="396756" y="553695"/>
                  <a:pt x="351692" y="562708"/>
                </a:cubicBezTo>
                <a:cubicBezTo>
                  <a:pt x="343139" y="564419"/>
                  <a:pt x="335142" y="568225"/>
                  <a:pt x="326867" y="570983"/>
                </a:cubicBezTo>
                <a:cubicBezTo>
                  <a:pt x="309738" y="576693"/>
                  <a:pt x="318082" y="572702"/>
                  <a:pt x="302042" y="583396"/>
                </a:cubicBezTo>
                <a:cubicBezTo>
                  <a:pt x="289629" y="582017"/>
                  <a:pt x="273101" y="588592"/>
                  <a:pt x="264804" y="579258"/>
                </a:cubicBezTo>
                <a:cubicBezTo>
                  <a:pt x="259132" y="572877"/>
                  <a:pt x="269484" y="544528"/>
                  <a:pt x="273079" y="533745"/>
                </a:cubicBezTo>
                <a:cubicBezTo>
                  <a:pt x="270636" y="489778"/>
                  <a:pt x="282338" y="472862"/>
                  <a:pt x="260666" y="446856"/>
                </a:cubicBezTo>
                <a:cubicBezTo>
                  <a:pt x="256920" y="442361"/>
                  <a:pt x="253014" y="437845"/>
                  <a:pt x="248253" y="434444"/>
                </a:cubicBezTo>
                <a:cubicBezTo>
                  <a:pt x="243234" y="430859"/>
                  <a:pt x="237220" y="428927"/>
                  <a:pt x="231703" y="426169"/>
                </a:cubicBezTo>
                <a:cubicBezTo>
                  <a:pt x="210428" y="404891"/>
                  <a:pt x="229106" y="427135"/>
                  <a:pt x="219290" y="368243"/>
                </a:cubicBezTo>
                <a:cubicBezTo>
                  <a:pt x="215483" y="345401"/>
                  <a:pt x="207174" y="337656"/>
                  <a:pt x="194465" y="318592"/>
                </a:cubicBezTo>
                <a:cubicBezTo>
                  <a:pt x="191707" y="314454"/>
                  <a:pt x="191066" y="307154"/>
                  <a:pt x="186190" y="306179"/>
                </a:cubicBezTo>
                <a:lnTo>
                  <a:pt x="165502" y="302042"/>
                </a:lnTo>
                <a:cubicBezTo>
                  <a:pt x="161364" y="303421"/>
                  <a:pt x="156829" y="303935"/>
                  <a:pt x="153089" y="306179"/>
                </a:cubicBezTo>
                <a:cubicBezTo>
                  <a:pt x="124690" y="323219"/>
                  <a:pt x="167564" y="306872"/>
                  <a:pt x="132402" y="318592"/>
                </a:cubicBezTo>
                <a:cubicBezTo>
                  <a:pt x="105224" y="336710"/>
                  <a:pt x="136385" y="321126"/>
                  <a:pt x="103439" y="318592"/>
                </a:cubicBezTo>
                <a:cubicBezTo>
                  <a:pt x="90987" y="317634"/>
                  <a:pt x="78614" y="321351"/>
                  <a:pt x="66201" y="322730"/>
                </a:cubicBezTo>
                <a:cubicBezTo>
                  <a:pt x="53042" y="327116"/>
                  <a:pt x="39087" y="333822"/>
                  <a:pt x="24825" y="322730"/>
                </a:cubicBezTo>
                <a:cubicBezTo>
                  <a:pt x="17940" y="317375"/>
                  <a:pt x="16550" y="297904"/>
                  <a:pt x="16550" y="297904"/>
                </a:cubicBezTo>
                <a:cubicBezTo>
                  <a:pt x="17929" y="289629"/>
                  <a:pt x="18653" y="281218"/>
                  <a:pt x="20688" y="273079"/>
                </a:cubicBezTo>
                <a:cubicBezTo>
                  <a:pt x="22804" y="264617"/>
                  <a:pt x="28963" y="248254"/>
                  <a:pt x="28963" y="248254"/>
                </a:cubicBezTo>
                <a:cubicBezTo>
                  <a:pt x="23591" y="205285"/>
                  <a:pt x="30993" y="224405"/>
                  <a:pt x="8275" y="190328"/>
                </a:cubicBezTo>
                <a:lnTo>
                  <a:pt x="8275" y="190328"/>
                </a:lnTo>
                <a:lnTo>
                  <a:pt x="0" y="165502"/>
                </a:lnTo>
                <a:cubicBezTo>
                  <a:pt x="1123" y="158762"/>
                  <a:pt x="3424" y="136997"/>
                  <a:pt x="8275" y="128264"/>
                </a:cubicBezTo>
                <a:cubicBezTo>
                  <a:pt x="13105" y="119570"/>
                  <a:pt x="21680" y="112874"/>
                  <a:pt x="24825" y="103439"/>
                </a:cubicBezTo>
                <a:cubicBezTo>
                  <a:pt x="34479" y="74476"/>
                  <a:pt x="24825" y="81373"/>
                  <a:pt x="45513" y="74476"/>
                </a:cubicBezTo>
                <a:cubicBezTo>
                  <a:pt x="57373" y="78430"/>
                  <a:pt x="65298" y="83353"/>
                  <a:pt x="78613" y="74476"/>
                </a:cubicBezTo>
                <a:cubicBezTo>
                  <a:pt x="82242" y="72057"/>
                  <a:pt x="81372" y="66201"/>
                  <a:pt x="82751" y="62064"/>
                </a:cubicBezTo>
                <a:cubicBezTo>
                  <a:pt x="83791" y="50622"/>
                  <a:pt x="75372" y="12263"/>
                  <a:pt x="99301" y="8275"/>
                </a:cubicBezTo>
                <a:cubicBezTo>
                  <a:pt x="103603" y="7558"/>
                  <a:pt x="107437" y="11558"/>
                  <a:pt x="111714" y="12413"/>
                </a:cubicBezTo>
                <a:cubicBezTo>
                  <a:pt x="114419" y="12954"/>
                  <a:pt x="113782" y="0"/>
                  <a:pt x="115851" y="0"/>
                </a:cubicBezTo>
                <a:close/>
              </a:path>
            </a:pathLst>
          </a:custGeom>
          <a:solidFill>
            <a:srgbClr val="33CCFF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2" name="Freeform 141"/>
          <p:cNvSpPr/>
          <p:nvPr/>
        </p:nvSpPr>
        <p:spPr>
          <a:xfrm>
            <a:off x="4248156" y="4667255"/>
            <a:ext cx="307975" cy="260349"/>
          </a:xfrm>
          <a:custGeom>
            <a:avLst/>
            <a:gdLst>
              <a:gd name="connsiteX0" fmla="*/ 138360 w 309360"/>
              <a:gd name="connsiteY0" fmla="*/ 16550 h 260666"/>
              <a:gd name="connsiteX1" fmla="*/ 47334 w 309360"/>
              <a:gd name="connsiteY1" fmla="*/ 20688 h 260666"/>
              <a:gd name="connsiteX2" fmla="*/ 30783 w 309360"/>
              <a:gd name="connsiteY2" fmla="*/ 24825 h 260666"/>
              <a:gd name="connsiteX3" fmla="*/ 18371 w 309360"/>
              <a:gd name="connsiteY3" fmla="*/ 33100 h 260666"/>
              <a:gd name="connsiteX4" fmla="*/ 10096 w 309360"/>
              <a:gd name="connsiteY4" fmla="*/ 91026 h 260666"/>
              <a:gd name="connsiteX5" fmla="*/ 1821 w 309360"/>
              <a:gd name="connsiteY5" fmla="*/ 115851 h 260666"/>
              <a:gd name="connsiteX6" fmla="*/ 5958 w 309360"/>
              <a:gd name="connsiteY6" fmla="*/ 177915 h 260666"/>
              <a:gd name="connsiteX7" fmla="*/ 26646 w 309360"/>
              <a:gd name="connsiteY7" fmla="*/ 198603 h 260666"/>
              <a:gd name="connsiteX8" fmla="*/ 34921 w 309360"/>
              <a:gd name="connsiteY8" fmla="*/ 215153 h 260666"/>
              <a:gd name="connsiteX9" fmla="*/ 55609 w 309360"/>
              <a:gd name="connsiteY9" fmla="*/ 252391 h 260666"/>
              <a:gd name="connsiteX10" fmla="*/ 68021 w 309360"/>
              <a:gd name="connsiteY10" fmla="*/ 260666 h 260666"/>
              <a:gd name="connsiteX11" fmla="*/ 138360 w 309360"/>
              <a:gd name="connsiteY11" fmla="*/ 256528 h 260666"/>
              <a:gd name="connsiteX12" fmla="*/ 167323 w 309360"/>
              <a:gd name="connsiteY12" fmla="*/ 244116 h 260666"/>
              <a:gd name="connsiteX13" fmla="*/ 179736 w 309360"/>
              <a:gd name="connsiteY13" fmla="*/ 235841 h 260666"/>
              <a:gd name="connsiteX14" fmla="*/ 216974 w 309360"/>
              <a:gd name="connsiteY14" fmla="*/ 219290 h 260666"/>
              <a:gd name="connsiteX15" fmla="*/ 221111 w 309360"/>
              <a:gd name="connsiteY15" fmla="*/ 177915 h 260666"/>
              <a:gd name="connsiteX16" fmla="*/ 245936 w 309360"/>
              <a:gd name="connsiteY16" fmla="*/ 169640 h 260666"/>
              <a:gd name="connsiteX17" fmla="*/ 279037 w 309360"/>
              <a:gd name="connsiteY17" fmla="*/ 161365 h 260666"/>
              <a:gd name="connsiteX18" fmla="*/ 291450 w 309360"/>
              <a:gd name="connsiteY18" fmla="*/ 153089 h 260666"/>
              <a:gd name="connsiteX19" fmla="*/ 299725 w 309360"/>
              <a:gd name="connsiteY19" fmla="*/ 124126 h 260666"/>
              <a:gd name="connsiteX20" fmla="*/ 308000 w 309360"/>
              <a:gd name="connsiteY20" fmla="*/ 111714 h 260666"/>
              <a:gd name="connsiteX21" fmla="*/ 299725 w 309360"/>
              <a:gd name="connsiteY21" fmla="*/ 20688 h 260666"/>
              <a:gd name="connsiteX22" fmla="*/ 295587 w 309360"/>
              <a:gd name="connsiteY22" fmla="*/ 8275 h 260666"/>
              <a:gd name="connsiteX23" fmla="*/ 283174 w 309360"/>
              <a:gd name="connsiteY23" fmla="*/ 0 h 260666"/>
              <a:gd name="connsiteX24" fmla="*/ 266624 w 309360"/>
              <a:gd name="connsiteY24" fmla="*/ 8275 h 260666"/>
              <a:gd name="connsiteX25" fmla="*/ 250074 w 309360"/>
              <a:gd name="connsiteY25" fmla="*/ 12412 h 260666"/>
              <a:gd name="connsiteX26" fmla="*/ 221111 w 309360"/>
              <a:gd name="connsiteY26" fmla="*/ 20688 h 260666"/>
              <a:gd name="connsiteX27" fmla="*/ 196286 w 309360"/>
              <a:gd name="connsiteY27" fmla="*/ 24825 h 260666"/>
              <a:gd name="connsiteX28" fmla="*/ 146635 w 309360"/>
              <a:gd name="connsiteY28" fmla="*/ 24825 h 260666"/>
              <a:gd name="connsiteX29" fmla="*/ 138360 w 309360"/>
              <a:gd name="connsiteY29" fmla="*/ 16550 h 260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09360" h="260666">
                <a:moveTo>
                  <a:pt x="138360" y="16550"/>
                </a:moveTo>
                <a:cubicBezTo>
                  <a:pt x="121810" y="15861"/>
                  <a:pt x="77618" y="18359"/>
                  <a:pt x="47334" y="20688"/>
                </a:cubicBezTo>
                <a:cubicBezTo>
                  <a:pt x="41664" y="21124"/>
                  <a:pt x="36010" y="22585"/>
                  <a:pt x="30783" y="24825"/>
                </a:cubicBezTo>
                <a:cubicBezTo>
                  <a:pt x="26212" y="26784"/>
                  <a:pt x="22508" y="30342"/>
                  <a:pt x="18371" y="33100"/>
                </a:cubicBezTo>
                <a:cubicBezTo>
                  <a:pt x="6820" y="67749"/>
                  <a:pt x="23692" y="13980"/>
                  <a:pt x="10096" y="91026"/>
                </a:cubicBezTo>
                <a:cubicBezTo>
                  <a:pt x="8580" y="99616"/>
                  <a:pt x="1821" y="115851"/>
                  <a:pt x="1821" y="115851"/>
                </a:cubicBezTo>
                <a:cubicBezTo>
                  <a:pt x="3200" y="136539"/>
                  <a:pt x="0" y="158055"/>
                  <a:pt x="5958" y="177915"/>
                </a:cubicBezTo>
                <a:cubicBezTo>
                  <a:pt x="8760" y="187256"/>
                  <a:pt x="22285" y="189880"/>
                  <a:pt x="26646" y="198603"/>
                </a:cubicBezTo>
                <a:cubicBezTo>
                  <a:pt x="29404" y="204120"/>
                  <a:pt x="32491" y="209484"/>
                  <a:pt x="34921" y="215153"/>
                </a:cubicBezTo>
                <a:cubicBezTo>
                  <a:pt x="40957" y="229236"/>
                  <a:pt x="39485" y="241641"/>
                  <a:pt x="55609" y="252391"/>
                </a:cubicBezTo>
                <a:lnTo>
                  <a:pt x="68021" y="260666"/>
                </a:lnTo>
                <a:cubicBezTo>
                  <a:pt x="91467" y="259287"/>
                  <a:pt x="114990" y="258865"/>
                  <a:pt x="138360" y="256528"/>
                </a:cubicBezTo>
                <a:cubicBezTo>
                  <a:pt x="145395" y="255824"/>
                  <a:pt x="162752" y="246728"/>
                  <a:pt x="167323" y="244116"/>
                </a:cubicBezTo>
                <a:cubicBezTo>
                  <a:pt x="171641" y="241649"/>
                  <a:pt x="175192" y="237861"/>
                  <a:pt x="179736" y="235841"/>
                </a:cubicBezTo>
                <a:cubicBezTo>
                  <a:pt x="224050" y="216145"/>
                  <a:pt x="188882" y="238017"/>
                  <a:pt x="216974" y="219290"/>
                </a:cubicBezTo>
                <a:cubicBezTo>
                  <a:pt x="218353" y="205498"/>
                  <a:pt x="214127" y="189887"/>
                  <a:pt x="221111" y="177915"/>
                </a:cubicBezTo>
                <a:cubicBezTo>
                  <a:pt x="225506" y="170381"/>
                  <a:pt x="237661" y="172398"/>
                  <a:pt x="245936" y="169640"/>
                </a:cubicBezTo>
                <a:cubicBezTo>
                  <a:pt x="265023" y="163277"/>
                  <a:pt x="254068" y="166358"/>
                  <a:pt x="279037" y="161365"/>
                </a:cubicBezTo>
                <a:cubicBezTo>
                  <a:pt x="283175" y="158606"/>
                  <a:pt x="288343" y="156972"/>
                  <a:pt x="291450" y="153089"/>
                </a:cubicBezTo>
                <a:cubicBezTo>
                  <a:pt x="293926" y="149995"/>
                  <a:pt x="299041" y="125723"/>
                  <a:pt x="299725" y="124126"/>
                </a:cubicBezTo>
                <a:cubicBezTo>
                  <a:pt x="301684" y="119556"/>
                  <a:pt x="305242" y="115851"/>
                  <a:pt x="308000" y="111714"/>
                </a:cubicBezTo>
                <a:cubicBezTo>
                  <a:pt x="305242" y="81372"/>
                  <a:pt x="309360" y="49591"/>
                  <a:pt x="299725" y="20688"/>
                </a:cubicBezTo>
                <a:cubicBezTo>
                  <a:pt x="298346" y="16550"/>
                  <a:pt x="298312" y="11681"/>
                  <a:pt x="295587" y="8275"/>
                </a:cubicBezTo>
                <a:cubicBezTo>
                  <a:pt x="292480" y="4392"/>
                  <a:pt x="287312" y="2758"/>
                  <a:pt x="283174" y="0"/>
                </a:cubicBezTo>
                <a:cubicBezTo>
                  <a:pt x="277657" y="2758"/>
                  <a:pt x="272399" y="6109"/>
                  <a:pt x="266624" y="8275"/>
                </a:cubicBezTo>
                <a:cubicBezTo>
                  <a:pt x="261300" y="10272"/>
                  <a:pt x="255542" y="10850"/>
                  <a:pt x="250074" y="12412"/>
                </a:cubicBezTo>
                <a:cubicBezTo>
                  <a:pt x="231670" y="17670"/>
                  <a:pt x="242670" y="16376"/>
                  <a:pt x="221111" y="20688"/>
                </a:cubicBezTo>
                <a:cubicBezTo>
                  <a:pt x="212885" y="22333"/>
                  <a:pt x="204561" y="23446"/>
                  <a:pt x="196286" y="24825"/>
                </a:cubicBezTo>
                <a:cubicBezTo>
                  <a:pt x="173638" y="32375"/>
                  <a:pt x="183590" y="30984"/>
                  <a:pt x="146635" y="24825"/>
                </a:cubicBezTo>
                <a:cubicBezTo>
                  <a:pt x="135223" y="22923"/>
                  <a:pt x="154910" y="17239"/>
                  <a:pt x="138360" y="16550"/>
                </a:cubicBezTo>
                <a:close/>
              </a:path>
            </a:pathLst>
          </a:custGeom>
          <a:solidFill>
            <a:srgbClr val="FF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4" name="Freeform 143"/>
          <p:cNvSpPr/>
          <p:nvPr/>
        </p:nvSpPr>
        <p:spPr>
          <a:xfrm>
            <a:off x="4278313" y="4083051"/>
            <a:ext cx="400050" cy="965200"/>
          </a:xfrm>
          <a:custGeom>
            <a:avLst/>
            <a:gdLst>
              <a:gd name="connsiteX0" fmla="*/ 8276 w 400802"/>
              <a:gd name="connsiteY0" fmla="*/ 24826 h 964051"/>
              <a:gd name="connsiteX1" fmla="*/ 66201 w 400802"/>
              <a:gd name="connsiteY1" fmla="*/ 20688 h 964051"/>
              <a:gd name="connsiteX2" fmla="*/ 91027 w 400802"/>
              <a:gd name="connsiteY2" fmla="*/ 12413 h 964051"/>
              <a:gd name="connsiteX3" fmla="*/ 111715 w 400802"/>
              <a:gd name="connsiteY3" fmla="*/ 8275 h 964051"/>
              <a:gd name="connsiteX4" fmla="*/ 124127 w 400802"/>
              <a:gd name="connsiteY4" fmla="*/ 4138 h 964051"/>
              <a:gd name="connsiteX5" fmla="*/ 186191 w 400802"/>
              <a:gd name="connsiteY5" fmla="*/ 0 h 964051"/>
              <a:gd name="connsiteX6" fmla="*/ 219291 w 400802"/>
              <a:gd name="connsiteY6" fmla="*/ 4138 h 964051"/>
              <a:gd name="connsiteX7" fmla="*/ 231704 w 400802"/>
              <a:gd name="connsiteY7" fmla="*/ 8275 h 964051"/>
              <a:gd name="connsiteX8" fmla="*/ 252391 w 400802"/>
              <a:gd name="connsiteY8" fmla="*/ 28963 h 964051"/>
              <a:gd name="connsiteX9" fmla="*/ 268942 w 400802"/>
              <a:gd name="connsiteY9" fmla="*/ 66201 h 964051"/>
              <a:gd name="connsiteX10" fmla="*/ 281354 w 400802"/>
              <a:gd name="connsiteY10" fmla="*/ 78614 h 964051"/>
              <a:gd name="connsiteX11" fmla="*/ 306180 w 400802"/>
              <a:gd name="connsiteY11" fmla="*/ 86889 h 964051"/>
              <a:gd name="connsiteX12" fmla="*/ 318592 w 400802"/>
              <a:gd name="connsiteY12" fmla="*/ 91027 h 964051"/>
              <a:gd name="connsiteX13" fmla="*/ 343418 w 400802"/>
              <a:gd name="connsiteY13" fmla="*/ 107577 h 964051"/>
              <a:gd name="connsiteX14" fmla="*/ 293767 w 400802"/>
              <a:gd name="connsiteY14" fmla="*/ 119989 h 964051"/>
              <a:gd name="connsiteX15" fmla="*/ 285492 w 400802"/>
              <a:gd name="connsiteY15" fmla="*/ 128265 h 964051"/>
              <a:gd name="connsiteX16" fmla="*/ 273079 w 400802"/>
              <a:gd name="connsiteY16" fmla="*/ 136540 h 964051"/>
              <a:gd name="connsiteX17" fmla="*/ 268942 w 400802"/>
              <a:gd name="connsiteY17" fmla="*/ 148952 h 964051"/>
              <a:gd name="connsiteX18" fmla="*/ 256529 w 400802"/>
              <a:gd name="connsiteY18" fmla="*/ 157227 h 964051"/>
              <a:gd name="connsiteX19" fmla="*/ 227566 w 400802"/>
              <a:gd name="connsiteY19" fmla="*/ 190328 h 964051"/>
              <a:gd name="connsiteX20" fmla="*/ 223429 w 400802"/>
              <a:gd name="connsiteY20" fmla="*/ 202741 h 964051"/>
              <a:gd name="connsiteX21" fmla="*/ 215153 w 400802"/>
              <a:gd name="connsiteY21" fmla="*/ 211016 h 964051"/>
              <a:gd name="connsiteX22" fmla="*/ 206878 w 400802"/>
              <a:gd name="connsiteY22" fmla="*/ 223428 h 964051"/>
              <a:gd name="connsiteX23" fmla="*/ 198603 w 400802"/>
              <a:gd name="connsiteY23" fmla="*/ 248254 h 964051"/>
              <a:gd name="connsiteX24" fmla="*/ 202741 w 400802"/>
              <a:gd name="connsiteY24" fmla="*/ 293767 h 964051"/>
              <a:gd name="connsiteX25" fmla="*/ 227566 w 400802"/>
              <a:gd name="connsiteY25" fmla="*/ 343418 h 964051"/>
              <a:gd name="connsiteX26" fmla="*/ 248254 w 400802"/>
              <a:gd name="connsiteY26" fmla="*/ 368243 h 964051"/>
              <a:gd name="connsiteX27" fmla="*/ 264804 w 400802"/>
              <a:gd name="connsiteY27" fmla="*/ 405481 h 964051"/>
              <a:gd name="connsiteX28" fmla="*/ 277217 w 400802"/>
              <a:gd name="connsiteY28" fmla="*/ 409618 h 964051"/>
              <a:gd name="connsiteX29" fmla="*/ 285492 w 400802"/>
              <a:gd name="connsiteY29" fmla="*/ 417894 h 964051"/>
              <a:gd name="connsiteX30" fmla="*/ 310317 w 400802"/>
              <a:gd name="connsiteY30" fmla="*/ 434444 h 964051"/>
              <a:gd name="connsiteX31" fmla="*/ 318592 w 400802"/>
              <a:gd name="connsiteY31" fmla="*/ 446856 h 964051"/>
              <a:gd name="connsiteX32" fmla="*/ 335143 w 400802"/>
              <a:gd name="connsiteY32" fmla="*/ 463407 h 964051"/>
              <a:gd name="connsiteX33" fmla="*/ 351693 w 400802"/>
              <a:gd name="connsiteY33" fmla="*/ 488232 h 964051"/>
              <a:gd name="connsiteX34" fmla="*/ 355830 w 400802"/>
              <a:gd name="connsiteY34" fmla="*/ 500645 h 964051"/>
              <a:gd name="connsiteX35" fmla="*/ 364105 w 400802"/>
              <a:gd name="connsiteY35" fmla="*/ 513057 h 964051"/>
              <a:gd name="connsiteX36" fmla="*/ 380656 w 400802"/>
              <a:gd name="connsiteY36" fmla="*/ 550295 h 964051"/>
              <a:gd name="connsiteX37" fmla="*/ 388931 w 400802"/>
              <a:gd name="connsiteY37" fmla="*/ 579258 h 964051"/>
              <a:gd name="connsiteX38" fmla="*/ 397206 w 400802"/>
              <a:gd name="connsiteY38" fmla="*/ 608221 h 964051"/>
              <a:gd name="connsiteX39" fmla="*/ 388931 w 400802"/>
              <a:gd name="connsiteY39" fmla="*/ 682697 h 964051"/>
              <a:gd name="connsiteX40" fmla="*/ 384793 w 400802"/>
              <a:gd name="connsiteY40" fmla="*/ 699247 h 964051"/>
              <a:gd name="connsiteX41" fmla="*/ 372381 w 400802"/>
              <a:gd name="connsiteY41" fmla="*/ 736485 h 964051"/>
              <a:gd name="connsiteX42" fmla="*/ 368243 w 400802"/>
              <a:gd name="connsiteY42" fmla="*/ 748898 h 964051"/>
              <a:gd name="connsiteX43" fmla="*/ 364105 w 400802"/>
              <a:gd name="connsiteY43" fmla="*/ 761311 h 964051"/>
              <a:gd name="connsiteX44" fmla="*/ 347555 w 400802"/>
              <a:gd name="connsiteY44" fmla="*/ 806824 h 964051"/>
              <a:gd name="connsiteX45" fmla="*/ 310317 w 400802"/>
              <a:gd name="connsiteY45" fmla="*/ 823374 h 964051"/>
              <a:gd name="connsiteX46" fmla="*/ 285492 w 400802"/>
              <a:gd name="connsiteY46" fmla="*/ 831649 h 964051"/>
              <a:gd name="connsiteX47" fmla="*/ 260667 w 400802"/>
              <a:gd name="connsiteY47" fmla="*/ 839924 h 964051"/>
              <a:gd name="connsiteX48" fmla="*/ 248254 w 400802"/>
              <a:gd name="connsiteY48" fmla="*/ 844062 h 964051"/>
              <a:gd name="connsiteX49" fmla="*/ 235841 w 400802"/>
              <a:gd name="connsiteY49" fmla="*/ 856475 h 964051"/>
              <a:gd name="connsiteX50" fmla="*/ 219291 w 400802"/>
              <a:gd name="connsiteY50" fmla="*/ 881300 h 964051"/>
              <a:gd name="connsiteX51" fmla="*/ 215153 w 400802"/>
              <a:gd name="connsiteY51" fmla="*/ 910263 h 964051"/>
              <a:gd name="connsiteX52" fmla="*/ 202741 w 400802"/>
              <a:gd name="connsiteY52" fmla="*/ 914400 h 964051"/>
              <a:gd name="connsiteX53" fmla="*/ 186191 w 400802"/>
              <a:gd name="connsiteY53" fmla="*/ 918538 h 964051"/>
              <a:gd name="connsiteX54" fmla="*/ 169640 w 400802"/>
              <a:gd name="connsiteY54" fmla="*/ 939226 h 964051"/>
              <a:gd name="connsiteX55" fmla="*/ 140677 w 400802"/>
              <a:gd name="connsiteY55" fmla="*/ 955776 h 964051"/>
              <a:gd name="connsiteX56" fmla="*/ 115852 w 400802"/>
              <a:gd name="connsiteY56" fmla="*/ 964051 h 964051"/>
              <a:gd name="connsiteX57" fmla="*/ 103439 w 400802"/>
              <a:gd name="connsiteY57" fmla="*/ 955776 h 964051"/>
              <a:gd name="connsiteX58" fmla="*/ 99302 w 400802"/>
              <a:gd name="connsiteY58" fmla="*/ 943363 h 964051"/>
              <a:gd name="connsiteX59" fmla="*/ 115852 w 400802"/>
              <a:gd name="connsiteY59" fmla="*/ 906125 h 964051"/>
              <a:gd name="connsiteX60" fmla="*/ 119990 w 400802"/>
              <a:gd name="connsiteY60" fmla="*/ 893713 h 964051"/>
              <a:gd name="connsiteX61" fmla="*/ 111715 w 400802"/>
              <a:gd name="connsiteY61" fmla="*/ 881300 h 964051"/>
              <a:gd name="connsiteX62" fmla="*/ 91027 w 400802"/>
              <a:gd name="connsiteY62" fmla="*/ 864750 h 964051"/>
              <a:gd name="connsiteX63" fmla="*/ 124127 w 400802"/>
              <a:gd name="connsiteY63" fmla="*/ 848199 h 964051"/>
              <a:gd name="connsiteX64" fmla="*/ 136540 w 400802"/>
              <a:gd name="connsiteY64" fmla="*/ 839924 h 964051"/>
              <a:gd name="connsiteX65" fmla="*/ 148953 w 400802"/>
              <a:gd name="connsiteY65" fmla="*/ 835787 h 964051"/>
              <a:gd name="connsiteX66" fmla="*/ 173778 w 400802"/>
              <a:gd name="connsiteY66" fmla="*/ 819237 h 964051"/>
              <a:gd name="connsiteX67" fmla="*/ 190328 w 400802"/>
              <a:gd name="connsiteY67" fmla="*/ 798549 h 964051"/>
              <a:gd name="connsiteX68" fmla="*/ 194466 w 400802"/>
              <a:gd name="connsiteY68" fmla="*/ 781999 h 964051"/>
              <a:gd name="connsiteX69" fmla="*/ 198603 w 400802"/>
              <a:gd name="connsiteY69" fmla="*/ 757173 h 964051"/>
              <a:gd name="connsiteX70" fmla="*/ 231704 w 400802"/>
              <a:gd name="connsiteY70" fmla="*/ 753036 h 964051"/>
              <a:gd name="connsiteX71" fmla="*/ 248254 w 400802"/>
              <a:gd name="connsiteY71" fmla="*/ 728210 h 964051"/>
              <a:gd name="connsiteX72" fmla="*/ 260667 w 400802"/>
              <a:gd name="connsiteY72" fmla="*/ 707522 h 964051"/>
              <a:gd name="connsiteX73" fmla="*/ 268942 w 400802"/>
              <a:gd name="connsiteY73" fmla="*/ 670284 h 964051"/>
              <a:gd name="connsiteX74" fmla="*/ 273079 w 400802"/>
              <a:gd name="connsiteY74" fmla="*/ 591671 h 964051"/>
              <a:gd name="connsiteX75" fmla="*/ 264804 w 400802"/>
              <a:gd name="connsiteY75" fmla="*/ 533745 h 964051"/>
              <a:gd name="connsiteX76" fmla="*/ 256529 w 400802"/>
              <a:gd name="connsiteY76" fmla="*/ 508920 h 964051"/>
              <a:gd name="connsiteX77" fmla="*/ 252391 w 400802"/>
              <a:gd name="connsiteY77" fmla="*/ 496507 h 964051"/>
              <a:gd name="connsiteX78" fmla="*/ 248254 w 400802"/>
              <a:gd name="connsiteY78" fmla="*/ 475819 h 964051"/>
              <a:gd name="connsiteX79" fmla="*/ 239979 w 400802"/>
              <a:gd name="connsiteY79" fmla="*/ 450994 h 964051"/>
              <a:gd name="connsiteX80" fmla="*/ 235841 w 400802"/>
              <a:gd name="connsiteY80" fmla="*/ 434444 h 964051"/>
              <a:gd name="connsiteX81" fmla="*/ 227566 w 400802"/>
              <a:gd name="connsiteY81" fmla="*/ 422031 h 964051"/>
              <a:gd name="connsiteX82" fmla="*/ 223429 w 400802"/>
              <a:gd name="connsiteY82" fmla="*/ 388931 h 964051"/>
              <a:gd name="connsiteX83" fmla="*/ 219291 w 400802"/>
              <a:gd name="connsiteY83" fmla="*/ 376518 h 964051"/>
              <a:gd name="connsiteX84" fmla="*/ 206878 w 400802"/>
              <a:gd name="connsiteY84" fmla="*/ 368243 h 964051"/>
              <a:gd name="connsiteX85" fmla="*/ 177915 w 400802"/>
              <a:gd name="connsiteY85" fmla="*/ 351693 h 964051"/>
              <a:gd name="connsiteX86" fmla="*/ 161365 w 400802"/>
              <a:gd name="connsiteY86" fmla="*/ 326867 h 964051"/>
              <a:gd name="connsiteX87" fmla="*/ 153090 w 400802"/>
              <a:gd name="connsiteY87" fmla="*/ 302042 h 964051"/>
              <a:gd name="connsiteX88" fmla="*/ 128265 w 400802"/>
              <a:gd name="connsiteY88" fmla="*/ 285492 h 964051"/>
              <a:gd name="connsiteX89" fmla="*/ 103439 w 400802"/>
              <a:gd name="connsiteY89" fmla="*/ 273079 h 964051"/>
              <a:gd name="connsiteX90" fmla="*/ 95164 w 400802"/>
              <a:gd name="connsiteY90" fmla="*/ 260666 h 964051"/>
              <a:gd name="connsiteX91" fmla="*/ 115852 w 400802"/>
              <a:gd name="connsiteY91" fmla="*/ 219291 h 964051"/>
              <a:gd name="connsiteX92" fmla="*/ 124127 w 400802"/>
              <a:gd name="connsiteY92" fmla="*/ 194465 h 964051"/>
              <a:gd name="connsiteX93" fmla="*/ 119990 w 400802"/>
              <a:gd name="connsiteY93" fmla="*/ 169640 h 964051"/>
              <a:gd name="connsiteX94" fmla="*/ 107577 w 400802"/>
              <a:gd name="connsiteY94" fmla="*/ 165503 h 964051"/>
              <a:gd name="connsiteX95" fmla="*/ 95164 w 400802"/>
              <a:gd name="connsiteY95" fmla="*/ 157227 h 964051"/>
              <a:gd name="connsiteX96" fmla="*/ 78614 w 400802"/>
              <a:gd name="connsiteY96" fmla="*/ 153090 h 964051"/>
              <a:gd name="connsiteX97" fmla="*/ 66201 w 400802"/>
              <a:gd name="connsiteY97" fmla="*/ 148952 h 964051"/>
              <a:gd name="connsiteX98" fmla="*/ 37238 w 400802"/>
              <a:gd name="connsiteY98" fmla="*/ 132402 h 964051"/>
              <a:gd name="connsiteX99" fmla="*/ 28963 w 400802"/>
              <a:gd name="connsiteY99" fmla="*/ 86889 h 964051"/>
              <a:gd name="connsiteX100" fmla="*/ 20688 w 400802"/>
              <a:gd name="connsiteY100" fmla="*/ 62064 h 964051"/>
              <a:gd name="connsiteX101" fmla="*/ 0 w 400802"/>
              <a:gd name="connsiteY101" fmla="*/ 37238 h 964051"/>
              <a:gd name="connsiteX102" fmla="*/ 8276 w 400802"/>
              <a:gd name="connsiteY102" fmla="*/ 24826 h 964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400802" h="964051">
                <a:moveTo>
                  <a:pt x="8276" y="24826"/>
                </a:moveTo>
                <a:cubicBezTo>
                  <a:pt x="27584" y="23447"/>
                  <a:pt x="47058" y="23560"/>
                  <a:pt x="66201" y="20688"/>
                </a:cubicBezTo>
                <a:cubicBezTo>
                  <a:pt x="74827" y="19394"/>
                  <a:pt x="82473" y="14124"/>
                  <a:pt x="91027" y="12413"/>
                </a:cubicBezTo>
                <a:cubicBezTo>
                  <a:pt x="97923" y="11034"/>
                  <a:pt x="104892" y="9981"/>
                  <a:pt x="111715" y="8275"/>
                </a:cubicBezTo>
                <a:cubicBezTo>
                  <a:pt x="115946" y="7217"/>
                  <a:pt x="119793" y="4620"/>
                  <a:pt x="124127" y="4138"/>
                </a:cubicBezTo>
                <a:cubicBezTo>
                  <a:pt x="144734" y="1848"/>
                  <a:pt x="165503" y="1379"/>
                  <a:pt x="186191" y="0"/>
                </a:cubicBezTo>
                <a:cubicBezTo>
                  <a:pt x="197224" y="1379"/>
                  <a:pt x="208351" y="2149"/>
                  <a:pt x="219291" y="4138"/>
                </a:cubicBezTo>
                <a:cubicBezTo>
                  <a:pt x="223582" y="4918"/>
                  <a:pt x="228215" y="5658"/>
                  <a:pt x="231704" y="8275"/>
                </a:cubicBezTo>
                <a:cubicBezTo>
                  <a:pt x="239506" y="14126"/>
                  <a:pt x="252391" y="28963"/>
                  <a:pt x="252391" y="28963"/>
                </a:cubicBezTo>
                <a:cubicBezTo>
                  <a:pt x="258406" y="47006"/>
                  <a:pt x="258014" y="53086"/>
                  <a:pt x="268942" y="66201"/>
                </a:cubicBezTo>
                <a:cubicBezTo>
                  <a:pt x="272688" y="70696"/>
                  <a:pt x="276239" y="75772"/>
                  <a:pt x="281354" y="78614"/>
                </a:cubicBezTo>
                <a:cubicBezTo>
                  <a:pt x="288979" y="82850"/>
                  <a:pt x="297905" y="84130"/>
                  <a:pt x="306180" y="86889"/>
                </a:cubicBezTo>
                <a:cubicBezTo>
                  <a:pt x="310317" y="88268"/>
                  <a:pt x="314963" y="88608"/>
                  <a:pt x="318592" y="91027"/>
                </a:cubicBezTo>
                <a:lnTo>
                  <a:pt x="343418" y="107577"/>
                </a:lnTo>
                <a:cubicBezTo>
                  <a:pt x="310633" y="118505"/>
                  <a:pt x="327196" y="114418"/>
                  <a:pt x="293767" y="119989"/>
                </a:cubicBezTo>
                <a:cubicBezTo>
                  <a:pt x="291009" y="122748"/>
                  <a:pt x="288538" y="125828"/>
                  <a:pt x="285492" y="128265"/>
                </a:cubicBezTo>
                <a:cubicBezTo>
                  <a:pt x="281609" y="131372"/>
                  <a:pt x="276186" y="132657"/>
                  <a:pt x="273079" y="136540"/>
                </a:cubicBezTo>
                <a:cubicBezTo>
                  <a:pt x="270355" y="139945"/>
                  <a:pt x="271666" y="145547"/>
                  <a:pt x="268942" y="148952"/>
                </a:cubicBezTo>
                <a:cubicBezTo>
                  <a:pt x="265835" y="152835"/>
                  <a:pt x="260271" y="153952"/>
                  <a:pt x="256529" y="157227"/>
                </a:cubicBezTo>
                <a:cubicBezTo>
                  <a:pt x="237165" y="174170"/>
                  <a:pt x="238782" y="173503"/>
                  <a:pt x="227566" y="190328"/>
                </a:cubicBezTo>
                <a:cubicBezTo>
                  <a:pt x="226187" y="194466"/>
                  <a:pt x="225673" y="199001"/>
                  <a:pt x="223429" y="202741"/>
                </a:cubicBezTo>
                <a:cubicBezTo>
                  <a:pt x="221422" y="206086"/>
                  <a:pt x="217590" y="207970"/>
                  <a:pt x="215153" y="211016"/>
                </a:cubicBezTo>
                <a:cubicBezTo>
                  <a:pt x="212047" y="214899"/>
                  <a:pt x="209636" y="219291"/>
                  <a:pt x="206878" y="223428"/>
                </a:cubicBezTo>
                <a:cubicBezTo>
                  <a:pt x="204120" y="231703"/>
                  <a:pt x="197813" y="239567"/>
                  <a:pt x="198603" y="248254"/>
                </a:cubicBezTo>
                <a:cubicBezTo>
                  <a:pt x="199982" y="263425"/>
                  <a:pt x="200094" y="278765"/>
                  <a:pt x="202741" y="293767"/>
                </a:cubicBezTo>
                <a:cubicBezTo>
                  <a:pt x="206852" y="317063"/>
                  <a:pt x="214511" y="323836"/>
                  <a:pt x="227566" y="343418"/>
                </a:cubicBezTo>
                <a:cubicBezTo>
                  <a:pt x="239085" y="360697"/>
                  <a:pt x="232327" y="352316"/>
                  <a:pt x="248254" y="368243"/>
                </a:cubicBezTo>
                <a:cubicBezTo>
                  <a:pt x="250782" y="375827"/>
                  <a:pt x="255864" y="398329"/>
                  <a:pt x="264804" y="405481"/>
                </a:cubicBezTo>
                <a:cubicBezTo>
                  <a:pt x="268210" y="408206"/>
                  <a:pt x="273079" y="408239"/>
                  <a:pt x="277217" y="409618"/>
                </a:cubicBezTo>
                <a:cubicBezTo>
                  <a:pt x="279975" y="412377"/>
                  <a:pt x="282371" y="415553"/>
                  <a:pt x="285492" y="417894"/>
                </a:cubicBezTo>
                <a:cubicBezTo>
                  <a:pt x="293448" y="423861"/>
                  <a:pt x="310317" y="434444"/>
                  <a:pt x="310317" y="434444"/>
                </a:cubicBezTo>
                <a:cubicBezTo>
                  <a:pt x="313075" y="438581"/>
                  <a:pt x="315356" y="443081"/>
                  <a:pt x="318592" y="446856"/>
                </a:cubicBezTo>
                <a:cubicBezTo>
                  <a:pt x="323670" y="452780"/>
                  <a:pt x="330815" y="456915"/>
                  <a:pt x="335143" y="463407"/>
                </a:cubicBezTo>
                <a:lnTo>
                  <a:pt x="351693" y="488232"/>
                </a:lnTo>
                <a:cubicBezTo>
                  <a:pt x="353072" y="492370"/>
                  <a:pt x="353880" y="496744"/>
                  <a:pt x="355830" y="500645"/>
                </a:cubicBezTo>
                <a:cubicBezTo>
                  <a:pt x="358054" y="505093"/>
                  <a:pt x="362085" y="508513"/>
                  <a:pt x="364105" y="513057"/>
                </a:cubicBezTo>
                <a:cubicBezTo>
                  <a:pt x="383801" y="557371"/>
                  <a:pt x="361929" y="522205"/>
                  <a:pt x="380656" y="550295"/>
                </a:cubicBezTo>
                <a:cubicBezTo>
                  <a:pt x="390575" y="580057"/>
                  <a:pt x="378540" y="542890"/>
                  <a:pt x="388931" y="579258"/>
                </a:cubicBezTo>
                <a:cubicBezTo>
                  <a:pt x="400802" y="620808"/>
                  <a:pt x="384270" y="556484"/>
                  <a:pt x="397206" y="608221"/>
                </a:cubicBezTo>
                <a:cubicBezTo>
                  <a:pt x="393683" y="654016"/>
                  <a:pt x="396143" y="650244"/>
                  <a:pt x="388931" y="682697"/>
                </a:cubicBezTo>
                <a:cubicBezTo>
                  <a:pt x="387697" y="688248"/>
                  <a:pt x="386427" y="693800"/>
                  <a:pt x="384793" y="699247"/>
                </a:cubicBezTo>
                <a:cubicBezTo>
                  <a:pt x="381033" y="711779"/>
                  <a:pt x="376519" y="724072"/>
                  <a:pt x="372381" y="736485"/>
                </a:cubicBezTo>
                <a:lnTo>
                  <a:pt x="368243" y="748898"/>
                </a:lnTo>
                <a:cubicBezTo>
                  <a:pt x="366864" y="753036"/>
                  <a:pt x="365163" y="757080"/>
                  <a:pt x="364105" y="761311"/>
                </a:cubicBezTo>
                <a:cubicBezTo>
                  <a:pt x="360183" y="776999"/>
                  <a:pt x="359708" y="794671"/>
                  <a:pt x="347555" y="806824"/>
                </a:cubicBezTo>
                <a:cubicBezTo>
                  <a:pt x="337720" y="816660"/>
                  <a:pt x="322609" y="819277"/>
                  <a:pt x="310317" y="823374"/>
                </a:cubicBezTo>
                <a:lnTo>
                  <a:pt x="285492" y="831649"/>
                </a:lnTo>
                <a:lnTo>
                  <a:pt x="260667" y="839924"/>
                </a:lnTo>
                <a:lnTo>
                  <a:pt x="248254" y="844062"/>
                </a:lnTo>
                <a:cubicBezTo>
                  <a:pt x="244116" y="848200"/>
                  <a:pt x="239434" y="851856"/>
                  <a:pt x="235841" y="856475"/>
                </a:cubicBezTo>
                <a:cubicBezTo>
                  <a:pt x="229735" y="864325"/>
                  <a:pt x="219291" y="881300"/>
                  <a:pt x="219291" y="881300"/>
                </a:cubicBezTo>
                <a:cubicBezTo>
                  <a:pt x="217912" y="890954"/>
                  <a:pt x="219514" y="901540"/>
                  <a:pt x="215153" y="910263"/>
                </a:cubicBezTo>
                <a:cubicBezTo>
                  <a:pt x="213203" y="914164"/>
                  <a:pt x="206934" y="913202"/>
                  <a:pt x="202741" y="914400"/>
                </a:cubicBezTo>
                <a:cubicBezTo>
                  <a:pt x="197273" y="915962"/>
                  <a:pt x="191708" y="917159"/>
                  <a:pt x="186191" y="918538"/>
                </a:cubicBezTo>
                <a:cubicBezTo>
                  <a:pt x="150621" y="942250"/>
                  <a:pt x="192478" y="910677"/>
                  <a:pt x="169640" y="939226"/>
                </a:cubicBezTo>
                <a:cubicBezTo>
                  <a:pt x="166127" y="943618"/>
                  <a:pt x="144271" y="954338"/>
                  <a:pt x="140677" y="955776"/>
                </a:cubicBezTo>
                <a:cubicBezTo>
                  <a:pt x="132578" y="959015"/>
                  <a:pt x="115852" y="964051"/>
                  <a:pt x="115852" y="964051"/>
                </a:cubicBezTo>
                <a:cubicBezTo>
                  <a:pt x="111714" y="961293"/>
                  <a:pt x="106545" y="959659"/>
                  <a:pt x="103439" y="955776"/>
                </a:cubicBezTo>
                <a:cubicBezTo>
                  <a:pt x="100714" y="952370"/>
                  <a:pt x="98820" y="947698"/>
                  <a:pt x="99302" y="943363"/>
                </a:cubicBezTo>
                <a:cubicBezTo>
                  <a:pt x="102352" y="915918"/>
                  <a:pt x="106614" y="924600"/>
                  <a:pt x="115852" y="906125"/>
                </a:cubicBezTo>
                <a:cubicBezTo>
                  <a:pt x="117802" y="902224"/>
                  <a:pt x="118611" y="897850"/>
                  <a:pt x="119990" y="893713"/>
                </a:cubicBezTo>
                <a:cubicBezTo>
                  <a:pt x="117232" y="889575"/>
                  <a:pt x="115853" y="884058"/>
                  <a:pt x="111715" y="881300"/>
                </a:cubicBezTo>
                <a:cubicBezTo>
                  <a:pt x="87222" y="864971"/>
                  <a:pt x="99808" y="891095"/>
                  <a:pt x="91027" y="864750"/>
                </a:cubicBezTo>
                <a:cubicBezTo>
                  <a:pt x="99114" y="840486"/>
                  <a:pt x="88910" y="858764"/>
                  <a:pt x="124127" y="848199"/>
                </a:cubicBezTo>
                <a:cubicBezTo>
                  <a:pt x="128890" y="846770"/>
                  <a:pt x="132092" y="842148"/>
                  <a:pt x="136540" y="839924"/>
                </a:cubicBezTo>
                <a:cubicBezTo>
                  <a:pt x="140441" y="837974"/>
                  <a:pt x="144815" y="837166"/>
                  <a:pt x="148953" y="835787"/>
                </a:cubicBezTo>
                <a:cubicBezTo>
                  <a:pt x="180517" y="804220"/>
                  <a:pt x="143837" y="837202"/>
                  <a:pt x="173778" y="819237"/>
                </a:cubicBezTo>
                <a:cubicBezTo>
                  <a:pt x="180327" y="815308"/>
                  <a:pt x="186571" y="804184"/>
                  <a:pt x="190328" y="798549"/>
                </a:cubicBezTo>
                <a:cubicBezTo>
                  <a:pt x="191707" y="793032"/>
                  <a:pt x="193351" y="787575"/>
                  <a:pt x="194466" y="781999"/>
                </a:cubicBezTo>
                <a:cubicBezTo>
                  <a:pt x="196111" y="773772"/>
                  <a:pt x="191981" y="762324"/>
                  <a:pt x="198603" y="757173"/>
                </a:cubicBezTo>
                <a:cubicBezTo>
                  <a:pt x="207380" y="750346"/>
                  <a:pt x="220670" y="754415"/>
                  <a:pt x="231704" y="753036"/>
                </a:cubicBezTo>
                <a:cubicBezTo>
                  <a:pt x="237221" y="744761"/>
                  <a:pt x="245109" y="737645"/>
                  <a:pt x="248254" y="728210"/>
                </a:cubicBezTo>
                <a:cubicBezTo>
                  <a:pt x="253625" y="712097"/>
                  <a:pt x="249307" y="718882"/>
                  <a:pt x="260667" y="707522"/>
                </a:cubicBezTo>
                <a:cubicBezTo>
                  <a:pt x="262792" y="699020"/>
                  <a:pt x="268286" y="678157"/>
                  <a:pt x="268942" y="670284"/>
                </a:cubicBezTo>
                <a:cubicBezTo>
                  <a:pt x="271121" y="644134"/>
                  <a:pt x="271700" y="617875"/>
                  <a:pt x="273079" y="591671"/>
                </a:cubicBezTo>
                <a:cubicBezTo>
                  <a:pt x="271089" y="573755"/>
                  <a:pt x="269746" y="551863"/>
                  <a:pt x="264804" y="533745"/>
                </a:cubicBezTo>
                <a:cubicBezTo>
                  <a:pt x="262509" y="525330"/>
                  <a:pt x="259287" y="517195"/>
                  <a:pt x="256529" y="508920"/>
                </a:cubicBezTo>
                <a:cubicBezTo>
                  <a:pt x="255150" y="504782"/>
                  <a:pt x="253246" y="500784"/>
                  <a:pt x="252391" y="496507"/>
                </a:cubicBezTo>
                <a:cubicBezTo>
                  <a:pt x="251012" y="489611"/>
                  <a:pt x="250104" y="482604"/>
                  <a:pt x="248254" y="475819"/>
                </a:cubicBezTo>
                <a:cubicBezTo>
                  <a:pt x="245959" y="467404"/>
                  <a:pt x="242095" y="459456"/>
                  <a:pt x="239979" y="450994"/>
                </a:cubicBezTo>
                <a:cubicBezTo>
                  <a:pt x="238600" y="445477"/>
                  <a:pt x="238081" y="439671"/>
                  <a:pt x="235841" y="434444"/>
                </a:cubicBezTo>
                <a:cubicBezTo>
                  <a:pt x="233882" y="429873"/>
                  <a:pt x="230324" y="426169"/>
                  <a:pt x="227566" y="422031"/>
                </a:cubicBezTo>
                <a:cubicBezTo>
                  <a:pt x="226187" y="410998"/>
                  <a:pt x="225418" y="399871"/>
                  <a:pt x="223429" y="388931"/>
                </a:cubicBezTo>
                <a:cubicBezTo>
                  <a:pt x="222649" y="384640"/>
                  <a:pt x="222016" y="379924"/>
                  <a:pt x="219291" y="376518"/>
                </a:cubicBezTo>
                <a:cubicBezTo>
                  <a:pt x="216184" y="372635"/>
                  <a:pt x="210925" y="371133"/>
                  <a:pt x="206878" y="368243"/>
                </a:cubicBezTo>
                <a:cubicBezTo>
                  <a:pt x="184959" y="352587"/>
                  <a:pt x="198059" y="358407"/>
                  <a:pt x="177915" y="351693"/>
                </a:cubicBezTo>
                <a:cubicBezTo>
                  <a:pt x="172398" y="343418"/>
                  <a:pt x="164510" y="336302"/>
                  <a:pt x="161365" y="326867"/>
                </a:cubicBezTo>
                <a:cubicBezTo>
                  <a:pt x="158607" y="318592"/>
                  <a:pt x="160348" y="306880"/>
                  <a:pt x="153090" y="302042"/>
                </a:cubicBezTo>
                <a:cubicBezTo>
                  <a:pt x="144815" y="296525"/>
                  <a:pt x="137700" y="288637"/>
                  <a:pt x="128265" y="285492"/>
                </a:cubicBezTo>
                <a:cubicBezTo>
                  <a:pt x="111134" y="279781"/>
                  <a:pt x="119481" y="283773"/>
                  <a:pt x="103439" y="273079"/>
                </a:cubicBezTo>
                <a:cubicBezTo>
                  <a:pt x="100681" y="268941"/>
                  <a:pt x="95867" y="265589"/>
                  <a:pt x="95164" y="260666"/>
                </a:cubicBezTo>
                <a:cubicBezTo>
                  <a:pt x="92820" y="244252"/>
                  <a:pt x="111704" y="231735"/>
                  <a:pt x="115852" y="219291"/>
                </a:cubicBezTo>
                <a:lnTo>
                  <a:pt x="124127" y="194465"/>
                </a:lnTo>
                <a:cubicBezTo>
                  <a:pt x="122748" y="186190"/>
                  <a:pt x="124152" y="176924"/>
                  <a:pt x="119990" y="169640"/>
                </a:cubicBezTo>
                <a:cubicBezTo>
                  <a:pt x="117826" y="165853"/>
                  <a:pt x="111478" y="167453"/>
                  <a:pt x="107577" y="165503"/>
                </a:cubicBezTo>
                <a:cubicBezTo>
                  <a:pt x="103129" y="163279"/>
                  <a:pt x="99735" y="159186"/>
                  <a:pt x="95164" y="157227"/>
                </a:cubicBezTo>
                <a:cubicBezTo>
                  <a:pt x="89937" y="154987"/>
                  <a:pt x="84082" y="154652"/>
                  <a:pt x="78614" y="153090"/>
                </a:cubicBezTo>
                <a:cubicBezTo>
                  <a:pt x="74420" y="151892"/>
                  <a:pt x="70210" y="150670"/>
                  <a:pt x="66201" y="148952"/>
                </a:cubicBezTo>
                <a:cubicBezTo>
                  <a:pt x="51503" y="142653"/>
                  <a:pt x="49704" y="140712"/>
                  <a:pt x="37238" y="132402"/>
                </a:cubicBezTo>
                <a:cubicBezTo>
                  <a:pt x="25914" y="98425"/>
                  <a:pt x="43002" y="152400"/>
                  <a:pt x="28963" y="86889"/>
                </a:cubicBezTo>
                <a:cubicBezTo>
                  <a:pt x="27135" y="78360"/>
                  <a:pt x="26856" y="68232"/>
                  <a:pt x="20688" y="62064"/>
                </a:cubicBezTo>
                <a:cubicBezTo>
                  <a:pt x="4760" y="46134"/>
                  <a:pt x="11522" y="54519"/>
                  <a:pt x="0" y="37238"/>
                </a:cubicBezTo>
                <a:lnTo>
                  <a:pt x="8276" y="24826"/>
                </a:lnTo>
                <a:close/>
              </a:path>
            </a:pathLst>
          </a:custGeom>
          <a:solidFill>
            <a:srgbClr val="FF33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5" name="Freeform 144"/>
          <p:cNvSpPr/>
          <p:nvPr/>
        </p:nvSpPr>
        <p:spPr>
          <a:xfrm>
            <a:off x="1331918" y="3858686"/>
            <a:ext cx="319087" cy="266700"/>
          </a:xfrm>
          <a:custGeom>
            <a:avLst/>
            <a:gdLst>
              <a:gd name="connsiteX0" fmla="*/ 319776 w 319776"/>
              <a:gd name="connsiteY0" fmla="*/ 7928 h 266920"/>
              <a:gd name="connsiteX1" fmla="*/ 314491 w 319776"/>
              <a:gd name="connsiteY1" fmla="*/ 15857 h 266920"/>
              <a:gd name="connsiteX2" fmla="*/ 290706 w 319776"/>
              <a:gd name="connsiteY2" fmla="*/ 29070 h 266920"/>
              <a:gd name="connsiteX3" fmla="*/ 274849 w 319776"/>
              <a:gd name="connsiteY3" fmla="*/ 39641 h 266920"/>
              <a:gd name="connsiteX4" fmla="*/ 269563 w 319776"/>
              <a:gd name="connsiteY4" fmla="*/ 47570 h 266920"/>
              <a:gd name="connsiteX5" fmla="*/ 253707 w 319776"/>
              <a:gd name="connsiteY5" fmla="*/ 60784 h 266920"/>
              <a:gd name="connsiteX6" fmla="*/ 235207 w 319776"/>
              <a:gd name="connsiteY6" fmla="*/ 87211 h 266920"/>
              <a:gd name="connsiteX7" fmla="*/ 227279 w 319776"/>
              <a:gd name="connsiteY7" fmla="*/ 95140 h 266920"/>
              <a:gd name="connsiteX8" fmla="*/ 221993 w 319776"/>
              <a:gd name="connsiteY8" fmla="*/ 103068 h 266920"/>
              <a:gd name="connsiteX9" fmla="*/ 206137 w 319776"/>
              <a:gd name="connsiteY9" fmla="*/ 116282 h 266920"/>
              <a:gd name="connsiteX10" fmla="*/ 190280 w 319776"/>
              <a:gd name="connsiteY10" fmla="*/ 134781 h 266920"/>
              <a:gd name="connsiteX11" fmla="*/ 179709 w 319776"/>
              <a:gd name="connsiteY11" fmla="*/ 137424 h 266920"/>
              <a:gd name="connsiteX12" fmla="*/ 163852 w 319776"/>
              <a:gd name="connsiteY12" fmla="*/ 142710 h 266920"/>
              <a:gd name="connsiteX13" fmla="*/ 113640 w 319776"/>
              <a:gd name="connsiteY13" fmla="*/ 147995 h 266920"/>
              <a:gd name="connsiteX14" fmla="*/ 21143 w 319776"/>
              <a:gd name="connsiteY14" fmla="*/ 147995 h 266920"/>
              <a:gd name="connsiteX15" fmla="*/ 13214 w 319776"/>
              <a:gd name="connsiteY15" fmla="*/ 145352 h 266920"/>
              <a:gd name="connsiteX16" fmla="*/ 0 w 319776"/>
              <a:gd name="connsiteY16" fmla="*/ 142710 h 266920"/>
              <a:gd name="connsiteX17" fmla="*/ 10571 w 319776"/>
              <a:gd name="connsiteY17" fmla="*/ 179709 h 266920"/>
              <a:gd name="connsiteX18" fmla="*/ 15857 w 319776"/>
              <a:gd name="connsiteY18" fmla="*/ 187637 h 266920"/>
              <a:gd name="connsiteX19" fmla="*/ 18500 w 319776"/>
              <a:gd name="connsiteY19" fmla="*/ 200851 h 266920"/>
              <a:gd name="connsiteX20" fmla="*/ 31714 w 319776"/>
              <a:gd name="connsiteY20" fmla="*/ 216707 h 266920"/>
              <a:gd name="connsiteX21" fmla="*/ 42285 w 319776"/>
              <a:gd name="connsiteY21" fmla="*/ 221993 h 266920"/>
              <a:gd name="connsiteX22" fmla="*/ 55499 w 319776"/>
              <a:gd name="connsiteY22" fmla="*/ 237850 h 266920"/>
              <a:gd name="connsiteX23" fmla="*/ 63427 w 319776"/>
              <a:gd name="connsiteY23" fmla="*/ 240492 h 266920"/>
              <a:gd name="connsiteX24" fmla="*/ 134782 w 319776"/>
              <a:gd name="connsiteY24" fmla="*/ 248421 h 266920"/>
              <a:gd name="connsiteX25" fmla="*/ 150639 w 319776"/>
              <a:gd name="connsiteY25" fmla="*/ 253706 h 266920"/>
              <a:gd name="connsiteX26" fmla="*/ 174424 w 319776"/>
              <a:gd name="connsiteY26" fmla="*/ 258992 h 266920"/>
              <a:gd name="connsiteX27" fmla="*/ 190280 w 319776"/>
              <a:gd name="connsiteY27" fmla="*/ 264277 h 266920"/>
              <a:gd name="connsiteX28" fmla="*/ 198208 w 319776"/>
              <a:gd name="connsiteY28" fmla="*/ 266920 h 266920"/>
              <a:gd name="connsiteX29" fmla="*/ 206137 w 319776"/>
              <a:gd name="connsiteY29" fmla="*/ 264277 h 266920"/>
              <a:gd name="connsiteX30" fmla="*/ 211422 w 319776"/>
              <a:gd name="connsiteY30" fmla="*/ 248421 h 266920"/>
              <a:gd name="connsiteX31" fmla="*/ 219351 w 319776"/>
              <a:gd name="connsiteY31" fmla="*/ 232564 h 266920"/>
              <a:gd name="connsiteX32" fmla="*/ 224636 w 319776"/>
              <a:gd name="connsiteY32" fmla="*/ 198208 h 266920"/>
              <a:gd name="connsiteX33" fmla="*/ 229922 w 319776"/>
              <a:gd name="connsiteY33" fmla="*/ 190280 h 266920"/>
              <a:gd name="connsiteX34" fmla="*/ 237850 w 319776"/>
              <a:gd name="connsiteY34" fmla="*/ 187637 h 266920"/>
              <a:gd name="connsiteX35" fmla="*/ 248421 w 319776"/>
              <a:gd name="connsiteY35" fmla="*/ 171780 h 266920"/>
              <a:gd name="connsiteX36" fmla="*/ 253707 w 319776"/>
              <a:gd name="connsiteY36" fmla="*/ 163852 h 266920"/>
              <a:gd name="connsiteX37" fmla="*/ 256350 w 319776"/>
              <a:gd name="connsiteY37" fmla="*/ 155924 h 266920"/>
              <a:gd name="connsiteX38" fmla="*/ 272206 w 319776"/>
              <a:gd name="connsiteY38" fmla="*/ 145352 h 266920"/>
              <a:gd name="connsiteX39" fmla="*/ 301277 w 319776"/>
              <a:gd name="connsiteY39" fmla="*/ 113639 h 266920"/>
              <a:gd name="connsiteX40" fmla="*/ 309205 w 319776"/>
              <a:gd name="connsiteY40" fmla="*/ 116282 h 266920"/>
              <a:gd name="connsiteX41" fmla="*/ 314491 w 319776"/>
              <a:gd name="connsiteY41" fmla="*/ 63426 h 266920"/>
              <a:gd name="connsiteX42" fmla="*/ 319776 w 319776"/>
              <a:gd name="connsiteY42" fmla="*/ 7928 h 266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319776" h="266920">
                <a:moveTo>
                  <a:pt x="319776" y="7928"/>
                </a:moveTo>
                <a:cubicBezTo>
                  <a:pt x="319776" y="0"/>
                  <a:pt x="316881" y="13765"/>
                  <a:pt x="314491" y="15857"/>
                </a:cubicBezTo>
                <a:cubicBezTo>
                  <a:pt x="303307" y="25643"/>
                  <a:pt x="301595" y="25441"/>
                  <a:pt x="290706" y="29070"/>
                </a:cubicBezTo>
                <a:cubicBezTo>
                  <a:pt x="285420" y="32594"/>
                  <a:pt x="278373" y="34355"/>
                  <a:pt x="274849" y="39641"/>
                </a:cubicBezTo>
                <a:cubicBezTo>
                  <a:pt x="273087" y="42284"/>
                  <a:pt x="271809" y="45324"/>
                  <a:pt x="269563" y="47570"/>
                </a:cubicBezTo>
                <a:cubicBezTo>
                  <a:pt x="254289" y="62844"/>
                  <a:pt x="268866" y="41293"/>
                  <a:pt x="253707" y="60784"/>
                </a:cubicBezTo>
                <a:cubicBezTo>
                  <a:pt x="240960" y="77173"/>
                  <a:pt x="246762" y="73730"/>
                  <a:pt x="235207" y="87211"/>
                </a:cubicBezTo>
                <a:cubicBezTo>
                  <a:pt x="232775" y="90049"/>
                  <a:pt x="229672" y="92269"/>
                  <a:pt x="227279" y="95140"/>
                </a:cubicBezTo>
                <a:cubicBezTo>
                  <a:pt x="225246" y="97580"/>
                  <a:pt x="224239" y="100822"/>
                  <a:pt x="221993" y="103068"/>
                </a:cubicBezTo>
                <a:cubicBezTo>
                  <a:pt x="201205" y="123856"/>
                  <a:pt x="227784" y="90307"/>
                  <a:pt x="206137" y="116282"/>
                </a:cubicBezTo>
                <a:cubicBezTo>
                  <a:pt x="199216" y="124587"/>
                  <a:pt x="201325" y="127878"/>
                  <a:pt x="190280" y="134781"/>
                </a:cubicBezTo>
                <a:cubicBezTo>
                  <a:pt x="187200" y="136706"/>
                  <a:pt x="183188" y="136380"/>
                  <a:pt x="179709" y="137424"/>
                </a:cubicBezTo>
                <a:cubicBezTo>
                  <a:pt x="174372" y="139025"/>
                  <a:pt x="169138" y="140948"/>
                  <a:pt x="163852" y="142710"/>
                </a:cubicBezTo>
                <a:cubicBezTo>
                  <a:pt x="142532" y="149816"/>
                  <a:pt x="158676" y="145180"/>
                  <a:pt x="113640" y="147995"/>
                </a:cubicBezTo>
                <a:cubicBezTo>
                  <a:pt x="79527" y="159366"/>
                  <a:pt x="102703" y="152656"/>
                  <a:pt x="21143" y="147995"/>
                </a:cubicBezTo>
                <a:cubicBezTo>
                  <a:pt x="18362" y="147836"/>
                  <a:pt x="15917" y="146028"/>
                  <a:pt x="13214" y="145352"/>
                </a:cubicBezTo>
                <a:cubicBezTo>
                  <a:pt x="8856" y="144263"/>
                  <a:pt x="4405" y="143591"/>
                  <a:pt x="0" y="142710"/>
                </a:cubicBezTo>
                <a:cubicBezTo>
                  <a:pt x="703" y="145524"/>
                  <a:pt x="7540" y="175164"/>
                  <a:pt x="10571" y="179709"/>
                </a:cubicBezTo>
                <a:lnTo>
                  <a:pt x="15857" y="187637"/>
                </a:lnTo>
                <a:cubicBezTo>
                  <a:pt x="16738" y="192042"/>
                  <a:pt x="16923" y="196645"/>
                  <a:pt x="18500" y="200851"/>
                </a:cubicBezTo>
                <a:cubicBezTo>
                  <a:pt x="20197" y="205376"/>
                  <a:pt x="28201" y="214198"/>
                  <a:pt x="31714" y="216707"/>
                </a:cubicBezTo>
                <a:cubicBezTo>
                  <a:pt x="34920" y="218997"/>
                  <a:pt x="38761" y="220231"/>
                  <a:pt x="42285" y="221993"/>
                </a:cubicBezTo>
                <a:cubicBezTo>
                  <a:pt x="46185" y="227844"/>
                  <a:pt x="49394" y="233780"/>
                  <a:pt x="55499" y="237850"/>
                </a:cubicBezTo>
                <a:cubicBezTo>
                  <a:pt x="57817" y="239395"/>
                  <a:pt x="60784" y="239611"/>
                  <a:pt x="63427" y="240492"/>
                </a:cubicBezTo>
                <a:cubicBezTo>
                  <a:pt x="89990" y="258203"/>
                  <a:pt x="61328" y="241076"/>
                  <a:pt x="134782" y="248421"/>
                </a:cubicBezTo>
                <a:cubicBezTo>
                  <a:pt x="140326" y="248975"/>
                  <a:pt x="145353" y="251944"/>
                  <a:pt x="150639" y="253706"/>
                </a:cubicBezTo>
                <a:cubicBezTo>
                  <a:pt x="163655" y="258044"/>
                  <a:pt x="155811" y="255890"/>
                  <a:pt x="174424" y="258992"/>
                </a:cubicBezTo>
                <a:lnTo>
                  <a:pt x="190280" y="264277"/>
                </a:lnTo>
                <a:lnTo>
                  <a:pt x="198208" y="266920"/>
                </a:lnTo>
                <a:cubicBezTo>
                  <a:pt x="200851" y="266039"/>
                  <a:pt x="204518" y="266544"/>
                  <a:pt x="206137" y="264277"/>
                </a:cubicBezTo>
                <a:cubicBezTo>
                  <a:pt x="209375" y="259744"/>
                  <a:pt x="209660" y="253706"/>
                  <a:pt x="211422" y="248421"/>
                </a:cubicBezTo>
                <a:cubicBezTo>
                  <a:pt x="215069" y="237479"/>
                  <a:pt x="212520" y="242809"/>
                  <a:pt x="219351" y="232564"/>
                </a:cubicBezTo>
                <a:cubicBezTo>
                  <a:pt x="220109" y="224982"/>
                  <a:pt x="219873" y="207733"/>
                  <a:pt x="224636" y="198208"/>
                </a:cubicBezTo>
                <a:cubicBezTo>
                  <a:pt x="226057" y="195367"/>
                  <a:pt x="227442" y="192264"/>
                  <a:pt x="229922" y="190280"/>
                </a:cubicBezTo>
                <a:cubicBezTo>
                  <a:pt x="232097" y="188540"/>
                  <a:pt x="235207" y="188518"/>
                  <a:pt x="237850" y="187637"/>
                </a:cubicBezTo>
                <a:lnTo>
                  <a:pt x="248421" y="171780"/>
                </a:lnTo>
                <a:cubicBezTo>
                  <a:pt x="250183" y="169137"/>
                  <a:pt x="252702" y="166865"/>
                  <a:pt x="253707" y="163852"/>
                </a:cubicBezTo>
                <a:cubicBezTo>
                  <a:pt x="254588" y="161209"/>
                  <a:pt x="254380" y="157894"/>
                  <a:pt x="256350" y="155924"/>
                </a:cubicBezTo>
                <a:cubicBezTo>
                  <a:pt x="260842" y="151432"/>
                  <a:pt x="272206" y="145352"/>
                  <a:pt x="272206" y="145352"/>
                </a:cubicBezTo>
                <a:cubicBezTo>
                  <a:pt x="275327" y="104783"/>
                  <a:pt x="263575" y="107838"/>
                  <a:pt x="301277" y="113639"/>
                </a:cubicBezTo>
                <a:cubicBezTo>
                  <a:pt x="304030" y="114063"/>
                  <a:pt x="306562" y="115401"/>
                  <a:pt x="309205" y="116282"/>
                </a:cubicBezTo>
                <a:cubicBezTo>
                  <a:pt x="316655" y="93935"/>
                  <a:pt x="311348" y="112143"/>
                  <a:pt x="314491" y="63426"/>
                </a:cubicBezTo>
                <a:cubicBezTo>
                  <a:pt x="317447" y="17607"/>
                  <a:pt x="319776" y="15856"/>
                  <a:pt x="319776" y="7928"/>
                </a:cubicBez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6" name="Freeform 145"/>
          <p:cNvSpPr/>
          <p:nvPr/>
        </p:nvSpPr>
        <p:spPr>
          <a:xfrm>
            <a:off x="1309694" y="3884085"/>
            <a:ext cx="66675" cy="110067"/>
          </a:xfrm>
          <a:custGeom>
            <a:avLst/>
            <a:gdLst>
              <a:gd name="connsiteX0" fmla="*/ 12098 w 67597"/>
              <a:gd name="connsiteY0" fmla="*/ 55498 h 111635"/>
              <a:gd name="connsiteX1" fmla="*/ 14741 w 67597"/>
              <a:gd name="connsiteY1" fmla="*/ 29070 h 111635"/>
              <a:gd name="connsiteX2" fmla="*/ 20027 w 67597"/>
              <a:gd name="connsiteY2" fmla="*/ 13214 h 111635"/>
              <a:gd name="connsiteX3" fmla="*/ 35883 w 67597"/>
              <a:gd name="connsiteY3" fmla="*/ 5285 h 111635"/>
              <a:gd name="connsiteX4" fmla="*/ 46454 w 67597"/>
              <a:gd name="connsiteY4" fmla="*/ 2643 h 111635"/>
              <a:gd name="connsiteX5" fmla="*/ 54383 w 67597"/>
              <a:gd name="connsiteY5" fmla="*/ 0 h 111635"/>
              <a:gd name="connsiteX6" fmla="*/ 64954 w 67597"/>
              <a:gd name="connsiteY6" fmla="*/ 2643 h 111635"/>
              <a:gd name="connsiteX7" fmla="*/ 67597 w 67597"/>
              <a:gd name="connsiteY7" fmla="*/ 10571 h 111635"/>
              <a:gd name="connsiteX8" fmla="*/ 64954 w 67597"/>
              <a:gd name="connsiteY8" fmla="*/ 31713 h 111635"/>
              <a:gd name="connsiteX9" fmla="*/ 59668 w 67597"/>
              <a:gd name="connsiteY9" fmla="*/ 47570 h 111635"/>
              <a:gd name="connsiteX10" fmla="*/ 57025 w 67597"/>
              <a:gd name="connsiteY10" fmla="*/ 55498 h 111635"/>
              <a:gd name="connsiteX11" fmla="*/ 51740 w 67597"/>
              <a:gd name="connsiteY11" fmla="*/ 92497 h 111635"/>
              <a:gd name="connsiteX12" fmla="*/ 46454 w 67597"/>
              <a:gd name="connsiteY12" fmla="*/ 100425 h 111635"/>
              <a:gd name="connsiteX13" fmla="*/ 38526 w 67597"/>
              <a:gd name="connsiteY13" fmla="*/ 108354 h 111635"/>
              <a:gd name="connsiteX14" fmla="*/ 30598 w 67597"/>
              <a:gd name="connsiteY14" fmla="*/ 110996 h 111635"/>
              <a:gd name="connsiteX15" fmla="*/ 22669 w 67597"/>
              <a:gd name="connsiteY15" fmla="*/ 81926 h 111635"/>
              <a:gd name="connsiteX16" fmla="*/ 17384 w 67597"/>
              <a:gd name="connsiteY16" fmla="*/ 66069 h 111635"/>
              <a:gd name="connsiteX17" fmla="*/ 12098 w 67597"/>
              <a:gd name="connsiteY17" fmla="*/ 55498 h 111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67597" h="111635">
                <a:moveTo>
                  <a:pt x="12098" y="55498"/>
                </a:moveTo>
                <a:cubicBezTo>
                  <a:pt x="11658" y="49332"/>
                  <a:pt x="13109" y="37772"/>
                  <a:pt x="14741" y="29070"/>
                </a:cubicBezTo>
                <a:cubicBezTo>
                  <a:pt x="15768" y="23594"/>
                  <a:pt x="14742" y="14976"/>
                  <a:pt x="20027" y="13214"/>
                </a:cubicBezTo>
                <a:cubicBezTo>
                  <a:pt x="53453" y="2071"/>
                  <a:pt x="0" y="20663"/>
                  <a:pt x="35883" y="5285"/>
                </a:cubicBezTo>
                <a:cubicBezTo>
                  <a:pt x="39221" y="3854"/>
                  <a:pt x="42962" y="3641"/>
                  <a:pt x="46454" y="2643"/>
                </a:cubicBezTo>
                <a:cubicBezTo>
                  <a:pt x="49133" y="1878"/>
                  <a:pt x="51740" y="881"/>
                  <a:pt x="54383" y="0"/>
                </a:cubicBezTo>
                <a:cubicBezTo>
                  <a:pt x="57907" y="881"/>
                  <a:pt x="62118" y="374"/>
                  <a:pt x="64954" y="2643"/>
                </a:cubicBezTo>
                <a:cubicBezTo>
                  <a:pt x="67129" y="4383"/>
                  <a:pt x="67597" y="7785"/>
                  <a:pt x="67597" y="10571"/>
                </a:cubicBezTo>
                <a:cubicBezTo>
                  <a:pt x="67597" y="17673"/>
                  <a:pt x="66442" y="24768"/>
                  <a:pt x="64954" y="31713"/>
                </a:cubicBezTo>
                <a:cubicBezTo>
                  <a:pt x="63786" y="37161"/>
                  <a:pt x="61430" y="42284"/>
                  <a:pt x="59668" y="47570"/>
                </a:cubicBezTo>
                <a:lnTo>
                  <a:pt x="57025" y="55498"/>
                </a:lnTo>
                <a:cubicBezTo>
                  <a:pt x="56559" y="60161"/>
                  <a:pt x="55490" y="83749"/>
                  <a:pt x="51740" y="92497"/>
                </a:cubicBezTo>
                <a:cubicBezTo>
                  <a:pt x="50489" y="95416"/>
                  <a:pt x="48487" y="97985"/>
                  <a:pt x="46454" y="100425"/>
                </a:cubicBezTo>
                <a:cubicBezTo>
                  <a:pt x="44061" y="103296"/>
                  <a:pt x="41636" y="106281"/>
                  <a:pt x="38526" y="108354"/>
                </a:cubicBezTo>
                <a:cubicBezTo>
                  <a:pt x="36208" y="109899"/>
                  <a:pt x="33241" y="110115"/>
                  <a:pt x="30598" y="110996"/>
                </a:cubicBezTo>
                <a:cubicBezTo>
                  <a:pt x="20214" y="90230"/>
                  <a:pt x="29525" y="111635"/>
                  <a:pt x="22669" y="81926"/>
                </a:cubicBezTo>
                <a:cubicBezTo>
                  <a:pt x="21416" y="76497"/>
                  <a:pt x="22020" y="69159"/>
                  <a:pt x="17384" y="66069"/>
                </a:cubicBezTo>
                <a:cubicBezTo>
                  <a:pt x="8419" y="60093"/>
                  <a:pt x="12538" y="61664"/>
                  <a:pt x="12098" y="55498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7" name="Freeform 146"/>
          <p:cNvSpPr/>
          <p:nvPr/>
        </p:nvSpPr>
        <p:spPr>
          <a:xfrm>
            <a:off x="1160463" y="3623735"/>
            <a:ext cx="80962" cy="88900"/>
          </a:xfrm>
          <a:custGeom>
            <a:avLst/>
            <a:gdLst>
              <a:gd name="connsiteX0" fmla="*/ 34750 w 81647"/>
              <a:gd name="connsiteY0" fmla="*/ 3964 h 87899"/>
              <a:gd name="connsiteX1" fmla="*/ 24179 w 81647"/>
              <a:gd name="connsiteY1" fmla="*/ 9250 h 87899"/>
              <a:gd name="connsiteX2" fmla="*/ 21536 w 81647"/>
              <a:gd name="connsiteY2" fmla="*/ 17178 h 87899"/>
              <a:gd name="connsiteX3" fmla="*/ 13608 w 81647"/>
              <a:gd name="connsiteY3" fmla="*/ 22464 h 87899"/>
              <a:gd name="connsiteX4" fmla="*/ 8322 w 81647"/>
              <a:gd name="connsiteY4" fmla="*/ 38321 h 87899"/>
              <a:gd name="connsiteX5" fmla="*/ 5680 w 81647"/>
              <a:gd name="connsiteY5" fmla="*/ 46249 h 87899"/>
              <a:gd name="connsiteX6" fmla="*/ 8322 w 81647"/>
              <a:gd name="connsiteY6" fmla="*/ 56820 h 87899"/>
              <a:gd name="connsiteX7" fmla="*/ 16251 w 81647"/>
              <a:gd name="connsiteY7" fmla="*/ 59463 h 87899"/>
              <a:gd name="connsiteX8" fmla="*/ 24179 w 81647"/>
              <a:gd name="connsiteY8" fmla="*/ 64748 h 87899"/>
              <a:gd name="connsiteX9" fmla="*/ 34750 w 81647"/>
              <a:gd name="connsiteY9" fmla="*/ 70034 h 87899"/>
              <a:gd name="connsiteX10" fmla="*/ 42678 w 81647"/>
              <a:gd name="connsiteY10" fmla="*/ 75319 h 87899"/>
              <a:gd name="connsiteX11" fmla="*/ 66463 w 81647"/>
              <a:gd name="connsiteY11" fmla="*/ 85890 h 87899"/>
              <a:gd name="connsiteX12" fmla="*/ 74392 w 81647"/>
              <a:gd name="connsiteY12" fmla="*/ 80605 h 87899"/>
              <a:gd name="connsiteX13" fmla="*/ 77034 w 81647"/>
              <a:gd name="connsiteY13" fmla="*/ 67391 h 87899"/>
              <a:gd name="connsiteX14" fmla="*/ 79677 w 81647"/>
              <a:gd name="connsiteY14" fmla="*/ 59463 h 87899"/>
              <a:gd name="connsiteX15" fmla="*/ 71749 w 81647"/>
              <a:gd name="connsiteY15" fmla="*/ 54177 h 87899"/>
              <a:gd name="connsiteX16" fmla="*/ 55892 w 81647"/>
              <a:gd name="connsiteY16" fmla="*/ 46249 h 87899"/>
              <a:gd name="connsiteX17" fmla="*/ 58535 w 81647"/>
              <a:gd name="connsiteY17" fmla="*/ 30392 h 87899"/>
              <a:gd name="connsiteX18" fmla="*/ 69106 w 81647"/>
              <a:gd name="connsiteY18" fmla="*/ 27749 h 87899"/>
              <a:gd name="connsiteX19" fmla="*/ 77034 w 81647"/>
              <a:gd name="connsiteY19" fmla="*/ 19821 h 87899"/>
              <a:gd name="connsiteX20" fmla="*/ 79677 w 81647"/>
              <a:gd name="connsiteY20" fmla="*/ 11893 h 87899"/>
              <a:gd name="connsiteX21" fmla="*/ 63821 w 81647"/>
              <a:gd name="connsiteY21" fmla="*/ 6607 h 87899"/>
              <a:gd name="connsiteX22" fmla="*/ 42678 w 81647"/>
              <a:gd name="connsiteY22" fmla="*/ 1322 h 87899"/>
              <a:gd name="connsiteX23" fmla="*/ 16251 w 81647"/>
              <a:gd name="connsiteY23" fmla="*/ 9250 h 87899"/>
              <a:gd name="connsiteX24" fmla="*/ 13608 w 81647"/>
              <a:gd name="connsiteY24" fmla="*/ 17178 h 87899"/>
              <a:gd name="connsiteX25" fmla="*/ 394 w 81647"/>
              <a:gd name="connsiteY25" fmla="*/ 33035 h 87899"/>
              <a:gd name="connsiteX26" fmla="*/ 34750 w 81647"/>
              <a:gd name="connsiteY26" fmla="*/ 3964 h 87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81647" h="87899">
                <a:moveTo>
                  <a:pt x="34750" y="3964"/>
                </a:moveTo>
                <a:cubicBezTo>
                  <a:pt x="38714" y="0"/>
                  <a:pt x="26965" y="6464"/>
                  <a:pt x="24179" y="9250"/>
                </a:cubicBezTo>
                <a:cubicBezTo>
                  <a:pt x="22209" y="11220"/>
                  <a:pt x="23276" y="15003"/>
                  <a:pt x="21536" y="17178"/>
                </a:cubicBezTo>
                <a:cubicBezTo>
                  <a:pt x="19552" y="19658"/>
                  <a:pt x="16251" y="20702"/>
                  <a:pt x="13608" y="22464"/>
                </a:cubicBezTo>
                <a:lnTo>
                  <a:pt x="8322" y="38321"/>
                </a:lnTo>
                <a:lnTo>
                  <a:pt x="5680" y="46249"/>
                </a:lnTo>
                <a:cubicBezTo>
                  <a:pt x="6561" y="49773"/>
                  <a:pt x="6053" y="53984"/>
                  <a:pt x="8322" y="56820"/>
                </a:cubicBezTo>
                <a:cubicBezTo>
                  <a:pt x="10062" y="58995"/>
                  <a:pt x="13759" y="58217"/>
                  <a:pt x="16251" y="59463"/>
                </a:cubicBezTo>
                <a:cubicBezTo>
                  <a:pt x="19092" y="60883"/>
                  <a:pt x="21421" y="63172"/>
                  <a:pt x="24179" y="64748"/>
                </a:cubicBezTo>
                <a:cubicBezTo>
                  <a:pt x="27600" y="66703"/>
                  <a:pt x="31329" y="68079"/>
                  <a:pt x="34750" y="70034"/>
                </a:cubicBezTo>
                <a:cubicBezTo>
                  <a:pt x="37508" y="71610"/>
                  <a:pt x="39776" y="74029"/>
                  <a:pt x="42678" y="75319"/>
                </a:cubicBezTo>
                <a:cubicBezTo>
                  <a:pt x="70982" y="87899"/>
                  <a:pt x="48521" y="73929"/>
                  <a:pt x="66463" y="85890"/>
                </a:cubicBezTo>
                <a:cubicBezTo>
                  <a:pt x="69106" y="84128"/>
                  <a:pt x="72816" y="83363"/>
                  <a:pt x="74392" y="80605"/>
                </a:cubicBezTo>
                <a:cubicBezTo>
                  <a:pt x="76621" y="76705"/>
                  <a:pt x="75945" y="71749"/>
                  <a:pt x="77034" y="67391"/>
                </a:cubicBezTo>
                <a:cubicBezTo>
                  <a:pt x="77710" y="64689"/>
                  <a:pt x="78796" y="62106"/>
                  <a:pt x="79677" y="59463"/>
                </a:cubicBezTo>
                <a:cubicBezTo>
                  <a:pt x="77034" y="57701"/>
                  <a:pt x="74590" y="55598"/>
                  <a:pt x="71749" y="54177"/>
                </a:cubicBezTo>
                <a:cubicBezTo>
                  <a:pt x="49853" y="43227"/>
                  <a:pt x="78630" y="61405"/>
                  <a:pt x="55892" y="46249"/>
                </a:cubicBezTo>
                <a:cubicBezTo>
                  <a:pt x="56773" y="40963"/>
                  <a:pt x="55420" y="34752"/>
                  <a:pt x="58535" y="30392"/>
                </a:cubicBezTo>
                <a:cubicBezTo>
                  <a:pt x="60646" y="27436"/>
                  <a:pt x="65952" y="29551"/>
                  <a:pt x="69106" y="27749"/>
                </a:cubicBezTo>
                <a:cubicBezTo>
                  <a:pt x="72351" y="25895"/>
                  <a:pt x="74391" y="22464"/>
                  <a:pt x="77034" y="19821"/>
                </a:cubicBezTo>
                <a:cubicBezTo>
                  <a:pt x="77915" y="17178"/>
                  <a:pt x="81647" y="13863"/>
                  <a:pt x="79677" y="11893"/>
                </a:cubicBezTo>
                <a:cubicBezTo>
                  <a:pt x="75738" y="7953"/>
                  <a:pt x="69106" y="8369"/>
                  <a:pt x="63821" y="6607"/>
                </a:cubicBezTo>
                <a:cubicBezTo>
                  <a:pt x="51633" y="2544"/>
                  <a:pt x="58620" y="4509"/>
                  <a:pt x="42678" y="1322"/>
                </a:cubicBezTo>
                <a:cubicBezTo>
                  <a:pt x="34579" y="2479"/>
                  <a:pt x="22455" y="1495"/>
                  <a:pt x="16251" y="9250"/>
                </a:cubicBezTo>
                <a:cubicBezTo>
                  <a:pt x="14511" y="11425"/>
                  <a:pt x="15153" y="14860"/>
                  <a:pt x="13608" y="17178"/>
                </a:cubicBezTo>
                <a:cubicBezTo>
                  <a:pt x="1921" y="34709"/>
                  <a:pt x="9039" y="15746"/>
                  <a:pt x="394" y="33035"/>
                </a:cubicBezTo>
                <a:cubicBezTo>
                  <a:pt x="0" y="33823"/>
                  <a:pt x="30786" y="7928"/>
                  <a:pt x="34750" y="3964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8" name="Freeform 147"/>
          <p:cNvSpPr/>
          <p:nvPr/>
        </p:nvSpPr>
        <p:spPr>
          <a:xfrm>
            <a:off x="463556" y="3393019"/>
            <a:ext cx="334963" cy="273049"/>
          </a:xfrm>
          <a:custGeom>
            <a:avLst/>
            <a:gdLst>
              <a:gd name="connsiteX0" fmla="*/ 88298 w 334782"/>
              <a:gd name="connsiteY0" fmla="*/ 40838 h 273402"/>
              <a:gd name="connsiteX1" fmla="*/ 77727 w 334782"/>
              <a:gd name="connsiteY1" fmla="*/ 51409 h 273402"/>
              <a:gd name="connsiteX2" fmla="*/ 69798 w 334782"/>
              <a:gd name="connsiteY2" fmla="*/ 56695 h 273402"/>
              <a:gd name="connsiteX3" fmla="*/ 61870 w 334782"/>
              <a:gd name="connsiteY3" fmla="*/ 75194 h 273402"/>
              <a:gd name="connsiteX4" fmla="*/ 53942 w 334782"/>
              <a:gd name="connsiteY4" fmla="*/ 83123 h 273402"/>
              <a:gd name="connsiteX5" fmla="*/ 51299 w 334782"/>
              <a:gd name="connsiteY5" fmla="*/ 91051 h 273402"/>
              <a:gd name="connsiteX6" fmla="*/ 30157 w 334782"/>
              <a:gd name="connsiteY6" fmla="*/ 109550 h 273402"/>
              <a:gd name="connsiteX7" fmla="*/ 22229 w 334782"/>
              <a:gd name="connsiteY7" fmla="*/ 114836 h 273402"/>
              <a:gd name="connsiteX8" fmla="*/ 16943 w 334782"/>
              <a:gd name="connsiteY8" fmla="*/ 122764 h 273402"/>
              <a:gd name="connsiteX9" fmla="*/ 9015 w 334782"/>
              <a:gd name="connsiteY9" fmla="*/ 138621 h 273402"/>
              <a:gd name="connsiteX10" fmla="*/ 6372 w 334782"/>
              <a:gd name="connsiteY10" fmla="*/ 149192 h 273402"/>
              <a:gd name="connsiteX11" fmla="*/ 6372 w 334782"/>
              <a:gd name="connsiteY11" fmla="*/ 257546 h 273402"/>
              <a:gd name="connsiteX12" fmla="*/ 9015 w 334782"/>
              <a:gd name="connsiteY12" fmla="*/ 273402 h 273402"/>
              <a:gd name="connsiteX13" fmla="*/ 75084 w 334782"/>
              <a:gd name="connsiteY13" fmla="*/ 270760 h 273402"/>
              <a:gd name="connsiteX14" fmla="*/ 83012 w 334782"/>
              <a:gd name="connsiteY14" fmla="*/ 265474 h 273402"/>
              <a:gd name="connsiteX15" fmla="*/ 98869 w 334782"/>
              <a:gd name="connsiteY15" fmla="*/ 260188 h 273402"/>
              <a:gd name="connsiteX16" fmla="*/ 106797 w 334782"/>
              <a:gd name="connsiteY16" fmla="*/ 257546 h 273402"/>
              <a:gd name="connsiteX17" fmla="*/ 114726 w 334782"/>
              <a:gd name="connsiteY17" fmla="*/ 254903 h 273402"/>
              <a:gd name="connsiteX18" fmla="*/ 127940 w 334782"/>
              <a:gd name="connsiteY18" fmla="*/ 244332 h 273402"/>
              <a:gd name="connsiteX19" fmla="*/ 143796 w 334782"/>
              <a:gd name="connsiteY19" fmla="*/ 231118 h 273402"/>
              <a:gd name="connsiteX20" fmla="*/ 151724 w 334782"/>
              <a:gd name="connsiteY20" fmla="*/ 228475 h 273402"/>
              <a:gd name="connsiteX21" fmla="*/ 170224 w 334782"/>
              <a:gd name="connsiteY21" fmla="*/ 223190 h 273402"/>
              <a:gd name="connsiteX22" fmla="*/ 178152 w 334782"/>
              <a:gd name="connsiteY22" fmla="*/ 199405 h 273402"/>
              <a:gd name="connsiteX23" fmla="*/ 186081 w 334782"/>
              <a:gd name="connsiteY23" fmla="*/ 183548 h 273402"/>
              <a:gd name="connsiteX24" fmla="*/ 194009 w 334782"/>
              <a:gd name="connsiteY24" fmla="*/ 180905 h 273402"/>
              <a:gd name="connsiteX25" fmla="*/ 196652 w 334782"/>
              <a:gd name="connsiteY25" fmla="*/ 135978 h 273402"/>
              <a:gd name="connsiteX26" fmla="*/ 191366 w 334782"/>
              <a:gd name="connsiteY26" fmla="*/ 120121 h 273402"/>
              <a:gd name="connsiteX27" fmla="*/ 188723 w 334782"/>
              <a:gd name="connsiteY27" fmla="*/ 112193 h 273402"/>
              <a:gd name="connsiteX28" fmla="*/ 268007 w 334782"/>
              <a:gd name="connsiteY28" fmla="*/ 101622 h 273402"/>
              <a:gd name="connsiteX29" fmla="*/ 291792 w 334782"/>
              <a:gd name="connsiteY29" fmla="*/ 88408 h 273402"/>
              <a:gd name="connsiteX30" fmla="*/ 307648 w 334782"/>
              <a:gd name="connsiteY30" fmla="*/ 83123 h 273402"/>
              <a:gd name="connsiteX31" fmla="*/ 310291 w 334782"/>
              <a:gd name="connsiteY31" fmla="*/ 3839 h 273402"/>
              <a:gd name="connsiteX32" fmla="*/ 299720 w 334782"/>
              <a:gd name="connsiteY32" fmla="*/ 9125 h 273402"/>
              <a:gd name="connsiteX33" fmla="*/ 286506 w 334782"/>
              <a:gd name="connsiteY33" fmla="*/ 11768 h 273402"/>
              <a:gd name="connsiteX34" fmla="*/ 220437 w 334782"/>
              <a:gd name="connsiteY34" fmla="*/ 14410 h 273402"/>
              <a:gd name="connsiteX35" fmla="*/ 204580 w 334782"/>
              <a:gd name="connsiteY35" fmla="*/ 19696 h 273402"/>
              <a:gd name="connsiteX36" fmla="*/ 196652 w 334782"/>
              <a:gd name="connsiteY36" fmla="*/ 24982 h 273402"/>
              <a:gd name="connsiteX37" fmla="*/ 180795 w 334782"/>
              <a:gd name="connsiteY37" fmla="*/ 30267 h 273402"/>
              <a:gd name="connsiteX38" fmla="*/ 164938 w 334782"/>
              <a:gd name="connsiteY38" fmla="*/ 35553 h 273402"/>
              <a:gd name="connsiteX39" fmla="*/ 157010 w 334782"/>
              <a:gd name="connsiteY39" fmla="*/ 38195 h 273402"/>
              <a:gd name="connsiteX40" fmla="*/ 133225 w 334782"/>
              <a:gd name="connsiteY40" fmla="*/ 32910 h 273402"/>
              <a:gd name="connsiteX41" fmla="*/ 125297 w 334782"/>
              <a:gd name="connsiteY41" fmla="*/ 27624 h 273402"/>
              <a:gd name="connsiteX42" fmla="*/ 104155 w 334782"/>
              <a:gd name="connsiteY42" fmla="*/ 32910 h 273402"/>
              <a:gd name="connsiteX43" fmla="*/ 96226 w 334782"/>
              <a:gd name="connsiteY43" fmla="*/ 38195 h 273402"/>
              <a:gd name="connsiteX44" fmla="*/ 90941 w 334782"/>
              <a:gd name="connsiteY44" fmla="*/ 46124 h 273402"/>
              <a:gd name="connsiteX45" fmla="*/ 88298 w 334782"/>
              <a:gd name="connsiteY45" fmla="*/ 54052 h 273402"/>
              <a:gd name="connsiteX46" fmla="*/ 80370 w 334782"/>
              <a:gd name="connsiteY46" fmla="*/ 59338 h 273402"/>
              <a:gd name="connsiteX47" fmla="*/ 77727 w 334782"/>
              <a:gd name="connsiteY47" fmla="*/ 67266 h 273402"/>
              <a:gd name="connsiteX48" fmla="*/ 67156 w 334782"/>
              <a:gd name="connsiteY48" fmla="*/ 83123 h 273402"/>
              <a:gd name="connsiteX49" fmla="*/ 64513 w 334782"/>
              <a:gd name="connsiteY49" fmla="*/ 88408 h 273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334782" h="273402">
                <a:moveTo>
                  <a:pt x="88298" y="40838"/>
                </a:moveTo>
                <a:cubicBezTo>
                  <a:pt x="71000" y="46605"/>
                  <a:pt x="87979" y="38596"/>
                  <a:pt x="77727" y="51409"/>
                </a:cubicBezTo>
                <a:cubicBezTo>
                  <a:pt x="75743" y="53889"/>
                  <a:pt x="72441" y="54933"/>
                  <a:pt x="69798" y="56695"/>
                </a:cubicBezTo>
                <a:cubicBezTo>
                  <a:pt x="67641" y="63168"/>
                  <a:pt x="65954" y="69476"/>
                  <a:pt x="61870" y="75194"/>
                </a:cubicBezTo>
                <a:cubicBezTo>
                  <a:pt x="59698" y="78235"/>
                  <a:pt x="56585" y="80480"/>
                  <a:pt x="53942" y="83123"/>
                </a:cubicBezTo>
                <a:cubicBezTo>
                  <a:pt x="53061" y="85766"/>
                  <a:pt x="52545" y="88560"/>
                  <a:pt x="51299" y="91051"/>
                </a:cubicBezTo>
                <a:cubicBezTo>
                  <a:pt x="45793" y="102062"/>
                  <a:pt x="42048" y="101622"/>
                  <a:pt x="30157" y="109550"/>
                </a:cubicBezTo>
                <a:lnTo>
                  <a:pt x="22229" y="114836"/>
                </a:lnTo>
                <a:cubicBezTo>
                  <a:pt x="20467" y="117479"/>
                  <a:pt x="18364" y="119923"/>
                  <a:pt x="16943" y="122764"/>
                </a:cubicBezTo>
                <a:cubicBezTo>
                  <a:pt x="5993" y="144660"/>
                  <a:pt x="24171" y="115883"/>
                  <a:pt x="9015" y="138621"/>
                </a:cubicBezTo>
                <a:cubicBezTo>
                  <a:pt x="8134" y="142145"/>
                  <a:pt x="6969" y="145609"/>
                  <a:pt x="6372" y="149192"/>
                </a:cubicBezTo>
                <a:cubicBezTo>
                  <a:pt x="0" y="187417"/>
                  <a:pt x="4008" y="211458"/>
                  <a:pt x="6372" y="257546"/>
                </a:cubicBezTo>
                <a:cubicBezTo>
                  <a:pt x="6646" y="262897"/>
                  <a:pt x="8134" y="268117"/>
                  <a:pt x="9015" y="273402"/>
                </a:cubicBezTo>
                <a:cubicBezTo>
                  <a:pt x="31038" y="272521"/>
                  <a:pt x="53169" y="273108"/>
                  <a:pt x="75084" y="270760"/>
                </a:cubicBezTo>
                <a:cubicBezTo>
                  <a:pt x="78242" y="270422"/>
                  <a:pt x="80110" y="266764"/>
                  <a:pt x="83012" y="265474"/>
                </a:cubicBezTo>
                <a:cubicBezTo>
                  <a:pt x="88103" y="263211"/>
                  <a:pt x="93583" y="261950"/>
                  <a:pt x="98869" y="260188"/>
                </a:cubicBezTo>
                <a:lnTo>
                  <a:pt x="106797" y="257546"/>
                </a:lnTo>
                <a:lnTo>
                  <a:pt x="114726" y="254903"/>
                </a:lnTo>
                <a:cubicBezTo>
                  <a:pt x="119223" y="241408"/>
                  <a:pt x="113744" y="250416"/>
                  <a:pt x="127940" y="244332"/>
                </a:cubicBezTo>
                <a:cubicBezTo>
                  <a:pt x="140042" y="239145"/>
                  <a:pt x="132370" y="238736"/>
                  <a:pt x="143796" y="231118"/>
                </a:cubicBezTo>
                <a:cubicBezTo>
                  <a:pt x="146114" y="229573"/>
                  <a:pt x="149046" y="229240"/>
                  <a:pt x="151724" y="228475"/>
                </a:cubicBezTo>
                <a:cubicBezTo>
                  <a:pt x="174979" y="221830"/>
                  <a:pt x="151196" y="229531"/>
                  <a:pt x="170224" y="223190"/>
                </a:cubicBezTo>
                <a:lnTo>
                  <a:pt x="178152" y="199405"/>
                </a:lnTo>
                <a:cubicBezTo>
                  <a:pt x="179893" y="194181"/>
                  <a:pt x="181422" y="187275"/>
                  <a:pt x="186081" y="183548"/>
                </a:cubicBezTo>
                <a:cubicBezTo>
                  <a:pt x="188256" y="181808"/>
                  <a:pt x="191366" y="181786"/>
                  <a:pt x="194009" y="180905"/>
                </a:cubicBezTo>
                <a:cubicBezTo>
                  <a:pt x="205490" y="163682"/>
                  <a:pt x="202097" y="172280"/>
                  <a:pt x="196652" y="135978"/>
                </a:cubicBezTo>
                <a:cubicBezTo>
                  <a:pt x="195826" y="130468"/>
                  <a:pt x="193128" y="125407"/>
                  <a:pt x="191366" y="120121"/>
                </a:cubicBezTo>
                <a:lnTo>
                  <a:pt x="188723" y="112193"/>
                </a:lnTo>
                <a:cubicBezTo>
                  <a:pt x="199533" y="79767"/>
                  <a:pt x="187824" y="106634"/>
                  <a:pt x="268007" y="101622"/>
                </a:cubicBezTo>
                <a:cubicBezTo>
                  <a:pt x="277814" y="101009"/>
                  <a:pt x="283076" y="91313"/>
                  <a:pt x="291792" y="88408"/>
                </a:cubicBezTo>
                <a:lnTo>
                  <a:pt x="307648" y="83123"/>
                </a:lnTo>
                <a:cubicBezTo>
                  <a:pt x="334782" y="65031"/>
                  <a:pt x="326458" y="73900"/>
                  <a:pt x="310291" y="3839"/>
                </a:cubicBezTo>
                <a:cubicBezTo>
                  <a:pt x="309405" y="0"/>
                  <a:pt x="303457" y="7879"/>
                  <a:pt x="299720" y="9125"/>
                </a:cubicBezTo>
                <a:cubicBezTo>
                  <a:pt x="295459" y="10546"/>
                  <a:pt x="290988" y="11469"/>
                  <a:pt x="286506" y="11768"/>
                </a:cubicBezTo>
                <a:cubicBezTo>
                  <a:pt x="264514" y="13234"/>
                  <a:pt x="242460" y="13529"/>
                  <a:pt x="220437" y="14410"/>
                </a:cubicBezTo>
                <a:cubicBezTo>
                  <a:pt x="215151" y="16172"/>
                  <a:pt x="209216" y="16605"/>
                  <a:pt x="204580" y="19696"/>
                </a:cubicBezTo>
                <a:cubicBezTo>
                  <a:pt x="201937" y="21458"/>
                  <a:pt x="199554" y="23692"/>
                  <a:pt x="196652" y="24982"/>
                </a:cubicBezTo>
                <a:cubicBezTo>
                  <a:pt x="191561" y="27245"/>
                  <a:pt x="186081" y="28505"/>
                  <a:pt x="180795" y="30267"/>
                </a:cubicBezTo>
                <a:lnTo>
                  <a:pt x="164938" y="35553"/>
                </a:lnTo>
                <a:lnTo>
                  <a:pt x="157010" y="38195"/>
                </a:lnTo>
                <a:cubicBezTo>
                  <a:pt x="150917" y="37180"/>
                  <a:pt x="139732" y="36164"/>
                  <a:pt x="133225" y="32910"/>
                </a:cubicBezTo>
                <a:cubicBezTo>
                  <a:pt x="130384" y="31489"/>
                  <a:pt x="127940" y="29386"/>
                  <a:pt x="125297" y="27624"/>
                </a:cubicBezTo>
                <a:cubicBezTo>
                  <a:pt x="120268" y="28630"/>
                  <a:pt x="109574" y="30200"/>
                  <a:pt x="104155" y="32910"/>
                </a:cubicBezTo>
                <a:cubicBezTo>
                  <a:pt x="101314" y="34330"/>
                  <a:pt x="98869" y="36433"/>
                  <a:pt x="96226" y="38195"/>
                </a:cubicBezTo>
                <a:cubicBezTo>
                  <a:pt x="94464" y="40838"/>
                  <a:pt x="92361" y="43283"/>
                  <a:pt x="90941" y="46124"/>
                </a:cubicBezTo>
                <a:cubicBezTo>
                  <a:pt x="89695" y="48616"/>
                  <a:pt x="90038" y="51877"/>
                  <a:pt x="88298" y="54052"/>
                </a:cubicBezTo>
                <a:cubicBezTo>
                  <a:pt x="86314" y="56532"/>
                  <a:pt x="83013" y="57576"/>
                  <a:pt x="80370" y="59338"/>
                </a:cubicBezTo>
                <a:cubicBezTo>
                  <a:pt x="79489" y="61981"/>
                  <a:pt x="79080" y="64831"/>
                  <a:pt x="77727" y="67266"/>
                </a:cubicBezTo>
                <a:cubicBezTo>
                  <a:pt x="74642" y="72819"/>
                  <a:pt x="69997" y="77441"/>
                  <a:pt x="67156" y="83123"/>
                </a:cubicBezTo>
                <a:lnTo>
                  <a:pt x="64513" y="88408"/>
                </a:lnTo>
              </a:path>
            </a:pathLst>
          </a:custGeom>
          <a:solidFill>
            <a:srgbClr val="FF6699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9" name="Rectangle 4"/>
          <p:cNvSpPr>
            <a:spLocks noChangeArrowheads="1"/>
          </p:cNvSpPr>
          <p:nvPr/>
        </p:nvSpPr>
        <p:spPr bwMode="auto">
          <a:xfrm rot="4878678">
            <a:off x="1622690" y="5752674"/>
            <a:ext cx="166158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te-IN" sz="1400">
                <a:latin typeface="Ramabhadra" pitchFamily="2" charset="0"/>
                <a:cs typeface="Ramabhadra" pitchFamily="2" charset="0"/>
              </a:rPr>
              <a:t>మాల్దీవులు</a:t>
            </a:r>
            <a:endParaRPr lang="en-US" sz="1400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40" name="Straight Arrow Connector 139"/>
          <p:cNvCxnSpPr>
            <a:stCxn id="56" idx="44"/>
            <a:endCxn id="57" idx="0"/>
          </p:cNvCxnSpPr>
          <p:nvPr/>
        </p:nvCxnSpPr>
        <p:spPr>
          <a:xfrm flipH="1">
            <a:off x="3528220" y="4170462"/>
            <a:ext cx="19667" cy="401544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Rectangle 4"/>
          <p:cNvSpPr>
            <a:spLocks noChangeArrowheads="1"/>
          </p:cNvSpPr>
          <p:nvPr/>
        </p:nvSpPr>
        <p:spPr bwMode="auto">
          <a:xfrm>
            <a:off x="3643317" y="4000500"/>
            <a:ext cx="6429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te-IN" sz="800">
                <a:latin typeface="Ramabhadra" pitchFamily="2" charset="0"/>
                <a:cs typeface="Ramabhadra" pitchFamily="2" charset="0"/>
              </a:rPr>
              <a:t>మయన్మార్ </a:t>
            </a:r>
            <a:endParaRPr lang="en-US" sz="800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60" name="Straight Arrow Connector 159"/>
          <p:cNvCxnSpPr>
            <a:stCxn id="62" idx="28"/>
          </p:cNvCxnSpPr>
          <p:nvPr/>
        </p:nvCxnSpPr>
        <p:spPr>
          <a:xfrm>
            <a:off x="4260850" y="5274737"/>
            <a:ext cx="1525588" cy="59267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4"/>
          <p:cNvSpPr>
            <a:spLocks noChangeArrowheads="1"/>
          </p:cNvSpPr>
          <p:nvPr/>
        </p:nvSpPr>
        <p:spPr bwMode="auto">
          <a:xfrm>
            <a:off x="6500813" y="5822955"/>
            <a:ext cx="16430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న్యూ గినియా</a:t>
            </a:r>
          </a:p>
        </p:txBody>
      </p:sp>
      <p:sp>
        <p:nvSpPr>
          <p:cNvPr id="167" name="Rectangle 4"/>
          <p:cNvSpPr>
            <a:spLocks noChangeArrowheads="1"/>
          </p:cNvSpPr>
          <p:nvPr/>
        </p:nvSpPr>
        <p:spPr bwMode="auto">
          <a:xfrm>
            <a:off x="4429131" y="4191006"/>
            <a:ext cx="10001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200">
                <a:latin typeface="Ramabhadra" pitchFamily="2" charset="0"/>
                <a:cs typeface="Ramabhadra" pitchFamily="2" charset="0"/>
              </a:rPr>
              <a:t>వియత్నాం</a:t>
            </a:r>
          </a:p>
        </p:txBody>
      </p:sp>
      <p:sp>
        <p:nvSpPr>
          <p:cNvPr id="168" name="Rectangle 4"/>
          <p:cNvSpPr>
            <a:spLocks noChangeArrowheads="1"/>
          </p:cNvSpPr>
          <p:nvPr/>
        </p:nvSpPr>
        <p:spPr bwMode="auto">
          <a:xfrm>
            <a:off x="4214819" y="4667255"/>
            <a:ext cx="4286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500">
                <a:latin typeface="Ramabhadra" pitchFamily="2" charset="0"/>
                <a:cs typeface="Ramabhadra" pitchFamily="2" charset="0"/>
              </a:rPr>
              <a:t>కాంబోడియా</a:t>
            </a:r>
          </a:p>
        </p:txBody>
      </p:sp>
      <p:sp>
        <p:nvSpPr>
          <p:cNvPr id="143" name="Rectangle 1"/>
          <p:cNvSpPr>
            <a:spLocks noChangeArrowheads="1"/>
          </p:cNvSpPr>
          <p:nvPr/>
        </p:nvSpPr>
        <p:spPr bwMode="auto">
          <a:xfrm>
            <a:off x="1071564" y="6191252"/>
            <a:ext cx="3149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హిందూ</a:t>
            </a:r>
            <a:r>
              <a:rPr lang="en-US" sz="16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16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1600" spc="6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0" name="Rectangle 1"/>
          <p:cNvSpPr>
            <a:spLocks noChangeArrowheads="1"/>
          </p:cNvSpPr>
          <p:nvPr/>
        </p:nvSpPr>
        <p:spPr bwMode="auto">
          <a:xfrm rot="16200000">
            <a:off x="6260310" y="3497850"/>
            <a:ext cx="428625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పసిఫిక్</a:t>
            </a:r>
            <a:r>
              <a:rPr lang="en-US" sz="16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16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1600" spc="6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3" name="Rectangle 4"/>
          <p:cNvSpPr>
            <a:spLocks noChangeArrowheads="1"/>
          </p:cNvSpPr>
          <p:nvPr/>
        </p:nvSpPr>
        <p:spPr bwMode="auto">
          <a:xfrm rot="-4795557">
            <a:off x="1096171" y="2556595"/>
            <a:ext cx="11303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000">
                <a:latin typeface="Ramabhadra" pitchFamily="2" charset="0"/>
                <a:cs typeface="Ramabhadra" pitchFamily="2" charset="0"/>
              </a:rPr>
              <a:t>కాస్పియన్</a:t>
            </a:r>
          </a:p>
        </p:txBody>
      </p:sp>
      <p:sp>
        <p:nvSpPr>
          <p:cNvPr id="154" name="Rectangle 4"/>
          <p:cNvSpPr>
            <a:spLocks noChangeArrowheads="1"/>
          </p:cNvSpPr>
          <p:nvPr/>
        </p:nvSpPr>
        <p:spPr bwMode="auto">
          <a:xfrm>
            <a:off x="1285858" y="3810002"/>
            <a:ext cx="35719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n-US" sz="800" dirty="0"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Ramabhadra" pitchFamily="2" charset="0"/>
                <a:cs typeface="Ramabhadra" pitchFamily="2" charset="0"/>
              </a:rPr>
              <a:t>UAE</a:t>
            </a:r>
          </a:p>
        </p:txBody>
      </p:sp>
      <p:sp>
        <p:nvSpPr>
          <p:cNvPr id="155" name="Rectangle 4"/>
          <p:cNvSpPr>
            <a:spLocks noChangeArrowheads="1"/>
          </p:cNvSpPr>
          <p:nvPr/>
        </p:nvSpPr>
        <p:spPr bwMode="auto">
          <a:xfrm rot="2325153">
            <a:off x="4067175" y="4210851"/>
            <a:ext cx="412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600">
                <a:latin typeface="Ramabhadra" pitchFamily="2" charset="0"/>
                <a:cs typeface="Ramabhadra" pitchFamily="2" charset="0"/>
              </a:rPr>
              <a:t>లావోస్</a:t>
            </a:r>
          </a:p>
        </p:txBody>
      </p:sp>
      <p:sp>
        <p:nvSpPr>
          <p:cNvPr id="156" name="Rectangle 1"/>
          <p:cNvSpPr>
            <a:spLocks noChangeArrowheads="1"/>
          </p:cNvSpPr>
          <p:nvPr/>
        </p:nvSpPr>
        <p:spPr bwMode="auto">
          <a:xfrm>
            <a:off x="2922589" y="285752"/>
            <a:ext cx="3149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ఆర్కిటిక్</a:t>
            </a:r>
            <a:r>
              <a:rPr lang="en-US" sz="16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16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600" dirty="0" err="1"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1600" spc="6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8" name="Rectangle 4"/>
          <p:cNvSpPr>
            <a:spLocks noChangeArrowheads="1"/>
          </p:cNvSpPr>
          <p:nvPr/>
        </p:nvSpPr>
        <p:spPr bwMode="auto">
          <a:xfrm rot="4094342">
            <a:off x="51071" y="4886958"/>
            <a:ext cx="140758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40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ఎర్ర సముద్రము</a:t>
            </a:r>
          </a:p>
        </p:txBody>
      </p:sp>
      <p:sp>
        <p:nvSpPr>
          <p:cNvPr id="161" name="Rectangle 3"/>
          <p:cNvSpPr>
            <a:spLocks noChangeArrowheads="1"/>
          </p:cNvSpPr>
          <p:nvPr/>
        </p:nvSpPr>
        <p:spPr bwMode="auto">
          <a:xfrm>
            <a:off x="7215191" y="5619755"/>
            <a:ext cx="167798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600">
                <a:latin typeface="Ramabhadra" pitchFamily="2" charset="0"/>
                <a:ea typeface="Calibri" pitchFamily="34" charset="0"/>
                <a:cs typeface="Ramabhadra" pitchFamily="2" charset="0"/>
              </a:rPr>
              <a:t>0°  అక్షాంశం భూమధ్య రేఖ</a:t>
            </a:r>
          </a:p>
        </p:txBody>
      </p:sp>
      <p:cxnSp>
        <p:nvCxnSpPr>
          <p:cNvPr id="162" name="Straight Connector 161"/>
          <p:cNvCxnSpPr/>
          <p:nvPr/>
        </p:nvCxnSpPr>
        <p:spPr>
          <a:xfrm flipV="1">
            <a:off x="-252413" y="5588000"/>
            <a:ext cx="1011713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/>
        </p:nvCxnSpPr>
        <p:spPr>
          <a:xfrm flipV="1">
            <a:off x="-107949" y="4025904"/>
            <a:ext cx="9864725" cy="211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3"/>
          <p:cNvSpPr>
            <a:spLocks noChangeArrowheads="1"/>
          </p:cNvSpPr>
          <p:nvPr/>
        </p:nvSpPr>
        <p:spPr bwMode="auto">
          <a:xfrm>
            <a:off x="6572256" y="4000501"/>
            <a:ext cx="15716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latin typeface="Ramabhadra" pitchFamily="2" charset="0"/>
                <a:ea typeface="Calibri" pitchFamily="34" charset="0"/>
                <a:cs typeface="Ramabhadra" pitchFamily="2" charset="0"/>
              </a:rPr>
              <a:t>23 ½° ఉత్తర అక్షాంశం కర్కట రేఖ</a:t>
            </a:r>
          </a:p>
        </p:txBody>
      </p:sp>
      <p:cxnSp>
        <p:nvCxnSpPr>
          <p:cNvPr id="165" name="Straight Connector 164"/>
          <p:cNvCxnSpPr/>
          <p:nvPr/>
        </p:nvCxnSpPr>
        <p:spPr>
          <a:xfrm rot="16200000" flipH="1">
            <a:off x="-612772" y="3327401"/>
            <a:ext cx="7239001" cy="127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3"/>
          <p:cNvSpPr>
            <a:spLocks noChangeArrowheads="1"/>
          </p:cNvSpPr>
          <p:nvPr/>
        </p:nvSpPr>
        <p:spPr bwMode="auto">
          <a:xfrm>
            <a:off x="2571750" y="5715000"/>
            <a:ext cx="14287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latin typeface="Ramabhadra" pitchFamily="2" charset="0"/>
                <a:ea typeface="Calibri" pitchFamily="34" charset="0"/>
                <a:cs typeface="Ramabhadra" pitchFamily="2" charset="0"/>
              </a:rPr>
              <a:t>82 ½° తూర్పు రేఖాంశం</a:t>
            </a:r>
          </a:p>
        </p:txBody>
      </p:sp>
      <p:sp>
        <p:nvSpPr>
          <p:cNvPr id="171" name="Title 7"/>
          <p:cNvSpPr txBox="1">
            <a:spLocks/>
          </p:cNvSpPr>
          <p:nvPr/>
        </p:nvSpPr>
        <p:spPr bwMode="auto">
          <a:xfrm>
            <a:off x="71438" y="3498851"/>
            <a:ext cx="5000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900">
                <a:latin typeface="Ramabhadra" pitchFamily="2" charset="0"/>
                <a:cs typeface="Ramabhadra" pitchFamily="2" charset="0"/>
              </a:rPr>
              <a:t>జోర్డాన్</a:t>
            </a:r>
            <a:endParaRPr lang="en-IN" sz="9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1" name="Title 7"/>
          <p:cNvSpPr txBox="1">
            <a:spLocks/>
          </p:cNvSpPr>
          <p:nvPr/>
        </p:nvSpPr>
        <p:spPr>
          <a:xfrm>
            <a:off x="2484444" y="3714751"/>
            <a:ext cx="587375" cy="1651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200" dirty="0" err="1">
                <a:latin typeface="Ramabhadra" pitchFamily="2" charset="0"/>
                <a:ea typeface="+mj-ea"/>
                <a:cs typeface="Ramabhadra" pitchFamily="2" charset="0"/>
              </a:rPr>
              <a:t>ఢిల్లీ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6516694" y="2997206"/>
            <a:ext cx="46037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57" name="Oval 156"/>
          <p:cNvSpPr/>
          <p:nvPr/>
        </p:nvSpPr>
        <p:spPr>
          <a:xfrm>
            <a:off x="2870200" y="3716871"/>
            <a:ext cx="46038" cy="465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cxnSp>
        <p:nvCxnSpPr>
          <p:cNvPr id="170" name="Straight Arrow Connector 169"/>
          <p:cNvCxnSpPr>
            <a:stCxn id="152" idx="7"/>
          </p:cNvCxnSpPr>
          <p:nvPr/>
        </p:nvCxnSpPr>
        <p:spPr>
          <a:xfrm rot="16200000" flipH="1">
            <a:off x="7067553" y="2495026"/>
            <a:ext cx="63500" cy="1089025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71"/>
          <p:cNvSpPr txBox="1">
            <a:spLocks noChangeArrowheads="1"/>
          </p:cNvSpPr>
          <p:nvPr/>
        </p:nvSpPr>
        <p:spPr bwMode="auto">
          <a:xfrm>
            <a:off x="7500938" y="2857500"/>
            <a:ext cx="1071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Ramabhadra" pitchFamily="2" charset="0"/>
                <a:cs typeface="Ramabhadra" pitchFamily="2" charset="0"/>
              </a:rPr>
              <a:t>టోక్యో</a:t>
            </a:r>
          </a:p>
        </p:txBody>
      </p:sp>
      <p:sp>
        <p:nvSpPr>
          <p:cNvPr id="176" name="Title 7"/>
          <p:cNvSpPr txBox="1">
            <a:spLocks/>
          </p:cNvSpPr>
          <p:nvPr/>
        </p:nvSpPr>
        <p:spPr>
          <a:xfrm rot="4493510">
            <a:off x="-259819" y="4022726"/>
            <a:ext cx="1437217" cy="2159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50" b="1" dirty="0">
                <a:latin typeface="BRH Telugu RN" pitchFamily="66" charset="0"/>
                <a:ea typeface="+mj-ea"/>
                <a:cs typeface="+mj-cs"/>
              </a:rPr>
              <a:t>¶</a:t>
            </a:r>
            <a:r>
              <a:rPr lang="en-US" sz="1050" b="1" dirty="0">
                <a:latin typeface="+mn-lt"/>
                <a:ea typeface="+mj-ea"/>
                <a:cs typeface="+mj-cs"/>
              </a:rPr>
              <a:t>Mecca Medina</a:t>
            </a:r>
            <a:endParaRPr lang="en-IN" sz="1050" b="1" dirty="0">
              <a:latin typeface="BRH Telugu RN" pitchFamily="66" charset="0"/>
              <a:ea typeface="+mj-ea"/>
              <a:cs typeface="+mj-cs"/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539750" y="3860803"/>
            <a:ext cx="71438" cy="74084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178" name="Oval 177"/>
          <p:cNvSpPr/>
          <p:nvPr/>
        </p:nvSpPr>
        <p:spPr>
          <a:xfrm>
            <a:off x="539750" y="3934890"/>
            <a:ext cx="71438" cy="69849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/>
          </a:p>
        </p:txBody>
      </p:sp>
      <p:sp>
        <p:nvSpPr>
          <p:cNvPr id="8347" name="Rectangle 172"/>
          <p:cNvSpPr>
            <a:spLocks noChangeArrowheads="1"/>
          </p:cNvSpPr>
          <p:nvPr/>
        </p:nvSpPr>
        <p:spPr bwMode="auto">
          <a:xfrm>
            <a:off x="4572006" y="5619755"/>
            <a:ext cx="67197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te-IN" sz="1200">
                <a:latin typeface="Ramabhadra" pitchFamily="2" charset="0"/>
                <a:cs typeface="Ramabhadra" pitchFamily="2" charset="0"/>
              </a:rPr>
              <a:t>బోర్నియో</a:t>
            </a:r>
            <a:endParaRPr lang="en-US" sz="1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348" name="Rectangle 173"/>
          <p:cNvSpPr>
            <a:spLocks noChangeArrowheads="1"/>
          </p:cNvSpPr>
          <p:nvPr/>
        </p:nvSpPr>
        <p:spPr bwMode="auto">
          <a:xfrm>
            <a:off x="4918081" y="5918206"/>
            <a:ext cx="58221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>
                <a:latin typeface="Ramabhadra" pitchFamily="2" charset="0"/>
                <a:cs typeface="Ramabhadra" pitchFamily="2" charset="0"/>
              </a:rPr>
              <a:t>సు</a:t>
            </a:r>
            <a:r>
              <a:rPr lang="te-IN" sz="1200">
                <a:latin typeface="Ramabhadra" pitchFamily="2" charset="0"/>
                <a:cs typeface="Ramabhadra" pitchFamily="2" charset="0"/>
              </a:rPr>
              <a:t>లవెసి</a:t>
            </a:r>
            <a:endParaRPr lang="en-US" sz="1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0" name="Title 7"/>
          <p:cNvSpPr txBox="1">
            <a:spLocks/>
          </p:cNvSpPr>
          <p:nvPr/>
        </p:nvSpPr>
        <p:spPr bwMode="auto">
          <a:xfrm>
            <a:off x="2857504" y="4762503"/>
            <a:ext cx="1357313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te-IN" sz="1400">
                <a:latin typeface="Ramabhadra" pitchFamily="2" charset="0"/>
                <a:cs typeface="Ramabhadra" pitchFamily="2" charset="0"/>
              </a:rPr>
              <a:t>బంగాళాఖాతం</a:t>
            </a:r>
            <a:endParaRPr lang="en-IN" sz="1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2" name="Title 7"/>
          <p:cNvSpPr txBox="1">
            <a:spLocks/>
          </p:cNvSpPr>
          <p:nvPr/>
        </p:nvSpPr>
        <p:spPr bwMode="auto">
          <a:xfrm>
            <a:off x="1500189" y="4572006"/>
            <a:ext cx="1071562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te-IN" sz="1600">
                <a:latin typeface="Ramabhadra" pitchFamily="2" charset="0"/>
                <a:cs typeface="Ramabhadra" pitchFamily="2" charset="0"/>
              </a:rPr>
              <a:t>అరేబియా సముద్రం</a:t>
            </a:r>
            <a:endParaRPr lang="en-IN" sz="16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3" name="Title 7"/>
          <p:cNvSpPr txBox="1">
            <a:spLocks/>
          </p:cNvSpPr>
          <p:nvPr/>
        </p:nvSpPr>
        <p:spPr bwMode="auto">
          <a:xfrm rot="-5400000">
            <a:off x="8039106" y="1319219"/>
            <a:ext cx="1809751" cy="31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te-IN" sz="1600">
                <a:latin typeface="Ramabhadra" pitchFamily="2" charset="0"/>
                <a:cs typeface="Ramabhadra" pitchFamily="2" charset="0"/>
              </a:rPr>
              <a:t>బెరింగ్ జలసంధి</a:t>
            </a:r>
            <a:endParaRPr lang="en-IN" sz="1600"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52" dur="1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70" decel="100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770" decel="100000"/>
                                        <p:tgtEl>
                                          <p:spTgt spid="10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0" dur="77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2" dur="77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770" decel="100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" dur="770" decel="100000"/>
                                        <p:tgtEl>
                                          <p:spTgt spid="10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1" dur="77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3" dur="77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770" decel="100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" dur="770" decel="100000"/>
                                        <p:tgtEl>
                                          <p:spTgt spid="1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7" dur="77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9" dur="77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770" decel="100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4" dur="770" decel="100000"/>
                                        <p:tgtEl>
                                          <p:spTgt spid="11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6" dur="77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8" dur="77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1925" decel="100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5" dur="1925" decel="100000"/>
                                        <p:tgtEl>
                                          <p:spTgt spid="11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7" dur="1925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9" dur="1925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770" decel="100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6" dur="770" decel="100000"/>
                                        <p:tgtEl>
                                          <p:spTgt spid="2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8" dur="77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30" dur="77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770" decel="100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770" decel="100000"/>
                                        <p:tgtEl>
                                          <p:spTgt spid="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3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39" dur="77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4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41" dur="77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4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770" decel="100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8" dur="770" decel="100000"/>
                                        <p:tgtEl>
                                          <p:spTgt spid="2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50" dur="77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5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52" dur="77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8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770" decel="1000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4" dur="770" decel="100000"/>
                                        <p:tgtEl>
                                          <p:spTgt spid="17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6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66" dur="77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6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68" dur="77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6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770" decel="100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5" dur="770" decel="100000"/>
                                        <p:tgtEl>
                                          <p:spTgt spid="2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7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77" dur="77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7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79" dur="77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8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770" decel="100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6" dur="770" decel="100000"/>
                                        <p:tgtEl>
                                          <p:spTgt spid="2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8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88" dur="77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8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90" dur="77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9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2" fill="hold">
                      <p:stCondLst>
                        <p:cond delay="indefinite"/>
                      </p:stCondLst>
                      <p:childTnLst>
                        <p:par>
                          <p:cTn id="193" fill="hold">
                            <p:stCondLst>
                              <p:cond delay="0"/>
                            </p:stCondLst>
                            <p:childTnLst>
                              <p:par>
                                <p:cTn id="194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0" fill="hold">
                      <p:stCondLst>
                        <p:cond delay="indefinite"/>
                      </p:stCondLst>
                      <p:childTnLst>
                        <p:par>
                          <p:cTn id="201" fill="hold">
                            <p:stCondLst>
                              <p:cond delay="0"/>
                            </p:stCondLst>
                            <p:childTnLst>
                              <p:par>
                                <p:cTn id="20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770" decel="100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5" dur="770" decel="100000"/>
                                        <p:tgtEl>
                                          <p:spTgt spid="2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0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7" dur="77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0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09" dur="77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1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2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6" fill="hold">
                      <p:stCondLst>
                        <p:cond delay="indefinite"/>
                      </p:stCondLst>
                      <p:childTnLst>
                        <p:par>
                          <p:cTn id="217" fill="hold">
                            <p:stCondLst>
                              <p:cond delay="0"/>
                            </p:stCondLst>
                            <p:childTnLst>
                              <p:par>
                                <p:cTn id="21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0" dur="770" decel="100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1" dur="770" decel="100000"/>
                                        <p:tgtEl>
                                          <p:spTgt spid="2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2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23" dur="77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2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5" dur="77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2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7" fill="hold">
                      <p:stCondLst>
                        <p:cond delay="indefinite"/>
                      </p:stCondLst>
                      <p:childTnLst>
                        <p:par>
                          <p:cTn id="228" fill="hold">
                            <p:stCondLst>
                              <p:cond delay="0"/>
                            </p:stCondLst>
                            <p:childTnLst>
                              <p:par>
                                <p:cTn id="229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5" fill="hold">
                      <p:stCondLst>
                        <p:cond delay="indefinite"/>
                      </p:stCondLst>
                      <p:childTnLst>
                        <p:par>
                          <p:cTn id="236" fill="hold">
                            <p:stCondLst>
                              <p:cond delay="0"/>
                            </p:stCondLst>
                            <p:childTnLst>
                              <p:par>
                                <p:cTn id="23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9" dur="770" decel="100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0" dur="770" decel="100000"/>
                                        <p:tgtEl>
                                          <p:spTgt spid="3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42" dur="77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44" dur="77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4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6" fill="hold">
                      <p:stCondLst>
                        <p:cond delay="indefinite"/>
                      </p:stCondLst>
                      <p:childTnLst>
                        <p:par>
                          <p:cTn id="247" fill="hold">
                            <p:stCondLst>
                              <p:cond delay="0"/>
                            </p:stCondLst>
                            <p:childTnLst>
                              <p:par>
                                <p:cTn id="248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50" dur="2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1" fill="hold">
                      <p:stCondLst>
                        <p:cond delay="indefinite"/>
                      </p:stCondLst>
                      <p:childTnLst>
                        <p:par>
                          <p:cTn id="252" fill="hold">
                            <p:stCondLst>
                              <p:cond delay="0"/>
                            </p:stCondLst>
                            <p:childTnLst>
                              <p:par>
                                <p:cTn id="25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5" dur="770" decel="100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6" dur="770" decel="100000"/>
                                        <p:tgtEl>
                                          <p:spTgt spid="15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5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58" dur="77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5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60" dur="77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6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2" fill="hold">
                      <p:stCondLst>
                        <p:cond delay="indefinite"/>
                      </p:stCondLst>
                      <p:childTnLst>
                        <p:par>
                          <p:cTn id="263" fill="hold">
                            <p:stCondLst>
                              <p:cond delay="0"/>
                            </p:stCondLst>
                            <p:childTnLst>
                              <p:par>
                                <p:cTn id="264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7" fill="hold">
                      <p:stCondLst>
                        <p:cond delay="indefinite"/>
                      </p:stCondLst>
                      <p:childTnLst>
                        <p:par>
                          <p:cTn id="268" fill="hold">
                            <p:stCondLst>
                              <p:cond delay="0"/>
                            </p:stCondLst>
                            <p:childTnLst>
                              <p:par>
                                <p:cTn id="26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1" dur="770" decel="100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2" dur="770" decel="100000"/>
                                        <p:tgtEl>
                                          <p:spTgt spid="3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7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74" dur="77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7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76" dur="77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7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8" fill="hold">
                      <p:stCondLst>
                        <p:cond delay="indefinite"/>
                      </p:stCondLst>
                      <p:childTnLst>
                        <p:par>
                          <p:cTn id="279" fill="hold">
                            <p:stCondLst>
                              <p:cond delay="0"/>
                            </p:stCondLst>
                            <p:childTnLst>
                              <p:par>
                                <p:cTn id="280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282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3" fill="hold">
                      <p:stCondLst>
                        <p:cond delay="indefinite"/>
                      </p:stCondLst>
                      <p:childTnLst>
                        <p:par>
                          <p:cTn id="284" fill="hold">
                            <p:stCondLst>
                              <p:cond delay="0"/>
                            </p:stCondLst>
                            <p:childTnLst>
                              <p:par>
                                <p:cTn id="28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7" dur="770" decel="100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8" dur="770" decel="100000"/>
                                        <p:tgtEl>
                                          <p:spTgt spid="3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8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90" dur="77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9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92" dur="77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9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4" fill="hold">
                      <p:stCondLst>
                        <p:cond delay="indefinite"/>
                      </p:stCondLst>
                      <p:childTnLst>
                        <p:par>
                          <p:cTn id="295" fill="hold">
                            <p:stCondLst>
                              <p:cond delay="0"/>
                            </p:stCondLst>
                            <p:childTnLst>
                              <p:par>
                                <p:cTn id="29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8" dur="3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9" fill="hold">
                      <p:stCondLst>
                        <p:cond delay="indefinite"/>
                      </p:stCondLst>
                      <p:childTnLst>
                        <p:par>
                          <p:cTn id="300" fill="hold">
                            <p:stCondLst>
                              <p:cond delay="0"/>
                            </p:stCondLst>
                            <p:childTnLst>
                              <p:par>
                                <p:cTn id="30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3" dur="770" decel="100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4" dur="770" decel="100000"/>
                                        <p:tgtEl>
                                          <p:spTgt spid="3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0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6" dur="77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0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08" dur="77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0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0" fill="hold">
                      <p:stCondLst>
                        <p:cond delay="indefinite"/>
                      </p:stCondLst>
                      <p:childTnLst>
                        <p:par>
                          <p:cTn id="311" fill="hold">
                            <p:stCondLst>
                              <p:cond delay="0"/>
                            </p:stCondLst>
                            <p:childTnLst>
                              <p:par>
                                <p:cTn id="31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4" dur="1155" decel="100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5" dur="1155" decel="100000"/>
                                        <p:tgtEl>
                                          <p:spTgt spid="3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16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17" dur="1155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1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19" dur="1155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2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1" fill="hold">
                      <p:stCondLst>
                        <p:cond delay="indefinite"/>
                      </p:stCondLst>
                      <p:childTnLst>
                        <p:par>
                          <p:cTn id="322" fill="hold">
                            <p:stCondLst>
                              <p:cond delay="0"/>
                            </p:stCondLst>
                            <p:childTnLst>
                              <p:par>
                                <p:cTn id="32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5" dur="770" decel="100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6" dur="770" decel="100000"/>
                                        <p:tgtEl>
                                          <p:spTgt spid="3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2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28" dur="77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30" dur="77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2" fill="hold">
                      <p:stCondLst>
                        <p:cond delay="indefinite"/>
                      </p:stCondLst>
                      <p:childTnLst>
                        <p:par>
                          <p:cTn id="333" fill="hold">
                            <p:stCondLst>
                              <p:cond delay="0"/>
                            </p:stCondLst>
                            <p:childTnLst>
                              <p:par>
                                <p:cTn id="33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6" dur="1155" decel="100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7" dur="1155" decel="100000"/>
                                        <p:tgtEl>
                                          <p:spTgt spid="4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3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39" dur="1155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4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41" dur="1155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4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3" fill="hold">
                      <p:stCondLst>
                        <p:cond delay="indefinite"/>
                      </p:stCondLst>
                      <p:childTnLst>
                        <p:par>
                          <p:cTn id="344" fill="hold">
                            <p:stCondLst>
                              <p:cond delay="0"/>
                            </p:stCondLst>
                            <p:childTnLst>
                              <p:par>
                                <p:cTn id="34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7" dur="1155" decel="100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8" dur="1155" decel="100000"/>
                                        <p:tgtEl>
                                          <p:spTgt spid="4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4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50" dur="1155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5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52" dur="1155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5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4" fill="hold">
                      <p:stCondLst>
                        <p:cond delay="indefinite"/>
                      </p:stCondLst>
                      <p:childTnLst>
                        <p:par>
                          <p:cTn id="355" fill="hold">
                            <p:stCondLst>
                              <p:cond delay="0"/>
                            </p:stCondLst>
                            <p:childTnLst>
                              <p:par>
                                <p:cTn id="35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8" dur="1155" decel="100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9" dur="1155" decel="100000"/>
                                        <p:tgtEl>
                                          <p:spTgt spid="4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6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61" dur="1155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6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63" dur="1155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64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5" fill="hold">
                      <p:stCondLst>
                        <p:cond delay="indefinite"/>
                      </p:stCondLst>
                      <p:childTnLst>
                        <p:par>
                          <p:cTn id="366" fill="hold">
                            <p:stCondLst>
                              <p:cond delay="0"/>
                            </p:stCondLst>
                            <p:childTnLst>
                              <p:par>
                                <p:cTn id="367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69" dur="1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0" fill="hold">
                      <p:stCondLst>
                        <p:cond delay="indefinite"/>
                      </p:stCondLst>
                      <p:childTnLst>
                        <p:par>
                          <p:cTn id="371" fill="hold">
                            <p:stCondLst>
                              <p:cond delay="0"/>
                            </p:stCondLst>
                            <p:childTnLst>
                              <p:par>
                                <p:cTn id="37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4" dur="770" decel="100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5" dur="770" decel="100000"/>
                                        <p:tgtEl>
                                          <p:spTgt spid="4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7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77" dur="77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7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79" dur="77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8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1" fill="hold">
                      <p:stCondLst>
                        <p:cond delay="indefinite"/>
                      </p:stCondLst>
                      <p:childTnLst>
                        <p:par>
                          <p:cTn id="382" fill="hold">
                            <p:stCondLst>
                              <p:cond delay="0"/>
                            </p:stCondLst>
                            <p:childTnLst>
                              <p:par>
                                <p:cTn id="38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5" dur="770" decel="100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6" dur="770" decel="100000"/>
                                        <p:tgtEl>
                                          <p:spTgt spid="4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8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88" dur="77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8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90" dur="77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9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2" fill="hold">
                      <p:stCondLst>
                        <p:cond delay="indefinite"/>
                      </p:stCondLst>
                      <p:childTnLst>
                        <p:par>
                          <p:cTn id="393" fill="hold">
                            <p:stCondLst>
                              <p:cond delay="0"/>
                            </p:stCondLst>
                            <p:childTnLst>
                              <p:par>
                                <p:cTn id="39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6" dur="1155" decel="100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7" dur="1155" decel="100000"/>
                                        <p:tgtEl>
                                          <p:spTgt spid="4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99" dur="1155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0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01" dur="1155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0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3" fill="hold">
                      <p:stCondLst>
                        <p:cond delay="indefinite"/>
                      </p:stCondLst>
                      <p:childTnLst>
                        <p:par>
                          <p:cTn id="404" fill="hold">
                            <p:stCondLst>
                              <p:cond delay="0"/>
                            </p:stCondLst>
                            <p:childTnLst>
                              <p:par>
                                <p:cTn id="40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7" dur="770" decel="100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8" dur="770" decel="100000"/>
                                        <p:tgtEl>
                                          <p:spTgt spid="4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0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10" dur="77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12" dur="77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4" fill="hold">
                      <p:stCondLst>
                        <p:cond delay="indefinite"/>
                      </p:stCondLst>
                      <p:childTnLst>
                        <p:par>
                          <p:cTn id="415" fill="hold">
                            <p:stCondLst>
                              <p:cond delay="0"/>
                            </p:stCondLst>
                            <p:childTnLst>
                              <p:par>
                                <p:cTn id="41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8" dur="1155" decel="100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9" dur="1155" decel="100000"/>
                                        <p:tgtEl>
                                          <p:spTgt spid="5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2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21" dur="1155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2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3" dur="1155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24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5" fill="hold">
                      <p:stCondLst>
                        <p:cond delay="indefinite"/>
                      </p:stCondLst>
                      <p:childTnLst>
                        <p:par>
                          <p:cTn id="426" fill="hold">
                            <p:stCondLst>
                              <p:cond delay="0"/>
                            </p:stCondLst>
                            <p:childTnLst>
                              <p:par>
                                <p:cTn id="42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9" dur="770" decel="100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0" dur="770" decel="100000"/>
                                        <p:tgtEl>
                                          <p:spTgt spid="5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3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32" dur="77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34" dur="77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3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6" fill="hold">
                      <p:stCondLst>
                        <p:cond delay="indefinite"/>
                      </p:stCondLst>
                      <p:childTnLst>
                        <p:par>
                          <p:cTn id="437" fill="hold">
                            <p:stCondLst>
                              <p:cond delay="0"/>
                            </p:stCondLst>
                            <p:childTnLst>
                              <p:par>
                                <p:cTn id="43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0" dur="770" decel="100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1" dur="770" decel="100000"/>
                                        <p:tgtEl>
                                          <p:spTgt spid="15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4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43" dur="77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4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45" dur="77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4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7" fill="hold">
                      <p:stCondLst>
                        <p:cond delay="indefinite"/>
                      </p:stCondLst>
                      <p:childTnLst>
                        <p:par>
                          <p:cTn id="448" fill="hold">
                            <p:stCondLst>
                              <p:cond delay="0"/>
                            </p:stCondLst>
                            <p:childTnLst>
                              <p:par>
                                <p:cTn id="44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1" dur="770" decel="100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2" dur="770" decel="100000"/>
                                        <p:tgtEl>
                                          <p:spTgt spid="15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5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54" dur="77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5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56" dur="77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5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8" fill="hold">
                      <p:stCondLst>
                        <p:cond delay="indefinite"/>
                      </p:stCondLst>
                      <p:childTnLst>
                        <p:par>
                          <p:cTn id="459" fill="hold">
                            <p:stCondLst>
                              <p:cond delay="0"/>
                            </p:stCondLst>
                            <p:childTnLst>
                              <p:par>
                                <p:cTn id="46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2" dur="1155" decel="100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63" dur="1155" decel="100000"/>
                                        <p:tgtEl>
                                          <p:spTgt spid="5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64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65" dur="1155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66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67" dur="1155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6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9" fill="hold">
                      <p:stCondLst>
                        <p:cond delay="indefinite"/>
                      </p:stCondLst>
                      <p:childTnLst>
                        <p:par>
                          <p:cTn id="470" fill="hold">
                            <p:stCondLst>
                              <p:cond delay="0"/>
                            </p:stCondLst>
                            <p:childTnLst>
                              <p:par>
                                <p:cTn id="47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3" dur="770" decel="100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4" dur="770" decel="100000"/>
                                        <p:tgtEl>
                                          <p:spTgt spid="5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7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76" dur="77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7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78" dur="77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7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0" fill="hold">
                      <p:stCondLst>
                        <p:cond delay="indefinite"/>
                      </p:stCondLst>
                      <p:childTnLst>
                        <p:par>
                          <p:cTn id="481" fill="hold">
                            <p:stCondLst>
                              <p:cond delay="0"/>
                            </p:stCondLst>
                            <p:childTnLst>
                              <p:par>
                                <p:cTn id="48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4" dur="1155" decel="100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5" dur="1155" decel="100000"/>
                                        <p:tgtEl>
                                          <p:spTgt spid="5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86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87" dur="1155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8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89" dur="1155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9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1" fill="hold">
                      <p:stCondLst>
                        <p:cond delay="indefinite"/>
                      </p:stCondLst>
                      <p:childTnLst>
                        <p:par>
                          <p:cTn id="492" fill="hold">
                            <p:stCondLst>
                              <p:cond delay="0"/>
                            </p:stCondLst>
                            <p:childTnLst>
                              <p:par>
                                <p:cTn id="49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5" dur="770" decel="100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6" dur="770" decel="100000"/>
                                        <p:tgtEl>
                                          <p:spTgt spid="5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98" dur="77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9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00" dur="77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0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2" fill="hold">
                      <p:stCondLst>
                        <p:cond delay="indefinite"/>
                      </p:stCondLst>
                      <p:childTnLst>
                        <p:par>
                          <p:cTn id="503" fill="hold">
                            <p:stCondLst>
                              <p:cond delay="0"/>
                            </p:stCondLst>
                            <p:childTnLst>
                              <p:par>
                                <p:cTn id="50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6" dur="1155" decel="100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07" dur="1155" decel="100000"/>
                                        <p:tgtEl>
                                          <p:spTgt spid="5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0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09" dur="1155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1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11" dur="1155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1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3" fill="hold">
                      <p:stCondLst>
                        <p:cond delay="indefinite"/>
                      </p:stCondLst>
                      <p:childTnLst>
                        <p:par>
                          <p:cTn id="514" fill="hold">
                            <p:stCondLst>
                              <p:cond delay="0"/>
                            </p:stCondLst>
                            <p:childTnLst>
                              <p:par>
                                <p:cTn id="5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7" dur="3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8" fill="hold">
                      <p:stCondLst>
                        <p:cond delay="indefinite"/>
                      </p:stCondLst>
                      <p:childTnLst>
                        <p:par>
                          <p:cTn id="519" fill="hold">
                            <p:stCondLst>
                              <p:cond delay="0"/>
                            </p:stCondLst>
                            <p:childTnLst>
                              <p:par>
                                <p:cTn id="52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2" dur="770" decel="100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3" dur="770" decel="100000"/>
                                        <p:tgtEl>
                                          <p:spTgt spid="5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2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25" dur="77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2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27" dur="77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2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9" fill="hold">
                      <p:stCondLst>
                        <p:cond delay="indefinite"/>
                      </p:stCondLst>
                      <p:childTnLst>
                        <p:par>
                          <p:cTn id="530" fill="hold">
                            <p:stCondLst>
                              <p:cond delay="0"/>
                            </p:stCondLst>
                            <p:childTnLst>
                              <p:par>
                                <p:cTn id="53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3" dur="1155" decel="100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34" dur="1155" decel="100000"/>
                                        <p:tgtEl>
                                          <p:spTgt spid="5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35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36" dur="1155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37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38" dur="1155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3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0" fill="hold">
                      <p:stCondLst>
                        <p:cond delay="indefinite"/>
                      </p:stCondLst>
                      <p:childTnLst>
                        <p:par>
                          <p:cTn id="541" fill="hold">
                            <p:stCondLst>
                              <p:cond delay="0"/>
                            </p:stCondLst>
                            <p:childTnLst>
                              <p:par>
                                <p:cTn id="54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4" dur="770" decel="100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45" dur="770" decel="100000"/>
                                        <p:tgtEl>
                                          <p:spTgt spid="15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4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47" dur="77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4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49" dur="77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5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1" fill="hold">
                      <p:stCondLst>
                        <p:cond delay="indefinite"/>
                      </p:stCondLst>
                      <p:childTnLst>
                        <p:par>
                          <p:cTn id="552" fill="hold">
                            <p:stCondLst>
                              <p:cond delay="0"/>
                            </p:stCondLst>
                            <p:childTnLst>
                              <p:par>
                                <p:cTn id="55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55" dur="5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6" fill="hold">
                      <p:stCondLst>
                        <p:cond delay="indefinite"/>
                      </p:stCondLst>
                      <p:childTnLst>
                        <p:par>
                          <p:cTn id="557" fill="hold">
                            <p:stCondLst>
                              <p:cond delay="0"/>
                            </p:stCondLst>
                            <p:childTnLst>
                              <p:par>
                                <p:cTn id="55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0" dur="770" decel="100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61" dur="770" decel="100000"/>
                                        <p:tgtEl>
                                          <p:spTgt spid="6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6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63" dur="77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6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65" dur="77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6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7" fill="hold">
                      <p:stCondLst>
                        <p:cond delay="indefinite"/>
                      </p:stCondLst>
                      <p:childTnLst>
                        <p:par>
                          <p:cTn id="568" fill="hold">
                            <p:stCondLst>
                              <p:cond delay="0"/>
                            </p:stCondLst>
                            <p:childTnLst>
                              <p:par>
                                <p:cTn id="569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571" dur="1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2" fill="hold">
                      <p:stCondLst>
                        <p:cond delay="indefinite"/>
                      </p:stCondLst>
                      <p:childTnLst>
                        <p:par>
                          <p:cTn id="573" fill="hold">
                            <p:stCondLst>
                              <p:cond delay="0"/>
                            </p:stCondLst>
                            <p:childTnLst>
                              <p:par>
                                <p:cTn id="574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576" dur="5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7" fill="hold">
                      <p:stCondLst>
                        <p:cond delay="indefinite"/>
                      </p:stCondLst>
                      <p:childTnLst>
                        <p:par>
                          <p:cTn id="578" fill="hold">
                            <p:stCondLst>
                              <p:cond delay="0"/>
                            </p:stCondLst>
                            <p:childTnLst>
                              <p:par>
                                <p:cTn id="57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1" dur="770" decel="100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2" dur="770" decel="100000"/>
                                        <p:tgtEl>
                                          <p:spTgt spid="6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8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84" dur="77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8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86" dur="77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8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8" fill="hold">
                      <p:stCondLst>
                        <p:cond delay="indefinite"/>
                      </p:stCondLst>
                      <p:childTnLst>
                        <p:par>
                          <p:cTn id="589" fill="hold">
                            <p:stCondLst>
                              <p:cond delay="0"/>
                            </p:stCondLst>
                            <p:childTnLst>
                              <p:par>
                                <p:cTn id="590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2" dur="3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3" dur="3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4" fill="hold">
                      <p:stCondLst>
                        <p:cond delay="indefinite"/>
                      </p:stCondLst>
                      <p:childTnLst>
                        <p:par>
                          <p:cTn id="595" fill="hold">
                            <p:stCondLst>
                              <p:cond delay="0"/>
                            </p:stCondLst>
                            <p:childTnLst>
                              <p:par>
                                <p:cTn id="59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8" dur="770" decel="100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9" dur="770" decel="100000"/>
                                        <p:tgtEl>
                                          <p:spTgt spid="6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0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01" dur="77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0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03" dur="77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0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5" fill="hold">
                      <p:stCondLst>
                        <p:cond delay="indefinite"/>
                      </p:stCondLst>
                      <p:childTnLst>
                        <p:par>
                          <p:cTn id="606" fill="hold">
                            <p:stCondLst>
                              <p:cond delay="0"/>
                            </p:stCondLst>
                            <p:childTnLst>
                              <p:par>
                                <p:cTn id="607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9" dur="770" decel="100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0" dur="770" decel="100000"/>
                                        <p:tgtEl>
                                          <p:spTgt spid="6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12" dur="77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14" dur="77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1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6" fill="hold">
                      <p:stCondLst>
                        <p:cond delay="indefinite"/>
                      </p:stCondLst>
                      <p:childTnLst>
                        <p:par>
                          <p:cTn id="617" fill="hold">
                            <p:stCondLst>
                              <p:cond delay="0"/>
                            </p:stCondLst>
                            <p:childTnLst>
                              <p:par>
                                <p:cTn id="61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0" dur="770" decel="100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21" dur="770" decel="100000"/>
                                        <p:tgtEl>
                                          <p:spTgt spid="6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2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23" dur="77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2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25" dur="77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2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7" fill="hold">
                      <p:stCondLst>
                        <p:cond delay="indefinite"/>
                      </p:stCondLst>
                      <p:childTnLst>
                        <p:par>
                          <p:cTn id="628" fill="hold">
                            <p:stCondLst>
                              <p:cond delay="0"/>
                            </p:stCondLst>
                            <p:childTnLst>
                              <p:par>
                                <p:cTn id="62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1" dur="770" decel="100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2" dur="770" decel="100000"/>
                                        <p:tgtEl>
                                          <p:spTgt spid="8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34" dur="77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3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36" dur="77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3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8" fill="hold">
                      <p:stCondLst>
                        <p:cond delay="indefinite"/>
                      </p:stCondLst>
                      <p:childTnLst>
                        <p:par>
                          <p:cTn id="639" fill="hold">
                            <p:stCondLst>
                              <p:cond delay="0"/>
                            </p:stCondLst>
                            <p:childTnLst>
                              <p:par>
                                <p:cTn id="64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2" dur="770" decel="100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43" dur="770" decel="100000"/>
                                        <p:tgtEl>
                                          <p:spTgt spid="8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4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45" dur="77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4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47" dur="77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4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9" fill="hold">
                      <p:stCondLst>
                        <p:cond delay="indefinite"/>
                      </p:stCondLst>
                      <p:childTnLst>
                        <p:par>
                          <p:cTn id="650" fill="hold">
                            <p:stCondLst>
                              <p:cond delay="0"/>
                            </p:stCondLst>
                            <p:childTnLst>
                              <p:par>
                                <p:cTn id="65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3" dur="770" decel="100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54" dur="770" decel="100000"/>
                                        <p:tgtEl>
                                          <p:spTgt spid="9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5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56" dur="77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5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58" dur="77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5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0" fill="hold">
                      <p:stCondLst>
                        <p:cond delay="indefinite"/>
                      </p:stCondLst>
                      <p:childTnLst>
                        <p:par>
                          <p:cTn id="661" fill="hold">
                            <p:stCondLst>
                              <p:cond delay="0"/>
                            </p:stCondLst>
                            <p:childTnLst>
                              <p:par>
                                <p:cTn id="66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4" dur="770" decel="100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65" dur="770" decel="100000"/>
                                        <p:tgtEl>
                                          <p:spTgt spid="9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6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67" dur="77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6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69" dur="77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7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1" fill="hold">
                      <p:stCondLst>
                        <p:cond delay="indefinite"/>
                      </p:stCondLst>
                      <p:childTnLst>
                        <p:par>
                          <p:cTn id="672" fill="hold">
                            <p:stCondLst>
                              <p:cond delay="0"/>
                            </p:stCondLst>
                            <p:childTnLst>
                              <p:par>
                                <p:cTn id="67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5" dur="770" decel="100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76" dur="770" decel="100000"/>
                                        <p:tgtEl>
                                          <p:spTgt spid="9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7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78" dur="77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7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80" dur="77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8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2" fill="hold">
                      <p:stCondLst>
                        <p:cond delay="indefinite"/>
                      </p:stCondLst>
                      <p:childTnLst>
                        <p:par>
                          <p:cTn id="683" fill="hold">
                            <p:stCondLst>
                              <p:cond delay="0"/>
                            </p:stCondLst>
                            <p:childTnLst>
                              <p:par>
                                <p:cTn id="68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6" dur="770" decel="100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87" dur="770" decel="100000"/>
                                        <p:tgtEl>
                                          <p:spTgt spid="9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8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89" dur="77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9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91" dur="77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9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3" fill="hold">
                      <p:stCondLst>
                        <p:cond delay="indefinite"/>
                      </p:stCondLst>
                      <p:childTnLst>
                        <p:par>
                          <p:cTn id="694" fill="hold">
                            <p:stCondLst>
                              <p:cond delay="0"/>
                            </p:stCondLst>
                            <p:childTnLst>
                              <p:par>
                                <p:cTn id="69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7" dur="770" decel="100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8" dur="770" decel="100000"/>
                                        <p:tgtEl>
                                          <p:spTgt spid="8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9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00" dur="77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0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02" dur="77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0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4" fill="hold">
                      <p:stCondLst>
                        <p:cond delay="indefinite"/>
                      </p:stCondLst>
                      <p:childTnLst>
                        <p:par>
                          <p:cTn id="705" fill="hold">
                            <p:stCondLst>
                              <p:cond delay="0"/>
                            </p:stCondLst>
                            <p:childTnLst>
                              <p:par>
                                <p:cTn id="70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8" dur="5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9" fill="hold">
                      <p:stCondLst>
                        <p:cond delay="indefinite"/>
                      </p:stCondLst>
                      <p:childTnLst>
                        <p:par>
                          <p:cTn id="710" fill="hold">
                            <p:stCondLst>
                              <p:cond delay="0"/>
                            </p:stCondLst>
                            <p:childTnLst>
                              <p:par>
                                <p:cTn id="71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3" dur="770" decel="100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14" dur="770" decel="100000"/>
                                        <p:tgtEl>
                                          <p:spTgt spid="7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1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16" dur="77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1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18" dur="77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0" fill="hold">
                      <p:stCondLst>
                        <p:cond delay="indefinite"/>
                      </p:stCondLst>
                      <p:childTnLst>
                        <p:par>
                          <p:cTn id="721" fill="hold">
                            <p:stCondLst>
                              <p:cond delay="0"/>
                            </p:stCondLst>
                            <p:childTnLst>
                              <p:par>
                                <p:cTn id="72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4" dur="3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5" fill="hold">
                      <p:stCondLst>
                        <p:cond delay="indefinite"/>
                      </p:stCondLst>
                      <p:childTnLst>
                        <p:par>
                          <p:cTn id="726" fill="hold">
                            <p:stCondLst>
                              <p:cond delay="0"/>
                            </p:stCondLst>
                            <p:childTnLst>
                              <p:par>
                                <p:cTn id="72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29" dur="1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0" fill="hold">
                      <p:stCondLst>
                        <p:cond delay="indefinite"/>
                      </p:stCondLst>
                      <p:childTnLst>
                        <p:par>
                          <p:cTn id="731" fill="hold">
                            <p:stCondLst>
                              <p:cond delay="0"/>
                            </p:stCondLst>
                            <p:childTnLst>
                              <p:par>
                                <p:cTn id="73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34" dur="1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5" fill="hold">
                      <p:stCondLst>
                        <p:cond delay="indefinite"/>
                      </p:stCondLst>
                      <p:childTnLst>
                        <p:par>
                          <p:cTn id="736" fill="hold">
                            <p:stCondLst>
                              <p:cond delay="0"/>
                            </p:stCondLst>
                            <p:childTnLst>
                              <p:par>
                                <p:cTn id="73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39" dur="1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0" fill="hold">
                      <p:stCondLst>
                        <p:cond delay="indefinite"/>
                      </p:stCondLst>
                      <p:childTnLst>
                        <p:par>
                          <p:cTn id="741" fill="hold">
                            <p:stCondLst>
                              <p:cond delay="0"/>
                            </p:stCondLst>
                            <p:childTnLst>
                              <p:par>
                                <p:cTn id="74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44" dur="1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5" fill="hold">
                      <p:stCondLst>
                        <p:cond delay="indefinite"/>
                      </p:stCondLst>
                      <p:childTnLst>
                        <p:par>
                          <p:cTn id="746" fill="hold">
                            <p:stCondLst>
                              <p:cond delay="0"/>
                            </p:stCondLst>
                            <p:childTnLst>
                              <p:par>
                                <p:cTn id="74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49" dur="1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0" fill="hold">
                      <p:stCondLst>
                        <p:cond delay="indefinite"/>
                      </p:stCondLst>
                      <p:childTnLst>
                        <p:par>
                          <p:cTn id="751" fill="hold">
                            <p:stCondLst>
                              <p:cond delay="0"/>
                            </p:stCondLst>
                            <p:childTnLst>
                              <p:par>
                                <p:cTn id="75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54" dur="1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5" fill="hold">
                      <p:stCondLst>
                        <p:cond delay="indefinite"/>
                      </p:stCondLst>
                      <p:childTnLst>
                        <p:par>
                          <p:cTn id="756" fill="hold">
                            <p:stCondLst>
                              <p:cond delay="0"/>
                            </p:stCondLst>
                            <p:childTnLst>
                              <p:par>
                                <p:cTn id="75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59" dur="1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0" fill="hold">
                      <p:stCondLst>
                        <p:cond delay="indefinite"/>
                      </p:stCondLst>
                      <p:childTnLst>
                        <p:par>
                          <p:cTn id="761" fill="hold">
                            <p:stCondLst>
                              <p:cond delay="0"/>
                            </p:stCondLst>
                            <p:childTnLst>
                              <p:par>
                                <p:cTn id="76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64" dur="1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5" fill="hold">
                      <p:stCondLst>
                        <p:cond delay="indefinite"/>
                      </p:stCondLst>
                      <p:childTnLst>
                        <p:par>
                          <p:cTn id="766" fill="hold">
                            <p:stCondLst>
                              <p:cond delay="0"/>
                            </p:stCondLst>
                            <p:childTnLst>
                              <p:par>
                                <p:cTn id="76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69" dur="1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0" fill="hold">
                      <p:stCondLst>
                        <p:cond delay="indefinite"/>
                      </p:stCondLst>
                      <p:childTnLst>
                        <p:par>
                          <p:cTn id="771" fill="hold">
                            <p:stCondLst>
                              <p:cond delay="0"/>
                            </p:stCondLst>
                            <p:childTnLst>
                              <p:par>
                                <p:cTn id="77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74" dur="1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5" fill="hold">
                      <p:stCondLst>
                        <p:cond delay="indefinite"/>
                      </p:stCondLst>
                      <p:childTnLst>
                        <p:par>
                          <p:cTn id="776" fill="hold">
                            <p:stCondLst>
                              <p:cond delay="0"/>
                            </p:stCondLst>
                            <p:childTnLst>
                              <p:par>
                                <p:cTn id="77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79" dur="1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0" fill="hold">
                      <p:stCondLst>
                        <p:cond delay="indefinite"/>
                      </p:stCondLst>
                      <p:childTnLst>
                        <p:par>
                          <p:cTn id="781" fill="hold">
                            <p:stCondLst>
                              <p:cond delay="0"/>
                            </p:stCondLst>
                            <p:childTnLst>
                              <p:par>
                                <p:cTn id="78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84" dur="1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5" fill="hold">
                      <p:stCondLst>
                        <p:cond delay="indefinite"/>
                      </p:stCondLst>
                      <p:childTnLst>
                        <p:par>
                          <p:cTn id="786" fill="hold">
                            <p:stCondLst>
                              <p:cond delay="0"/>
                            </p:stCondLst>
                            <p:childTnLst>
                              <p:par>
                                <p:cTn id="78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89" dur="1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0" fill="hold">
                      <p:stCondLst>
                        <p:cond delay="indefinite"/>
                      </p:stCondLst>
                      <p:childTnLst>
                        <p:par>
                          <p:cTn id="791" fill="hold">
                            <p:stCondLst>
                              <p:cond delay="0"/>
                            </p:stCondLst>
                            <p:childTnLst>
                              <p:par>
                                <p:cTn id="79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94" dur="1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5" fill="hold">
                      <p:stCondLst>
                        <p:cond delay="indefinite"/>
                      </p:stCondLst>
                      <p:childTnLst>
                        <p:par>
                          <p:cTn id="796" fill="hold">
                            <p:stCondLst>
                              <p:cond delay="0"/>
                            </p:stCondLst>
                            <p:childTnLst>
                              <p:par>
                                <p:cTn id="797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99" dur="1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0" fill="hold">
                      <p:stCondLst>
                        <p:cond delay="indefinite"/>
                      </p:stCondLst>
                      <p:childTnLst>
                        <p:par>
                          <p:cTn id="801" fill="hold">
                            <p:stCondLst>
                              <p:cond delay="0"/>
                            </p:stCondLst>
                            <p:childTnLst>
                              <p:par>
                                <p:cTn id="802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804" dur="1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5" fill="hold">
                      <p:stCondLst>
                        <p:cond delay="indefinite"/>
                      </p:stCondLst>
                      <p:childTnLst>
                        <p:par>
                          <p:cTn id="806" fill="hold">
                            <p:stCondLst>
                              <p:cond delay="0"/>
                            </p:stCondLst>
                            <p:childTnLst>
                              <p:par>
                                <p:cTn id="80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9" dur="770" decel="1000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10" dur="770" decel="100000"/>
                                        <p:tgtEl>
                                          <p:spTgt spid="16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12" dur="77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14" dur="77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1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6" fill="hold">
                      <p:stCondLst>
                        <p:cond delay="indefinite"/>
                      </p:stCondLst>
                      <p:childTnLst>
                        <p:par>
                          <p:cTn id="817" fill="hold">
                            <p:stCondLst>
                              <p:cond delay="0"/>
                            </p:stCondLst>
                            <p:childTnLst>
                              <p:par>
                                <p:cTn id="818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0" dur="3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1" dur="3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2" fill="hold">
                      <p:stCondLst>
                        <p:cond delay="indefinite"/>
                      </p:stCondLst>
                      <p:childTnLst>
                        <p:par>
                          <p:cTn id="823" fill="hold">
                            <p:stCondLst>
                              <p:cond delay="0"/>
                            </p:stCondLst>
                            <p:childTnLst>
                              <p:par>
                                <p:cTn id="824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826" dur="1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7" fill="hold">
                      <p:stCondLst>
                        <p:cond delay="indefinite"/>
                      </p:stCondLst>
                      <p:childTnLst>
                        <p:par>
                          <p:cTn id="828" fill="hold">
                            <p:stCondLst>
                              <p:cond delay="0"/>
                            </p:stCondLst>
                            <p:childTnLst>
                              <p:par>
                                <p:cTn id="82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1" dur="770" decel="100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32" dur="770" decel="100000"/>
                                        <p:tgtEl>
                                          <p:spTgt spid="10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3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34" dur="77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3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36" dur="77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3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8" fill="hold">
                      <p:stCondLst>
                        <p:cond delay="indefinite"/>
                      </p:stCondLst>
                      <p:childTnLst>
                        <p:par>
                          <p:cTn id="839" fill="hold">
                            <p:stCondLst>
                              <p:cond delay="0"/>
                            </p:stCondLst>
                            <p:childTnLst>
                              <p:par>
                                <p:cTn id="84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2" dur="770" decel="100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43" dur="770" decel="100000"/>
                                        <p:tgtEl>
                                          <p:spTgt spid="16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4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45" dur="77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4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47" dur="77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4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9" fill="hold">
                      <p:stCondLst>
                        <p:cond delay="indefinite"/>
                      </p:stCondLst>
                      <p:childTnLst>
                        <p:par>
                          <p:cTn id="850" fill="hold">
                            <p:stCondLst>
                              <p:cond delay="0"/>
                            </p:stCondLst>
                            <p:childTnLst>
                              <p:par>
                                <p:cTn id="85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3" dur="770" decel="100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4" dur="770" decel="100000"/>
                                        <p:tgtEl>
                                          <p:spTgt spid="9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5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56" dur="77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5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58" dur="77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5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0" fill="hold">
                      <p:stCondLst>
                        <p:cond delay="indefinite"/>
                      </p:stCondLst>
                      <p:childTnLst>
                        <p:par>
                          <p:cTn id="861" fill="hold">
                            <p:stCondLst>
                              <p:cond delay="0"/>
                            </p:stCondLst>
                            <p:childTnLst>
                              <p:par>
                                <p:cTn id="86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4" dur="770" decel="100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65" dur="770" decel="100000"/>
                                        <p:tgtEl>
                                          <p:spTgt spid="10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6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67" dur="77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6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69" dur="77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7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1" fill="hold">
                      <p:stCondLst>
                        <p:cond delay="indefinite"/>
                      </p:stCondLst>
                      <p:childTnLst>
                        <p:par>
                          <p:cTn id="872" fill="hold">
                            <p:stCondLst>
                              <p:cond delay="0"/>
                            </p:stCondLst>
                            <p:childTnLst>
                              <p:par>
                                <p:cTn id="87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5" dur="770" decel="100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76" dur="770" decel="100000"/>
                                        <p:tgtEl>
                                          <p:spTgt spid="10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7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78" dur="77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7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80" dur="77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8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2" fill="hold">
                      <p:stCondLst>
                        <p:cond delay="indefinite"/>
                      </p:stCondLst>
                      <p:childTnLst>
                        <p:par>
                          <p:cTn id="883" fill="hold">
                            <p:stCondLst>
                              <p:cond delay="0"/>
                            </p:stCondLst>
                            <p:childTnLst>
                              <p:par>
                                <p:cTn id="88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6" dur="770" decel="100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7" dur="770" decel="100000"/>
                                        <p:tgtEl>
                                          <p:spTgt spid="11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8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89" dur="77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9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91" dur="77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9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3" fill="hold">
                      <p:stCondLst>
                        <p:cond delay="indefinite"/>
                      </p:stCondLst>
                      <p:childTnLst>
                        <p:par>
                          <p:cTn id="894" fill="hold">
                            <p:stCondLst>
                              <p:cond delay="0"/>
                            </p:stCondLst>
                            <p:childTnLst>
                              <p:par>
                                <p:cTn id="89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7" dur="770" decel="100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98" dur="770" decel="100000"/>
                                        <p:tgtEl>
                                          <p:spTgt spid="11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9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00" dur="77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0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02" dur="77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0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4" fill="hold">
                      <p:stCondLst>
                        <p:cond delay="indefinite"/>
                      </p:stCondLst>
                      <p:childTnLst>
                        <p:par>
                          <p:cTn id="905" fill="hold">
                            <p:stCondLst>
                              <p:cond delay="0"/>
                            </p:stCondLst>
                            <p:childTnLst>
                              <p:par>
                                <p:cTn id="90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8" dur="770" decel="100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09" dur="770" decel="100000"/>
                                        <p:tgtEl>
                                          <p:spTgt spid="11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1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11" dur="77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1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13" dur="77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1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5" fill="hold">
                      <p:stCondLst>
                        <p:cond delay="indefinite"/>
                      </p:stCondLst>
                      <p:childTnLst>
                        <p:par>
                          <p:cTn id="916" fill="hold">
                            <p:stCondLst>
                              <p:cond delay="0"/>
                            </p:stCondLst>
                            <p:childTnLst>
                              <p:par>
                                <p:cTn id="917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9" dur="770" decel="100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20" dur="770" decel="100000"/>
                                        <p:tgtEl>
                                          <p:spTgt spid="12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2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22" dur="77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2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24" dur="77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2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6" fill="hold">
                      <p:stCondLst>
                        <p:cond delay="indefinite"/>
                      </p:stCondLst>
                      <p:childTnLst>
                        <p:par>
                          <p:cTn id="927" fill="hold">
                            <p:stCondLst>
                              <p:cond delay="0"/>
                            </p:stCondLst>
                            <p:childTnLst>
                              <p:par>
                                <p:cTn id="928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0" dur="770" decel="100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31" dur="770" decel="100000"/>
                                        <p:tgtEl>
                                          <p:spTgt spid="1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3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33" dur="77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3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35" dur="77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3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7" fill="hold">
                      <p:stCondLst>
                        <p:cond delay="indefinite"/>
                      </p:stCondLst>
                      <p:childTnLst>
                        <p:par>
                          <p:cTn id="938" fill="hold">
                            <p:stCondLst>
                              <p:cond delay="0"/>
                            </p:stCondLst>
                            <p:childTnLst>
                              <p:par>
                                <p:cTn id="93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1" dur="770" decel="100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42" dur="770" decel="100000"/>
                                        <p:tgtEl>
                                          <p:spTgt spid="12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4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44" dur="77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4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46" dur="77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4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8" fill="hold">
                      <p:stCondLst>
                        <p:cond delay="indefinite"/>
                      </p:stCondLst>
                      <p:childTnLst>
                        <p:par>
                          <p:cTn id="949" fill="hold">
                            <p:stCondLst>
                              <p:cond delay="0"/>
                            </p:stCondLst>
                            <p:childTnLst>
                              <p:par>
                                <p:cTn id="95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2" dur="770" decel="100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53" dur="770" decel="100000"/>
                                        <p:tgtEl>
                                          <p:spTgt spid="12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5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55" dur="77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5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57" dur="77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5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9" fill="hold">
                      <p:stCondLst>
                        <p:cond delay="indefinite"/>
                      </p:stCondLst>
                      <p:childTnLst>
                        <p:par>
                          <p:cTn id="960" fill="hold">
                            <p:stCondLst>
                              <p:cond delay="0"/>
                            </p:stCondLst>
                            <p:childTnLst>
                              <p:par>
                                <p:cTn id="96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3" dur="770" decel="100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64" dur="770" decel="100000"/>
                                        <p:tgtEl>
                                          <p:spTgt spid="12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6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66" dur="77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6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68" dur="77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6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0" fill="hold">
                      <p:stCondLst>
                        <p:cond delay="indefinite"/>
                      </p:stCondLst>
                      <p:childTnLst>
                        <p:par>
                          <p:cTn id="971" fill="hold">
                            <p:stCondLst>
                              <p:cond delay="0"/>
                            </p:stCondLst>
                            <p:childTnLst>
                              <p:par>
                                <p:cTn id="97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4" dur="770" decel="100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75" dur="770" decel="100000"/>
                                        <p:tgtEl>
                                          <p:spTgt spid="12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7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77" dur="77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7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79" dur="77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8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1" fill="hold">
                      <p:stCondLst>
                        <p:cond delay="indefinite"/>
                      </p:stCondLst>
                      <p:childTnLst>
                        <p:par>
                          <p:cTn id="982" fill="hold">
                            <p:stCondLst>
                              <p:cond delay="0"/>
                            </p:stCondLst>
                            <p:childTnLst>
                              <p:par>
                                <p:cTn id="98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5" dur="1155" decel="100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86" dur="1155" decel="100000"/>
                                        <p:tgtEl>
                                          <p:spTgt spid="12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87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88" dur="1155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8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90" dur="1155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9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2" fill="hold">
                      <p:stCondLst>
                        <p:cond delay="indefinite"/>
                      </p:stCondLst>
                      <p:childTnLst>
                        <p:par>
                          <p:cTn id="993" fill="hold">
                            <p:stCondLst>
                              <p:cond delay="0"/>
                            </p:stCondLst>
                            <p:childTnLst>
                              <p:par>
                                <p:cTn id="99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6" dur="770" decel="100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97" dur="770" decel="100000"/>
                                        <p:tgtEl>
                                          <p:spTgt spid="12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9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99" dur="77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0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01" dur="77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0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3" fill="hold">
                      <p:stCondLst>
                        <p:cond delay="indefinite"/>
                      </p:stCondLst>
                      <p:childTnLst>
                        <p:par>
                          <p:cTn id="1004" fill="hold">
                            <p:stCondLst>
                              <p:cond delay="0"/>
                            </p:stCondLst>
                            <p:childTnLst>
                              <p:par>
                                <p:cTn id="100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7" dur="770" decel="100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08" dur="770" decel="100000"/>
                                        <p:tgtEl>
                                          <p:spTgt spid="12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0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10" dur="77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12" dur="77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1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4" fill="hold">
                      <p:stCondLst>
                        <p:cond delay="indefinite"/>
                      </p:stCondLst>
                      <p:childTnLst>
                        <p:par>
                          <p:cTn id="1015" fill="hold">
                            <p:stCondLst>
                              <p:cond delay="0"/>
                            </p:stCondLst>
                            <p:childTnLst>
                              <p:par>
                                <p:cTn id="10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8" dur="5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9" fill="hold">
                      <p:stCondLst>
                        <p:cond delay="indefinite"/>
                      </p:stCondLst>
                      <p:childTnLst>
                        <p:par>
                          <p:cTn id="1020" fill="hold">
                            <p:stCondLst>
                              <p:cond delay="0"/>
                            </p:stCondLst>
                            <p:childTnLst>
                              <p:par>
                                <p:cTn id="102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3" dur="770" decel="100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24" dur="770" decel="100000"/>
                                        <p:tgtEl>
                                          <p:spTgt spid="12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2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26" dur="77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2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28" dur="77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2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0" fill="hold">
                      <p:stCondLst>
                        <p:cond delay="indefinite"/>
                      </p:stCondLst>
                      <p:childTnLst>
                        <p:par>
                          <p:cTn id="1031" fill="hold">
                            <p:stCondLst>
                              <p:cond delay="0"/>
                            </p:stCondLst>
                            <p:childTnLst>
                              <p:par>
                                <p:cTn id="103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4" dur="1155" decel="100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35" dur="1155" decel="100000"/>
                                        <p:tgtEl>
                                          <p:spTgt spid="13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36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37" dur="1155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3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39" dur="1155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4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1" fill="hold">
                      <p:stCondLst>
                        <p:cond delay="indefinite"/>
                      </p:stCondLst>
                      <p:childTnLst>
                        <p:par>
                          <p:cTn id="1042" fill="hold">
                            <p:stCondLst>
                              <p:cond delay="0"/>
                            </p:stCondLst>
                            <p:childTnLst>
                              <p:par>
                                <p:cTn id="10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45" dur="3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6" fill="hold">
                      <p:stCondLst>
                        <p:cond delay="indefinite"/>
                      </p:stCondLst>
                      <p:childTnLst>
                        <p:par>
                          <p:cTn id="1047" fill="hold">
                            <p:stCondLst>
                              <p:cond delay="0"/>
                            </p:stCondLst>
                            <p:childTnLst>
                              <p:par>
                                <p:cTn id="104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0" dur="770" decel="100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51" dur="770" decel="100000"/>
                                        <p:tgtEl>
                                          <p:spTgt spid="13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5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53" dur="77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5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55" dur="77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5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7" fill="hold">
                      <p:stCondLst>
                        <p:cond delay="indefinite"/>
                      </p:stCondLst>
                      <p:childTnLst>
                        <p:par>
                          <p:cTn id="1058" fill="hold">
                            <p:stCondLst>
                              <p:cond delay="0"/>
                            </p:stCondLst>
                            <p:childTnLst>
                              <p:par>
                                <p:cTn id="105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1" dur="770" decel="100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62" dur="770" decel="100000"/>
                                        <p:tgtEl>
                                          <p:spTgt spid="13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6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64" dur="77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6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66" dur="77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6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8" fill="hold">
                      <p:stCondLst>
                        <p:cond delay="indefinite"/>
                      </p:stCondLst>
                      <p:childTnLst>
                        <p:par>
                          <p:cTn id="1069" fill="hold">
                            <p:stCondLst>
                              <p:cond delay="0"/>
                            </p:stCondLst>
                            <p:childTnLst>
                              <p:par>
                                <p:cTn id="107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2" dur="770" decel="100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73" dur="770" decel="100000"/>
                                        <p:tgtEl>
                                          <p:spTgt spid="13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7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75" dur="77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7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77" dur="77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7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9" fill="hold">
                      <p:stCondLst>
                        <p:cond delay="indefinite"/>
                      </p:stCondLst>
                      <p:childTnLst>
                        <p:par>
                          <p:cTn id="1080" fill="hold">
                            <p:stCondLst>
                              <p:cond delay="0"/>
                            </p:stCondLst>
                            <p:childTnLst>
                              <p:par>
                                <p:cTn id="108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3" dur="770" decel="100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84" dur="770" decel="100000"/>
                                        <p:tgtEl>
                                          <p:spTgt spid="13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8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86" dur="77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8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88" dur="77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8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0" fill="hold">
                      <p:stCondLst>
                        <p:cond delay="indefinite"/>
                      </p:stCondLst>
                      <p:childTnLst>
                        <p:par>
                          <p:cTn id="1091" fill="hold">
                            <p:stCondLst>
                              <p:cond delay="0"/>
                            </p:stCondLst>
                            <p:childTnLst>
                              <p:par>
                                <p:cTn id="109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4" dur="770" decel="100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95" dur="770" decel="100000"/>
                                        <p:tgtEl>
                                          <p:spTgt spid="13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9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97" dur="77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9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99" dur="77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0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1" fill="hold">
                      <p:stCondLst>
                        <p:cond delay="indefinite"/>
                      </p:stCondLst>
                      <p:childTnLst>
                        <p:par>
                          <p:cTn id="1102" fill="hold">
                            <p:stCondLst>
                              <p:cond delay="0"/>
                            </p:stCondLst>
                            <p:childTnLst>
                              <p:par>
                                <p:cTn id="110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5" dur="770" decel="100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06" dur="770" decel="100000"/>
                                        <p:tgtEl>
                                          <p:spTgt spid="13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0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08" dur="77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0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10" dur="77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1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2" fill="hold">
                      <p:stCondLst>
                        <p:cond delay="indefinite"/>
                      </p:stCondLst>
                      <p:childTnLst>
                        <p:par>
                          <p:cTn id="1113" fill="hold">
                            <p:stCondLst>
                              <p:cond delay="0"/>
                            </p:stCondLst>
                            <p:childTnLst>
                              <p:par>
                                <p:cTn id="111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6" dur="770" decel="100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17" dur="770" decel="100000"/>
                                        <p:tgtEl>
                                          <p:spTgt spid="13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1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19" dur="77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2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21" dur="77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2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3" fill="hold">
                      <p:stCondLst>
                        <p:cond delay="indefinite"/>
                      </p:stCondLst>
                      <p:childTnLst>
                        <p:par>
                          <p:cTn id="1124" fill="hold">
                            <p:stCondLst>
                              <p:cond delay="0"/>
                            </p:stCondLst>
                            <p:childTnLst>
                              <p:par>
                                <p:cTn id="11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7" dur="30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8" fill="hold">
                      <p:stCondLst>
                        <p:cond delay="indefinite"/>
                      </p:stCondLst>
                      <p:childTnLst>
                        <p:par>
                          <p:cTn id="1129" fill="hold">
                            <p:stCondLst>
                              <p:cond delay="0"/>
                            </p:stCondLst>
                            <p:childTnLst>
                              <p:par>
                                <p:cTn id="113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2" dur="770" decel="1000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33" dur="770" decel="100000"/>
                                        <p:tgtEl>
                                          <p:spTgt spid="17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3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35" dur="77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3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37" dur="770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3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9" fill="hold">
                      <p:stCondLst>
                        <p:cond delay="indefinite"/>
                      </p:stCondLst>
                      <p:childTnLst>
                        <p:par>
                          <p:cTn id="1140" fill="hold">
                            <p:stCondLst>
                              <p:cond delay="0"/>
                            </p:stCondLst>
                            <p:childTnLst>
                              <p:par>
                                <p:cTn id="114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3" dur="770" decel="100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44" dur="770" decel="100000"/>
                                        <p:tgtEl>
                                          <p:spTgt spid="14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4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46" dur="77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4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48" dur="77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0" fill="hold">
                      <p:stCondLst>
                        <p:cond delay="indefinite"/>
                      </p:stCondLst>
                      <p:childTnLst>
                        <p:par>
                          <p:cTn id="1151" fill="hold">
                            <p:stCondLst>
                              <p:cond delay="0"/>
                            </p:stCondLst>
                            <p:childTnLst>
                              <p:par>
                                <p:cTn id="115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4" dur="770" decel="100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55" dur="770" decel="100000"/>
                                        <p:tgtEl>
                                          <p:spTgt spid="15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5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57" dur="77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5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59" dur="77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6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1" fill="hold">
                      <p:stCondLst>
                        <p:cond delay="indefinite"/>
                      </p:stCondLst>
                      <p:childTnLst>
                        <p:par>
                          <p:cTn id="1162" fill="hold">
                            <p:stCondLst>
                              <p:cond delay="0"/>
                            </p:stCondLst>
                            <p:childTnLst>
                              <p:par>
                                <p:cTn id="116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5" dur="1155" decel="1000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66" dur="1155" decel="100000"/>
                                        <p:tgtEl>
                                          <p:spTgt spid="14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67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68" dur="1155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6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70" dur="1155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7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2" fill="hold">
                      <p:stCondLst>
                        <p:cond delay="indefinite"/>
                      </p:stCondLst>
                      <p:childTnLst>
                        <p:par>
                          <p:cTn id="1173" fill="hold">
                            <p:stCondLst>
                              <p:cond delay="0"/>
                            </p:stCondLst>
                            <p:childTnLst>
                              <p:par>
                                <p:cTn id="117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76" dur="3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7" fill="hold">
                      <p:stCondLst>
                        <p:cond delay="indefinite"/>
                      </p:stCondLst>
                      <p:childTnLst>
                        <p:par>
                          <p:cTn id="1178" fill="hold">
                            <p:stCondLst>
                              <p:cond delay="0"/>
                            </p:stCondLst>
                            <p:childTnLst>
                              <p:par>
                                <p:cTn id="117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1" dur="770" decel="1000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82" dur="770" decel="100000"/>
                                        <p:tgtEl>
                                          <p:spTgt spid="16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8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84" dur="77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8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86" dur="77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8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8" fill="hold">
                      <p:stCondLst>
                        <p:cond delay="indefinite"/>
                      </p:stCondLst>
                      <p:childTnLst>
                        <p:par>
                          <p:cTn id="1189" fill="hold">
                            <p:stCondLst>
                              <p:cond delay="0"/>
                            </p:stCondLst>
                            <p:childTnLst>
                              <p:par>
                                <p:cTn id="1190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119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3" fill="hold">
                      <p:stCondLst>
                        <p:cond delay="indefinite"/>
                      </p:stCondLst>
                      <p:childTnLst>
                        <p:par>
                          <p:cTn id="1194" fill="hold">
                            <p:stCondLst>
                              <p:cond delay="0"/>
                            </p:stCondLst>
                            <p:childTnLst>
                              <p:par>
                                <p:cTn id="119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8" fill="hold">
                      <p:stCondLst>
                        <p:cond delay="indefinite"/>
                      </p:stCondLst>
                      <p:childTnLst>
                        <p:par>
                          <p:cTn id="1199" fill="hold">
                            <p:stCondLst>
                              <p:cond delay="0"/>
                            </p:stCondLst>
                            <p:childTnLst>
                              <p:par>
                                <p:cTn id="120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2" dur="770" decel="1000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03" dur="770" decel="100000"/>
                                        <p:tgtEl>
                                          <p:spTgt spid="14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0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05" dur="77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0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07" dur="77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0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9" fill="hold">
                      <p:stCondLst>
                        <p:cond delay="indefinite"/>
                      </p:stCondLst>
                      <p:childTnLst>
                        <p:par>
                          <p:cTn id="1210" fill="hold">
                            <p:stCondLst>
                              <p:cond delay="0"/>
                            </p:stCondLst>
                            <p:childTnLst>
                              <p:par>
                                <p:cTn id="121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3" dur="770" decel="1000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14" dur="770" decel="100000"/>
                                        <p:tgtEl>
                                          <p:spTgt spid="16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1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16" dur="77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1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18" dur="77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1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0" fill="hold">
                      <p:stCondLst>
                        <p:cond delay="indefinite"/>
                      </p:stCondLst>
                      <p:childTnLst>
                        <p:par>
                          <p:cTn id="1221" fill="hold">
                            <p:stCondLst>
                              <p:cond delay="0"/>
                            </p:stCondLst>
                            <p:childTnLst>
                              <p:par>
                                <p:cTn id="1222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24" dur="1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5" fill="hold">
                      <p:stCondLst>
                        <p:cond delay="indefinite"/>
                      </p:stCondLst>
                      <p:childTnLst>
                        <p:par>
                          <p:cTn id="1226" fill="hold">
                            <p:stCondLst>
                              <p:cond delay="0"/>
                            </p:stCondLst>
                            <p:childTnLst>
                              <p:par>
                                <p:cTn id="1227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29" dur="1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0" fill="hold">
                      <p:stCondLst>
                        <p:cond delay="indefinite"/>
                      </p:stCondLst>
                      <p:childTnLst>
                        <p:par>
                          <p:cTn id="1231" fill="hold">
                            <p:stCondLst>
                              <p:cond delay="0"/>
                            </p:stCondLst>
                            <p:childTnLst>
                              <p:par>
                                <p:cTn id="123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4" dur="770" decel="100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35" dur="770" decel="100000"/>
                                        <p:tgtEl>
                                          <p:spTgt spid="15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3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37" dur="77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3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39" dur="77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4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1" fill="hold">
                      <p:stCondLst>
                        <p:cond delay="indefinite"/>
                      </p:stCondLst>
                      <p:childTnLst>
                        <p:par>
                          <p:cTn id="1242" fill="hold">
                            <p:stCondLst>
                              <p:cond delay="0"/>
                            </p:stCondLst>
                            <p:childTnLst>
                              <p:par>
                                <p:cTn id="1243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45" dur="1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46" fill="hold">
                      <p:stCondLst>
                        <p:cond delay="indefinite"/>
                      </p:stCondLst>
                      <p:childTnLst>
                        <p:par>
                          <p:cTn id="1247" fill="hold">
                            <p:stCondLst>
                              <p:cond delay="0"/>
                            </p:stCondLst>
                            <p:childTnLst>
                              <p:par>
                                <p:cTn id="124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0" dur="770" decel="100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51" dur="770" decel="100000"/>
                                        <p:tgtEl>
                                          <p:spTgt spid="15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5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53" dur="77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5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55" dur="77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5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7" fill="hold">
                      <p:stCondLst>
                        <p:cond delay="indefinite"/>
                      </p:stCondLst>
                      <p:childTnLst>
                        <p:par>
                          <p:cTn id="1258" fill="hold">
                            <p:stCondLst>
                              <p:cond delay="0"/>
                            </p:stCondLst>
                            <p:childTnLst>
                              <p:par>
                                <p:cTn id="125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1" dur="770" decel="1000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62" dur="770" decel="100000"/>
                                        <p:tgtEl>
                                          <p:spTgt spid="17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63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64" dur="77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6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66" dur="77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6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8" fill="hold">
                      <p:stCondLst>
                        <p:cond delay="indefinite"/>
                      </p:stCondLst>
                      <p:childTnLst>
                        <p:par>
                          <p:cTn id="1269" fill="hold">
                            <p:stCondLst>
                              <p:cond delay="0"/>
                            </p:stCondLst>
                            <p:childTnLst>
                              <p:par>
                                <p:cTn id="127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2" dur="770" decel="100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73" dur="770" decel="100000"/>
                                        <p:tgtEl>
                                          <p:spTgt spid="17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7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75" dur="77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7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77" dur="77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7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9" fill="hold">
                      <p:stCondLst>
                        <p:cond delay="indefinite"/>
                      </p:stCondLst>
                      <p:childTnLst>
                        <p:par>
                          <p:cTn id="1280" fill="hold">
                            <p:stCondLst>
                              <p:cond delay="0"/>
                            </p:stCondLst>
                            <p:childTnLst>
                              <p:par>
                                <p:cTn id="128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3" dur="770" decel="1000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84" dur="770" decel="100000"/>
                                        <p:tgtEl>
                                          <p:spTgt spid="17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8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86" dur="77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8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88" dur="77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8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0" fill="hold">
                      <p:stCondLst>
                        <p:cond delay="indefinite"/>
                      </p:stCondLst>
                      <p:childTnLst>
                        <p:par>
                          <p:cTn id="1291" fill="hold">
                            <p:stCondLst>
                              <p:cond delay="0"/>
                            </p:stCondLst>
                            <p:childTnLst>
                              <p:par>
                                <p:cTn id="129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4" dur="30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5" fill="hold">
                      <p:stCondLst>
                        <p:cond delay="indefinite"/>
                      </p:stCondLst>
                      <p:childTnLst>
                        <p:par>
                          <p:cTn id="1296" fill="hold">
                            <p:stCondLst>
                              <p:cond delay="0"/>
                            </p:stCondLst>
                            <p:childTnLst>
                              <p:par>
                                <p:cTn id="1297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99" dur="1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0" fill="hold">
                      <p:stCondLst>
                        <p:cond delay="indefinite"/>
                      </p:stCondLst>
                      <p:childTnLst>
                        <p:par>
                          <p:cTn id="1301" fill="hold">
                            <p:stCondLst>
                              <p:cond delay="0"/>
                            </p:stCondLst>
                            <p:childTnLst>
                              <p:par>
                                <p:cTn id="130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4" dur="20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5" fill="hold">
                      <p:stCondLst>
                        <p:cond delay="indefinite"/>
                      </p:stCondLst>
                      <p:childTnLst>
                        <p:par>
                          <p:cTn id="1306" fill="hold">
                            <p:stCondLst>
                              <p:cond delay="0"/>
                            </p:stCondLst>
                            <p:childTnLst>
                              <p:par>
                                <p:cTn id="1307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09" dur="1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0" fill="hold">
                      <p:stCondLst>
                        <p:cond delay="indefinite"/>
                      </p:stCondLst>
                      <p:childTnLst>
                        <p:par>
                          <p:cTn id="1311" fill="hold">
                            <p:stCondLst>
                              <p:cond delay="0"/>
                            </p:stCondLst>
                            <p:childTnLst>
                              <p:par>
                                <p:cTn id="13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14" dur="20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5" fill="hold">
                      <p:stCondLst>
                        <p:cond delay="indefinite"/>
                      </p:stCondLst>
                      <p:childTnLst>
                        <p:par>
                          <p:cTn id="1316" fill="hold">
                            <p:stCondLst>
                              <p:cond delay="0"/>
                            </p:stCondLst>
                            <p:childTnLst>
                              <p:par>
                                <p:cTn id="1317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19" dur="1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0" fill="hold">
                      <p:stCondLst>
                        <p:cond delay="indefinite"/>
                      </p:stCondLst>
                      <p:childTnLst>
                        <p:par>
                          <p:cTn id="1321" fill="hold">
                            <p:stCondLst>
                              <p:cond delay="0"/>
                            </p:stCondLst>
                            <p:childTnLst>
                              <p:par>
                                <p:cTn id="132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4" dur="770" decel="1000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25" dur="770" decel="100000"/>
                                        <p:tgtEl>
                                          <p:spTgt spid="18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32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327" dur="77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32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329" dur="77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3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1" fill="hold">
                      <p:stCondLst>
                        <p:cond delay="indefinite"/>
                      </p:stCondLst>
                      <p:childTnLst>
                        <p:par>
                          <p:cTn id="1332" fill="hold">
                            <p:stCondLst>
                              <p:cond delay="0"/>
                            </p:stCondLst>
                            <p:childTnLst>
                              <p:par>
                                <p:cTn id="133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5" dur="770" decel="1000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36" dur="770" decel="100000"/>
                                        <p:tgtEl>
                                          <p:spTgt spid="18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33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338" dur="77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33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340" dur="77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41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2" fill="hold">
                      <p:stCondLst>
                        <p:cond delay="indefinite"/>
                      </p:stCondLst>
                      <p:childTnLst>
                        <p:par>
                          <p:cTn id="1343" fill="hold">
                            <p:stCondLst>
                              <p:cond delay="0"/>
                            </p:stCondLst>
                            <p:childTnLst>
                              <p:par>
                                <p:cTn id="134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6" dur="770" decel="1000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7" dur="770" decel="100000"/>
                                        <p:tgtEl>
                                          <p:spTgt spid="18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34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349" dur="77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35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351" dur="770" fill="hold"/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5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3" fill="hold">
                      <p:stCondLst>
                        <p:cond delay="indefinite"/>
                      </p:stCondLst>
                      <p:childTnLst>
                        <p:par>
                          <p:cTn id="1354" fill="hold">
                            <p:stCondLst>
                              <p:cond delay="0"/>
                            </p:stCondLst>
                            <p:childTnLst>
                              <p:par>
                                <p:cTn id="1355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357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358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359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360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1" fill="hold">
                      <p:stCondLst>
                        <p:cond delay="indefinite"/>
                      </p:stCondLst>
                      <p:childTnLst>
                        <p:par>
                          <p:cTn id="1362" fill="hold">
                            <p:stCondLst>
                              <p:cond delay="0"/>
                            </p:stCondLst>
                            <p:childTnLst>
                              <p:par>
                                <p:cTn id="1363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365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366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367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368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4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build="p"/>
      <p:bldP spid="104" grpId="0"/>
      <p:bldP spid="105" grpId="0" animBg="1"/>
      <p:bldP spid="106" grpId="0"/>
      <p:bldP spid="112" grpId="0"/>
      <p:bldP spid="113" grpId="0"/>
      <p:bldP spid="20" grpId="0"/>
      <p:bldP spid="22" grpId="0"/>
      <p:bldP spid="24" grpId="0"/>
      <p:bldP spid="26" grpId="0"/>
      <p:bldP spid="28" grpId="0"/>
      <p:bldP spid="31" grpId="0"/>
      <p:bldP spid="33" grpId="0"/>
      <p:bldP spid="35" grpId="0"/>
      <p:bldP spid="37" grpId="0"/>
      <p:bldP spid="39" grpId="0"/>
      <p:bldP spid="44" grpId="0"/>
      <p:bldP spid="45" grpId="0"/>
      <p:bldP spid="46" grpId="0" animBg="1"/>
      <p:bldP spid="48" grpId="0"/>
      <p:bldP spid="51" grpId="0"/>
      <p:bldP spid="53" grpId="0"/>
      <p:bldP spid="55" grpId="0"/>
      <p:bldP spid="57" grpId="0"/>
      <p:bldP spid="60" grpId="0"/>
      <p:bldP spid="64" grpId="0"/>
      <p:bldP spid="67" grpId="0"/>
      <p:bldP spid="71" grpId="0"/>
      <p:bldP spid="99" grpId="0"/>
      <p:bldP spid="125" grpId="0"/>
      <p:bldP spid="127" grpId="0"/>
      <p:bldP spid="129" grpId="0"/>
      <p:bldP spid="132" grpId="0"/>
      <p:bldP spid="68" grpId="0"/>
      <p:bldP spid="139" grpId="0"/>
      <p:bldP spid="149" grpId="0"/>
      <p:bldP spid="159" grpId="0"/>
      <p:bldP spid="166" grpId="0"/>
      <p:bldP spid="167" grpId="0"/>
      <p:bldP spid="168" grpId="0"/>
      <p:bldP spid="143" grpId="0"/>
      <p:bldP spid="150" grpId="0"/>
      <p:bldP spid="153" grpId="0"/>
      <p:bldP spid="155" grpId="0"/>
      <p:bldP spid="156" grpId="0"/>
      <p:bldP spid="158" grpId="0"/>
      <p:bldP spid="161" grpId="0"/>
      <p:bldP spid="164" grpId="0"/>
      <p:bldP spid="169" grpId="0"/>
      <p:bldP spid="171" grpId="0"/>
      <p:bldP spid="151" grpId="0"/>
      <p:bldP spid="157" grpId="0" animBg="1"/>
      <p:bldP spid="172" grpId="0"/>
      <p:bldP spid="176" grpId="0"/>
      <p:bldP spid="177" grpId="0" animBg="1"/>
      <p:bldP spid="178" grpId="0" animBg="1"/>
      <p:bldP spid="8347" grpId="0"/>
      <p:bldP spid="8348" grpId="0"/>
      <p:bldP spid="180" grpId="0"/>
      <p:bldP spid="182" grpId="0"/>
      <p:bldP spid="183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22"/>
          <p:cNvSpPr/>
          <p:nvPr/>
        </p:nvSpPr>
        <p:spPr>
          <a:xfrm>
            <a:off x="1241659" y="643819"/>
            <a:ext cx="6288886" cy="4813711"/>
          </a:xfrm>
          <a:custGeom>
            <a:avLst/>
            <a:gdLst>
              <a:gd name="connsiteX0" fmla="*/ 163629 w 6288886"/>
              <a:gd name="connsiteY0" fmla="*/ 2330392 h 4813710"/>
              <a:gd name="connsiteX1" fmla="*/ 211756 w 6288886"/>
              <a:gd name="connsiteY1" fmla="*/ 2282266 h 4813710"/>
              <a:gd name="connsiteX2" fmla="*/ 259882 w 6288886"/>
              <a:gd name="connsiteY2" fmla="*/ 2224514 h 4813710"/>
              <a:gd name="connsiteX3" fmla="*/ 317634 w 6288886"/>
              <a:gd name="connsiteY3" fmla="*/ 2186013 h 4813710"/>
              <a:gd name="connsiteX4" fmla="*/ 346509 w 6288886"/>
              <a:gd name="connsiteY4" fmla="*/ 2166763 h 4813710"/>
              <a:gd name="connsiteX5" fmla="*/ 375385 w 6288886"/>
              <a:gd name="connsiteY5" fmla="*/ 2147512 h 4813710"/>
              <a:gd name="connsiteX6" fmla="*/ 404261 w 6288886"/>
              <a:gd name="connsiteY6" fmla="*/ 2128262 h 4813710"/>
              <a:gd name="connsiteX7" fmla="*/ 471638 w 6288886"/>
              <a:gd name="connsiteY7" fmla="*/ 2080135 h 4813710"/>
              <a:gd name="connsiteX8" fmla="*/ 558265 w 6288886"/>
              <a:gd name="connsiteY8" fmla="*/ 2032009 h 4813710"/>
              <a:gd name="connsiteX9" fmla="*/ 596766 w 6288886"/>
              <a:gd name="connsiteY9" fmla="*/ 2022384 h 4813710"/>
              <a:gd name="connsiteX10" fmla="*/ 625642 w 6288886"/>
              <a:gd name="connsiteY10" fmla="*/ 1993508 h 4813710"/>
              <a:gd name="connsiteX11" fmla="*/ 731520 w 6288886"/>
              <a:gd name="connsiteY11" fmla="*/ 1974258 h 4813710"/>
              <a:gd name="connsiteX12" fmla="*/ 789272 w 6288886"/>
              <a:gd name="connsiteY12" fmla="*/ 1964632 h 4813710"/>
              <a:gd name="connsiteX13" fmla="*/ 847023 w 6288886"/>
              <a:gd name="connsiteY13" fmla="*/ 1916506 h 4813710"/>
              <a:gd name="connsiteX14" fmla="*/ 895149 w 6288886"/>
              <a:gd name="connsiteY14" fmla="*/ 1868380 h 4813710"/>
              <a:gd name="connsiteX15" fmla="*/ 924025 w 6288886"/>
              <a:gd name="connsiteY15" fmla="*/ 1858754 h 4813710"/>
              <a:gd name="connsiteX16" fmla="*/ 952901 w 6288886"/>
              <a:gd name="connsiteY16" fmla="*/ 1839504 h 4813710"/>
              <a:gd name="connsiteX17" fmla="*/ 1010653 w 6288886"/>
              <a:gd name="connsiteY17" fmla="*/ 1820253 h 4813710"/>
              <a:gd name="connsiteX18" fmla="*/ 1039528 w 6288886"/>
              <a:gd name="connsiteY18" fmla="*/ 1801003 h 4813710"/>
              <a:gd name="connsiteX19" fmla="*/ 1126156 w 6288886"/>
              <a:gd name="connsiteY19" fmla="*/ 1762502 h 4813710"/>
              <a:gd name="connsiteX20" fmla="*/ 1145406 w 6288886"/>
              <a:gd name="connsiteY20" fmla="*/ 1695125 h 4813710"/>
              <a:gd name="connsiteX21" fmla="*/ 1155032 w 6288886"/>
              <a:gd name="connsiteY21" fmla="*/ 1637373 h 4813710"/>
              <a:gd name="connsiteX22" fmla="*/ 1232034 w 6288886"/>
              <a:gd name="connsiteY22" fmla="*/ 1618123 h 4813710"/>
              <a:gd name="connsiteX23" fmla="*/ 1241659 w 6288886"/>
              <a:gd name="connsiteY23" fmla="*/ 1358241 h 4813710"/>
              <a:gd name="connsiteX24" fmla="*/ 1260909 w 6288886"/>
              <a:gd name="connsiteY24" fmla="*/ 1300489 h 4813710"/>
              <a:gd name="connsiteX25" fmla="*/ 1270535 w 6288886"/>
              <a:gd name="connsiteY25" fmla="*/ 1184986 h 4813710"/>
              <a:gd name="connsiteX26" fmla="*/ 1357162 w 6288886"/>
              <a:gd name="connsiteY26" fmla="*/ 1233112 h 4813710"/>
              <a:gd name="connsiteX27" fmla="*/ 1366787 w 6288886"/>
              <a:gd name="connsiteY27" fmla="*/ 1319740 h 4813710"/>
              <a:gd name="connsiteX28" fmla="*/ 1395663 w 6288886"/>
              <a:gd name="connsiteY28" fmla="*/ 1348615 h 4813710"/>
              <a:gd name="connsiteX29" fmla="*/ 1453415 w 6288886"/>
              <a:gd name="connsiteY29" fmla="*/ 1367866 h 4813710"/>
              <a:gd name="connsiteX30" fmla="*/ 1482290 w 6288886"/>
              <a:gd name="connsiteY30" fmla="*/ 1310114 h 4813710"/>
              <a:gd name="connsiteX31" fmla="*/ 1472665 w 6288886"/>
              <a:gd name="connsiteY31" fmla="*/ 1271613 h 4813710"/>
              <a:gd name="connsiteX32" fmla="*/ 1443789 w 6288886"/>
              <a:gd name="connsiteY32" fmla="*/ 1194611 h 4813710"/>
              <a:gd name="connsiteX33" fmla="*/ 1414914 w 6288886"/>
              <a:gd name="connsiteY33" fmla="*/ 1175361 h 4813710"/>
              <a:gd name="connsiteX34" fmla="*/ 1414914 w 6288886"/>
              <a:gd name="connsiteY34" fmla="*/ 1117609 h 4813710"/>
              <a:gd name="connsiteX35" fmla="*/ 1443789 w 6288886"/>
              <a:gd name="connsiteY35" fmla="*/ 1107984 h 4813710"/>
              <a:gd name="connsiteX36" fmla="*/ 1491916 w 6288886"/>
              <a:gd name="connsiteY36" fmla="*/ 1117609 h 4813710"/>
              <a:gd name="connsiteX37" fmla="*/ 1520792 w 6288886"/>
              <a:gd name="connsiteY37" fmla="*/ 1127234 h 4813710"/>
              <a:gd name="connsiteX38" fmla="*/ 1530417 w 6288886"/>
              <a:gd name="connsiteY38" fmla="*/ 1098359 h 4813710"/>
              <a:gd name="connsiteX39" fmla="*/ 1520792 w 6288886"/>
              <a:gd name="connsiteY39" fmla="*/ 1011731 h 4813710"/>
              <a:gd name="connsiteX40" fmla="*/ 1578543 w 6288886"/>
              <a:gd name="connsiteY40" fmla="*/ 992481 h 4813710"/>
              <a:gd name="connsiteX41" fmla="*/ 1607419 w 6288886"/>
              <a:gd name="connsiteY41" fmla="*/ 973230 h 4813710"/>
              <a:gd name="connsiteX42" fmla="*/ 1617044 w 6288886"/>
              <a:gd name="connsiteY42" fmla="*/ 944354 h 4813710"/>
              <a:gd name="connsiteX43" fmla="*/ 1636295 w 6288886"/>
              <a:gd name="connsiteY43" fmla="*/ 915479 h 4813710"/>
              <a:gd name="connsiteX44" fmla="*/ 1636295 w 6288886"/>
              <a:gd name="connsiteY44" fmla="*/ 828851 h 4813710"/>
              <a:gd name="connsiteX45" fmla="*/ 1626669 w 6288886"/>
              <a:gd name="connsiteY45" fmla="*/ 799975 h 4813710"/>
              <a:gd name="connsiteX46" fmla="*/ 1713297 w 6288886"/>
              <a:gd name="connsiteY46" fmla="*/ 809601 h 4813710"/>
              <a:gd name="connsiteX47" fmla="*/ 1742173 w 6288886"/>
              <a:gd name="connsiteY47" fmla="*/ 819226 h 4813710"/>
              <a:gd name="connsiteX48" fmla="*/ 1761423 w 6288886"/>
              <a:gd name="connsiteY48" fmla="*/ 771100 h 4813710"/>
              <a:gd name="connsiteX49" fmla="*/ 1771048 w 6288886"/>
              <a:gd name="connsiteY49" fmla="*/ 732599 h 4813710"/>
              <a:gd name="connsiteX50" fmla="*/ 1848050 w 6288886"/>
              <a:gd name="connsiteY50" fmla="*/ 722973 h 4813710"/>
              <a:gd name="connsiteX51" fmla="*/ 1867301 w 6288886"/>
              <a:gd name="connsiteY51" fmla="*/ 694098 h 4813710"/>
              <a:gd name="connsiteX52" fmla="*/ 1876926 w 6288886"/>
              <a:gd name="connsiteY52" fmla="*/ 665222 h 4813710"/>
              <a:gd name="connsiteX53" fmla="*/ 1905802 w 6288886"/>
              <a:gd name="connsiteY53" fmla="*/ 655597 h 4813710"/>
              <a:gd name="connsiteX54" fmla="*/ 1963554 w 6288886"/>
              <a:gd name="connsiteY54" fmla="*/ 665222 h 4813710"/>
              <a:gd name="connsiteX55" fmla="*/ 2002055 w 6288886"/>
              <a:gd name="connsiteY55" fmla="*/ 732599 h 4813710"/>
              <a:gd name="connsiteX56" fmla="*/ 2011680 w 6288886"/>
              <a:gd name="connsiteY56" fmla="*/ 761474 h 4813710"/>
              <a:gd name="connsiteX57" fmla="*/ 2079057 w 6288886"/>
              <a:gd name="connsiteY57" fmla="*/ 790350 h 4813710"/>
              <a:gd name="connsiteX58" fmla="*/ 2107933 w 6288886"/>
              <a:gd name="connsiteY58" fmla="*/ 809601 h 4813710"/>
              <a:gd name="connsiteX59" fmla="*/ 2136808 w 6288886"/>
              <a:gd name="connsiteY59" fmla="*/ 867352 h 4813710"/>
              <a:gd name="connsiteX60" fmla="*/ 2213810 w 6288886"/>
              <a:gd name="connsiteY60" fmla="*/ 828851 h 4813710"/>
              <a:gd name="connsiteX61" fmla="*/ 2184935 w 6288886"/>
              <a:gd name="connsiteY61" fmla="*/ 819226 h 4813710"/>
              <a:gd name="connsiteX62" fmla="*/ 2175309 w 6288886"/>
              <a:gd name="connsiteY62" fmla="*/ 790350 h 4813710"/>
              <a:gd name="connsiteX63" fmla="*/ 2204185 w 6288886"/>
              <a:gd name="connsiteY63" fmla="*/ 780725 h 4813710"/>
              <a:gd name="connsiteX64" fmla="*/ 2300438 w 6288886"/>
              <a:gd name="connsiteY64" fmla="*/ 790350 h 4813710"/>
              <a:gd name="connsiteX65" fmla="*/ 2387065 w 6288886"/>
              <a:gd name="connsiteY65" fmla="*/ 799975 h 4813710"/>
              <a:gd name="connsiteX66" fmla="*/ 2377440 w 6288886"/>
              <a:gd name="connsiteY66" fmla="*/ 771100 h 4813710"/>
              <a:gd name="connsiteX67" fmla="*/ 2348564 w 6288886"/>
              <a:gd name="connsiteY67" fmla="*/ 742224 h 4813710"/>
              <a:gd name="connsiteX68" fmla="*/ 2377440 w 6288886"/>
              <a:gd name="connsiteY68" fmla="*/ 607470 h 4813710"/>
              <a:gd name="connsiteX69" fmla="*/ 2387065 w 6288886"/>
              <a:gd name="connsiteY69" fmla="*/ 578594 h 4813710"/>
              <a:gd name="connsiteX70" fmla="*/ 2415941 w 6288886"/>
              <a:gd name="connsiteY70" fmla="*/ 559344 h 4813710"/>
              <a:gd name="connsiteX71" fmla="*/ 2444817 w 6288886"/>
              <a:gd name="connsiteY71" fmla="*/ 395714 h 4813710"/>
              <a:gd name="connsiteX72" fmla="*/ 2454442 w 6288886"/>
              <a:gd name="connsiteY72" fmla="*/ 366839 h 4813710"/>
              <a:gd name="connsiteX73" fmla="*/ 2483318 w 6288886"/>
              <a:gd name="connsiteY73" fmla="*/ 357213 h 4813710"/>
              <a:gd name="connsiteX74" fmla="*/ 2531444 w 6288886"/>
              <a:gd name="connsiteY74" fmla="*/ 347588 h 4813710"/>
              <a:gd name="connsiteX75" fmla="*/ 2550695 w 6288886"/>
              <a:gd name="connsiteY75" fmla="*/ 318712 h 4813710"/>
              <a:gd name="connsiteX76" fmla="*/ 2541069 w 6288886"/>
              <a:gd name="connsiteY76" fmla="*/ 289837 h 4813710"/>
              <a:gd name="connsiteX77" fmla="*/ 2598821 w 6288886"/>
              <a:gd name="connsiteY77" fmla="*/ 299462 h 4813710"/>
              <a:gd name="connsiteX78" fmla="*/ 2627697 w 6288886"/>
              <a:gd name="connsiteY78" fmla="*/ 309087 h 4813710"/>
              <a:gd name="connsiteX79" fmla="*/ 2666198 w 6288886"/>
              <a:gd name="connsiteY79" fmla="*/ 318712 h 4813710"/>
              <a:gd name="connsiteX80" fmla="*/ 2800952 w 6288886"/>
              <a:gd name="connsiteY80" fmla="*/ 309087 h 4813710"/>
              <a:gd name="connsiteX81" fmla="*/ 2820202 w 6288886"/>
              <a:gd name="connsiteY81" fmla="*/ 280211 h 4813710"/>
              <a:gd name="connsiteX82" fmla="*/ 2849078 w 6288886"/>
              <a:gd name="connsiteY82" fmla="*/ 183959 h 4813710"/>
              <a:gd name="connsiteX83" fmla="*/ 2762450 w 6288886"/>
              <a:gd name="connsiteY83" fmla="*/ 155083 h 4813710"/>
              <a:gd name="connsiteX84" fmla="*/ 2733575 w 6288886"/>
              <a:gd name="connsiteY84" fmla="*/ 145458 h 4813710"/>
              <a:gd name="connsiteX85" fmla="*/ 2723949 w 6288886"/>
              <a:gd name="connsiteY85" fmla="*/ 116582 h 4813710"/>
              <a:gd name="connsiteX86" fmla="*/ 2791326 w 6288886"/>
              <a:gd name="connsiteY86" fmla="*/ 106957 h 4813710"/>
              <a:gd name="connsiteX87" fmla="*/ 2858703 w 6288886"/>
              <a:gd name="connsiteY87" fmla="*/ 87706 h 4813710"/>
              <a:gd name="connsiteX88" fmla="*/ 2916455 w 6288886"/>
              <a:gd name="connsiteY88" fmla="*/ 126207 h 4813710"/>
              <a:gd name="connsiteX89" fmla="*/ 2935705 w 6288886"/>
              <a:gd name="connsiteY89" fmla="*/ 155083 h 4813710"/>
              <a:gd name="connsiteX90" fmla="*/ 2993457 w 6288886"/>
              <a:gd name="connsiteY90" fmla="*/ 193584 h 4813710"/>
              <a:gd name="connsiteX91" fmla="*/ 3051208 w 6288886"/>
              <a:gd name="connsiteY91" fmla="*/ 222460 h 4813710"/>
              <a:gd name="connsiteX92" fmla="*/ 3282215 w 6288886"/>
              <a:gd name="connsiteY92" fmla="*/ 232085 h 4813710"/>
              <a:gd name="connsiteX93" fmla="*/ 3407343 w 6288886"/>
              <a:gd name="connsiteY93" fmla="*/ 260961 h 4813710"/>
              <a:gd name="connsiteX94" fmla="*/ 3445844 w 6288886"/>
              <a:gd name="connsiteY94" fmla="*/ 222460 h 4813710"/>
              <a:gd name="connsiteX95" fmla="*/ 3474720 w 6288886"/>
              <a:gd name="connsiteY95" fmla="*/ 203209 h 4813710"/>
              <a:gd name="connsiteX96" fmla="*/ 3570973 w 6288886"/>
              <a:gd name="connsiteY96" fmla="*/ 232085 h 4813710"/>
              <a:gd name="connsiteX97" fmla="*/ 3590223 w 6288886"/>
              <a:gd name="connsiteY97" fmla="*/ 289837 h 4813710"/>
              <a:gd name="connsiteX98" fmla="*/ 3580598 w 6288886"/>
              <a:gd name="connsiteY98" fmla="*/ 357213 h 4813710"/>
              <a:gd name="connsiteX99" fmla="*/ 3532472 w 6288886"/>
              <a:gd name="connsiteY99" fmla="*/ 414965 h 4813710"/>
              <a:gd name="connsiteX100" fmla="*/ 3474720 w 6288886"/>
              <a:gd name="connsiteY100" fmla="*/ 453466 h 4813710"/>
              <a:gd name="connsiteX101" fmla="*/ 3455469 w 6288886"/>
              <a:gd name="connsiteY101" fmla="*/ 482342 h 4813710"/>
              <a:gd name="connsiteX102" fmla="*/ 3484345 w 6288886"/>
              <a:gd name="connsiteY102" fmla="*/ 491967 h 4813710"/>
              <a:gd name="connsiteX103" fmla="*/ 3570973 w 6288886"/>
              <a:gd name="connsiteY103" fmla="*/ 501592 h 4813710"/>
              <a:gd name="connsiteX104" fmla="*/ 3580598 w 6288886"/>
              <a:gd name="connsiteY104" fmla="*/ 530468 h 4813710"/>
              <a:gd name="connsiteX105" fmla="*/ 3619099 w 6288886"/>
              <a:gd name="connsiteY105" fmla="*/ 568969 h 4813710"/>
              <a:gd name="connsiteX106" fmla="*/ 3599848 w 6288886"/>
              <a:gd name="connsiteY106" fmla="*/ 597845 h 4813710"/>
              <a:gd name="connsiteX107" fmla="*/ 3503596 w 6288886"/>
              <a:gd name="connsiteY107" fmla="*/ 607470 h 4813710"/>
              <a:gd name="connsiteX108" fmla="*/ 3474720 w 6288886"/>
              <a:gd name="connsiteY108" fmla="*/ 617095 h 4813710"/>
              <a:gd name="connsiteX109" fmla="*/ 3445844 w 6288886"/>
              <a:gd name="connsiteY109" fmla="*/ 645971 h 4813710"/>
              <a:gd name="connsiteX110" fmla="*/ 3416968 w 6288886"/>
              <a:gd name="connsiteY110" fmla="*/ 665222 h 4813710"/>
              <a:gd name="connsiteX111" fmla="*/ 3407343 w 6288886"/>
              <a:gd name="connsiteY111" fmla="*/ 694098 h 4813710"/>
              <a:gd name="connsiteX112" fmla="*/ 3359217 w 6288886"/>
              <a:gd name="connsiteY112" fmla="*/ 751849 h 4813710"/>
              <a:gd name="connsiteX113" fmla="*/ 3368842 w 6288886"/>
              <a:gd name="connsiteY113" fmla="*/ 790350 h 4813710"/>
              <a:gd name="connsiteX114" fmla="*/ 3542097 w 6288886"/>
              <a:gd name="connsiteY114" fmla="*/ 751849 h 4813710"/>
              <a:gd name="connsiteX115" fmla="*/ 3570973 w 6288886"/>
              <a:gd name="connsiteY115" fmla="*/ 771100 h 4813710"/>
              <a:gd name="connsiteX116" fmla="*/ 3599848 w 6288886"/>
              <a:gd name="connsiteY116" fmla="*/ 799975 h 4813710"/>
              <a:gd name="connsiteX117" fmla="*/ 3696101 w 6288886"/>
              <a:gd name="connsiteY117" fmla="*/ 809601 h 4813710"/>
              <a:gd name="connsiteX118" fmla="*/ 3744227 w 6288886"/>
              <a:gd name="connsiteY118" fmla="*/ 876978 h 4813710"/>
              <a:gd name="connsiteX119" fmla="*/ 3782728 w 6288886"/>
              <a:gd name="connsiteY119" fmla="*/ 886603 h 4813710"/>
              <a:gd name="connsiteX120" fmla="*/ 3792354 w 6288886"/>
              <a:gd name="connsiteY120" fmla="*/ 953980 h 4813710"/>
              <a:gd name="connsiteX121" fmla="*/ 3859730 w 6288886"/>
              <a:gd name="connsiteY121" fmla="*/ 982855 h 4813710"/>
              <a:gd name="connsiteX122" fmla="*/ 3936733 w 6288886"/>
              <a:gd name="connsiteY122" fmla="*/ 973230 h 4813710"/>
              <a:gd name="connsiteX123" fmla="*/ 3917482 w 6288886"/>
              <a:gd name="connsiteY123" fmla="*/ 1050232 h 4813710"/>
              <a:gd name="connsiteX124" fmla="*/ 3955983 w 6288886"/>
              <a:gd name="connsiteY124" fmla="*/ 1079108 h 4813710"/>
              <a:gd name="connsiteX125" fmla="*/ 4032985 w 6288886"/>
              <a:gd name="connsiteY125" fmla="*/ 1088733 h 4813710"/>
              <a:gd name="connsiteX126" fmla="*/ 4042610 w 6288886"/>
              <a:gd name="connsiteY126" fmla="*/ 1127234 h 4813710"/>
              <a:gd name="connsiteX127" fmla="*/ 4081112 w 6288886"/>
              <a:gd name="connsiteY127" fmla="*/ 1175361 h 4813710"/>
              <a:gd name="connsiteX128" fmla="*/ 4090737 w 6288886"/>
              <a:gd name="connsiteY128" fmla="*/ 1204237 h 4813710"/>
              <a:gd name="connsiteX129" fmla="*/ 4148488 w 6288886"/>
              <a:gd name="connsiteY129" fmla="*/ 1194611 h 4813710"/>
              <a:gd name="connsiteX130" fmla="*/ 4215865 w 6288886"/>
              <a:gd name="connsiteY130" fmla="*/ 1146485 h 4813710"/>
              <a:gd name="connsiteX131" fmla="*/ 4254366 w 6288886"/>
              <a:gd name="connsiteY131" fmla="*/ 1098359 h 4813710"/>
              <a:gd name="connsiteX132" fmla="*/ 4263992 w 6288886"/>
              <a:gd name="connsiteY132" fmla="*/ 1059858 h 4813710"/>
              <a:gd name="connsiteX133" fmla="*/ 4273617 w 6288886"/>
              <a:gd name="connsiteY133" fmla="*/ 1030982 h 4813710"/>
              <a:gd name="connsiteX134" fmla="*/ 4340994 w 6288886"/>
              <a:gd name="connsiteY134" fmla="*/ 944354 h 4813710"/>
              <a:gd name="connsiteX135" fmla="*/ 4369869 w 6288886"/>
              <a:gd name="connsiteY135" fmla="*/ 857727 h 4813710"/>
              <a:gd name="connsiteX136" fmla="*/ 4379495 w 6288886"/>
              <a:gd name="connsiteY136" fmla="*/ 828851 h 4813710"/>
              <a:gd name="connsiteX137" fmla="*/ 4389120 w 6288886"/>
              <a:gd name="connsiteY137" fmla="*/ 607470 h 4813710"/>
              <a:gd name="connsiteX138" fmla="*/ 4408370 w 6288886"/>
              <a:gd name="connsiteY138" fmla="*/ 540093 h 4813710"/>
              <a:gd name="connsiteX139" fmla="*/ 4417996 w 6288886"/>
              <a:gd name="connsiteY139" fmla="*/ 357213 h 4813710"/>
              <a:gd name="connsiteX140" fmla="*/ 4437246 w 6288886"/>
              <a:gd name="connsiteY140" fmla="*/ 299462 h 4813710"/>
              <a:gd name="connsiteX141" fmla="*/ 4446872 w 6288886"/>
              <a:gd name="connsiteY141" fmla="*/ 270586 h 4813710"/>
              <a:gd name="connsiteX142" fmla="*/ 4456497 w 6288886"/>
              <a:gd name="connsiteY142" fmla="*/ 106957 h 4813710"/>
              <a:gd name="connsiteX143" fmla="*/ 4475747 w 6288886"/>
              <a:gd name="connsiteY143" fmla="*/ 78081 h 4813710"/>
              <a:gd name="connsiteX144" fmla="*/ 4485373 w 6288886"/>
              <a:gd name="connsiteY144" fmla="*/ 49205 h 4813710"/>
              <a:gd name="connsiteX145" fmla="*/ 4543124 w 6288886"/>
              <a:gd name="connsiteY145" fmla="*/ 1079 h 4813710"/>
              <a:gd name="connsiteX146" fmla="*/ 4620126 w 6288886"/>
              <a:gd name="connsiteY146" fmla="*/ 10704 h 4813710"/>
              <a:gd name="connsiteX147" fmla="*/ 4658627 w 6288886"/>
              <a:gd name="connsiteY147" fmla="*/ 78081 h 4813710"/>
              <a:gd name="connsiteX148" fmla="*/ 4677878 w 6288886"/>
              <a:gd name="connsiteY148" fmla="*/ 241710 h 4813710"/>
              <a:gd name="connsiteX149" fmla="*/ 4687503 w 6288886"/>
              <a:gd name="connsiteY149" fmla="*/ 280211 h 4813710"/>
              <a:gd name="connsiteX150" fmla="*/ 4716379 w 6288886"/>
              <a:gd name="connsiteY150" fmla="*/ 309087 h 4813710"/>
              <a:gd name="connsiteX151" fmla="*/ 4745255 w 6288886"/>
              <a:gd name="connsiteY151" fmla="*/ 366839 h 4813710"/>
              <a:gd name="connsiteX152" fmla="*/ 4754880 w 6288886"/>
              <a:gd name="connsiteY152" fmla="*/ 395714 h 4813710"/>
              <a:gd name="connsiteX153" fmla="*/ 4783756 w 6288886"/>
              <a:gd name="connsiteY153" fmla="*/ 453466 h 4813710"/>
              <a:gd name="connsiteX154" fmla="*/ 4774130 w 6288886"/>
              <a:gd name="connsiteY154" fmla="*/ 588220 h 4813710"/>
              <a:gd name="connsiteX155" fmla="*/ 4966636 w 6288886"/>
              <a:gd name="connsiteY155" fmla="*/ 597845 h 4813710"/>
              <a:gd name="connsiteX156" fmla="*/ 5034013 w 6288886"/>
              <a:gd name="connsiteY156" fmla="*/ 636346 h 4813710"/>
              <a:gd name="connsiteX157" fmla="*/ 5062888 w 6288886"/>
              <a:gd name="connsiteY157" fmla="*/ 694098 h 4813710"/>
              <a:gd name="connsiteX158" fmla="*/ 5053263 w 6288886"/>
              <a:gd name="connsiteY158" fmla="*/ 751849 h 4813710"/>
              <a:gd name="connsiteX159" fmla="*/ 5062888 w 6288886"/>
              <a:gd name="connsiteY159" fmla="*/ 838477 h 4813710"/>
              <a:gd name="connsiteX160" fmla="*/ 5101389 w 6288886"/>
              <a:gd name="connsiteY160" fmla="*/ 876978 h 4813710"/>
              <a:gd name="connsiteX161" fmla="*/ 5120640 w 6288886"/>
              <a:gd name="connsiteY161" fmla="*/ 934729 h 4813710"/>
              <a:gd name="connsiteX162" fmla="*/ 5149516 w 6288886"/>
              <a:gd name="connsiteY162" fmla="*/ 1021357 h 4813710"/>
              <a:gd name="connsiteX163" fmla="*/ 5159141 w 6288886"/>
              <a:gd name="connsiteY163" fmla="*/ 1050232 h 4813710"/>
              <a:gd name="connsiteX164" fmla="*/ 5168766 w 6288886"/>
              <a:gd name="connsiteY164" fmla="*/ 1079108 h 4813710"/>
              <a:gd name="connsiteX165" fmla="*/ 5197642 w 6288886"/>
              <a:gd name="connsiteY165" fmla="*/ 1098359 h 4813710"/>
              <a:gd name="connsiteX166" fmla="*/ 5197642 w 6288886"/>
              <a:gd name="connsiteY166" fmla="*/ 1194611 h 4813710"/>
              <a:gd name="connsiteX167" fmla="*/ 5178392 w 6288886"/>
              <a:gd name="connsiteY167" fmla="*/ 1252363 h 4813710"/>
              <a:gd name="connsiteX168" fmla="*/ 5188017 w 6288886"/>
              <a:gd name="connsiteY168" fmla="*/ 1377491 h 4813710"/>
              <a:gd name="connsiteX169" fmla="*/ 5216893 w 6288886"/>
              <a:gd name="connsiteY169" fmla="*/ 1396742 h 4813710"/>
              <a:gd name="connsiteX170" fmla="*/ 5293895 w 6288886"/>
              <a:gd name="connsiteY170" fmla="*/ 1425618 h 4813710"/>
              <a:gd name="connsiteX171" fmla="*/ 5322770 w 6288886"/>
              <a:gd name="connsiteY171" fmla="*/ 1444868 h 4813710"/>
              <a:gd name="connsiteX172" fmla="*/ 5351646 w 6288886"/>
              <a:gd name="connsiteY172" fmla="*/ 1454493 h 4813710"/>
              <a:gd name="connsiteX173" fmla="*/ 5380522 w 6288886"/>
              <a:gd name="connsiteY173" fmla="*/ 1483369 h 4813710"/>
              <a:gd name="connsiteX174" fmla="*/ 5409398 w 6288886"/>
              <a:gd name="connsiteY174" fmla="*/ 1502620 h 4813710"/>
              <a:gd name="connsiteX175" fmla="*/ 5438274 w 6288886"/>
              <a:gd name="connsiteY175" fmla="*/ 1531495 h 4813710"/>
              <a:gd name="connsiteX176" fmla="*/ 5496025 w 6288886"/>
              <a:gd name="connsiteY176" fmla="*/ 1541121 h 4813710"/>
              <a:gd name="connsiteX177" fmla="*/ 5524901 w 6288886"/>
              <a:gd name="connsiteY177" fmla="*/ 1560371 h 4813710"/>
              <a:gd name="connsiteX178" fmla="*/ 5553777 w 6288886"/>
              <a:gd name="connsiteY178" fmla="*/ 1618123 h 4813710"/>
              <a:gd name="connsiteX179" fmla="*/ 5592278 w 6288886"/>
              <a:gd name="connsiteY179" fmla="*/ 1627748 h 4813710"/>
              <a:gd name="connsiteX180" fmla="*/ 5621154 w 6288886"/>
              <a:gd name="connsiteY180" fmla="*/ 1637373 h 4813710"/>
              <a:gd name="connsiteX181" fmla="*/ 5621154 w 6288886"/>
              <a:gd name="connsiteY181" fmla="*/ 1752877 h 4813710"/>
              <a:gd name="connsiteX182" fmla="*/ 5601903 w 6288886"/>
              <a:gd name="connsiteY182" fmla="*/ 1781752 h 4813710"/>
              <a:gd name="connsiteX183" fmla="*/ 5621154 w 6288886"/>
              <a:gd name="connsiteY183" fmla="*/ 1810628 h 4813710"/>
              <a:gd name="connsiteX184" fmla="*/ 5669280 w 6288886"/>
              <a:gd name="connsiteY184" fmla="*/ 1820253 h 4813710"/>
              <a:gd name="connsiteX185" fmla="*/ 5698156 w 6288886"/>
              <a:gd name="connsiteY185" fmla="*/ 1829879 h 4813710"/>
              <a:gd name="connsiteX186" fmla="*/ 5717406 w 6288886"/>
              <a:gd name="connsiteY186" fmla="*/ 1887630 h 4813710"/>
              <a:gd name="connsiteX187" fmla="*/ 5727032 w 6288886"/>
              <a:gd name="connsiteY187" fmla="*/ 1926131 h 4813710"/>
              <a:gd name="connsiteX188" fmla="*/ 5746282 w 6288886"/>
              <a:gd name="connsiteY188" fmla="*/ 1955007 h 4813710"/>
              <a:gd name="connsiteX189" fmla="*/ 5794408 w 6288886"/>
              <a:gd name="connsiteY189" fmla="*/ 1964632 h 4813710"/>
              <a:gd name="connsiteX190" fmla="*/ 5881036 w 6288886"/>
              <a:gd name="connsiteY190" fmla="*/ 2003133 h 4813710"/>
              <a:gd name="connsiteX191" fmla="*/ 5909912 w 6288886"/>
              <a:gd name="connsiteY191" fmla="*/ 2060885 h 4813710"/>
              <a:gd name="connsiteX192" fmla="*/ 5890661 w 6288886"/>
              <a:gd name="connsiteY192" fmla="*/ 2147512 h 4813710"/>
              <a:gd name="connsiteX193" fmla="*/ 5900286 w 6288886"/>
              <a:gd name="connsiteY193" fmla="*/ 2176388 h 4813710"/>
              <a:gd name="connsiteX194" fmla="*/ 5986914 w 6288886"/>
              <a:gd name="connsiteY194" fmla="*/ 2205264 h 4813710"/>
              <a:gd name="connsiteX195" fmla="*/ 6015789 w 6288886"/>
              <a:gd name="connsiteY195" fmla="*/ 2224514 h 4813710"/>
              <a:gd name="connsiteX196" fmla="*/ 6044665 w 6288886"/>
              <a:gd name="connsiteY196" fmla="*/ 2234140 h 4813710"/>
              <a:gd name="connsiteX197" fmla="*/ 6063916 w 6288886"/>
              <a:gd name="connsiteY197" fmla="*/ 2263015 h 4813710"/>
              <a:gd name="connsiteX198" fmla="*/ 6083166 w 6288886"/>
              <a:gd name="connsiteY198" fmla="*/ 2330392 h 4813710"/>
              <a:gd name="connsiteX199" fmla="*/ 6102417 w 6288886"/>
              <a:gd name="connsiteY199" fmla="*/ 2359268 h 4813710"/>
              <a:gd name="connsiteX200" fmla="*/ 6112042 w 6288886"/>
              <a:gd name="connsiteY200" fmla="*/ 2455521 h 4813710"/>
              <a:gd name="connsiteX201" fmla="*/ 6131293 w 6288886"/>
              <a:gd name="connsiteY201" fmla="*/ 2484397 h 4813710"/>
              <a:gd name="connsiteX202" fmla="*/ 6189044 w 6288886"/>
              <a:gd name="connsiteY202" fmla="*/ 2551773 h 4813710"/>
              <a:gd name="connsiteX203" fmla="*/ 6217920 w 6288886"/>
              <a:gd name="connsiteY203" fmla="*/ 2638401 h 4813710"/>
              <a:gd name="connsiteX204" fmla="*/ 6227545 w 6288886"/>
              <a:gd name="connsiteY204" fmla="*/ 2667277 h 4813710"/>
              <a:gd name="connsiteX205" fmla="*/ 6237170 w 6288886"/>
              <a:gd name="connsiteY205" fmla="*/ 2898283 h 4813710"/>
              <a:gd name="connsiteX206" fmla="*/ 6256421 w 6288886"/>
              <a:gd name="connsiteY206" fmla="*/ 2956034 h 4813710"/>
              <a:gd name="connsiteX207" fmla="*/ 6285297 w 6288886"/>
              <a:gd name="connsiteY207" fmla="*/ 3023411 h 4813710"/>
              <a:gd name="connsiteX208" fmla="*/ 6266046 w 6288886"/>
              <a:gd name="connsiteY208" fmla="*/ 3235167 h 4813710"/>
              <a:gd name="connsiteX209" fmla="*/ 6256421 w 6288886"/>
              <a:gd name="connsiteY209" fmla="*/ 3264043 h 4813710"/>
              <a:gd name="connsiteX210" fmla="*/ 6237170 w 6288886"/>
              <a:gd name="connsiteY210" fmla="*/ 3292919 h 4813710"/>
              <a:gd name="connsiteX211" fmla="*/ 6227545 w 6288886"/>
              <a:gd name="connsiteY211" fmla="*/ 3321794 h 4813710"/>
              <a:gd name="connsiteX212" fmla="*/ 6208295 w 6288886"/>
              <a:gd name="connsiteY212" fmla="*/ 3350670 h 4813710"/>
              <a:gd name="connsiteX213" fmla="*/ 6198669 w 6288886"/>
              <a:gd name="connsiteY213" fmla="*/ 3389171 h 4813710"/>
              <a:gd name="connsiteX214" fmla="*/ 6179419 w 6288886"/>
              <a:gd name="connsiteY214" fmla="*/ 3446923 h 4813710"/>
              <a:gd name="connsiteX215" fmla="*/ 6169794 w 6288886"/>
              <a:gd name="connsiteY215" fmla="*/ 3485424 h 4813710"/>
              <a:gd name="connsiteX216" fmla="*/ 6150543 w 6288886"/>
              <a:gd name="connsiteY216" fmla="*/ 3514300 h 4813710"/>
              <a:gd name="connsiteX217" fmla="*/ 6131293 w 6288886"/>
              <a:gd name="connsiteY217" fmla="*/ 3600927 h 4813710"/>
              <a:gd name="connsiteX218" fmla="*/ 6112042 w 6288886"/>
              <a:gd name="connsiteY218" fmla="*/ 3658679 h 4813710"/>
              <a:gd name="connsiteX219" fmla="*/ 6102417 w 6288886"/>
              <a:gd name="connsiteY219" fmla="*/ 3687554 h 4813710"/>
              <a:gd name="connsiteX220" fmla="*/ 6083166 w 6288886"/>
              <a:gd name="connsiteY220" fmla="*/ 3745306 h 4813710"/>
              <a:gd name="connsiteX221" fmla="*/ 6054290 w 6288886"/>
              <a:gd name="connsiteY221" fmla="*/ 3803058 h 4813710"/>
              <a:gd name="connsiteX222" fmla="*/ 5996539 w 6288886"/>
              <a:gd name="connsiteY222" fmla="*/ 3831933 h 4813710"/>
              <a:gd name="connsiteX223" fmla="*/ 5938787 w 6288886"/>
              <a:gd name="connsiteY223" fmla="*/ 3870434 h 4813710"/>
              <a:gd name="connsiteX224" fmla="*/ 5890661 w 6288886"/>
              <a:gd name="connsiteY224" fmla="*/ 3908935 h 4813710"/>
              <a:gd name="connsiteX225" fmla="*/ 5871410 w 6288886"/>
              <a:gd name="connsiteY225" fmla="*/ 3937811 h 4813710"/>
              <a:gd name="connsiteX226" fmla="*/ 5852160 w 6288886"/>
              <a:gd name="connsiteY226" fmla="*/ 3995563 h 4813710"/>
              <a:gd name="connsiteX227" fmla="*/ 5842535 w 6288886"/>
              <a:gd name="connsiteY227" fmla="*/ 4024439 h 4813710"/>
              <a:gd name="connsiteX228" fmla="*/ 5823284 w 6288886"/>
              <a:gd name="connsiteY228" fmla="*/ 4053314 h 4813710"/>
              <a:gd name="connsiteX229" fmla="*/ 5775158 w 6288886"/>
              <a:gd name="connsiteY229" fmla="*/ 4197693 h 4813710"/>
              <a:gd name="connsiteX230" fmla="*/ 5755907 w 6288886"/>
              <a:gd name="connsiteY230" fmla="*/ 4255445 h 4813710"/>
              <a:gd name="connsiteX231" fmla="*/ 5746282 w 6288886"/>
              <a:gd name="connsiteY231" fmla="*/ 4284321 h 4813710"/>
              <a:gd name="connsiteX232" fmla="*/ 5717406 w 6288886"/>
              <a:gd name="connsiteY232" fmla="*/ 4390199 h 4813710"/>
              <a:gd name="connsiteX233" fmla="*/ 5707781 w 6288886"/>
              <a:gd name="connsiteY233" fmla="*/ 4419074 h 4813710"/>
              <a:gd name="connsiteX234" fmla="*/ 5688530 w 6288886"/>
              <a:gd name="connsiteY234" fmla="*/ 4573079 h 4813710"/>
              <a:gd name="connsiteX235" fmla="*/ 5669280 w 6288886"/>
              <a:gd name="connsiteY235" fmla="*/ 4601954 h 4813710"/>
              <a:gd name="connsiteX236" fmla="*/ 5640404 w 6288886"/>
              <a:gd name="connsiteY236" fmla="*/ 4630830 h 4813710"/>
              <a:gd name="connsiteX237" fmla="*/ 5630779 w 6288886"/>
              <a:gd name="connsiteY237" fmla="*/ 4659706 h 4813710"/>
              <a:gd name="connsiteX238" fmla="*/ 5563402 w 6288886"/>
              <a:gd name="connsiteY238" fmla="*/ 4669331 h 4813710"/>
              <a:gd name="connsiteX239" fmla="*/ 5534526 w 6288886"/>
              <a:gd name="connsiteY239" fmla="*/ 4678957 h 4813710"/>
              <a:gd name="connsiteX240" fmla="*/ 5380522 w 6288886"/>
              <a:gd name="connsiteY240" fmla="*/ 4688582 h 4813710"/>
              <a:gd name="connsiteX241" fmla="*/ 5351646 w 6288886"/>
              <a:gd name="connsiteY241" fmla="*/ 4698207 h 4813710"/>
              <a:gd name="connsiteX242" fmla="*/ 5293895 w 6288886"/>
              <a:gd name="connsiteY242" fmla="*/ 4736708 h 4813710"/>
              <a:gd name="connsiteX243" fmla="*/ 5188017 w 6288886"/>
              <a:gd name="connsiteY243" fmla="*/ 4775209 h 4813710"/>
              <a:gd name="connsiteX244" fmla="*/ 5159141 w 6288886"/>
              <a:gd name="connsiteY244" fmla="*/ 4794460 h 4813710"/>
              <a:gd name="connsiteX245" fmla="*/ 5101389 w 6288886"/>
              <a:gd name="connsiteY245" fmla="*/ 4813710 h 4813710"/>
              <a:gd name="connsiteX246" fmla="*/ 5072514 w 6288886"/>
              <a:gd name="connsiteY246" fmla="*/ 4804085 h 4813710"/>
              <a:gd name="connsiteX247" fmla="*/ 5034013 w 6288886"/>
              <a:gd name="connsiteY247" fmla="*/ 4794460 h 4813710"/>
              <a:gd name="connsiteX248" fmla="*/ 5005137 w 6288886"/>
              <a:gd name="connsiteY248" fmla="*/ 4775209 h 4813710"/>
              <a:gd name="connsiteX249" fmla="*/ 4995512 w 6288886"/>
              <a:gd name="connsiteY249" fmla="*/ 4746333 h 4813710"/>
              <a:gd name="connsiteX250" fmla="*/ 4803006 w 6288886"/>
              <a:gd name="connsiteY250" fmla="*/ 4736708 h 4813710"/>
              <a:gd name="connsiteX251" fmla="*/ 4745255 w 6288886"/>
              <a:gd name="connsiteY251" fmla="*/ 4755959 h 4813710"/>
              <a:gd name="connsiteX252" fmla="*/ 4716379 w 6288886"/>
              <a:gd name="connsiteY252" fmla="*/ 4765584 h 4813710"/>
              <a:gd name="connsiteX253" fmla="*/ 4677878 w 6288886"/>
              <a:gd name="connsiteY253" fmla="*/ 4775209 h 4813710"/>
              <a:gd name="connsiteX254" fmla="*/ 4485373 w 6288886"/>
              <a:gd name="connsiteY254" fmla="*/ 4765584 h 4813710"/>
              <a:gd name="connsiteX255" fmla="*/ 4417996 w 6288886"/>
              <a:gd name="connsiteY255" fmla="*/ 4746333 h 4813710"/>
              <a:gd name="connsiteX256" fmla="*/ 4369869 w 6288886"/>
              <a:gd name="connsiteY256" fmla="*/ 4736708 h 4813710"/>
              <a:gd name="connsiteX257" fmla="*/ 4340994 w 6288886"/>
              <a:gd name="connsiteY257" fmla="*/ 4707832 h 4813710"/>
              <a:gd name="connsiteX258" fmla="*/ 4321743 w 6288886"/>
              <a:gd name="connsiteY258" fmla="*/ 4678957 h 4813710"/>
              <a:gd name="connsiteX259" fmla="*/ 4292867 w 6288886"/>
              <a:gd name="connsiteY259" fmla="*/ 4659706 h 4813710"/>
              <a:gd name="connsiteX260" fmla="*/ 4263992 w 6288886"/>
              <a:gd name="connsiteY260" fmla="*/ 4573079 h 4813710"/>
              <a:gd name="connsiteX261" fmla="*/ 4254366 w 6288886"/>
              <a:gd name="connsiteY261" fmla="*/ 4544203 h 4813710"/>
              <a:gd name="connsiteX262" fmla="*/ 4235116 w 6288886"/>
              <a:gd name="connsiteY262" fmla="*/ 4476826 h 4813710"/>
              <a:gd name="connsiteX263" fmla="*/ 4206240 w 6288886"/>
              <a:gd name="connsiteY263" fmla="*/ 4438325 h 4813710"/>
              <a:gd name="connsiteX264" fmla="*/ 4177364 w 6288886"/>
              <a:gd name="connsiteY264" fmla="*/ 4361323 h 4813710"/>
              <a:gd name="connsiteX265" fmla="*/ 4158114 w 6288886"/>
              <a:gd name="connsiteY265" fmla="*/ 4332447 h 4813710"/>
              <a:gd name="connsiteX266" fmla="*/ 4129238 w 6288886"/>
              <a:gd name="connsiteY266" fmla="*/ 4313197 h 4813710"/>
              <a:gd name="connsiteX267" fmla="*/ 4061861 w 6288886"/>
              <a:gd name="connsiteY267" fmla="*/ 4284321 h 4813710"/>
              <a:gd name="connsiteX268" fmla="*/ 4052236 w 6288886"/>
              <a:gd name="connsiteY268" fmla="*/ 4245820 h 4813710"/>
              <a:gd name="connsiteX269" fmla="*/ 4042610 w 6288886"/>
              <a:gd name="connsiteY269" fmla="*/ 4216944 h 4813710"/>
              <a:gd name="connsiteX270" fmla="*/ 4004109 w 6288886"/>
              <a:gd name="connsiteY270" fmla="*/ 4111066 h 4813710"/>
              <a:gd name="connsiteX271" fmla="*/ 3946358 w 6288886"/>
              <a:gd name="connsiteY271" fmla="*/ 4130317 h 4813710"/>
              <a:gd name="connsiteX272" fmla="*/ 3888606 w 6288886"/>
              <a:gd name="connsiteY272" fmla="*/ 4168818 h 4813710"/>
              <a:gd name="connsiteX273" fmla="*/ 3821229 w 6288886"/>
              <a:gd name="connsiteY273" fmla="*/ 4216944 h 4813710"/>
              <a:gd name="connsiteX274" fmla="*/ 3792354 w 6288886"/>
              <a:gd name="connsiteY274" fmla="*/ 4226569 h 4813710"/>
              <a:gd name="connsiteX275" fmla="*/ 3763478 w 6288886"/>
              <a:gd name="connsiteY275" fmla="*/ 4216944 h 4813710"/>
              <a:gd name="connsiteX276" fmla="*/ 3850105 w 6288886"/>
              <a:gd name="connsiteY276" fmla="*/ 4168818 h 4813710"/>
              <a:gd name="connsiteX277" fmla="*/ 3898232 w 6288886"/>
              <a:gd name="connsiteY277" fmla="*/ 4111066 h 4813710"/>
              <a:gd name="connsiteX278" fmla="*/ 3907857 w 6288886"/>
              <a:gd name="connsiteY278" fmla="*/ 3976312 h 4813710"/>
              <a:gd name="connsiteX279" fmla="*/ 3927107 w 6288886"/>
              <a:gd name="connsiteY279" fmla="*/ 3918561 h 4813710"/>
              <a:gd name="connsiteX280" fmla="*/ 3955983 w 6288886"/>
              <a:gd name="connsiteY280" fmla="*/ 3860809 h 4813710"/>
              <a:gd name="connsiteX281" fmla="*/ 3955983 w 6288886"/>
              <a:gd name="connsiteY281" fmla="*/ 3783807 h 4813710"/>
              <a:gd name="connsiteX282" fmla="*/ 3927107 w 6288886"/>
              <a:gd name="connsiteY282" fmla="*/ 3793432 h 4813710"/>
              <a:gd name="connsiteX283" fmla="*/ 3888606 w 6288886"/>
              <a:gd name="connsiteY283" fmla="*/ 3851184 h 4813710"/>
              <a:gd name="connsiteX284" fmla="*/ 3869356 w 6288886"/>
              <a:gd name="connsiteY284" fmla="*/ 3880060 h 4813710"/>
              <a:gd name="connsiteX285" fmla="*/ 3840480 w 6288886"/>
              <a:gd name="connsiteY285" fmla="*/ 3937811 h 4813710"/>
              <a:gd name="connsiteX286" fmla="*/ 3830855 w 6288886"/>
              <a:gd name="connsiteY286" fmla="*/ 3966687 h 4813710"/>
              <a:gd name="connsiteX287" fmla="*/ 3801979 w 6288886"/>
              <a:gd name="connsiteY287" fmla="*/ 3985938 h 4813710"/>
              <a:gd name="connsiteX288" fmla="*/ 3782728 w 6288886"/>
              <a:gd name="connsiteY288" fmla="*/ 4014813 h 4813710"/>
              <a:gd name="connsiteX289" fmla="*/ 3744227 w 6288886"/>
              <a:gd name="connsiteY289" fmla="*/ 4034064 h 4813710"/>
              <a:gd name="connsiteX290" fmla="*/ 3715352 w 6288886"/>
              <a:gd name="connsiteY290" fmla="*/ 4053314 h 4813710"/>
              <a:gd name="connsiteX291" fmla="*/ 3686476 w 6288886"/>
              <a:gd name="connsiteY291" fmla="*/ 4082190 h 4813710"/>
              <a:gd name="connsiteX292" fmla="*/ 3628724 w 6288886"/>
              <a:gd name="connsiteY292" fmla="*/ 4120691 h 4813710"/>
              <a:gd name="connsiteX293" fmla="*/ 3570973 w 6288886"/>
              <a:gd name="connsiteY293" fmla="*/ 4159192 h 4813710"/>
              <a:gd name="connsiteX294" fmla="*/ 3522846 w 6288886"/>
              <a:gd name="connsiteY294" fmla="*/ 4043689 h 4813710"/>
              <a:gd name="connsiteX295" fmla="*/ 3493970 w 6288886"/>
              <a:gd name="connsiteY295" fmla="*/ 4034064 h 4813710"/>
              <a:gd name="connsiteX296" fmla="*/ 3474720 w 6288886"/>
              <a:gd name="connsiteY296" fmla="*/ 4005188 h 4813710"/>
              <a:gd name="connsiteX297" fmla="*/ 3445844 w 6288886"/>
              <a:gd name="connsiteY297" fmla="*/ 3976312 h 4813710"/>
              <a:gd name="connsiteX298" fmla="*/ 3436219 w 6288886"/>
              <a:gd name="connsiteY298" fmla="*/ 3947437 h 4813710"/>
              <a:gd name="connsiteX299" fmla="*/ 3397718 w 6288886"/>
              <a:gd name="connsiteY299" fmla="*/ 3889685 h 4813710"/>
              <a:gd name="connsiteX300" fmla="*/ 3388093 w 6288886"/>
              <a:gd name="connsiteY300" fmla="*/ 3851184 h 4813710"/>
              <a:gd name="connsiteX301" fmla="*/ 3378467 w 6288886"/>
              <a:gd name="connsiteY301" fmla="*/ 3822308 h 4813710"/>
              <a:gd name="connsiteX302" fmla="*/ 3368842 w 6288886"/>
              <a:gd name="connsiteY302" fmla="*/ 3764557 h 4813710"/>
              <a:gd name="connsiteX303" fmla="*/ 3359217 w 6288886"/>
              <a:gd name="connsiteY303" fmla="*/ 3735681 h 4813710"/>
              <a:gd name="connsiteX304" fmla="*/ 3205213 w 6288886"/>
              <a:gd name="connsiteY304" fmla="*/ 3706805 h 4813710"/>
              <a:gd name="connsiteX305" fmla="*/ 3176337 w 6288886"/>
              <a:gd name="connsiteY305" fmla="*/ 3697180 h 4813710"/>
              <a:gd name="connsiteX306" fmla="*/ 3147461 w 6288886"/>
              <a:gd name="connsiteY306" fmla="*/ 3677929 h 4813710"/>
              <a:gd name="connsiteX307" fmla="*/ 3080084 w 6288886"/>
              <a:gd name="connsiteY307" fmla="*/ 3668304 h 4813710"/>
              <a:gd name="connsiteX308" fmla="*/ 2627697 w 6288886"/>
              <a:gd name="connsiteY308" fmla="*/ 3677929 h 4813710"/>
              <a:gd name="connsiteX309" fmla="*/ 2560320 w 6288886"/>
              <a:gd name="connsiteY309" fmla="*/ 3697180 h 4813710"/>
              <a:gd name="connsiteX310" fmla="*/ 2483318 w 6288886"/>
              <a:gd name="connsiteY310" fmla="*/ 3716430 h 4813710"/>
              <a:gd name="connsiteX311" fmla="*/ 2464067 w 6288886"/>
              <a:gd name="connsiteY311" fmla="*/ 3745306 h 4813710"/>
              <a:gd name="connsiteX312" fmla="*/ 2454442 w 6288886"/>
              <a:gd name="connsiteY312" fmla="*/ 3774182 h 4813710"/>
              <a:gd name="connsiteX313" fmla="*/ 2425566 w 6288886"/>
              <a:gd name="connsiteY313" fmla="*/ 3783807 h 4813710"/>
              <a:gd name="connsiteX314" fmla="*/ 2271562 w 6288886"/>
              <a:gd name="connsiteY314" fmla="*/ 3803058 h 4813710"/>
              <a:gd name="connsiteX315" fmla="*/ 2213810 w 6288886"/>
              <a:gd name="connsiteY315" fmla="*/ 3831933 h 4813710"/>
              <a:gd name="connsiteX316" fmla="*/ 2184935 w 6288886"/>
              <a:gd name="connsiteY316" fmla="*/ 3841559 h 4813710"/>
              <a:gd name="connsiteX317" fmla="*/ 2127183 w 6288886"/>
              <a:gd name="connsiteY317" fmla="*/ 3880060 h 4813710"/>
              <a:gd name="connsiteX318" fmla="*/ 2088682 w 6288886"/>
              <a:gd name="connsiteY318" fmla="*/ 3889685 h 4813710"/>
              <a:gd name="connsiteX319" fmla="*/ 2050181 w 6288886"/>
              <a:gd name="connsiteY319" fmla="*/ 3908935 h 4813710"/>
              <a:gd name="connsiteX320" fmla="*/ 2021305 w 6288886"/>
              <a:gd name="connsiteY320" fmla="*/ 3918561 h 4813710"/>
              <a:gd name="connsiteX321" fmla="*/ 1992429 w 6288886"/>
              <a:gd name="connsiteY321" fmla="*/ 3947437 h 4813710"/>
              <a:gd name="connsiteX322" fmla="*/ 1925053 w 6288886"/>
              <a:gd name="connsiteY322" fmla="*/ 4034064 h 4813710"/>
              <a:gd name="connsiteX323" fmla="*/ 1886552 w 6288886"/>
              <a:gd name="connsiteY323" fmla="*/ 4082190 h 4813710"/>
              <a:gd name="connsiteX324" fmla="*/ 1819175 w 6288886"/>
              <a:gd name="connsiteY324" fmla="*/ 4159192 h 4813710"/>
              <a:gd name="connsiteX325" fmla="*/ 1790299 w 6288886"/>
              <a:gd name="connsiteY325" fmla="*/ 4168818 h 4813710"/>
              <a:gd name="connsiteX326" fmla="*/ 1761423 w 6288886"/>
              <a:gd name="connsiteY326" fmla="*/ 4197693 h 4813710"/>
              <a:gd name="connsiteX327" fmla="*/ 1617044 w 6288886"/>
              <a:gd name="connsiteY327" fmla="*/ 4197693 h 4813710"/>
              <a:gd name="connsiteX328" fmla="*/ 1578543 w 6288886"/>
              <a:gd name="connsiteY328" fmla="*/ 4188068 h 4813710"/>
              <a:gd name="connsiteX329" fmla="*/ 1549667 w 6288886"/>
              <a:gd name="connsiteY329" fmla="*/ 4168818 h 4813710"/>
              <a:gd name="connsiteX330" fmla="*/ 1424539 w 6288886"/>
              <a:gd name="connsiteY330" fmla="*/ 4178443 h 4813710"/>
              <a:gd name="connsiteX331" fmla="*/ 1395663 w 6288886"/>
              <a:gd name="connsiteY331" fmla="*/ 4197693 h 4813710"/>
              <a:gd name="connsiteX332" fmla="*/ 1357162 w 6288886"/>
              <a:gd name="connsiteY332" fmla="*/ 4216944 h 4813710"/>
              <a:gd name="connsiteX333" fmla="*/ 1318661 w 6288886"/>
              <a:gd name="connsiteY333" fmla="*/ 4274695 h 4813710"/>
              <a:gd name="connsiteX334" fmla="*/ 1309036 w 6288886"/>
              <a:gd name="connsiteY334" fmla="*/ 4303571 h 4813710"/>
              <a:gd name="connsiteX335" fmla="*/ 1280160 w 6288886"/>
              <a:gd name="connsiteY335" fmla="*/ 4322822 h 4813710"/>
              <a:gd name="connsiteX336" fmla="*/ 1260909 w 6288886"/>
              <a:gd name="connsiteY336" fmla="*/ 4351698 h 4813710"/>
              <a:gd name="connsiteX337" fmla="*/ 1251284 w 6288886"/>
              <a:gd name="connsiteY337" fmla="*/ 4399824 h 4813710"/>
              <a:gd name="connsiteX338" fmla="*/ 1164657 w 6288886"/>
              <a:gd name="connsiteY338" fmla="*/ 4390199 h 4813710"/>
              <a:gd name="connsiteX339" fmla="*/ 1135781 w 6288886"/>
              <a:gd name="connsiteY339" fmla="*/ 4399824 h 4813710"/>
              <a:gd name="connsiteX340" fmla="*/ 1097280 w 6288886"/>
              <a:gd name="connsiteY340" fmla="*/ 4457575 h 4813710"/>
              <a:gd name="connsiteX341" fmla="*/ 1078029 w 6288886"/>
              <a:gd name="connsiteY341" fmla="*/ 4486451 h 4813710"/>
              <a:gd name="connsiteX342" fmla="*/ 1068404 w 6288886"/>
              <a:gd name="connsiteY342" fmla="*/ 4515327 h 4813710"/>
              <a:gd name="connsiteX343" fmla="*/ 1001027 w 6288886"/>
              <a:gd name="connsiteY343" fmla="*/ 4534578 h 4813710"/>
              <a:gd name="connsiteX344" fmla="*/ 798897 w 6288886"/>
              <a:gd name="connsiteY344" fmla="*/ 4524952 h 4813710"/>
              <a:gd name="connsiteX345" fmla="*/ 741145 w 6288886"/>
              <a:gd name="connsiteY345" fmla="*/ 4486451 h 4813710"/>
              <a:gd name="connsiteX346" fmla="*/ 616017 w 6288886"/>
              <a:gd name="connsiteY346" fmla="*/ 4467201 h 4813710"/>
              <a:gd name="connsiteX347" fmla="*/ 587141 w 6288886"/>
              <a:gd name="connsiteY347" fmla="*/ 4447950 h 4813710"/>
              <a:gd name="connsiteX348" fmla="*/ 577516 w 6288886"/>
              <a:gd name="connsiteY348" fmla="*/ 4409449 h 4813710"/>
              <a:gd name="connsiteX349" fmla="*/ 567890 w 6288886"/>
              <a:gd name="connsiteY349" fmla="*/ 4380573 h 4813710"/>
              <a:gd name="connsiteX350" fmla="*/ 606392 w 6288886"/>
              <a:gd name="connsiteY350" fmla="*/ 4342072 h 4813710"/>
              <a:gd name="connsiteX351" fmla="*/ 635267 w 6288886"/>
              <a:gd name="connsiteY351" fmla="*/ 4332447 h 4813710"/>
              <a:gd name="connsiteX352" fmla="*/ 664143 w 6288886"/>
              <a:gd name="connsiteY352" fmla="*/ 4313197 h 4813710"/>
              <a:gd name="connsiteX353" fmla="*/ 654518 w 6288886"/>
              <a:gd name="connsiteY353" fmla="*/ 4265070 h 4813710"/>
              <a:gd name="connsiteX354" fmla="*/ 644893 w 6288886"/>
              <a:gd name="connsiteY354" fmla="*/ 4236194 h 4813710"/>
              <a:gd name="connsiteX355" fmla="*/ 654518 w 6288886"/>
              <a:gd name="connsiteY355" fmla="*/ 4178443 h 4813710"/>
              <a:gd name="connsiteX356" fmla="*/ 673768 w 6288886"/>
              <a:gd name="connsiteY356" fmla="*/ 4149567 h 4813710"/>
              <a:gd name="connsiteX357" fmla="*/ 644893 w 6288886"/>
              <a:gd name="connsiteY357" fmla="*/ 4062940 h 4813710"/>
              <a:gd name="connsiteX358" fmla="*/ 596766 w 6288886"/>
              <a:gd name="connsiteY358" fmla="*/ 3995563 h 4813710"/>
              <a:gd name="connsiteX359" fmla="*/ 577516 w 6288886"/>
              <a:gd name="connsiteY359" fmla="*/ 3957062 h 4813710"/>
              <a:gd name="connsiteX360" fmla="*/ 558265 w 6288886"/>
              <a:gd name="connsiteY360" fmla="*/ 3899310 h 4813710"/>
              <a:gd name="connsiteX361" fmla="*/ 548640 w 6288886"/>
              <a:gd name="connsiteY361" fmla="*/ 3870434 h 4813710"/>
              <a:gd name="connsiteX362" fmla="*/ 519764 w 6288886"/>
              <a:gd name="connsiteY362" fmla="*/ 3851184 h 4813710"/>
              <a:gd name="connsiteX363" fmla="*/ 490888 w 6288886"/>
              <a:gd name="connsiteY363" fmla="*/ 3793432 h 4813710"/>
              <a:gd name="connsiteX364" fmla="*/ 471638 w 6288886"/>
              <a:gd name="connsiteY364" fmla="*/ 3735681 h 4813710"/>
              <a:gd name="connsiteX365" fmla="*/ 452387 w 6288886"/>
              <a:gd name="connsiteY365" fmla="*/ 3677929 h 4813710"/>
              <a:gd name="connsiteX366" fmla="*/ 442762 w 6288886"/>
              <a:gd name="connsiteY366" fmla="*/ 3649053 h 4813710"/>
              <a:gd name="connsiteX367" fmla="*/ 423512 w 6288886"/>
              <a:gd name="connsiteY367" fmla="*/ 3620178 h 4813710"/>
              <a:gd name="connsiteX368" fmla="*/ 404261 w 6288886"/>
              <a:gd name="connsiteY368" fmla="*/ 3552801 h 4813710"/>
              <a:gd name="connsiteX369" fmla="*/ 375385 w 6288886"/>
              <a:gd name="connsiteY369" fmla="*/ 3543175 h 4813710"/>
              <a:gd name="connsiteX370" fmla="*/ 346509 w 6288886"/>
              <a:gd name="connsiteY370" fmla="*/ 3514300 h 4813710"/>
              <a:gd name="connsiteX371" fmla="*/ 327259 w 6288886"/>
              <a:gd name="connsiteY371" fmla="*/ 3446923 h 4813710"/>
              <a:gd name="connsiteX372" fmla="*/ 308008 w 6288886"/>
              <a:gd name="connsiteY372" fmla="*/ 3418047 h 4813710"/>
              <a:gd name="connsiteX373" fmla="*/ 259882 w 6288886"/>
              <a:gd name="connsiteY373" fmla="*/ 3331420 h 4813710"/>
              <a:gd name="connsiteX374" fmla="*/ 240632 w 6288886"/>
              <a:gd name="connsiteY374" fmla="*/ 3302544 h 4813710"/>
              <a:gd name="connsiteX375" fmla="*/ 211756 w 6288886"/>
              <a:gd name="connsiteY375" fmla="*/ 3292919 h 4813710"/>
              <a:gd name="connsiteX376" fmla="*/ 115503 w 6288886"/>
              <a:gd name="connsiteY376" fmla="*/ 3206291 h 4813710"/>
              <a:gd name="connsiteX377" fmla="*/ 77002 w 6288886"/>
              <a:gd name="connsiteY377" fmla="*/ 3148540 h 4813710"/>
              <a:gd name="connsiteX378" fmla="*/ 57752 w 6288886"/>
              <a:gd name="connsiteY378" fmla="*/ 3119664 h 4813710"/>
              <a:gd name="connsiteX379" fmla="*/ 0 w 6288886"/>
              <a:gd name="connsiteY379" fmla="*/ 3100413 h 4813710"/>
              <a:gd name="connsiteX380" fmla="*/ 28876 w 6288886"/>
              <a:gd name="connsiteY380" fmla="*/ 3090788 h 4813710"/>
              <a:gd name="connsiteX381" fmla="*/ 86627 w 6288886"/>
              <a:gd name="connsiteY381" fmla="*/ 3100413 h 4813710"/>
              <a:gd name="connsiteX382" fmla="*/ 182880 w 6288886"/>
              <a:gd name="connsiteY382" fmla="*/ 3129289 h 4813710"/>
              <a:gd name="connsiteX383" fmla="*/ 211756 w 6288886"/>
              <a:gd name="connsiteY383" fmla="*/ 3138914 h 4813710"/>
              <a:gd name="connsiteX384" fmla="*/ 240632 w 6288886"/>
              <a:gd name="connsiteY384" fmla="*/ 3148540 h 4813710"/>
              <a:gd name="connsiteX385" fmla="*/ 211756 w 6288886"/>
              <a:gd name="connsiteY385" fmla="*/ 3129289 h 4813710"/>
              <a:gd name="connsiteX386" fmla="*/ 192505 w 6288886"/>
              <a:gd name="connsiteY386" fmla="*/ 3071538 h 4813710"/>
              <a:gd name="connsiteX387" fmla="*/ 182880 w 6288886"/>
              <a:gd name="connsiteY387" fmla="*/ 3042662 h 4813710"/>
              <a:gd name="connsiteX388" fmla="*/ 163629 w 6288886"/>
              <a:gd name="connsiteY388" fmla="*/ 3013786 h 4813710"/>
              <a:gd name="connsiteX389" fmla="*/ 115503 w 6288886"/>
              <a:gd name="connsiteY389" fmla="*/ 2946409 h 4813710"/>
              <a:gd name="connsiteX390" fmla="*/ 57752 w 6288886"/>
              <a:gd name="connsiteY390" fmla="*/ 2936784 h 4813710"/>
              <a:gd name="connsiteX391" fmla="*/ 67377 w 6288886"/>
              <a:gd name="connsiteY391" fmla="*/ 2898283 h 4813710"/>
              <a:gd name="connsiteX392" fmla="*/ 86627 w 6288886"/>
              <a:gd name="connsiteY392" fmla="*/ 2869407 h 4813710"/>
              <a:gd name="connsiteX393" fmla="*/ 96253 w 6288886"/>
              <a:gd name="connsiteY393" fmla="*/ 2840531 h 4813710"/>
              <a:gd name="connsiteX394" fmla="*/ 86627 w 6288886"/>
              <a:gd name="connsiteY394" fmla="*/ 2744279 h 4813710"/>
              <a:gd name="connsiteX395" fmla="*/ 77002 w 6288886"/>
              <a:gd name="connsiteY395" fmla="*/ 2715403 h 4813710"/>
              <a:gd name="connsiteX396" fmla="*/ 67377 w 6288886"/>
              <a:gd name="connsiteY396" fmla="*/ 2561399 h 4813710"/>
              <a:gd name="connsiteX397" fmla="*/ 48126 w 6288886"/>
              <a:gd name="connsiteY397" fmla="*/ 2503647 h 4813710"/>
              <a:gd name="connsiteX398" fmla="*/ 9625 w 6288886"/>
              <a:gd name="connsiteY398" fmla="*/ 2445895 h 4813710"/>
              <a:gd name="connsiteX399" fmla="*/ 48126 w 6288886"/>
              <a:gd name="connsiteY399" fmla="*/ 2378519 h 4813710"/>
              <a:gd name="connsiteX400" fmla="*/ 77002 w 6288886"/>
              <a:gd name="connsiteY400" fmla="*/ 2388144 h 4813710"/>
              <a:gd name="connsiteX401" fmla="*/ 86627 w 6288886"/>
              <a:gd name="connsiteY401" fmla="*/ 2426645 h 4813710"/>
              <a:gd name="connsiteX402" fmla="*/ 144379 w 6288886"/>
              <a:gd name="connsiteY402" fmla="*/ 2445895 h 4813710"/>
              <a:gd name="connsiteX403" fmla="*/ 154004 w 6288886"/>
              <a:gd name="connsiteY403" fmla="*/ 2417020 h 4813710"/>
              <a:gd name="connsiteX404" fmla="*/ 163629 w 6288886"/>
              <a:gd name="connsiteY404" fmla="*/ 2330392 h 4813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</a:cxnLst>
            <a:rect l="l" t="t" r="r" b="b"/>
            <a:pathLst>
              <a:path w="6288886" h="4813710">
                <a:moveTo>
                  <a:pt x="163629" y="2330392"/>
                </a:moveTo>
                <a:cubicBezTo>
                  <a:pt x="173254" y="2307933"/>
                  <a:pt x="163630" y="2266224"/>
                  <a:pt x="211756" y="2282266"/>
                </a:cubicBezTo>
                <a:cubicBezTo>
                  <a:pt x="228868" y="2256598"/>
                  <a:pt x="234227" y="2244468"/>
                  <a:pt x="259882" y="2224514"/>
                </a:cubicBezTo>
                <a:cubicBezTo>
                  <a:pt x="278145" y="2210310"/>
                  <a:pt x="298383" y="2198847"/>
                  <a:pt x="317634" y="2186013"/>
                </a:cubicBezTo>
                <a:lnTo>
                  <a:pt x="346509" y="2166763"/>
                </a:lnTo>
                <a:lnTo>
                  <a:pt x="375385" y="2147512"/>
                </a:lnTo>
                <a:lnTo>
                  <a:pt x="404261" y="2128262"/>
                </a:lnTo>
                <a:cubicBezTo>
                  <a:pt x="425115" y="2065697"/>
                  <a:pt x="394636" y="2131470"/>
                  <a:pt x="471638" y="2080135"/>
                </a:cubicBezTo>
                <a:cubicBezTo>
                  <a:pt x="523345" y="2045663"/>
                  <a:pt x="513793" y="2044715"/>
                  <a:pt x="558265" y="2032009"/>
                </a:cubicBezTo>
                <a:cubicBezTo>
                  <a:pt x="570985" y="2028375"/>
                  <a:pt x="583932" y="2025592"/>
                  <a:pt x="596766" y="2022384"/>
                </a:cubicBezTo>
                <a:cubicBezTo>
                  <a:pt x="606391" y="2012759"/>
                  <a:pt x="614316" y="2001059"/>
                  <a:pt x="625642" y="1993508"/>
                </a:cubicBezTo>
                <a:cubicBezTo>
                  <a:pt x="646229" y="1979783"/>
                  <a:pt x="728146" y="1974740"/>
                  <a:pt x="731520" y="1974258"/>
                </a:cubicBezTo>
                <a:cubicBezTo>
                  <a:pt x="750840" y="1971498"/>
                  <a:pt x="770021" y="1967841"/>
                  <a:pt x="789272" y="1964632"/>
                </a:cubicBezTo>
                <a:cubicBezTo>
                  <a:pt x="817665" y="1945704"/>
                  <a:pt x="823863" y="1944298"/>
                  <a:pt x="847023" y="1916506"/>
                </a:cubicBezTo>
                <a:cubicBezTo>
                  <a:pt x="874524" y="1883505"/>
                  <a:pt x="854815" y="1888547"/>
                  <a:pt x="895149" y="1868380"/>
                </a:cubicBezTo>
                <a:cubicBezTo>
                  <a:pt x="904224" y="1863842"/>
                  <a:pt x="914950" y="1863291"/>
                  <a:pt x="924025" y="1858754"/>
                </a:cubicBezTo>
                <a:cubicBezTo>
                  <a:pt x="934372" y="1853581"/>
                  <a:pt x="942330" y="1844202"/>
                  <a:pt x="952901" y="1839504"/>
                </a:cubicBezTo>
                <a:cubicBezTo>
                  <a:pt x="971444" y="1831263"/>
                  <a:pt x="993769" y="1831509"/>
                  <a:pt x="1010653" y="1820253"/>
                </a:cubicBezTo>
                <a:cubicBezTo>
                  <a:pt x="1020278" y="1813836"/>
                  <a:pt x="1028957" y="1805701"/>
                  <a:pt x="1039528" y="1801003"/>
                </a:cubicBezTo>
                <a:cubicBezTo>
                  <a:pt x="1142620" y="1755184"/>
                  <a:pt x="1060805" y="1806068"/>
                  <a:pt x="1126156" y="1762502"/>
                </a:cubicBezTo>
                <a:cubicBezTo>
                  <a:pt x="1135330" y="1734979"/>
                  <a:pt x="1139363" y="1725342"/>
                  <a:pt x="1145406" y="1695125"/>
                </a:cubicBezTo>
                <a:cubicBezTo>
                  <a:pt x="1149234" y="1675988"/>
                  <a:pt x="1140445" y="1650339"/>
                  <a:pt x="1155032" y="1637373"/>
                </a:cubicBezTo>
                <a:cubicBezTo>
                  <a:pt x="1174806" y="1619796"/>
                  <a:pt x="1232034" y="1618123"/>
                  <a:pt x="1232034" y="1618123"/>
                </a:cubicBezTo>
                <a:cubicBezTo>
                  <a:pt x="1235242" y="1531496"/>
                  <a:pt x="1233811" y="1444572"/>
                  <a:pt x="1241659" y="1358241"/>
                </a:cubicBezTo>
                <a:cubicBezTo>
                  <a:pt x="1243496" y="1338032"/>
                  <a:pt x="1260909" y="1300489"/>
                  <a:pt x="1260909" y="1300489"/>
                </a:cubicBezTo>
                <a:cubicBezTo>
                  <a:pt x="1264118" y="1261988"/>
                  <a:pt x="1246070" y="1214887"/>
                  <a:pt x="1270535" y="1184986"/>
                </a:cubicBezTo>
                <a:cubicBezTo>
                  <a:pt x="1337413" y="1103247"/>
                  <a:pt x="1353154" y="1217080"/>
                  <a:pt x="1357162" y="1233112"/>
                </a:cubicBezTo>
                <a:cubicBezTo>
                  <a:pt x="1360370" y="1261988"/>
                  <a:pt x="1357599" y="1292177"/>
                  <a:pt x="1366787" y="1319740"/>
                </a:cubicBezTo>
                <a:cubicBezTo>
                  <a:pt x="1371092" y="1332654"/>
                  <a:pt x="1383764" y="1342004"/>
                  <a:pt x="1395663" y="1348615"/>
                </a:cubicBezTo>
                <a:cubicBezTo>
                  <a:pt x="1413401" y="1358470"/>
                  <a:pt x="1453415" y="1367866"/>
                  <a:pt x="1453415" y="1367866"/>
                </a:cubicBezTo>
                <a:cubicBezTo>
                  <a:pt x="1463148" y="1353266"/>
                  <a:pt x="1482290" y="1330039"/>
                  <a:pt x="1482290" y="1310114"/>
                </a:cubicBezTo>
                <a:cubicBezTo>
                  <a:pt x="1482290" y="1296885"/>
                  <a:pt x="1475535" y="1284527"/>
                  <a:pt x="1472665" y="1271613"/>
                </a:cubicBezTo>
                <a:cubicBezTo>
                  <a:pt x="1464794" y="1236194"/>
                  <a:pt x="1469270" y="1220092"/>
                  <a:pt x="1443789" y="1194611"/>
                </a:cubicBezTo>
                <a:cubicBezTo>
                  <a:pt x="1435609" y="1186431"/>
                  <a:pt x="1424539" y="1181778"/>
                  <a:pt x="1414914" y="1175361"/>
                </a:cubicBezTo>
                <a:cubicBezTo>
                  <a:pt x="1408496" y="1156109"/>
                  <a:pt x="1395662" y="1136861"/>
                  <a:pt x="1414914" y="1117609"/>
                </a:cubicBezTo>
                <a:cubicBezTo>
                  <a:pt x="1422088" y="1110435"/>
                  <a:pt x="1434164" y="1111192"/>
                  <a:pt x="1443789" y="1107984"/>
                </a:cubicBezTo>
                <a:cubicBezTo>
                  <a:pt x="1459831" y="1111192"/>
                  <a:pt x="1476044" y="1113641"/>
                  <a:pt x="1491916" y="1117609"/>
                </a:cubicBezTo>
                <a:cubicBezTo>
                  <a:pt x="1501759" y="1120070"/>
                  <a:pt x="1511717" y="1131771"/>
                  <a:pt x="1520792" y="1127234"/>
                </a:cubicBezTo>
                <a:cubicBezTo>
                  <a:pt x="1529867" y="1122697"/>
                  <a:pt x="1527209" y="1107984"/>
                  <a:pt x="1530417" y="1098359"/>
                </a:cubicBezTo>
                <a:cubicBezTo>
                  <a:pt x="1527702" y="1090213"/>
                  <a:pt x="1494877" y="1030242"/>
                  <a:pt x="1520792" y="1011731"/>
                </a:cubicBezTo>
                <a:cubicBezTo>
                  <a:pt x="1537304" y="999937"/>
                  <a:pt x="1578543" y="992481"/>
                  <a:pt x="1578543" y="992481"/>
                </a:cubicBezTo>
                <a:cubicBezTo>
                  <a:pt x="1588168" y="986064"/>
                  <a:pt x="1600192" y="982263"/>
                  <a:pt x="1607419" y="973230"/>
                </a:cubicBezTo>
                <a:cubicBezTo>
                  <a:pt x="1613757" y="965307"/>
                  <a:pt x="1612507" y="953429"/>
                  <a:pt x="1617044" y="944354"/>
                </a:cubicBezTo>
                <a:cubicBezTo>
                  <a:pt x="1622217" y="934007"/>
                  <a:pt x="1629878" y="925104"/>
                  <a:pt x="1636295" y="915479"/>
                </a:cubicBezTo>
                <a:cubicBezTo>
                  <a:pt x="1664553" y="830701"/>
                  <a:pt x="1663750" y="883762"/>
                  <a:pt x="1636295" y="828851"/>
                </a:cubicBezTo>
                <a:cubicBezTo>
                  <a:pt x="1631758" y="819776"/>
                  <a:pt x="1629878" y="809600"/>
                  <a:pt x="1626669" y="799975"/>
                </a:cubicBezTo>
                <a:cubicBezTo>
                  <a:pt x="1674796" y="783933"/>
                  <a:pt x="1645919" y="787142"/>
                  <a:pt x="1713297" y="809601"/>
                </a:cubicBezTo>
                <a:lnTo>
                  <a:pt x="1742173" y="819226"/>
                </a:lnTo>
                <a:cubicBezTo>
                  <a:pt x="1748590" y="803184"/>
                  <a:pt x="1755959" y="787491"/>
                  <a:pt x="1761423" y="771100"/>
                </a:cubicBezTo>
                <a:cubicBezTo>
                  <a:pt x="1765606" y="758550"/>
                  <a:pt x="1759484" y="739023"/>
                  <a:pt x="1771048" y="732599"/>
                </a:cubicBezTo>
                <a:cubicBezTo>
                  <a:pt x="1793660" y="720037"/>
                  <a:pt x="1822383" y="726182"/>
                  <a:pt x="1848050" y="722973"/>
                </a:cubicBezTo>
                <a:cubicBezTo>
                  <a:pt x="1854467" y="713348"/>
                  <a:pt x="1862128" y="704445"/>
                  <a:pt x="1867301" y="694098"/>
                </a:cubicBezTo>
                <a:cubicBezTo>
                  <a:pt x="1871838" y="685023"/>
                  <a:pt x="1869752" y="672396"/>
                  <a:pt x="1876926" y="665222"/>
                </a:cubicBezTo>
                <a:cubicBezTo>
                  <a:pt x="1884100" y="658048"/>
                  <a:pt x="1896177" y="658805"/>
                  <a:pt x="1905802" y="655597"/>
                </a:cubicBezTo>
                <a:cubicBezTo>
                  <a:pt x="1925053" y="658805"/>
                  <a:pt x="1945720" y="657296"/>
                  <a:pt x="1963554" y="665222"/>
                </a:cubicBezTo>
                <a:cubicBezTo>
                  <a:pt x="1997008" y="680090"/>
                  <a:pt x="1993768" y="703597"/>
                  <a:pt x="2002055" y="732599"/>
                </a:cubicBezTo>
                <a:cubicBezTo>
                  <a:pt x="2004842" y="742354"/>
                  <a:pt x="2005342" y="753552"/>
                  <a:pt x="2011680" y="761474"/>
                </a:cubicBezTo>
                <a:cubicBezTo>
                  <a:pt x="2028299" y="782247"/>
                  <a:pt x="2055936" y="784570"/>
                  <a:pt x="2079057" y="790350"/>
                </a:cubicBezTo>
                <a:cubicBezTo>
                  <a:pt x="2088682" y="796767"/>
                  <a:pt x="2099753" y="801421"/>
                  <a:pt x="2107933" y="809601"/>
                </a:cubicBezTo>
                <a:cubicBezTo>
                  <a:pt x="2126591" y="828259"/>
                  <a:pt x="2128980" y="843868"/>
                  <a:pt x="2136808" y="867352"/>
                </a:cubicBezTo>
                <a:cubicBezTo>
                  <a:pt x="2138995" y="866988"/>
                  <a:pt x="2223434" y="867349"/>
                  <a:pt x="2213810" y="828851"/>
                </a:cubicBezTo>
                <a:cubicBezTo>
                  <a:pt x="2211349" y="819008"/>
                  <a:pt x="2194560" y="822434"/>
                  <a:pt x="2184935" y="819226"/>
                </a:cubicBezTo>
                <a:cubicBezTo>
                  <a:pt x="2181726" y="809601"/>
                  <a:pt x="2170772" y="799425"/>
                  <a:pt x="2175309" y="790350"/>
                </a:cubicBezTo>
                <a:cubicBezTo>
                  <a:pt x="2179846" y="781275"/>
                  <a:pt x="2194039" y="780725"/>
                  <a:pt x="2204185" y="780725"/>
                </a:cubicBezTo>
                <a:cubicBezTo>
                  <a:pt x="2236429" y="780725"/>
                  <a:pt x="2268354" y="787142"/>
                  <a:pt x="2300438" y="790350"/>
                </a:cubicBezTo>
                <a:cubicBezTo>
                  <a:pt x="2367814" y="812810"/>
                  <a:pt x="2338939" y="816018"/>
                  <a:pt x="2387065" y="799975"/>
                </a:cubicBezTo>
                <a:cubicBezTo>
                  <a:pt x="2383857" y="790350"/>
                  <a:pt x="2383068" y="779542"/>
                  <a:pt x="2377440" y="771100"/>
                </a:cubicBezTo>
                <a:cubicBezTo>
                  <a:pt x="2369889" y="759774"/>
                  <a:pt x="2350802" y="755651"/>
                  <a:pt x="2348564" y="742224"/>
                </a:cubicBezTo>
                <a:cubicBezTo>
                  <a:pt x="2339164" y="685825"/>
                  <a:pt x="2359848" y="654383"/>
                  <a:pt x="2377440" y="607470"/>
                </a:cubicBezTo>
                <a:cubicBezTo>
                  <a:pt x="2381002" y="597970"/>
                  <a:pt x="2380727" y="586517"/>
                  <a:pt x="2387065" y="578594"/>
                </a:cubicBezTo>
                <a:cubicBezTo>
                  <a:pt x="2394292" y="569561"/>
                  <a:pt x="2406316" y="565761"/>
                  <a:pt x="2415941" y="559344"/>
                </a:cubicBezTo>
                <a:cubicBezTo>
                  <a:pt x="2462281" y="489835"/>
                  <a:pt x="2426158" y="554322"/>
                  <a:pt x="2444817" y="395714"/>
                </a:cubicBezTo>
                <a:cubicBezTo>
                  <a:pt x="2446002" y="385638"/>
                  <a:pt x="2447268" y="374013"/>
                  <a:pt x="2454442" y="366839"/>
                </a:cubicBezTo>
                <a:cubicBezTo>
                  <a:pt x="2461616" y="359665"/>
                  <a:pt x="2473475" y="359674"/>
                  <a:pt x="2483318" y="357213"/>
                </a:cubicBezTo>
                <a:cubicBezTo>
                  <a:pt x="2499189" y="353245"/>
                  <a:pt x="2515402" y="350796"/>
                  <a:pt x="2531444" y="347588"/>
                </a:cubicBezTo>
                <a:cubicBezTo>
                  <a:pt x="2537861" y="337963"/>
                  <a:pt x="2548793" y="330123"/>
                  <a:pt x="2550695" y="318712"/>
                </a:cubicBezTo>
                <a:cubicBezTo>
                  <a:pt x="2552363" y="308704"/>
                  <a:pt x="2531649" y="293605"/>
                  <a:pt x="2541069" y="289837"/>
                </a:cubicBezTo>
                <a:cubicBezTo>
                  <a:pt x="2559189" y="282589"/>
                  <a:pt x="2579770" y="295228"/>
                  <a:pt x="2598821" y="299462"/>
                </a:cubicBezTo>
                <a:cubicBezTo>
                  <a:pt x="2608725" y="301663"/>
                  <a:pt x="2617941" y="306300"/>
                  <a:pt x="2627697" y="309087"/>
                </a:cubicBezTo>
                <a:cubicBezTo>
                  <a:pt x="2640417" y="312721"/>
                  <a:pt x="2653364" y="315504"/>
                  <a:pt x="2666198" y="318712"/>
                </a:cubicBezTo>
                <a:cubicBezTo>
                  <a:pt x="2711116" y="315504"/>
                  <a:pt x="2757264" y="320009"/>
                  <a:pt x="2800952" y="309087"/>
                </a:cubicBezTo>
                <a:cubicBezTo>
                  <a:pt x="2812175" y="306281"/>
                  <a:pt x="2815504" y="290782"/>
                  <a:pt x="2820202" y="280211"/>
                </a:cubicBezTo>
                <a:cubicBezTo>
                  <a:pt x="2833595" y="250077"/>
                  <a:pt x="2841078" y="215960"/>
                  <a:pt x="2849078" y="183959"/>
                </a:cubicBezTo>
                <a:lnTo>
                  <a:pt x="2762450" y="155083"/>
                </a:lnTo>
                <a:lnTo>
                  <a:pt x="2733575" y="145458"/>
                </a:lnTo>
                <a:cubicBezTo>
                  <a:pt x="2730366" y="135833"/>
                  <a:pt x="2715507" y="122210"/>
                  <a:pt x="2723949" y="116582"/>
                </a:cubicBezTo>
                <a:cubicBezTo>
                  <a:pt x="2742826" y="103997"/>
                  <a:pt x="2769005" y="111015"/>
                  <a:pt x="2791326" y="106957"/>
                </a:cubicBezTo>
                <a:cubicBezTo>
                  <a:pt x="2817908" y="102124"/>
                  <a:pt x="2833968" y="95951"/>
                  <a:pt x="2858703" y="87706"/>
                </a:cubicBezTo>
                <a:cubicBezTo>
                  <a:pt x="2894292" y="99568"/>
                  <a:pt x="2888724" y="92930"/>
                  <a:pt x="2916455" y="126207"/>
                </a:cubicBezTo>
                <a:cubicBezTo>
                  <a:pt x="2923861" y="135094"/>
                  <a:pt x="2926999" y="147465"/>
                  <a:pt x="2935705" y="155083"/>
                </a:cubicBezTo>
                <a:cubicBezTo>
                  <a:pt x="2953117" y="170318"/>
                  <a:pt x="2974206" y="180750"/>
                  <a:pt x="2993457" y="193584"/>
                </a:cubicBezTo>
                <a:cubicBezTo>
                  <a:pt x="3010893" y="205208"/>
                  <a:pt x="3028796" y="220800"/>
                  <a:pt x="3051208" y="222460"/>
                </a:cubicBezTo>
                <a:cubicBezTo>
                  <a:pt x="3128067" y="228153"/>
                  <a:pt x="3205213" y="228877"/>
                  <a:pt x="3282215" y="232085"/>
                </a:cubicBezTo>
                <a:cubicBezTo>
                  <a:pt x="3361489" y="258509"/>
                  <a:pt x="3319878" y="248465"/>
                  <a:pt x="3407343" y="260961"/>
                </a:cubicBezTo>
                <a:cubicBezTo>
                  <a:pt x="3470346" y="239959"/>
                  <a:pt x="3408509" y="269128"/>
                  <a:pt x="3445844" y="222460"/>
                </a:cubicBezTo>
                <a:cubicBezTo>
                  <a:pt x="3453071" y="213427"/>
                  <a:pt x="3465095" y="209626"/>
                  <a:pt x="3474720" y="203209"/>
                </a:cubicBezTo>
                <a:cubicBezTo>
                  <a:pt x="3493565" y="205901"/>
                  <a:pt x="3553807" y="204619"/>
                  <a:pt x="3570973" y="232085"/>
                </a:cubicBezTo>
                <a:cubicBezTo>
                  <a:pt x="3581728" y="249293"/>
                  <a:pt x="3590223" y="289837"/>
                  <a:pt x="3590223" y="289837"/>
                </a:cubicBezTo>
                <a:cubicBezTo>
                  <a:pt x="3587015" y="312296"/>
                  <a:pt x="3587117" y="335483"/>
                  <a:pt x="3580598" y="357213"/>
                </a:cubicBezTo>
                <a:cubicBezTo>
                  <a:pt x="3575763" y="373331"/>
                  <a:pt x="3543680" y="406248"/>
                  <a:pt x="3532472" y="414965"/>
                </a:cubicBezTo>
                <a:cubicBezTo>
                  <a:pt x="3514209" y="429169"/>
                  <a:pt x="3474720" y="453466"/>
                  <a:pt x="3474720" y="453466"/>
                </a:cubicBezTo>
                <a:cubicBezTo>
                  <a:pt x="3468303" y="463091"/>
                  <a:pt x="3452663" y="471119"/>
                  <a:pt x="3455469" y="482342"/>
                </a:cubicBezTo>
                <a:cubicBezTo>
                  <a:pt x="3457930" y="492185"/>
                  <a:pt x="3474337" y="490299"/>
                  <a:pt x="3484345" y="491967"/>
                </a:cubicBezTo>
                <a:cubicBezTo>
                  <a:pt x="3513003" y="496743"/>
                  <a:pt x="3542097" y="498384"/>
                  <a:pt x="3570973" y="501592"/>
                </a:cubicBezTo>
                <a:cubicBezTo>
                  <a:pt x="3574181" y="511217"/>
                  <a:pt x="3573424" y="523294"/>
                  <a:pt x="3580598" y="530468"/>
                </a:cubicBezTo>
                <a:cubicBezTo>
                  <a:pt x="3631933" y="581803"/>
                  <a:pt x="3593432" y="491966"/>
                  <a:pt x="3619099" y="568969"/>
                </a:cubicBezTo>
                <a:cubicBezTo>
                  <a:pt x="3612682" y="578594"/>
                  <a:pt x="3610823" y="594187"/>
                  <a:pt x="3599848" y="597845"/>
                </a:cubicBezTo>
                <a:cubicBezTo>
                  <a:pt x="3569259" y="608041"/>
                  <a:pt x="3535465" y="602567"/>
                  <a:pt x="3503596" y="607470"/>
                </a:cubicBezTo>
                <a:cubicBezTo>
                  <a:pt x="3493568" y="609013"/>
                  <a:pt x="3484345" y="613887"/>
                  <a:pt x="3474720" y="617095"/>
                </a:cubicBezTo>
                <a:cubicBezTo>
                  <a:pt x="3465095" y="626720"/>
                  <a:pt x="3456301" y="637257"/>
                  <a:pt x="3445844" y="645971"/>
                </a:cubicBezTo>
                <a:cubicBezTo>
                  <a:pt x="3436957" y="653377"/>
                  <a:pt x="3424195" y="656189"/>
                  <a:pt x="3416968" y="665222"/>
                </a:cubicBezTo>
                <a:cubicBezTo>
                  <a:pt x="3410630" y="673145"/>
                  <a:pt x="3411880" y="685023"/>
                  <a:pt x="3407343" y="694098"/>
                </a:cubicBezTo>
                <a:cubicBezTo>
                  <a:pt x="3393943" y="720898"/>
                  <a:pt x="3380503" y="730563"/>
                  <a:pt x="3359217" y="751849"/>
                </a:cubicBezTo>
                <a:cubicBezTo>
                  <a:pt x="3362425" y="764683"/>
                  <a:pt x="3355815" y="788051"/>
                  <a:pt x="3368842" y="790350"/>
                </a:cubicBezTo>
                <a:cubicBezTo>
                  <a:pt x="3510793" y="815400"/>
                  <a:pt x="3499622" y="815560"/>
                  <a:pt x="3542097" y="751849"/>
                </a:cubicBezTo>
                <a:cubicBezTo>
                  <a:pt x="3551722" y="758266"/>
                  <a:pt x="3562086" y="763694"/>
                  <a:pt x="3570973" y="771100"/>
                </a:cubicBezTo>
                <a:cubicBezTo>
                  <a:pt x="3581430" y="779814"/>
                  <a:pt x="3586838" y="795972"/>
                  <a:pt x="3599848" y="799975"/>
                </a:cubicBezTo>
                <a:cubicBezTo>
                  <a:pt x="3630666" y="809458"/>
                  <a:pt x="3664017" y="806392"/>
                  <a:pt x="3696101" y="809601"/>
                </a:cubicBezTo>
                <a:cubicBezTo>
                  <a:pt x="3709099" y="835596"/>
                  <a:pt x="3716914" y="861370"/>
                  <a:pt x="3744227" y="876978"/>
                </a:cubicBezTo>
                <a:cubicBezTo>
                  <a:pt x="3755713" y="883541"/>
                  <a:pt x="3769894" y="883395"/>
                  <a:pt x="3782728" y="886603"/>
                </a:cubicBezTo>
                <a:cubicBezTo>
                  <a:pt x="3785937" y="909062"/>
                  <a:pt x="3783140" y="933248"/>
                  <a:pt x="3792354" y="953980"/>
                </a:cubicBezTo>
                <a:cubicBezTo>
                  <a:pt x="3800663" y="972675"/>
                  <a:pt x="3846113" y="979451"/>
                  <a:pt x="3859730" y="982855"/>
                </a:cubicBezTo>
                <a:cubicBezTo>
                  <a:pt x="3885398" y="979647"/>
                  <a:pt x="3914274" y="960396"/>
                  <a:pt x="3936733" y="973230"/>
                </a:cubicBezTo>
                <a:cubicBezTo>
                  <a:pt x="3943237" y="976947"/>
                  <a:pt x="3921044" y="1039547"/>
                  <a:pt x="3917482" y="1050232"/>
                </a:cubicBezTo>
                <a:cubicBezTo>
                  <a:pt x="3930316" y="1059857"/>
                  <a:pt x="3940764" y="1074035"/>
                  <a:pt x="3955983" y="1079108"/>
                </a:cubicBezTo>
                <a:cubicBezTo>
                  <a:pt x="3980523" y="1087288"/>
                  <a:pt x="4010373" y="1076171"/>
                  <a:pt x="4032985" y="1088733"/>
                </a:cubicBezTo>
                <a:cubicBezTo>
                  <a:pt x="4044549" y="1095157"/>
                  <a:pt x="4038976" y="1114514"/>
                  <a:pt x="4042610" y="1127234"/>
                </a:cubicBezTo>
                <a:cubicBezTo>
                  <a:pt x="4053549" y="1165521"/>
                  <a:pt x="4046468" y="1152264"/>
                  <a:pt x="4081112" y="1175361"/>
                </a:cubicBezTo>
                <a:cubicBezTo>
                  <a:pt x="4084320" y="1184986"/>
                  <a:pt x="4080981" y="1201450"/>
                  <a:pt x="4090737" y="1204237"/>
                </a:cubicBezTo>
                <a:cubicBezTo>
                  <a:pt x="4109502" y="1209598"/>
                  <a:pt x="4129974" y="1200783"/>
                  <a:pt x="4148488" y="1194611"/>
                </a:cubicBezTo>
                <a:cubicBezTo>
                  <a:pt x="4156936" y="1191795"/>
                  <a:pt x="4214949" y="1147172"/>
                  <a:pt x="4215865" y="1146485"/>
                </a:cubicBezTo>
                <a:cubicBezTo>
                  <a:pt x="4247329" y="1052090"/>
                  <a:pt x="4196319" y="1185427"/>
                  <a:pt x="4254366" y="1098359"/>
                </a:cubicBezTo>
                <a:cubicBezTo>
                  <a:pt x="4261704" y="1087352"/>
                  <a:pt x="4260358" y="1072578"/>
                  <a:pt x="4263992" y="1059858"/>
                </a:cubicBezTo>
                <a:cubicBezTo>
                  <a:pt x="4266779" y="1050102"/>
                  <a:pt x="4268690" y="1039851"/>
                  <a:pt x="4273617" y="1030982"/>
                </a:cubicBezTo>
                <a:cubicBezTo>
                  <a:pt x="4302399" y="979173"/>
                  <a:pt x="4305919" y="979429"/>
                  <a:pt x="4340994" y="944354"/>
                </a:cubicBezTo>
                <a:lnTo>
                  <a:pt x="4369869" y="857727"/>
                </a:lnTo>
                <a:lnTo>
                  <a:pt x="4379495" y="828851"/>
                </a:lnTo>
                <a:cubicBezTo>
                  <a:pt x="4382703" y="755057"/>
                  <a:pt x="4383664" y="681132"/>
                  <a:pt x="4389120" y="607470"/>
                </a:cubicBezTo>
                <a:cubicBezTo>
                  <a:pt x="4390271" y="591931"/>
                  <a:pt x="4402948" y="556358"/>
                  <a:pt x="4408370" y="540093"/>
                </a:cubicBezTo>
                <a:cubicBezTo>
                  <a:pt x="4411579" y="479133"/>
                  <a:pt x="4410723" y="417823"/>
                  <a:pt x="4417996" y="357213"/>
                </a:cubicBezTo>
                <a:cubicBezTo>
                  <a:pt x="4420414" y="337066"/>
                  <a:pt x="4430829" y="318712"/>
                  <a:pt x="4437246" y="299462"/>
                </a:cubicBezTo>
                <a:lnTo>
                  <a:pt x="4446872" y="270586"/>
                </a:lnTo>
                <a:cubicBezTo>
                  <a:pt x="4450080" y="216043"/>
                  <a:pt x="4448392" y="160990"/>
                  <a:pt x="4456497" y="106957"/>
                </a:cubicBezTo>
                <a:cubicBezTo>
                  <a:pt x="4458213" y="95517"/>
                  <a:pt x="4470574" y="88428"/>
                  <a:pt x="4475747" y="78081"/>
                </a:cubicBezTo>
                <a:cubicBezTo>
                  <a:pt x="4480284" y="69006"/>
                  <a:pt x="4479745" y="57647"/>
                  <a:pt x="4485373" y="49205"/>
                </a:cubicBezTo>
                <a:cubicBezTo>
                  <a:pt x="4500197" y="26969"/>
                  <a:pt x="4521815" y="15285"/>
                  <a:pt x="4543124" y="1079"/>
                </a:cubicBezTo>
                <a:cubicBezTo>
                  <a:pt x="4568791" y="4287"/>
                  <a:pt x="4596577" y="0"/>
                  <a:pt x="4620126" y="10704"/>
                </a:cubicBezTo>
                <a:cubicBezTo>
                  <a:pt x="4638879" y="19228"/>
                  <a:pt x="4654182" y="58079"/>
                  <a:pt x="4658627" y="78081"/>
                </a:cubicBezTo>
                <a:cubicBezTo>
                  <a:pt x="4673675" y="145793"/>
                  <a:pt x="4667221" y="161783"/>
                  <a:pt x="4677878" y="241710"/>
                </a:cubicBezTo>
                <a:cubicBezTo>
                  <a:pt x="4679626" y="254823"/>
                  <a:pt x="4680940" y="268725"/>
                  <a:pt x="4687503" y="280211"/>
                </a:cubicBezTo>
                <a:cubicBezTo>
                  <a:pt x="4694257" y="292030"/>
                  <a:pt x="4706754" y="299462"/>
                  <a:pt x="4716379" y="309087"/>
                </a:cubicBezTo>
                <a:cubicBezTo>
                  <a:pt x="4740570" y="381664"/>
                  <a:pt x="4707938" y="292207"/>
                  <a:pt x="4745255" y="366839"/>
                </a:cubicBezTo>
                <a:cubicBezTo>
                  <a:pt x="4749792" y="375914"/>
                  <a:pt x="4750343" y="386639"/>
                  <a:pt x="4754880" y="395714"/>
                </a:cubicBezTo>
                <a:cubicBezTo>
                  <a:pt x="4792199" y="470354"/>
                  <a:pt x="4759559" y="380881"/>
                  <a:pt x="4783756" y="453466"/>
                </a:cubicBezTo>
                <a:cubicBezTo>
                  <a:pt x="4780547" y="498384"/>
                  <a:pt x="4738785" y="560316"/>
                  <a:pt x="4774130" y="588220"/>
                </a:cubicBezTo>
                <a:cubicBezTo>
                  <a:pt x="4824558" y="628031"/>
                  <a:pt x="4902883" y="589876"/>
                  <a:pt x="4966636" y="597845"/>
                </a:cubicBezTo>
                <a:cubicBezTo>
                  <a:pt x="4981668" y="599724"/>
                  <a:pt x="5020462" y="627312"/>
                  <a:pt x="5034013" y="636346"/>
                </a:cubicBezTo>
                <a:cubicBezTo>
                  <a:pt x="5043746" y="650946"/>
                  <a:pt x="5062888" y="674173"/>
                  <a:pt x="5062888" y="694098"/>
                </a:cubicBezTo>
                <a:cubicBezTo>
                  <a:pt x="5062888" y="713614"/>
                  <a:pt x="5056471" y="732599"/>
                  <a:pt x="5053263" y="751849"/>
                </a:cubicBezTo>
                <a:cubicBezTo>
                  <a:pt x="5056471" y="780725"/>
                  <a:pt x="5052458" y="811360"/>
                  <a:pt x="5062888" y="838477"/>
                </a:cubicBezTo>
                <a:cubicBezTo>
                  <a:pt x="5069403" y="855417"/>
                  <a:pt x="5092051" y="861415"/>
                  <a:pt x="5101389" y="876978"/>
                </a:cubicBezTo>
                <a:cubicBezTo>
                  <a:pt x="5111829" y="894378"/>
                  <a:pt x="5114223" y="915479"/>
                  <a:pt x="5120640" y="934729"/>
                </a:cubicBezTo>
                <a:lnTo>
                  <a:pt x="5149516" y="1021357"/>
                </a:lnTo>
                <a:lnTo>
                  <a:pt x="5159141" y="1050232"/>
                </a:lnTo>
                <a:cubicBezTo>
                  <a:pt x="5162349" y="1059857"/>
                  <a:pt x="5160324" y="1073480"/>
                  <a:pt x="5168766" y="1079108"/>
                </a:cubicBezTo>
                <a:lnTo>
                  <a:pt x="5197642" y="1098359"/>
                </a:lnTo>
                <a:cubicBezTo>
                  <a:pt x="5212643" y="1143361"/>
                  <a:pt x="5212724" y="1129256"/>
                  <a:pt x="5197642" y="1194611"/>
                </a:cubicBezTo>
                <a:cubicBezTo>
                  <a:pt x="5193079" y="1214383"/>
                  <a:pt x="5178392" y="1252363"/>
                  <a:pt x="5178392" y="1252363"/>
                </a:cubicBezTo>
                <a:cubicBezTo>
                  <a:pt x="5181600" y="1294072"/>
                  <a:pt x="5177238" y="1337071"/>
                  <a:pt x="5188017" y="1377491"/>
                </a:cubicBezTo>
                <a:cubicBezTo>
                  <a:pt x="5190998" y="1388669"/>
                  <a:pt x="5206849" y="1391003"/>
                  <a:pt x="5216893" y="1396742"/>
                </a:cubicBezTo>
                <a:cubicBezTo>
                  <a:pt x="5256039" y="1419111"/>
                  <a:pt x="5251789" y="1415091"/>
                  <a:pt x="5293895" y="1425618"/>
                </a:cubicBezTo>
                <a:cubicBezTo>
                  <a:pt x="5303520" y="1432035"/>
                  <a:pt x="5312423" y="1439695"/>
                  <a:pt x="5322770" y="1444868"/>
                </a:cubicBezTo>
                <a:cubicBezTo>
                  <a:pt x="5331845" y="1449405"/>
                  <a:pt x="5343204" y="1448865"/>
                  <a:pt x="5351646" y="1454493"/>
                </a:cubicBezTo>
                <a:cubicBezTo>
                  <a:pt x="5362972" y="1462044"/>
                  <a:pt x="5370065" y="1474655"/>
                  <a:pt x="5380522" y="1483369"/>
                </a:cubicBezTo>
                <a:cubicBezTo>
                  <a:pt x="5389409" y="1490775"/>
                  <a:pt x="5400511" y="1495214"/>
                  <a:pt x="5409398" y="1502620"/>
                </a:cubicBezTo>
                <a:cubicBezTo>
                  <a:pt x="5419855" y="1511334"/>
                  <a:pt x="5425835" y="1525967"/>
                  <a:pt x="5438274" y="1531495"/>
                </a:cubicBezTo>
                <a:cubicBezTo>
                  <a:pt x="5456108" y="1539421"/>
                  <a:pt x="5476775" y="1537912"/>
                  <a:pt x="5496025" y="1541121"/>
                </a:cubicBezTo>
                <a:cubicBezTo>
                  <a:pt x="5505650" y="1547538"/>
                  <a:pt x="5517674" y="1551338"/>
                  <a:pt x="5524901" y="1560371"/>
                </a:cubicBezTo>
                <a:cubicBezTo>
                  <a:pt x="5546865" y="1587826"/>
                  <a:pt x="5519000" y="1594939"/>
                  <a:pt x="5553777" y="1618123"/>
                </a:cubicBezTo>
                <a:cubicBezTo>
                  <a:pt x="5564784" y="1625461"/>
                  <a:pt x="5579558" y="1624114"/>
                  <a:pt x="5592278" y="1627748"/>
                </a:cubicBezTo>
                <a:cubicBezTo>
                  <a:pt x="5602034" y="1630535"/>
                  <a:pt x="5611529" y="1634165"/>
                  <a:pt x="5621154" y="1637373"/>
                </a:cubicBezTo>
                <a:cubicBezTo>
                  <a:pt x="5637286" y="1685770"/>
                  <a:pt x="5639575" y="1679193"/>
                  <a:pt x="5621154" y="1752877"/>
                </a:cubicBezTo>
                <a:cubicBezTo>
                  <a:pt x="5618348" y="1764100"/>
                  <a:pt x="5608320" y="1772127"/>
                  <a:pt x="5601903" y="1781752"/>
                </a:cubicBezTo>
                <a:cubicBezTo>
                  <a:pt x="5608320" y="1791377"/>
                  <a:pt x="5611110" y="1804889"/>
                  <a:pt x="5621154" y="1810628"/>
                </a:cubicBezTo>
                <a:cubicBezTo>
                  <a:pt x="5635358" y="1818745"/>
                  <a:pt x="5653409" y="1816285"/>
                  <a:pt x="5669280" y="1820253"/>
                </a:cubicBezTo>
                <a:cubicBezTo>
                  <a:pt x="5679123" y="1822714"/>
                  <a:pt x="5688531" y="1826670"/>
                  <a:pt x="5698156" y="1829879"/>
                </a:cubicBezTo>
                <a:cubicBezTo>
                  <a:pt x="5704573" y="1849129"/>
                  <a:pt x="5712484" y="1867944"/>
                  <a:pt x="5717406" y="1887630"/>
                </a:cubicBezTo>
                <a:cubicBezTo>
                  <a:pt x="5720615" y="1900464"/>
                  <a:pt x="5721821" y="1913972"/>
                  <a:pt x="5727032" y="1926131"/>
                </a:cubicBezTo>
                <a:cubicBezTo>
                  <a:pt x="5731589" y="1936764"/>
                  <a:pt x="5736238" y="1949268"/>
                  <a:pt x="5746282" y="1955007"/>
                </a:cubicBezTo>
                <a:cubicBezTo>
                  <a:pt x="5760486" y="1963124"/>
                  <a:pt x="5778625" y="1960327"/>
                  <a:pt x="5794408" y="1964632"/>
                </a:cubicBezTo>
                <a:cubicBezTo>
                  <a:pt x="5852560" y="1980492"/>
                  <a:pt x="5841304" y="1976646"/>
                  <a:pt x="5881036" y="2003133"/>
                </a:cubicBezTo>
                <a:cubicBezTo>
                  <a:pt x="5890768" y="2017731"/>
                  <a:pt x="5909912" y="2040962"/>
                  <a:pt x="5909912" y="2060885"/>
                </a:cubicBezTo>
                <a:cubicBezTo>
                  <a:pt x="5909912" y="2073099"/>
                  <a:pt x="5894372" y="2132667"/>
                  <a:pt x="5890661" y="2147512"/>
                </a:cubicBezTo>
                <a:cubicBezTo>
                  <a:pt x="5893869" y="2157137"/>
                  <a:pt x="5893112" y="2169214"/>
                  <a:pt x="5900286" y="2176388"/>
                </a:cubicBezTo>
                <a:cubicBezTo>
                  <a:pt x="5920212" y="2196314"/>
                  <a:pt x="5962580" y="2200397"/>
                  <a:pt x="5986914" y="2205264"/>
                </a:cubicBezTo>
                <a:cubicBezTo>
                  <a:pt x="5996539" y="2211681"/>
                  <a:pt x="6005442" y="2219341"/>
                  <a:pt x="6015789" y="2224514"/>
                </a:cubicBezTo>
                <a:cubicBezTo>
                  <a:pt x="6024864" y="2229052"/>
                  <a:pt x="6036742" y="2227802"/>
                  <a:pt x="6044665" y="2234140"/>
                </a:cubicBezTo>
                <a:cubicBezTo>
                  <a:pt x="6053698" y="2241366"/>
                  <a:pt x="6057499" y="2253390"/>
                  <a:pt x="6063916" y="2263015"/>
                </a:cubicBezTo>
                <a:cubicBezTo>
                  <a:pt x="6067000" y="2275351"/>
                  <a:pt x="6076261" y="2316583"/>
                  <a:pt x="6083166" y="2330392"/>
                </a:cubicBezTo>
                <a:cubicBezTo>
                  <a:pt x="6088340" y="2340739"/>
                  <a:pt x="6096000" y="2349643"/>
                  <a:pt x="6102417" y="2359268"/>
                </a:cubicBezTo>
                <a:cubicBezTo>
                  <a:pt x="6105625" y="2391352"/>
                  <a:pt x="6104792" y="2424102"/>
                  <a:pt x="6112042" y="2455521"/>
                </a:cubicBezTo>
                <a:cubicBezTo>
                  <a:pt x="6114643" y="2466793"/>
                  <a:pt x="6124569" y="2474983"/>
                  <a:pt x="6131293" y="2484397"/>
                </a:cubicBezTo>
                <a:cubicBezTo>
                  <a:pt x="6162164" y="2527617"/>
                  <a:pt x="6154061" y="2516791"/>
                  <a:pt x="6189044" y="2551773"/>
                </a:cubicBezTo>
                <a:lnTo>
                  <a:pt x="6217920" y="2638401"/>
                </a:lnTo>
                <a:lnTo>
                  <a:pt x="6227545" y="2667277"/>
                </a:lnTo>
                <a:cubicBezTo>
                  <a:pt x="6230753" y="2744279"/>
                  <a:pt x="6229501" y="2821597"/>
                  <a:pt x="6237170" y="2898283"/>
                </a:cubicBezTo>
                <a:cubicBezTo>
                  <a:pt x="6239189" y="2918474"/>
                  <a:pt x="6250004" y="2936784"/>
                  <a:pt x="6256421" y="2956034"/>
                </a:cubicBezTo>
                <a:cubicBezTo>
                  <a:pt x="6270585" y="2998526"/>
                  <a:pt x="6261506" y="2975830"/>
                  <a:pt x="6285297" y="3023411"/>
                </a:cubicBezTo>
                <a:cubicBezTo>
                  <a:pt x="6278503" y="3145707"/>
                  <a:pt x="6288886" y="3155228"/>
                  <a:pt x="6266046" y="3235167"/>
                </a:cubicBezTo>
                <a:cubicBezTo>
                  <a:pt x="6263259" y="3244923"/>
                  <a:pt x="6260958" y="3254968"/>
                  <a:pt x="6256421" y="3264043"/>
                </a:cubicBezTo>
                <a:cubicBezTo>
                  <a:pt x="6251248" y="3274390"/>
                  <a:pt x="6243587" y="3283294"/>
                  <a:pt x="6237170" y="3292919"/>
                </a:cubicBezTo>
                <a:cubicBezTo>
                  <a:pt x="6233962" y="3302544"/>
                  <a:pt x="6232082" y="3312719"/>
                  <a:pt x="6227545" y="3321794"/>
                </a:cubicBezTo>
                <a:cubicBezTo>
                  <a:pt x="6222372" y="3332141"/>
                  <a:pt x="6212852" y="3340037"/>
                  <a:pt x="6208295" y="3350670"/>
                </a:cubicBezTo>
                <a:cubicBezTo>
                  <a:pt x="6203084" y="3362829"/>
                  <a:pt x="6202470" y="3376500"/>
                  <a:pt x="6198669" y="3389171"/>
                </a:cubicBezTo>
                <a:cubicBezTo>
                  <a:pt x="6192838" y="3408607"/>
                  <a:pt x="6184340" y="3427237"/>
                  <a:pt x="6179419" y="3446923"/>
                </a:cubicBezTo>
                <a:cubicBezTo>
                  <a:pt x="6176211" y="3459757"/>
                  <a:pt x="6175005" y="3473265"/>
                  <a:pt x="6169794" y="3485424"/>
                </a:cubicBezTo>
                <a:cubicBezTo>
                  <a:pt x="6165237" y="3496057"/>
                  <a:pt x="6156960" y="3504675"/>
                  <a:pt x="6150543" y="3514300"/>
                </a:cubicBezTo>
                <a:cubicBezTo>
                  <a:pt x="6145048" y="3541774"/>
                  <a:pt x="6139448" y="3573744"/>
                  <a:pt x="6131293" y="3600927"/>
                </a:cubicBezTo>
                <a:cubicBezTo>
                  <a:pt x="6125462" y="3620363"/>
                  <a:pt x="6118459" y="3639428"/>
                  <a:pt x="6112042" y="3658679"/>
                </a:cubicBezTo>
                <a:lnTo>
                  <a:pt x="6102417" y="3687554"/>
                </a:lnTo>
                <a:lnTo>
                  <a:pt x="6083166" y="3745306"/>
                </a:lnTo>
                <a:cubicBezTo>
                  <a:pt x="6075337" y="3768793"/>
                  <a:pt x="6072951" y="3784397"/>
                  <a:pt x="6054290" y="3803058"/>
                </a:cubicBezTo>
                <a:cubicBezTo>
                  <a:pt x="6035631" y="3821717"/>
                  <a:pt x="6020024" y="3824105"/>
                  <a:pt x="5996539" y="3831933"/>
                </a:cubicBezTo>
                <a:cubicBezTo>
                  <a:pt x="5977288" y="3844767"/>
                  <a:pt x="5951620" y="3851183"/>
                  <a:pt x="5938787" y="3870434"/>
                </a:cubicBezTo>
                <a:cubicBezTo>
                  <a:pt x="5913909" y="3907752"/>
                  <a:pt x="5930511" y="3895652"/>
                  <a:pt x="5890661" y="3908935"/>
                </a:cubicBezTo>
                <a:cubicBezTo>
                  <a:pt x="5884244" y="3918560"/>
                  <a:pt x="5876108" y="3927240"/>
                  <a:pt x="5871410" y="3937811"/>
                </a:cubicBezTo>
                <a:cubicBezTo>
                  <a:pt x="5863169" y="3956354"/>
                  <a:pt x="5858577" y="3976312"/>
                  <a:pt x="5852160" y="3995563"/>
                </a:cubicBezTo>
                <a:cubicBezTo>
                  <a:pt x="5848952" y="4005188"/>
                  <a:pt x="5848163" y="4015997"/>
                  <a:pt x="5842535" y="4024439"/>
                </a:cubicBezTo>
                <a:lnTo>
                  <a:pt x="5823284" y="4053314"/>
                </a:lnTo>
                <a:lnTo>
                  <a:pt x="5775158" y="4197693"/>
                </a:lnTo>
                <a:lnTo>
                  <a:pt x="5755907" y="4255445"/>
                </a:lnTo>
                <a:cubicBezTo>
                  <a:pt x="5752699" y="4265070"/>
                  <a:pt x="5748272" y="4274372"/>
                  <a:pt x="5746282" y="4284321"/>
                </a:cubicBezTo>
                <a:cubicBezTo>
                  <a:pt x="5732677" y="4352346"/>
                  <a:pt x="5741831" y="4316926"/>
                  <a:pt x="5717406" y="4390199"/>
                </a:cubicBezTo>
                <a:lnTo>
                  <a:pt x="5707781" y="4419074"/>
                </a:lnTo>
                <a:cubicBezTo>
                  <a:pt x="5705943" y="4442971"/>
                  <a:pt x="5709308" y="4531523"/>
                  <a:pt x="5688530" y="4573079"/>
                </a:cubicBezTo>
                <a:cubicBezTo>
                  <a:pt x="5683357" y="4583426"/>
                  <a:pt x="5676686" y="4593067"/>
                  <a:pt x="5669280" y="4601954"/>
                </a:cubicBezTo>
                <a:cubicBezTo>
                  <a:pt x="5660566" y="4612411"/>
                  <a:pt x="5650029" y="4621205"/>
                  <a:pt x="5640404" y="4630830"/>
                </a:cubicBezTo>
                <a:cubicBezTo>
                  <a:pt x="5637196" y="4640455"/>
                  <a:pt x="5639854" y="4655169"/>
                  <a:pt x="5630779" y="4659706"/>
                </a:cubicBezTo>
                <a:cubicBezTo>
                  <a:pt x="5610487" y="4669852"/>
                  <a:pt x="5585648" y="4664882"/>
                  <a:pt x="5563402" y="4669331"/>
                </a:cubicBezTo>
                <a:cubicBezTo>
                  <a:pt x="5553453" y="4671321"/>
                  <a:pt x="5544616" y="4677895"/>
                  <a:pt x="5534526" y="4678957"/>
                </a:cubicBezTo>
                <a:cubicBezTo>
                  <a:pt x="5483374" y="4684342"/>
                  <a:pt x="5431857" y="4685374"/>
                  <a:pt x="5380522" y="4688582"/>
                </a:cubicBezTo>
                <a:cubicBezTo>
                  <a:pt x="5370897" y="4691790"/>
                  <a:pt x="5360515" y="4693280"/>
                  <a:pt x="5351646" y="4698207"/>
                </a:cubicBezTo>
                <a:cubicBezTo>
                  <a:pt x="5331421" y="4709443"/>
                  <a:pt x="5315844" y="4729392"/>
                  <a:pt x="5293895" y="4736708"/>
                </a:cubicBezTo>
                <a:cubicBezTo>
                  <a:pt x="5266947" y="4745691"/>
                  <a:pt x="5214799" y="4761818"/>
                  <a:pt x="5188017" y="4775209"/>
                </a:cubicBezTo>
                <a:cubicBezTo>
                  <a:pt x="5177670" y="4780382"/>
                  <a:pt x="5169712" y="4789762"/>
                  <a:pt x="5159141" y="4794460"/>
                </a:cubicBezTo>
                <a:cubicBezTo>
                  <a:pt x="5140598" y="4802701"/>
                  <a:pt x="5101389" y="4813710"/>
                  <a:pt x="5101389" y="4813710"/>
                </a:cubicBezTo>
                <a:cubicBezTo>
                  <a:pt x="5091764" y="4810502"/>
                  <a:pt x="5082269" y="4806872"/>
                  <a:pt x="5072514" y="4804085"/>
                </a:cubicBezTo>
                <a:cubicBezTo>
                  <a:pt x="5059794" y="4800451"/>
                  <a:pt x="5046172" y="4799671"/>
                  <a:pt x="5034013" y="4794460"/>
                </a:cubicBezTo>
                <a:cubicBezTo>
                  <a:pt x="5023380" y="4789903"/>
                  <a:pt x="5014762" y="4781626"/>
                  <a:pt x="5005137" y="4775209"/>
                </a:cubicBezTo>
                <a:cubicBezTo>
                  <a:pt x="5001929" y="4765584"/>
                  <a:pt x="5000049" y="4755408"/>
                  <a:pt x="4995512" y="4746333"/>
                </a:cubicBezTo>
                <a:cubicBezTo>
                  <a:pt x="4956223" y="4667756"/>
                  <a:pt x="4926502" y="4722987"/>
                  <a:pt x="4803006" y="4736708"/>
                </a:cubicBezTo>
                <a:lnTo>
                  <a:pt x="4745255" y="4755959"/>
                </a:lnTo>
                <a:cubicBezTo>
                  <a:pt x="4735630" y="4759167"/>
                  <a:pt x="4726222" y="4763123"/>
                  <a:pt x="4716379" y="4765584"/>
                </a:cubicBezTo>
                <a:lnTo>
                  <a:pt x="4677878" y="4775209"/>
                </a:lnTo>
                <a:cubicBezTo>
                  <a:pt x="4613710" y="4772001"/>
                  <a:pt x="4549400" y="4770919"/>
                  <a:pt x="4485373" y="4765584"/>
                </a:cubicBezTo>
                <a:cubicBezTo>
                  <a:pt x="4458359" y="4763333"/>
                  <a:pt x="4443062" y="4752600"/>
                  <a:pt x="4417996" y="4746333"/>
                </a:cubicBezTo>
                <a:cubicBezTo>
                  <a:pt x="4402124" y="4742365"/>
                  <a:pt x="4385911" y="4739916"/>
                  <a:pt x="4369869" y="4736708"/>
                </a:cubicBezTo>
                <a:cubicBezTo>
                  <a:pt x="4360244" y="4727083"/>
                  <a:pt x="4349708" y="4718289"/>
                  <a:pt x="4340994" y="4707832"/>
                </a:cubicBezTo>
                <a:cubicBezTo>
                  <a:pt x="4333588" y="4698945"/>
                  <a:pt x="4329923" y="4687137"/>
                  <a:pt x="4321743" y="4678957"/>
                </a:cubicBezTo>
                <a:cubicBezTo>
                  <a:pt x="4313563" y="4670777"/>
                  <a:pt x="4302492" y="4666123"/>
                  <a:pt x="4292867" y="4659706"/>
                </a:cubicBezTo>
                <a:lnTo>
                  <a:pt x="4263992" y="4573079"/>
                </a:lnTo>
                <a:cubicBezTo>
                  <a:pt x="4260783" y="4563454"/>
                  <a:pt x="4256827" y="4554046"/>
                  <a:pt x="4254366" y="4544203"/>
                </a:cubicBezTo>
                <a:cubicBezTo>
                  <a:pt x="4252283" y="4535869"/>
                  <a:pt x="4241253" y="4487565"/>
                  <a:pt x="4235116" y="4476826"/>
                </a:cubicBezTo>
                <a:cubicBezTo>
                  <a:pt x="4227157" y="4462898"/>
                  <a:pt x="4215865" y="4451159"/>
                  <a:pt x="4206240" y="4438325"/>
                </a:cubicBezTo>
                <a:cubicBezTo>
                  <a:pt x="4195712" y="4396214"/>
                  <a:pt x="4199736" y="4400473"/>
                  <a:pt x="4177364" y="4361323"/>
                </a:cubicBezTo>
                <a:cubicBezTo>
                  <a:pt x="4171625" y="4351279"/>
                  <a:pt x="4166294" y="4340627"/>
                  <a:pt x="4158114" y="4332447"/>
                </a:cubicBezTo>
                <a:cubicBezTo>
                  <a:pt x="4149934" y="4324267"/>
                  <a:pt x="4139282" y="4318936"/>
                  <a:pt x="4129238" y="4313197"/>
                </a:cubicBezTo>
                <a:cubicBezTo>
                  <a:pt x="4095931" y="4294165"/>
                  <a:pt x="4094259" y="4295120"/>
                  <a:pt x="4061861" y="4284321"/>
                </a:cubicBezTo>
                <a:cubicBezTo>
                  <a:pt x="4058653" y="4271487"/>
                  <a:pt x="4055870" y="4258540"/>
                  <a:pt x="4052236" y="4245820"/>
                </a:cubicBezTo>
                <a:cubicBezTo>
                  <a:pt x="4049449" y="4236064"/>
                  <a:pt x="4044153" y="4226972"/>
                  <a:pt x="4042610" y="4216944"/>
                </a:cubicBezTo>
                <a:cubicBezTo>
                  <a:pt x="4025939" y="4108583"/>
                  <a:pt x="4065474" y="4131520"/>
                  <a:pt x="4004109" y="4111066"/>
                </a:cubicBezTo>
                <a:cubicBezTo>
                  <a:pt x="3984859" y="4117483"/>
                  <a:pt x="3960707" y="4115969"/>
                  <a:pt x="3946358" y="4130317"/>
                </a:cubicBezTo>
                <a:cubicBezTo>
                  <a:pt x="3910308" y="4166366"/>
                  <a:pt x="3930395" y="4154887"/>
                  <a:pt x="3888606" y="4168818"/>
                </a:cubicBezTo>
                <a:cubicBezTo>
                  <a:pt x="3872564" y="4216944"/>
                  <a:pt x="3888606" y="4194485"/>
                  <a:pt x="3821229" y="4216944"/>
                </a:cubicBezTo>
                <a:lnTo>
                  <a:pt x="3792354" y="4226569"/>
                </a:lnTo>
                <a:cubicBezTo>
                  <a:pt x="3782729" y="4223361"/>
                  <a:pt x="3758941" y="4226019"/>
                  <a:pt x="3763478" y="4216944"/>
                </a:cubicBezTo>
                <a:cubicBezTo>
                  <a:pt x="3767507" y="4208885"/>
                  <a:pt x="3838128" y="4174806"/>
                  <a:pt x="3850105" y="4168818"/>
                </a:cubicBezTo>
                <a:cubicBezTo>
                  <a:pt x="3859002" y="4159921"/>
                  <a:pt x="3895361" y="4127338"/>
                  <a:pt x="3898232" y="4111066"/>
                </a:cubicBezTo>
                <a:cubicBezTo>
                  <a:pt x="3906058" y="4066719"/>
                  <a:pt x="3901177" y="4020846"/>
                  <a:pt x="3907857" y="3976312"/>
                </a:cubicBezTo>
                <a:cubicBezTo>
                  <a:pt x="3910867" y="3956245"/>
                  <a:pt x="3920690" y="3937811"/>
                  <a:pt x="3927107" y="3918561"/>
                </a:cubicBezTo>
                <a:cubicBezTo>
                  <a:pt x="3940390" y="3878713"/>
                  <a:pt x="3931107" y="3898125"/>
                  <a:pt x="3955983" y="3860809"/>
                </a:cubicBezTo>
                <a:cubicBezTo>
                  <a:pt x="3960036" y="3844598"/>
                  <a:pt x="3977597" y="3800018"/>
                  <a:pt x="3955983" y="3783807"/>
                </a:cubicBezTo>
                <a:cubicBezTo>
                  <a:pt x="3947866" y="3777719"/>
                  <a:pt x="3936732" y="3790224"/>
                  <a:pt x="3927107" y="3793432"/>
                </a:cubicBezTo>
                <a:lnTo>
                  <a:pt x="3888606" y="3851184"/>
                </a:lnTo>
                <a:cubicBezTo>
                  <a:pt x="3882189" y="3860809"/>
                  <a:pt x="3873014" y="3869086"/>
                  <a:pt x="3869356" y="3880060"/>
                </a:cubicBezTo>
                <a:cubicBezTo>
                  <a:pt x="3845158" y="3952648"/>
                  <a:pt x="3877802" y="3863165"/>
                  <a:pt x="3840480" y="3937811"/>
                </a:cubicBezTo>
                <a:cubicBezTo>
                  <a:pt x="3835943" y="3946886"/>
                  <a:pt x="3837193" y="3958764"/>
                  <a:pt x="3830855" y="3966687"/>
                </a:cubicBezTo>
                <a:cubicBezTo>
                  <a:pt x="3823628" y="3975720"/>
                  <a:pt x="3811604" y="3979521"/>
                  <a:pt x="3801979" y="3985938"/>
                </a:cubicBezTo>
                <a:cubicBezTo>
                  <a:pt x="3795562" y="3995563"/>
                  <a:pt x="3791615" y="4007407"/>
                  <a:pt x="3782728" y="4014813"/>
                </a:cubicBezTo>
                <a:cubicBezTo>
                  <a:pt x="3771705" y="4023999"/>
                  <a:pt x="3756685" y="4026945"/>
                  <a:pt x="3744227" y="4034064"/>
                </a:cubicBezTo>
                <a:cubicBezTo>
                  <a:pt x="3734183" y="4039803"/>
                  <a:pt x="3724239" y="4045908"/>
                  <a:pt x="3715352" y="4053314"/>
                </a:cubicBezTo>
                <a:cubicBezTo>
                  <a:pt x="3704895" y="4062028"/>
                  <a:pt x="3697221" y="4073833"/>
                  <a:pt x="3686476" y="4082190"/>
                </a:cubicBezTo>
                <a:cubicBezTo>
                  <a:pt x="3668213" y="4096394"/>
                  <a:pt x="3645084" y="4104331"/>
                  <a:pt x="3628724" y="4120691"/>
                </a:cubicBezTo>
                <a:cubicBezTo>
                  <a:pt x="3592674" y="4156741"/>
                  <a:pt x="3612762" y="4145262"/>
                  <a:pt x="3570973" y="4159192"/>
                </a:cubicBezTo>
                <a:cubicBezTo>
                  <a:pt x="3561049" y="4059958"/>
                  <a:pt x="3589684" y="4072334"/>
                  <a:pt x="3522846" y="4043689"/>
                </a:cubicBezTo>
                <a:cubicBezTo>
                  <a:pt x="3513520" y="4039692"/>
                  <a:pt x="3503595" y="4037272"/>
                  <a:pt x="3493970" y="4034064"/>
                </a:cubicBezTo>
                <a:cubicBezTo>
                  <a:pt x="3487553" y="4024439"/>
                  <a:pt x="3482126" y="4014075"/>
                  <a:pt x="3474720" y="4005188"/>
                </a:cubicBezTo>
                <a:cubicBezTo>
                  <a:pt x="3466006" y="3994731"/>
                  <a:pt x="3453395" y="3987638"/>
                  <a:pt x="3445844" y="3976312"/>
                </a:cubicBezTo>
                <a:cubicBezTo>
                  <a:pt x="3440216" y="3967870"/>
                  <a:pt x="3441146" y="3956306"/>
                  <a:pt x="3436219" y="3947437"/>
                </a:cubicBezTo>
                <a:cubicBezTo>
                  <a:pt x="3424983" y="3927212"/>
                  <a:pt x="3397718" y="3889685"/>
                  <a:pt x="3397718" y="3889685"/>
                </a:cubicBezTo>
                <a:cubicBezTo>
                  <a:pt x="3394510" y="3876851"/>
                  <a:pt x="3391727" y="3863904"/>
                  <a:pt x="3388093" y="3851184"/>
                </a:cubicBezTo>
                <a:cubicBezTo>
                  <a:pt x="3385306" y="3841428"/>
                  <a:pt x="3380668" y="3832212"/>
                  <a:pt x="3378467" y="3822308"/>
                </a:cubicBezTo>
                <a:cubicBezTo>
                  <a:pt x="3374233" y="3803257"/>
                  <a:pt x="3373075" y="3783608"/>
                  <a:pt x="3368842" y="3764557"/>
                </a:cubicBezTo>
                <a:cubicBezTo>
                  <a:pt x="3366641" y="3754653"/>
                  <a:pt x="3367473" y="3741578"/>
                  <a:pt x="3359217" y="3735681"/>
                </a:cubicBezTo>
                <a:cubicBezTo>
                  <a:pt x="3325660" y="3711712"/>
                  <a:pt x="3234603" y="3709744"/>
                  <a:pt x="3205213" y="3706805"/>
                </a:cubicBezTo>
                <a:cubicBezTo>
                  <a:pt x="3195588" y="3703597"/>
                  <a:pt x="3185412" y="3701717"/>
                  <a:pt x="3176337" y="3697180"/>
                </a:cubicBezTo>
                <a:cubicBezTo>
                  <a:pt x="3165990" y="3692007"/>
                  <a:pt x="3158541" y="3681253"/>
                  <a:pt x="3147461" y="3677929"/>
                </a:cubicBezTo>
                <a:cubicBezTo>
                  <a:pt x="3125731" y="3671410"/>
                  <a:pt x="3102543" y="3671512"/>
                  <a:pt x="3080084" y="3668304"/>
                </a:cubicBezTo>
                <a:lnTo>
                  <a:pt x="2627697" y="3677929"/>
                </a:lnTo>
                <a:cubicBezTo>
                  <a:pt x="2608967" y="3678663"/>
                  <a:pt x="2579032" y="3692077"/>
                  <a:pt x="2560320" y="3697180"/>
                </a:cubicBezTo>
                <a:cubicBezTo>
                  <a:pt x="2534795" y="3704141"/>
                  <a:pt x="2483318" y="3716430"/>
                  <a:pt x="2483318" y="3716430"/>
                </a:cubicBezTo>
                <a:cubicBezTo>
                  <a:pt x="2476901" y="3726055"/>
                  <a:pt x="2469240" y="3734959"/>
                  <a:pt x="2464067" y="3745306"/>
                </a:cubicBezTo>
                <a:cubicBezTo>
                  <a:pt x="2459530" y="3754381"/>
                  <a:pt x="2461616" y="3767008"/>
                  <a:pt x="2454442" y="3774182"/>
                </a:cubicBezTo>
                <a:cubicBezTo>
                  <a:pt x="2447268" y="3781356"/>
                  <a:pt x="2435322" y="3781020"/>
                  <a:pt x="2425566" y="3783807"/>
                </a:cubicBezTo>
                <a:cubicBezTo>
                  <a:pt x="2362993" y="3801685"/>
                  <a:pt x="2361087" y="3795597"/>
                  <a:pt x="2271562" y="3803058"/>
                </a:cubicBezTo>
                <a:cubicBezTo>
                  <a:pt x="2198991" y="3827247"/>
                  <a:pt x="2288434" y="3794620"/>
                  <a:pt x="2213810" y="3831933"/>
                </a:cubicBezTo>
                <a:cubicBezTo>
                  <a:pt x="2204735" y="3836470"/>
                  <a:pt x="2193804" y="3836632"/>
                  <a:pt x="2184935" y="3841559"/>
                </a:cubicBezTo>
                <a:cubicBezTo>
                  <a:pt x="2164710" y="3852795"/>
                  <a:pt x="2149629" y="3874449"/>
                  <a:pt x="2127183" y="3880060"/>
                </a:cubicBezTo>
                <a:cubicBezTo>
                  <a:pt x="2114349" y="3883268"/>
                  <a:pt x="2101068" y="3885040"/>
                  <a:pt x="2088682" y="3889685"/>
                </a:cubicBezTo>
                <a:cubicBezTo>
                  <a:pt x="2075247" y="3894723"/>
                  <a:pt x="2063369" y="3903283"/>
                  <a:pt x="2050181" y="3908935"/>
                </a:cubicBezTo>
                <a:cubicBezTo>
                  <a:pt x="2040855" y="3912932"/>
                  <a:pt x="2030930" y="3915352"/>
                  <a:pt x="2021305" y="3918561"/>
                </a:cubicBezTo>
                <a:cubicBezTo>
                  <a:pt x="2011680" y="3928186"/>
                  <a:pt x="2000786" y="3936692"/>
                  <a:pt x="1992429" y="3947437"/>
                </a:cubicBezTo>
                <a:cubicBezTo>
                  <a:pt x="1911834" y="4051058"/>
                  <a:pt x="1990611" y="3968504"/>
                  <a:pt x="1925053" y="4034064"/>
                </a:cubicBezTo>
                <a:cubicBezTo>
                  <a:pt x="1903375" y="4099092"/>
                  <a:pt x="1933438" y="4028606"/>
                  <a:pt x="1886552" y="4082190"/>
                </a:cubicBezTo>
                <a:cubicBezTo>
                  <a:pt x="1841634" y="4133525"/>
                  <a:pt x="1867301" y="4135129"/>
                  <a:pt x="1819175" y="4159192"/>
                </a:cubicBezTo>
                <a:cubicBezTo>
                  <a:pt x="1810100" y="4163730"/>
                  <a:pt x="1799924" y="4165609"/>
                  <a:pt x="1790299" y="4168818"/>
                </a:cubicBezTo>
                <a:cubicBezTo>
                  <a:pt x="1780674" y="4178443"/>
                  <a:pt x="1772749" y="4190142"/>
                  <a:pt x="1761423" y="4197693"/>
                </a:cubicBezTo>
                <a:cubicBezTo>
                  <a:pt x="1725016" y="4221964"/>
                  <a:pt x="1631771" y="4198920"/>
                  <a:pt x="1617044" y="4197693"/>
                </a:cubicBezTo>
                <a:cubicBezTo>
                  <a:pt x="1604210" y="4194485"/>
                  <a:pt x="1590702" y="4193279"/>
                  <a:pt x="1578543" y="4188068"/>
                </a:cubicBezTo>
                <a:cubicBezTo>
                  <a:pt x="1567910" y="4183511"/>
                  <a:pt x="1561213" y="4169540"/>
                  <a:pt x="1549667" y="4168818"/>
                </a:cubicBezTo>
                <a:cubicBezTo>
                  <a:pt x="1507916" y="4166209"/>
                  <a:pt x="1466248" y="4175235"/>
                  <a:pt x="1424539" y="4178443"/>
                </a:cubicBezTo>
                <a:cubicBezTo>
                  <a:pt x="1414914" y="4184860"/>
                  <a:pt x="1405707" y="4191954"/>
                  <a:pt x="1395663" y="4197693"/>
                </a:cubicBezTo>
                <a:cubicBezTo>
                  <a:pt x="1383205" y="4204812"/>
                  <a:pt x="1367308" y="4206798"/>
                  <a:pt x="1357162" y="4216944"/>
                </a:cubicBezTo>
                <a:cubicBezTo>
                  <a:pt x="1340802" y="4233304"/>
                  <a:pt x="1318661" y="4274695"/>
                  <a:pt x="1318661" y="4274695"/>
                </a:cubicBezTo>
                <a:cubicBezTo>
                  <a:pt x="1315453" y="4284320"/>
                  <a:pt x="1315374" y="4295648"/>
                  <a:pt x="1309036" y="4303571"/>
                </a:cubicBezTo>
                <a:cubicBezTo>
                  <a:pt x="1301809" y="4312604"/>
                  <a:pt x="1288340" y="4314642"/>
                  <a:pt x="1280160" y="4322822"/>
                </a:cubicBezTo>
                <a:cubicBezTo>
                  <a:pt x="1271980" y="4331002"/>
                  <a:pt x="1267326" y="4342073"/>
                  <a:pt x="1260909" y="4351698"/>
                </a:cubicBezTo>
                <a:cubicBezTo>
                  <a:pt x="1257701" y="4367740"/>
                  <a:pt x="1266474" y="4393748"/>
                  <a:pt x="1251284" y="4399824"/>
                </a:cubicBezTo>
                <a:cubicBezTo>
                  <a:pt x="1224309" y="4410614"/>
                  <a:pt x="1193710" y="4390199"/>
                  <a:pt x="1164657" y="4390199"/>
                </a:cubicBezTo>
                <a:cubicBezTo>
                  <a:pt x="1154511" y="4390199"/>
                  <a:pt x="1145406" y="4396616"/>
                  <a:pt x="1135781" y="4399824"/>
                </a:cubicBezTo>
                <a:lnTo>
                  <a:pt x="1097280" y="4457575"/>
                </a:lnTo>
                <a:lnTo>
                  <a:pt x="1078029" y="4486451"/>
                </a:lnTo>
                <a:cubicBezTo>
                  <a:pt x="1074821" y="4496076"/>
                  <a:pt x="1075578" y="4508153"/>
                  <a:pt x="1068404" y="4515327"/>
                </a:cubicBezTo>
                <a:cubicBezTo>
                  <a:pt x="1063803" y="4519928"/>
                  <a:pt x="1001358" y="4534495"/>
                  <a:pt x="1001027" y="4534578"/>
                </a:cubicBezTo>
                <a:cubicBezTo>
                  <a:pt x="933650" y="4531369"/>
                  <a:pt x="865222" y="4537235"/>
                  <a:pt x="798897" y="4524952"/>
                </a:cubicBezTo>
                <a:cubicBezTo>
                  <a:pt x="776147" y="4520739"/>
                  <a:pt x="763094" y="4493767"/>
                  <a:pt x="741145" y="4486451"/>
                </a:cubicBezTo>
                <a:cubicBezTo>
                  <a:pt x="681680" y="4466630"/>
                  <a:pt x="722365" y="4477836"/>
                  <a:pt x="616017" y="4467201"/>
                </a:cubicBezTo>
                <a:cubicBezTo>
                  <a:pt x="606392" y="4460784"/>
                  <a:pt x="593558" y="4457575"/>
                  <a:pt x="587141" y="4447950"/>
                </a:cubicBezTo>
                <a:cubicBezTo>
                  <a:pt x="579803" y="4436943"/>
                  <a:pt x="581150" y="4422169"/>
                  <a:pt x="577516" y="4409449"/>
                </a:cubicBezTo>
                <a:cubicBezTo>
                  <a:pt x="574729" y="4399693"/>
                  <a:pt x="571099" y="4390198"/>
                  <a:pt x="567890" y="4380573"/>
                </a:cubicBezTo>
                <a:cubicBezTo>
                  <a:pt x="580724" y="4367739"/>
                  <a:pt x="591623" y="4352621"/>
                  <a:pt x="606392" y="4342072"/>
                </a:cubicBezTo>
                <a:cubicBezTo>
                  <a:pt x="614648" y="4336175"/>
                  <a:pt x="626192" y="4336984"/>
                  <a:pt x="635267" y="4332447"/>
                </a:cubicBezTo>
                <a:cubicBezTo>
                  <a:pt x="645614" y="4327274"/>
                  <a:pt x="654518" y="4319614"/>
                  <a:pt x="664143" y="4313197"/>
                </a:cubicBezTo>
                <a:cubicBezTo>
                  <a:pt x="660935" y="4297155"/>
                  <a:pt x="658486" y="4280942"/>
                  <a:pt x="654518" y="4265070"/>
                </a:cubicBezTo>
                <a:cubicBezTo>
                  <a:pt x="652057" y="4255227"/>
                  <a:pt x="644893" y="4246340"/>
                  <a:pt x="644893" y="4236194"/>
                </a:cubicBezTo>
                <a:cubicBezTo>
                  <a:pt x="644893" y="4216678"/>
                  <a:pt x="648347" y="4196957"/>
                  <a:pt x="654518" y="4178443"/>
                </a:cubicBezTo>
                <a:cubicBezTo>
                  <a:pt x="658176" y="4167469"/>
                  <a:pt x="667351" y="4159192"/>
                  <a:pt x="673768" y="4149567"/>
                </a:cubicBezTo>
                <a:cubicBezTo>
                  <a:pt x="663659" y="4099023"/>
                  <a:pt x="669415" y="4105854"/>
                  <a:pt x="644893" y="4062940"/>
                </a:cubicBezTo>
                <a:cubicBezTo>
                  <a:pt x="617745" y="4015431"/>
                  <a:pt x="631194" y="4050648"/>
                  <a:pt x="596766" y="3995563"/>
                </a:cubicBezTo>
                <a:cubicBezTo>
                  <a:pt x="589161" y="3983396"/>
                  <a:pt x="582845" y="3970384"/>
                  <a:pt x="577516" y="3957062"/>
                </a:cubicBezTo>
                <a:cubicBezTo>
                  <a:pt x="569980" y="3938221"/>
                  <a:pt x="564682" y="3918561"/>
                  <a:pt x="558265" y="3899310"/>
                </a:cubicBezTo>
                <a:cubicBezTo>
                  <a:pt x="555057" y="3889685"/>
                  <a:pt x="557082" y="3876062"/>
                  <a:pt x="548640" y="3870434"/>
                </a:cubicBezTo>
                <a:lnTo>
                  <a:pt x="519764" y="3851184"/>
                </a:lnTo>
                <a:cubicBezTo>
                  <a:pt x="484663" y="3745879"/>
                  <a:pt x="540643" y="3905381"/>
                  <a:pt x="490888" y="3793432"/>
                </a:cubicBezTo>
                <a:cubicBezTo>
                  <a:pt x="482647" y="3774889"/>
                  <a:pt x="478055" y="3754931"/>
                  <a:pt x="471638" y="3735681"/>
                </a:cubicBezTo>
                <a:lnTo>
                  <a:pt x="452387" y="3677929"/>
                </a:lnTo>
                <a:cubicBezTo>
                  <a:pt x="449179" y="3668304"/>
                  <a:pt x="448390" y="3657495"/>
                  <a:pt x="442762" y="3649053"/>
                </a:cubicBezTo>
                <a:lnTo>
                  <a:pt x="423512" y="3620178"/>
                </a:lnTo>
                <a:cubicBezTo>
                  <a:pt x="423429" y="3619847"/>
                  <a:pt x="408862" y="3557402"/>
                  <a:pt x="404261" y="3552801"/>
                </a:cubicBezTo>
                <a:cubicBezTo>
                  <a:pt x="397087" y="3545627"/>
                  <a:pt x="385010" y="3546384"/>
                  <a:pt x="375385" y="3543175"/>
                </a:cubicBezTo>
                <a:cubicBezTo>
                  <a:pt x="365760" y="3533550"/>
                  <a:pt x="354060" y="3525626"/>
                  <a:pt x="346509" y="3514300"/>
                </a:cubicBezTo>
                <a:cubicBezTo>
                  <a:pt x="339017" y="3503063"/>
                  <a:pt x="331109" y="3455906"/>
                  <a:pt x="327259" y="3446923"/>
                </a:cubicBezTo>
                <a:cubicBezTo>
                  <a:pt x="322702" y="3436290"/>
                  <a:pt x="314425" y="3427672"/>
                  <a:pt x="308008" y="3418047"/>
                </a:cubicBezTo>
                <a:cubicBezTo>
                  <a:pt x="291067" y="3367221"/>
                  <a:pt x="304012" y="3397615"/>
                  <a:pt x="259882" y="3331420"/>
                </a:cubicBezTo>
                <a:cubicBezTo>
                  <a:pt x="253465" y="3321795"/>
                  <a:pt x="251606" y="3306202"/>
                  <a:pt x="240632" y="3302544"/>
                </a:cubicBezTo>
                <a:lnTo>
                  <a:pt x="211756" y="3292919"/>
                </a:lnTo>
                <a:cubicBezTo>
                  <a:pt x="136199" y="3217362"/>
                  <a:pt x="170806" y="3243161"/>
                  <a:pt x="115503" y="3206291"/>
                </a:cubicBezTo>
                <a:cubicBezTo>
                  <a:pt x="98588" y="3155543"/>
                  <a:pt x="117058" y="3196607"/>
                  <a:pt x="77002" y="3148540"/>
                </a:cubicBezTo>
                <a:cubicBezTo>
                  <a:pt x="69596" y="3139653"/>
                  <a:pt x="67562" y="3125795"/>
                  <a:pt x="57752" y="3119664"/>
                </a:cubicBezTo>
                <a:cubicBezTo>
                  <a:pt x="40544" y="3108909"/>
                  <a:pt x="0" y="3100413"/>
                  <a:pt x="0" y="3100413"/>
                </a:cubicBezTo>
                <a:cubicBezTo>
                  <a:pt x="9625" y="3097205"/>
                  <a:pt x="18730" y="3090788"/>
                  <a:pt x="28876" y="3090788"/>
                </a:cubicBezTo>
                <a:cubicBezTo>
                  <a:pt x="48392" y="3090788"/>
                  <a:pt x="67490" y="3096586"/>
                  <a:pt x="86627" y="3100413"/>
                </a:cubicBezTo>
                <a:cubicBezTo>
                  <a:pt x="122985" y="3107685"/>
                  <a:pt x="146062" y="3117017"/>
                  <a:pt x="182880" y="3129289"/>
                </a:cubicBezTo>
                <a:lnTo>
                  <a:pt x="211756" y="3138914"/>
                </a:lnTo>
                <a:cubicBezTo>
                  <a:pt x="221381" y="3142123"/>
                  <a:pt x="249074" y="3154168"/>
                  <a:pt x="240632" y="3148540"/>
                </a:cubicBezTo>
                <a:lnTo>
                  <a:pt x="211756" y="3129289"/>
                </a:lnTo>
                <a:lnTo>
                  <a:pt x="192505" y="3071538"/>
                </a:lnTo>
                <a:cubicBezTo>
                  <a:pt x="189297" y="3061913"/>
                  <a:pt x="188508" y="3051104"/>
                  <a:pt x="182880" y="3042662"/>
                </a:cubicBezTo>
                <a:lnTo>
                  <a:pt x="163629" y="3013786"/>
                </a:lnTo>
                <a:cubicBezTo>
                  <a:pt x="145020" y="2957958"/>
                  <a:pt x="161705" y="2956676"/>
                  <a:pt x="115503" y="2946409"/>
                </a:cubicBezTo>
                <a:cubicBezTo>
                  <a:pt x="96452" y="2942176"/>
                  <a:pt x="77002" y="2939992"/>
                  <a:pt x="57752" y="2936784"/>
                </a:cubicBezTo>
                <a:cubicBezTo>
                  <a:pt x="60960" y="2923950"/>
                  <a:pt x="62166" y="2910442"/>
                  <a:pt x="67377" y="2898283"/>
                </a:cubicBezTo>
                <a:cubicBezTo>
                  <a:pt x="71934" y="2887650"/>
                  <a:pt x="81454" y="2879754"/>
                  <a:pt x="86627" y="2869407"/>
                </a:cubicBezTo>
                <a:cubicBezTo>
                  <a:pt x="91164" y="2860332"/>
                  <a:pt x="93044" y="2850156"/>
                  <a:pt x="96253" y="2840531"/>
                </a:cubicBezTo>
                <a:cubicBezTo>
                  <a:pt x="93044" y="2808447"/>
                  <a:pt x="91530" y="2776148"/>
                  <a:pt x="86627" y="2744279"/>
                </a:cubicBezTo>
                <a:cubicBezTo>
                  <a:pt x="85084" y="2734251"/>
                  <a:pt x="78064" y="2725493"/>
                  <a:pt x="77002" y="2715403"/>
                </a:cubicBezTo>
                <a:cubicBezTo>
                  <a:pt x="71618" y="2664251"/>
                  <a:pt x="74327" y="2612362"/>
                  <a:pt x="67377" y="2561399"/>
                </a:cubicBezTo>
                <a:cubicBezTo>
                  <a:pt x="64635" y="2541293"/>
                  <a:pt x="59382" y="2520531"/>
                  <a:pt x="48126" y="2503647"/>
                </a:cubicBezTo>
                <a:lnTo>
                  <a:pt x="9625" y="2445895"/>
                </a:lnTo>
                <a:cubicBezTo>
                  <a:pt x="15303" y="2417504"/>
                  <a:pt x="10033" y="2384868"/>
                  <a:pt x="48126" y="2378519"/>
                </a:cubicBezTo>
                <a:cubicBezTo>
                  <a:pt x="58134" y="2376851"/>
                  <a:pt x="67377" y="2384936"/>
                  <a:pt x="77002" y="2388144"/>
                </a:cubicBezTo>
                <a:cubicBezTo>
                  <a:pt x="80210" y="2400978"/>
                  <a:pt x="76583" y="2418036"/>
                  <a:pt x="86627" y="2426645"/>
                </a:cubicBezTo>
                <a:cubicBezTo>
                  <a:pt x="102034" y="2439851"/>
                  <a:pt x="144379" y="2445895"/>
                  <a:pt x="144379" y="2445895"/>
                </a:cubicBezTo>
                <a:cubicBezTo>
                  <a:pt x="147587" y="2436270"/>
                  <a:pt x="151334" y="2426808"/>
                  <a:pt x="154004" y="2417020"/>
                </a:cubicBezTo>
                <a:cubicBezTo>
                  <a:pt x="179193" y="2324661"/>
                  <a:pt x="154004" y="2352851"/>
                  <a:pt x="163629" y="2330392"/>
                </a:cubicBezTo>
                <a:close/>
              </a:path>
            </a:pathLst>
          </a:custGeom>
          <a:solidFill>
            <a:srgbClr val="92D05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" name="Title 8"/>
          <p:cNvSpPr txBox="1">
            <a:spLocks/>
          </p:cNvSpPr>
          <p:nvPr/>
        </p:nvSpPr>
        <p:spPr>
          <a:xfrm>
            <a:off x="6572269" y="6000774"/>
            <a:ext cx="1127125" cy="28733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te-IN" sz="1600" dirty="0" smtClean="0">
                <a:latin typeface="Ramabhadra" pitchFamily="2" charset="0"/>
                <a:ea typeface="+mj-ea"/>
                <a:cs typeface="Ramabhadra" pitchFamily="2" charset="0"/>
              </a:rPr>
              <a:t>టాస్మానియా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7396200" y="2959900"/>
            <a:ext cx="17478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en-US" dirty="0">
                <a:latin typeface="Ramabhadra" pitchFamily="2" charset="0"/>
                <a:ea typeface="Calibri" pitchFamily="34" charset="0"/>
                <a:cs typeface="Ramabhadra" pitchFamily="2" charset="0"/>
              </a:rPr>
              <a:t>23 ½° </a:t>
            </a:r>
            <a:r>
              <a:rPr lang="te-IN" dirty="0" smtClean="0">
                <a:latin typeface="Ramabhadra" pitchFamily="2" charset="0"/>
                <a:ea typeface="Calibri" pitchFamily="34" charset="0"/>
                <a:cs typeface="Ramabhadra" pitchFamily="2" charset="0"/>
              </a:rPr>
              <a:t>దక్షిణ అక్షాంశము మకర రేఖ</a:t>
            </a:r>
            <a:endParaRPr lang="en-US" dirty="0">
              <a:latin typeface="Ramabhadra" pitchFamily="2" charset="0"/>
              <a:ea typeface="Calibri" pitchFamily="34" charset="0"/>
              <a:cs typeface="Ramabhadra" pitchFamily="2" charset="0"/>
            </a:endParaRPr>
          </a:p>
        </p:txBody>
      </p:sp>
      <p:sp>
        <p:nvSpPr>
          <p:cNvPr id="17" name="Rectangle 1"/>
          <p:cNvSpPr>
            <a:spLocks noChangeArrowheads="1"/>
          </p:cNvSpPr>
          <p:nvPr/>
        </p:nvSpPr>
        <p:spPr bwMode="auto">
          <a:xfrm rot="4423591">
            <a:off x="6882386" y="1344242"/>
            <a:ext cx="2586948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te-IN" sz="1600" spc="600" dirty="0" smtClean="0">
                <a:latin typeface="Ramaraja" pitchFamily="2" charset="0"/>
                <a:cs typeface="Ramaraja" pitchFamily="2" charset="0"/>
              </a:rPr>
              <a:t>పసిఫిక్ మహా సముద్రము</a:t>
            </a:r>
            <a:endParaRPr lang="en-US" sz="1600" spc="600" dirty="0">
              <a:latin typeface="Ramaraja" pitchFamily="2" charset="0"/>
              <a:cs typeface="Ramaraja" pitchFamily="2" charset="0"/>
            </a:endParaRPr>
          </a:p>
        </p:txBody>
      </p:sp>
      <p:sp>
        <p:nvSpPr>
          <p:cNvPr id="18" name="Rectangle 1"/>
          <p:cNvSpPr>
            <a:spLocks noChangeArrowheads="1"/>
          </p:cNvSpPr>
          <p:nvPr/>
        </p:nvSpPr>
        <p:spPr bwMode="auto">
          <a:xfrm rot="16200000">
            <a:off x="-1712245" y="3864926"/>
            <a:ext cx="47625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te-IN" sz="2400" spc="600" dirty="0" smtClean="0">
                <a:latin typeface="Ramaraja" pitchFamily="2" charset="0"/>
                <a:cs typeface="Ramaraja" pitchFamily="2" charset="0"/>
              </a:rPr>
              <a:t>హిందూ మహా సముద్రము</a:t>
            </a:r>
            <a:endParaRPr lang="en-US" sz="2400" spc="600" dirty="0">
              <a:latin typeface="Ramaraja" pitchFamily="2" charset="0"/>
              <a:cs typeface="Ramaraja" pitchFamily="2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7164388" y="4365629"/>
            <a:ext cx="144462" cy="14287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5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6948488" y="4724407"/>
            <a:ext cx="144462" cy="14446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5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4" name="Title 8"/>
          <p:cNvSpPr txBox="1">
            <a:spLocks/>
          </p:cNvSpPr>
          <p:nvPr/>
        </p:nvSpPr>
        <p:spPr>
          <a:xfrm rot="20073821">
            <a:off x="7844445" y="5490843"/>
            <a:ext cx="1361738" cy="509215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te-IN" dirty="0" smtClean="0">
                <a:latin typeface="Ramabhadra" pitchFamily="2" charset="0"/>
                <a:ea typeface="+mj-ea"/>
                <a:cs typeface="Ramabhadra" pitchFamily="2" charset="0"/>
              </a:rPr>
              <a:t>న్యూజిలాండ్</a:t>
            </a:r>
            <a:endParaRPr lang="en-IN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5" name="Freeform 75"/>
          <p:cNvSpPr>
            <a:spLocks/>
          </p:cNvSpPr>
          <p:nvPr/>
        </p:nvSpPr>
        <p:spPr bwMode="auto">
          <a:xfrm>
            <a:off x="7729431" y="5152527"/>
            <a:ext cx="843534" cy="792879"/>
          </a:xfrm>
          <a:custGeom>
            <a:avLst/>
            <a:gdLst>
              <a:gd name="T0" fmla="*/ 24 w 631"/>
              <a:gd name="T1" fmla="*/ 296 h 358"/>
              <a:gd name="T2" fmla="*/ 50 w 631"/>
              <a:gd name="T3" fmla="*/ 290 h 358"/>
              <a:gd name="T4" fmla="*/ 65 w 631"/>
              <a:gd name="T5" fmla="*/ 277 h 358"/>
              <a:gd name="T6" fmla="*/ 79 w 631"/>
              <a:gd name="T7" fmla="*/ 253 h 358"/>
              <a:gd name="T8" fmla="*/ 100 w 631"/>
              <a:gd name="T9" fmla="*/ 256 h 358"/>
              <a:gd name="T10" fmla="*/ 126 w 631"/>
              <a:gd name="T11" fmla="*/ 253 h 358"/>
              <a:gd name="T12" fmla="*/ 141 w 631"/>
              <a:gd name="T13" fmla="*/ 247 h 358"/>
              <a:gd name="T14" fmla="*/ 162 w 631"/>
              <a:gd name="T15" fmla="*/ 229 h 358"/>
              <a:gd name="T16" fmla="*/ 180 w 631"/>
              <a:gd name="T17" fmla="*/ 208 h 358"/>
              <a:gd name="T18" fmla="*/ 211 w 631"/>
              <a:gd name="T19" fmla="*/ 192 h 358"/>
              <a:gd name="T20" fmla="*/ 260 w 631"/>
              <a:gd name="T21" fmla="*/ 175 h 358"/>
              <a:gd name="T22" fmla="*/ 329 w 631"/>
              <a:gd name="T23" fmla="*/ 152 h 358"/>
              <a:gd name="T24" fmla="*/ 361 w 631"/>
              <a:gd name="T25" fmla="*/ 137 h 358"/>
              <a:gd name="T26" fmla="*/ 392 w 631"/>
              <a:gd name="T27" fmla="*/ 130 h 358"/>
              <a:gd name="T28" fmla="*/ 406 w 631"/>
              <a:gd name="T29" fmla="*/ 127 h 358"/>
              <a:gd name="T30" fmla="*/ 440 w 631"/>
              <a:gd name="T31" fmla="*/ 107 h 358"/>
              <a:gd name="T32" fmla="*/ 469 w 631"/>
              <a:gd name="T33" fmla="*/ 80 h 358"/>
              <a:gd name="T34" fmla="*/ 478 w 631"/>
              <a:gd name="T35" fmla="*/ 63 h 358"/>
              <a:gd name="T36" fmla="*/ 504 w 631"/>
              <a:gd name="T37" fmla="*/ 58 h 358"/>
              <a:gd name="T38" fmla="*/ 537 w 631"/>
              <a:gd name="T39" fmla="*/ 36 h 358"/>
              <a:gd name="T40" fmla="*/ 568 w 631"/>
              <a:gd name="T41" fmla="*/ 11 h 358"/>
              <a:gd name="T42" fmla="*/ 591 w 631"/>
              <a:gd name="T43" fmla="*/ 0 h 358"/>
              <a:gd name="T44" fmla="*/ 602 w 631"/>
              <a:gd name="T45" fmla="*/ 22 h 358"/>
              <a:gd name="T46" fmla="*/ 617 w 631"/>
              <a:gd name="T47" fmla="*/ 30 h 358"/>
              <a:gd name="T48" fmla="*/ 625 w 631"/>
              <a:gd name="T49" fmla="*/ 46 h 358"/>
              <a:gd name="T50" fmla="*/ 601 w 631"/>
              <a:gd name="T51" fmla="*/ 88 h 358"/>
              <a:gd name="T52" fmla="*/ 568 w 631"/>
              <a:gd name="T53" fmla="*/ 125 h 358"/>
              <a:gd name="T54" fmla="*/ 529 w 631"/>
              <a:gd name="T55" fmla="*/ 154 h 358"/>
              <a:gd name="T56" fmla="*/ 487 w 631"/>
              <a:gd name="T57" fmla="*/ 173 h 358"/>
              <a:gd name="T58" fmla="*/ 445 w 631"/>
              <a:gd name="T59" fmla="*/ 180 h 358"/>
              <a:gd name="T60" fmla="*/ 438 w 631"/>
              <a:gd name="T61" fmla="*/ 197 h 358"/>
              <a:gd name="T62" fmla="*/ 433 w 631"/>
              <a:gd name="T63" fmla="*/ 200 h 358"/>
              <a:gd name="T64" fmla="*/ 395 w 631"/>
              <a:gd name="T65" fmla="*/ 199 h 358"/>
              <a:gd name="T66" fmla="*/ 367 w 631"/>
              <a:gd name="T67" fmla="*/ 210 h 358"/>
              <a:gd name="T68" fmla="*/ 347 w 631"/>
              <a:gd name="T69" fmla="*/ 212 h 358"/>
              <a:gd name="T70" fmla="*/ 338 w 631"/>
              <a:gd name="T71" fmla="*/ 204 h 358"/>
              <a:gd name="T72" fmla="*/ 313 w 631"/>
              <a:gd name="T73" fmla="*/ 241 h 358"/>
              <a:gd name="T74" fmla="*/ 272 w 631"/>
              <a:gd name="T75" fmla="*/ 280 h 358"/>
              <a:gd name="T76" fmla="*/ 220 w 631"/>
              <a:gd name="T77" fmla="*/ 315 h 358"/>
              <a:gd name="T78" fmla="*/ 164 w 631"/>
              <a:gd name="T79" fmla="*/ 343 h 358"/>
              <a:gd name="T80" fmla="*/ 110 w 631"/>
              <a:gd name="T81" fmla="*/ 357 h 358"/>
              <a:gd name="T82" fmla="*/ 71 w 631"/>
              <a:gd name="T83" fmla="*/ 356 h 358"/>
              <a:gd name="T84" fmla="*/ 56 w 631"/>
              <a:gd name="T85" fmla="*/ 348 h 358"/>
              <a:gd name="T86" fmla="*/ 33 w 631"/>
              <a:gd name="T87" fmla="*/ 340 h 35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631"/>
              <a:gd name="T133" fmla="*/ 0 h 358"/>
              <a:gd name="T134" fmla="*/ 631 w 631"/>
              <a:gd name="T135" fmla="*/ 358 h 35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631" h="358">
                <a:moveTo>
                  <a:pt x="0" y="327"/>
                </a:moveTo>
                <a:lnTo>
                  <a:pt x="7" y="297"/>
                </a:lnTo>
                <a:lnTo>
                  <a:pt x="24" y="296"/>
                </a:lnTo>
                <a:lnTo>
                  <a:pt x="39" y="293"/>
                </a:lnTo>
                <a:lnTo>
                  <a:pt x="44" y="292"/>
                </a:lnTo>
                <a:lnTo>
                  <a:pt x="50" y="290"/>
                </a:lnTo>
                <a:lnTo>
                  <a:pt x="54" y="287"/>
                </a:lnTo>
                <a:lnTo>
                  <a:pt x="58" y="285"/>
                </a:lnTo>
                <a:lnTo>
                  <a:pt x="65" y="277"/>
                </a:lnTo>
                <a:lnTo>
                  <a:pt x="70" y="270"/>
                </a:lnTo>
                <a:lnTo>
                  <a:pt x="75" y="262"/>
                </a:lnTo>
                <a:lnTo>
                  <a:pt x="79" y="253"/>
                </a:lnTo>
                <a:lnTo>
                  <a:pt x="87" y="255"/>
                </a:lnTo>
                <a:lnTo>
                  <a:pt x="93" y="256"/>
                </a:lnTo>
                <a:lnTo>
                  <a:pt x="100" y="256"/>
                </a:lnTo>
                <a:lnTo>
                  <a:pt x="106" y="256"/>
                </a:lnTo>
                <a:lnTo>
                  <a:pt x="116" y="254"/>
                </a:lnTo>
                <a:lnTo>
                  <a:pt x="126" y="253"/>
                </a:lnTo>
                <a:lnTo>
                  <a:pt x="131" y="252"/>
                </a:lnTo>
                <a:lnTo>
                  <a:pt x="136" y="250"/>
                </a:lnTo>
                <a:lnTo>
                  <a:pt x="141" y="247"/>
                </a:lnTo>
                <a:lnTo>
                  <a:pt x="145" y="244"/>
                </a:lnTo>
                <a:lnTo>
                  <a:pt x="153" y="237"/>
                </a:lnTo>
                <a:lnTo>
                  <a:pt x="162" y="229"/>
                </a:lnTo>
                <a:lnTo>
                  <a:pt x="168" y="220"/>
                </a:lnTo>
                <a:lnTo>
                  <a:pt x="175" y="213"/>
                </a:lnTo>
                <a:lnTo>
                  <a:pt x="180" y="208"/>
                </a:lnTo>
                <a:lnTo>
                  <a:pt x="186" y="204"/>
                </a:lnTo>
                <a:lnTo>
                  <a:pt x="199" y="198"/>
                </a:lnTo>
                <a:lnTo>
                  <a:pt x="211" y="192"/>
                </a:lnTo>
                <a:lnTo>
                  <a:pt x="223" y="187"/>
                </a:lnTo>
                <a:lnTo>
                  <a:pt x="235" y="182"/>
                </a:lnTo>
                <a:lnTo>
                  <a:pt x="260" y="175"/>
                </a:lnTo>
                <a:lnTo>
                  <a:pt x="283" y="167"/>
                </a:lnTo>
                <a:lnTo>
                  <a:pt x="308" y="160"/>
                </a:lnTo>
                <a:lnTo>
                  <a:pt x="329" y="152"/>
                </a:lnTo>
                <a:lnTo>
                  <a:pt x="340" y="147"/>
                </a:lnTo>
                <a:lnTo>
                  <a:pt x="351" y="142"/>
                </a:lnTo>
                <a:lnTo>
                  <a:pt x="361" y="137"/>
                </a:lnTo>
                <a:lnTo>
                  <a:pt x="372" y="130"/>
                </a:lnTo>
                <a:lnTo>
                  <a:pt x="382" y="130"/>
                </a:lnTo>
                <a:lnTo>
                  <a:pt x="392" y="130"/>
                </a:lnTo>
                <a:lnTo>
                  <a:pt x="396" y="130"/>
                </a:lnTo>
                <a:lnTo>
                  <a:pt x="401" y="129"/>
                </a:lnTo>
                <a:lnTo>
                  <a:pt x="406" y="127"/>
                </a:lnTo>
                <a:lnTo>
                  <a:pt x="413" y="124"/>
                </a:lnTo>
                <a:lnTo>
                  <a:pt x="426" y="117"/>
                </a:lnTo>
                <a:lnTo>
                  <a:pt x="440" y="107"/>
                </a:lnTo>
                <a:lnTo>
                  <a:pt x="454" y="97"/>
                </a:lnTo>
                <a:lnTo>
                  <a:pt x="465" y="86"/>
                </a:lnTo>
                <a:lnTo>
                  <a:pt x="469" y="80"/>
                </a:lnTo>
                <a:lnTo>
                  <a:pt x="473" y="74"/>
                </a:lnTo>
                <a:lnTo>
                  <a:pt x="477" y="69"/>
                </a:lnTo>
                <a:lnTo>
                  <a:pt x="478" y="63"/>
                </a:lnTo>
                <a:lnTo>
                  <a:pt x="488" y="62"/>
                </a:lnTo>
                <a:lnTo>
                  <a:pt x="496" y="61"/>
                </a:lnTo>
                <a:lnTo>
                  <a:pt x="504" y="58"/>
                </a:lnTo>
                <a:lnTo>
                  <a:pt x="512" y="54"/>
                </a:lnTo>
                <a:lnTo>
                  <a:pt x="525" y="46"/>
                </a:lnTo>
                <a:lnTo>
                  <a:pt x="537" y="36"/>
                </a:lnTo>
                <a:lnTo>
                  <a:pt x="549" y="26"/>
                </a:lnTo>
                <a:lnTo>
                  <a:pt x="561" y="16"/>
                </a:lnTo>
                <a:lnTo>
                  <a:pt x="568" y="11"/>
                </a:lnTo>
                <a:lnTo>
                  <a:pt x="575" y="7"/>
                </a:lnTo>
                <a:lnTo>
                  <a:pt x="583" y="4"/>
                </a:lnTo>
                <a:lnTo>
                  <a:pt x="591" y="0"/>
                </a:lnTo>
                <a:lnTo>
                  <a:pt x="594" y="10"/>
                </a:lnTo>
                <a:lnTo>
                  <a:pt x="597" y="16"/>
                </a:lnTo>
                <a:lnTo>
                  <a:pt x="602" y="22"/>
                </a:lnTo>
                <a:lnTo>
                  <a:pt x="606" y="25"/>
                </a:lnTo>
                <a:lnTo>
                  <a:pt x="612" y="28"/>
                </a:lnTo>
                <a:lnTo>
                  <a:pt x="617" y="30"/>
                </a:lnTo>
                <a:lnTo>
                  <a:pt x="624" y="31"/>
                </a:lnTo>
                <a:lnTo>
                  <a:pt x="631" y="31"/>
                </a:lnTo>
                <a:lnTo>
                  <a:pt x="625" y="46"/>
                </a:lnTo>
                <a:lnTo>
                  <a:pt x="618" y="61"/>
                </a:lnTo>
                <a:lnTo>
                  <a:pt x="611" y="75"/>
                </a:lnTo>
                <a:lnTo>
                  <a:pt x="601" y="88"/>
                </a:lnTo>
                <a:lnTo>
                  <a:pt x="591" y="101"/>
                </a:lnTo>
                <a:lnTo>
                  <a:pt x="580" y="114"/>
                </a:lnTo>
                <a:lnTo>
                  <a:pt x="568" y="125"/>
                </a:lnTo>
                <a:lnTo>
                  <a:pt x="556" y="136"/>
                </a:lnTo>
                <a:lnTo>
                  <a:pt x="543" y="145"/>
                </a:lnTo>
                <a:lnTo>
                  <a:pt x="529" y="154"/>
                </a:lnTo>
                <a:lnTo>
                  <a:pt x="515" y="161"/>
                </a:lnTo>
                <a:lnTo>
                  <a:pt x="501" y="167"/>
                </a:lnTo>
                <a:lnTo>
                  <a:pt x="487" y="173"/>
                </a:lnTo>
                <a:lnTo>
                  <a:pt x="473" y="177"/>
                </a:lnTo>
                <a:lnTo>
                  <a:pt x="459" y="179"/>
                </a:lnTo>
                <a:lnTo>
                  <a:pt x="445" y="180"/>
                </a:lnTo>
                <a:lnTo>
                  <a:pt x="443" y="189"/>
                </a:lnTo>
                <a:lnTo>
                  <a:pt x="439" y="195"/>
                </a:lnTo>
                <a:lnTo>
                  <a:pt x="438" y="197"/>
                </a:lnTo>
                <a:lnTo>
                  <a:pt x="436" y="199"/>
                </a:lnTo>
                <a:lnTo>
                  <a:pt x="435" y="200"/>
                </a:lnTo>
                <a:lnTo>
                  <a:pt x="433" y="200"/>
                </a:lnTo>
                <a:lnTo>
                  <a:pt x="422" y="199"/>
                </a:lnTo>
                <a:lnTo>
                  <a:pt x="405" y="198"/>
                </a:lnTo>
                <a:lnTo>
                  <a:pt x="395" y="199"/>
                </a:lnTo>
                <a:lnTo>
                  <a:pt x="385" y="202"/>
                </a:lnTo>
                <a:lnTo>
                  <a:pt x="376" y="206"/>
                </a:lnTo>
                <a:lnTo>
                  <a:pt x="367" y="210"/>
                </a:lnTo>
                <a:lnTo>
                  <a:pt x="358" y="213"/>
                </a:lnTo>
                <a:lnTo>
                  <a:pt x="351" y="213"/>
                </a:lnTo>
                <a:lnTo>
                  <a:pt x="347" y="212"/>
                </a:lnTo>
                <a:lnTo>
                  <a:pt x="344" y="211"/>
                </a:lnTo>
                <a:lnTo>
                  <a:pt x="342" y="208"/>
                </a:lnTo>
                <a:lnTo>
                  <a:pt x="338" y="204"/>
                </a:lnTo>
                <a:lnTo>
                  <a:pt x="333" y="216"/>
                </a:lnTo>
                <a:lnTo>
                  <a:pt x="324" y="229"/>
                </a:lnTo>
                <a:lnTo>
                  <a:pt x="313" y="241"/>
                </a:lnTo>
                <a:lnTo>
                  <a:pt x="301" y="254"/>
                </a:lnTo>
                <a:lnTo>
                  <a:pt x="288" y="267"/>
                </a:lnTo>
                <a:lnTo>
                  <a:pt x="272" y="280"/>
                </a:lnTo>
                <a:lnTo>
                  <a:pt x="256" y="293"/>
                </a:lnTo>
                <a:lnTo>
                  <a:pt x="238" y="304"/>
                </a:lnTo>
                <a:lnTo>
                  <a:pt x="220" y="315"/>
                </a:lnTo>
                <a:lnTo>
                  <a:pt x="202" y="325"/>
                </a:lnTo>
                <a:lnTo>
                  <a:pt x="182" y="334"/>
                </a:lnTo>
                <a:lnTo>
                  <a:pt x="164" y="343"/>
                </a:lnTo>
                <a:lnTo>
                  <a:pt x="145" y="349"/>
                </a:lnTo>
                <a:lnTo>
                  <a:pt x="127" y="354"/>
                </a:lnTo>
                <a:lnTo>
                  <a:pt x="110" y="357"/>
                </a:lnTo>
                <a:lnTo>
                  <a:pt x="93" y="358"/>
                </a:lnTo>
                <a:lnTo>
                  <a:pt x="80" y="358"/>
                </a:lnTo>
                <a:lnTo>
                  <a:pt x="71" y="356"/>
                </a:lnTo>
                <a:lnTo>
                  <a:pt x="65" y="354"/>
                </a:lnTo>
                <a:lnTo>
                  <a:pt x="60" y="351"/>
                </a:lnTo>
                <a:lnTo>
                  <a:pt x="56" y="348"/>
                </a:lnTo>
                <a:lnTo>
                  <a:pt x="51" y="345"/>
                </a:lnTo>
                <a:lnTo>
                  <a:pt x="44" y="343"/>
                </a:lnTo>
                <a:lnTo>
                  <a:pt x="33" y="340"/>
                </a:lnTo>
                <a:lnTo>
                  <a:pt x="0" y="327"/>
                </a:lnTo>
              </a:path>
            </a:pathLst>
          </a:custGeom>
          <a:solidFill>
            <a:srgbClr val="0000FF"/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Ramabhadra" pitchFamily="2" charset="0"/>
              <a:cs typeface="Ramabhadra" pitchFamily="2" charset="0"/>
            </a:endParaRPr>
          </a:p>
        </p:txBody>
      </p:sp>
      <p:grpSp>
        <p:nvGrpSpPr>
          <p:cNvPr id="2" name="Group 73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7720019" y="4381507"/>
            <a:ext cx="1423987" cy="1714512"/>
            <a:chOff x="5372" y="3323"/>
            <a:chExt cx="341" cy="253"/>
          </a:xfrm>
          <a:solidFill>
            <a:srgbClr val="0000FF"/>
          </a:solidFill>
        </p:grpSpPr>
        <p:sp>
          <p:nvSpPr>
            <p:cNvPr id="27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33"/>
                <a:gd name="T50" fmla="*/ 53 w 53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Ramabhadra" pitchFamily="2" charset="0"/>
                <a:cs typeface="Ramabhadra" pitchFamily="2" charset="0"/>
              </a:endParaRPr>
            </a:p>
          </p:txBody>
        </p:sp>
        <p:sp>
          <p:nvSpPr>
            <p:cNvPr id="29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9"/>
                <a:gd name="T154" fmla="*/ 0 h 431"/>
                <a:gd name="T155" fmla="*/ 359 w 359"/>
                <a:gd name="T156" fmla="*/ 431 h 4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Ramabhadra" pitchFamily="2" charset="0"/>
                <a:cs typeface="Ramabhadra" pitchFamily="2" charset="0"/>
              </a:endParaRPr>
            </a:p>
          </p:txBody>
        </p:sp>
      </p:grpSp>
      <p:sp>
        <p:nvSpPr>
          <p:cNvPr id="30" name="Rectangle 1"/>
          <p:cNvSpPr>
            <a:spLocks noChangeArrowheads="1"/>
          </p:cNvSpPr>
          <p:nvPr/>
        </p:nvSpPr>
        <p:spPr bwMode="auto">
          <a:xfrm rot="17164527">
            <a:off x="4365931" y="625572"/>
            <a:ext cx="18178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/>
            <a:r>
              <a:rPr lang="en-US" sz="1400" dirty="0" err="1" smtClean="0">
                <a:latin typeface="Ramabhadra" pitchFamily="2" charset="0"/>
                <a:cs typeface="Ramabhadra" pitchFamily="2" charset="0"/>
              </a:rPr>
              <a:t>కార్పెంటేరియా</a:t>
            </a:r>
            <a:r>
              <a:rPr lang="en-US" sz="1400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400" dirty="0" err="1" smtClean="0">
                <a:latin typeface="Ramabhadra" pitchFamily="2" charset="0"/>
                <a:cs typeface="Ramabhadra" pitchFamily="2" charset="0"/>
              </a:rPr>
              <a:t>సింధూశాఖ</a:t>
            </a:r>
            <a:endParaRPr lang="en-US" sz="14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6068060" y="5720080"/>
            <a:ext cx="607060" cy="585448"/>
          </a:xfrm>
          <a:custGeom>
            <a:avLst/>
            <a:gdLst>
              <a:gd name="connsiteX0" fmla="*/ 27940 w 607060"/>
              <a:gd name="connsiteY0" fmla="*/ 7620 h 439086"/>
              <a:gd name="connsiteX1" fmla="*/ 241300 w 607060"/>
              <a:gd name="connsiteY1" fmla="*/ 53340 h 439086"/>
              <a:gd name="connsiteX2" fmla="*/ 287020 w 607060"/>
              <a:gd name="connsiteY2" fmla="*/ 83820 h 439086"/>
              <a:gd name="connsiteX3" fmla="*/ 378460 w 607060"/>
              <a:gd name="connsiteY3" fmla="*/ 114300 h 439086"/>
              <a:gd name="connsiteX4" fmla="*/ 485140 w 607060"/>
              <a:gd name="connsiteY4" fmla="*/ 83820 h 439086"/>
              <a:gd name="connsiteX5" fmla="*/ 530860 w 607060"/>
              <a:gd name="connsiteY5" fmla="*/ 68580 h 439086"/>
              <a:gd name="connsiteX6" fmla="*/ 591820 w 607060"/>
              <a:gd name="connsiteY6" fmla="*/ 83820 h 439086"/>
              <a:gd name="connsiteX7" fmla="*/ 607060 w 607060"/>
              <a:gd name="connsiteY7" fmla="*/ 129540 h 439086"/>
              <a:gd name="connsiteX8" fmla="*/ 591820 w 607060"/>
              <a:gd name="connsiteY8" fmla="*/ 220980 h 439086"/>
              <a:gd name="connsiteX9" fmla="*/ 500380 w 607060"/>
              <a:gd name="connsiteY9" fmla="*/ 312420 h 439086"/>
              <a:gd name="connsiteX10" fmla="*/ 439420 w 607060"/>
              <a:gd name="connsiteY10" fmla="*/ 327660 h 439086"/>
              <a:gd name="connsiteX11" fmla="*/ 347980 w 607060"/>
              <a:gd name="connsiteY11" fmla="*/ 388620 h 439086"/>
              <a:gd name="connsiteX12" fmla="*/ 256540 w 607060"/>
              <a:gd name="connsiteY12" fmla="*/ 419100 h 439086"/>
              <a:gd name="connsiteX13" fmla="*/ 149860 w 607060"/>
              <a:gd name="connsiteY13" fmla="*/ 190500 h 439086"/>
              <a:gd name="connsiteX14" fmla="*/ 73660 w 607060"/>
              <a:gd name="connsiteY14" fmla="*/ 99060 h 439086"/>
              <a:gd name="connsiteX15" fmla="*/ 27940 w 607060"/>
              <a:gd name="connsiteY15" fmla="*/ 7620 h 439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7060" h="439086">
                <a:moveTo>
                  <a:pt x="27940" y="7620"/>
                </a:moveTo>
                <a:cubicBezTo>
                  <a:pt x="55880" y="0"/>
                  <a:pt x="191187" y="19931"/>
                  <a:pt x="241300" y="53340"/>
                </a:cubicBezTo>
                <a:cubicBezTo>
                  <a:pt x="256540" y="63500"/>
                  <a:pt x="270282" y="76381"/>
                  <a:pt x="287020" y="83820"/>
                </a:cubicBezTo>
                <a:cubicBezTo>
                  <a:pt x="316380" y="96869"/>
                  <a:pt x="378460" y="114300"/>
                  <a:pt x="378460" y="114300"/>
                </a:cubicBezTo>
                <a:lnTo>
                  <a:pt x="485140" y="83820"/>
                </a:lnTo>
                <a:cubicBezTo>
                  <a:pt x="500527" y="79204"/>
                  <a:pt x="514796" y="68580"/>
                  <a:pt x="530860" y="68580"/>
                </a:cubicBezTo>
                <a:cubicBezTo>
                  <a:pt x="551805" y="68580"/>
                  <a:pt x="571500" y="78740"/>
                  <a:pt x="591820" y="83820"/>
                </a:cubicBezTo>
                <a:cubicBezTo>
                  <a:pt x="596900" y="99060"/>
                  <a:pt x="607060" y="113476"/>
                  <a:pt x="607060" y="129540"/>
                </a:cubicBezTo>
                <a:cubicBezTo>
                  <a:pt x="607060" y="160440"/>
                  <a:pt x="603296" y="192290"/>
                  <a:pt x="591820" y="220980"/>
                </a:cubicBezTo>
                <a:cubicBezTo>
                  <a:pt x="577707" y="256264"/>
                  <a:pt x="536517" y="296933"/>
                  <a:pt x="500380" y="312420"/>
                </a:cubicBezTo>
                <a:cubicBezTo>
                  <a:pt x="481128" y="320671"/>
                  <a:pt x="459740" y="322580"/>
                  <a:pt x="439420" y="327660"/>
                </a:cubicBezTo>
                <a:cubicBezTo>
                  <a:pt x="408940" y="347980"/>
                  <a:pt x="382733" y="377036"/>
                  <a:pt x="347980" y="388620"/>
                </a:cubicBezTo>
                <a:lnTo>
                  <a:pt x="256540" y="419100"/>
                </a:lnTo>
                <a:cubicBezTo>
                  <a:pt x="83316" y="390229"/>
                  <a:pt x="193728" y="439086"/>
                  <a:pt x="149860" y="190500"/>
                </a:cubicBezTo>
                <a:cubicBezTo>
                  <a:pt x="145313" y="164736"/>
                  <a:pt x="87748" y="113148"/>
                  <a:pt x="73660" y="99060"/>
                </a:cubicBezTo>
                <a:cubicBezTo>
                  <a:pt x="56814" y="48521"/>
                  <a:pt x="0" y="15240"/>
                  <a:pt x="27940" y="7620"/>
                </a:cubicBez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4" name="Footer Placeholder 6"/>
          <p:cNvSpPr>
            <a:spLocks noGrp="1"/>
          </p:cNvSpPr>
          <p:nvPr>
            <p:ph type="ftr" sz="quarter" idx="11"/>
          </p:nvPr>
        </p:nvSpPr>
        <p:spPr>
          <a:xfrm rot="5400000">
            <a:off x="-1710561" y="3317081"/>
            <a:ext cx="3860800" cy="274638"/>
          </a:xfrm>
        </p:spPr>
        <p:txBody>
          <a:bodyPr/>
          <a:lstStyle/>
          <a:p>
            <a:pPr>
              <a:defRPr/>
            </a:pPr>
            <a:r>
              <a:rPr lang="te-IN" sz="1400" dirty="0" smtClean="0">
                <a:latin typeface="Ramabhadra" pitchFamily="2" charset="0"/>
                <a:cs typeface="Ramabhadra" pitchFamily="2" charset="0"/>
              </a:rPr>
              <a:t>సురేష్ - శ్రీకాళహస్తి</a:t>
            </a:r>
            <a:endParaRPr lang="en-US" sz="14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1" name="Isosceles Triangle 30"/>
          <p:cNvSpPr/>
          <p:nvPr/>
        </p:nvSpPr>
        <p:spPr>
          <a:xfrm>
            <a:off x="6579587" y="2666995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2" name="Isosceles Triangle 31"/>
          <p:cNvSpPr/>
          <p:nvPr/>
        </p:nvSpPr>
        <p:spPr>
          <a:xfrm>
            <a:off x="7006593" y="3502917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5" name="Isosceles Triangle 34"/>
          <p:cNvSpPr/>
          <p:nvPr/>
        </p:nvSpPr>
        <p:spPr>
          <a:xfrm>
            <a:off x="6286512" y="4667259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6" name="Isosceles Triangle 35"/>
          <p:cNvSpPr/>
          <p:nvPr/>
        </p:nvSpPr>
        <p:spPr>
          <a:xfrm>
            <a:off x="6786578" y="3779549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7" name="Isosceles Triangle 36"/>
          <p:cNvSpPr/>
          <p:nvPr/>
        </p:nvSpPr>
        <p:spPr>
          <a:xfrm>
            <a:off x="6143637" y="2000240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8" name="Isosceles Triangle 37"/>
          <p:cNvSpPr/>
          <p:nvPr/>
        </p:nvSpPr>
        <p:spPr>
          <a:xfrm>
            <a:off x="6508149" y="2285992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9" name="Rectangle 1"/>
          <p:cNvSpPr>
            <a:spLocks noChangeArrowheads="1"/>
          </p:cNvSpPr>
          <p:nvPr/>
        </p:nvSpPr>
        <p:spPr bwMode="auto">
          <a:xfrm>
            <a:off x="4143375" y="3930102"/>
            <a:ext cx="11977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e-IN" sz="1600" dirty="0" smtClean="0">
                <a:latin typeface="Ramabhadra" pitchFamily="2" charset="0"/>
                <a:cs typeface="Ramabhadra" pitchFamily="2" charset="0"/>
              </a:rPr>
              <a:t>టోరెన్స్ సరస్సు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0" name="Rectangle 1"/>
          <p:cNvSpPr>
            <a:spLocks noChangeArrowheads="1"/>
          </p:cNvSpPr>
          <p:nvPr/>
        </p:nvSpPr>
        <p:spPr bwMode="auto">
          <a:xfrm>
            <a:off x="4143372" y="3429000"/>
            <a:ext cx="114243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e-IN" sz="1600" dirty="0" smtClean="0">
                <a:latin typeface="Ramabhadra" pitchFamily="2" charset="0"/>
                <a:cs typeface="Ramabhadra" pitchFamily="2" charset="0"/>
              </a:rPr>
              <a:t>ఐర్ సరస్సు</a:t>
            </a:r>
            <a:endParaRPr kumimoji="0" lang="en-US" sz="16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5214948" y="3714756"/>
            <a:ext cx="159007" cy="213961"/>
          </a:xfrm>
          <a:custGeom>
            <a:avLst/>
            <a:gdLst>
              <a:gd name="connsiteX0" fmla="*/ 53173 w 112550"/>
              <a:gd name="connsiteY0" fmla="*/ 17473 h 95340"/>
              <a:gd name="connsiteX1" fmla="*/ 41298 w 112550"/>
              <a:gd name="connsiteY1" fmla="*/ 88725 h 95340"/>
              <a:gd name="connsiteX2" fmla="*/ 112550 w 112550"/>
              <a:gd name="connsiteY2" fmla="*/ 76850 h 95340"/>
              <a:gd name="connsiteX3" fmla="*/ 88799 w 112550"/>
              <a:gd name="connsiteY3" fmla="*/ 41224 h 95340"/>
              <a:gd name="connsiteX4" fmla="*/ 76924 w 112550"/>
              <a:gd name="connsiteY4" fmla="*/ 5598 h 95340"/>
              <a:gd name="connsiteX5" fmla="*/ 53173 w 112550"/>
              <a:gd name="connsiteY5" fmla="*/ 17473 h 95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550" h="95340">
                <a:moveTo>
                  <a:pt x="53173" y="17473"/>
                </a:moveTo>
                <a:cubicBezTo>
                  <a:pt x="47235" y="31328"/>
                  <a:pt x="0" y="76925"/>
                  <a:pt x="41298" y="88725"/>
                </a:cubicBezTo>
                <a:cubicBezTo>
                  <a:pt x="64450" y="95340"/>
                  <a:pt x="88799" y="80808"/>
                  <a:pt x="112550" y="76850"/>
                </a:cubicBezTo>
                <a:cubicBezTo>
                  <a:pt x="104633" y="64975"/>
                  <a:pt x="95182" y="53990"/>
                  <a:pt x="88799" y="41224"/>
                </a:cubicBezTo>
                <a:cubicBezTo>
                  <a:pt x="83201" y="30028"/>
                  <a:pt x="88120" y="11196"/>
                  <a:pt x="76924" y="5598"/>
                </a:cubicBezTo>
                <a:cubicBezTo>
                  <a:pt x="65728" y="0"/>
                  <a:pt x="59111" y="3619"/>
                  <a:pt x="53173" y="17473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5168491" y="4003791"/>
            <a:ext cx="117895" cy="282469"/>
          </a:xfrm>
          <a:custGeom>
            <a:avLst/>
            <a:gdLst>
              <a:gd name="connsiteX0" fmla="*/ 53173 w 112550"/>
              <a:gd name="connsiteY0" fmla="*/ 17473 h 95340"/>
              <a:gd name="connsiteX1" fmla="*/ 41298 w 112550"/>
              <a:gd name="connsiteY1" fmla="*/ 88725 h 95340"/>
              <a:gd name="connsiteX2" fmla="*/ 112550 w 112550"/>
              <a:gd name="connsiteY2" fmla="*/ 76850 h 95340"/>
              <a:gd name="connsiteX3" fmla="*/ 88799 w 112550"/>
              <a:gd name="connsiteY3" fmla="*/ 41224 h 95340"/>
              <a:gd name="connsiteX4" fmla="*/ 76924 w 112550"/>
              <a:gd name="connsiteY4" fmla="*/ 5598 h 95340"/>
              <a:gd name="connsiteX5" fmla="*/ 53173 w 112550"/>
              <a:gd name="connsiteY5" fmla="*/ 17473 h 95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2550" h="95340">
                <a:moveTo>
                  <a:pt x="53173" y="17473"/>
                </a:moveTo>
                <a:cubicBezTo>
                  <a:pt x="47235" y="31328"/>
                  <a:pt x="0" y="76925"/>
                  <a:pt x="41298" y="88725"/>
                </a:cubicBezTo>
                <a:cubicBezTo>
                  <a:pt x="64450" y="95340"/>
                  <a:pt x="88799" y="80808"/>
                  <a:pt x="112550" y="76850"/>
                </a:cubicBezTo>
                <a:cubicBezTo>
                  <a:pt x="104633" y="64975"/>
                  <a:pt x="95182" y="53990"/>
                  <a:pt x="88799" y="41224"/>
                </a:cubicBezTo>
                <a:cubicBezTo>
                  <a:pt x="83201" y="30028"/>
                  <a:pt x="88120" y="11196"/>
                  <a:pt x="76924" y="5598"/>
                </a:cubicBezTo>
                <a:cubicBezTo>
                  <a:pt x="65728" y="0"/>
                  <a:pt x="59111" y="3619"/>
                  <a:pt x="53173" y="17473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4" name="Freeform 43"/>
          <p:cNvSpPr/>
          <p:nvPr/>
        </p:nvSpPr>
        <p:spPr>
          <a:xfrm>
            <a:off x="1571605" y="2190744"/>
            <a:ext cx="2857520" cy="1905013"/>
          </a:xfrm>
          <a:custGeom>
            <a:avLst/>
            <a:gdLst>
              <a:gd name="connsiteX0" fmla="*/ 335349 w 560981"/>
              <a:gd name="connsiteY0" fmla="*/ 5938 h 457200"/>
              <a:gd name="connsiteX1" fmla="*/ 513479 w 560981"/>
              <a:gd name="connsiteY1" fmla="*/ 17813 h 457200"/>
              <a:gd name="connsiteX2" fmla="*/ 537230 w 560981"/>
              <a:gd name="connsiteY2" fmla="*/ 53439 h 457200"/>
              <a:gd name="connsiteX3" fmla="*/ 560981 w 560981"/>
              <a:gd name="connsiteY3" fmla="*/ 124691 h 457200"/>
              <a:gd name="connsiteX4" fmla="*/ 549105 w 560981"/>
              <a:gd name="connsiteY4" fmla="*/ 184068 h 457200"/>
              <a:gd name="connsiteX5" fmla="*/ 525355 w 560981"/>
              <a:gd name="connsiteY5" fmla="*/ 219694 h 457200"/>
              <a:gd name="connsiteX6" fmla="*/ 477853 w 560981"/>
              <a:gd name="connsiteY6" fmla="*/ 302821 h 457200"/>
              <a:gd name="connsiteX7" fmla="*/ 406601 w 560981"/>
              <a:gd name="connsiteY7" fmla="*/ 290946 h 457200"/>
              <a:gd name="connsiteX8" fmla="*/ 359100 w 560981"/>
              <a:gd name="connsiteY8" fmla="*/ 338447 h 457200"/>
              <a:gd name="connsiteX9" fmla="*/ 287848 w 560981"/>
              <a:gd name="connsiteY9" fmla="*/ 385948 h 457200"/>
              <a:gd name="connsiteX10" fmla="*/ 216596 w 560981"/>
              <a:gd name="connsiteY10" fmla="*/ 409699 h 457200"/>
              <a:gd name="connsiteX11" fmla="*/ 180970 w 560981"/>
              <a:gd name="connsiteY11" fmla="*/ 421574 h 457200"/>
              <a:gd name="connsiteX12" fmla="*/ 109718 w 560981"/>
              <a:gd name="connsiteY12" fmla="*/ 457200 h 457200"/>
              <a:gd name="connsiteX13" fmla="*/ 50342 w 560981"/>
              <a:gd name="connsiteY13" fmla="*/ 445325 h 457200"/>
              <a:gd name="connsiteX14" fmla="*/ 2840 w 560981"/>
              <a:gd name="connsiteY14" fmla="*/ 374073 h 457200"/>
              <a:gd name="connsiteX15" fmla="*/ 14716 w 560981"/>
              <a:gd name="connsiteY15" fmla="*/ 255320 h 457200"/>
              <a:gd name="connsiteX16" fmla="*/ 26591 w 560981"/>
              <a:gd name="connsiteY16" fmla="*/ 219694 h 457200"/>
              <a:gd name="connsiteX17" fmla="*/ 62217 w 560981"/>
              <a:gd name="connsiteY17" fmla="*/ 195943 h 457200"/>
              <a:gd name="connsiteX18" fmla="*/ 97843 w 560981"/>
              <a:gd name="connsiteY18" fmla="*/ 184068 h 457200"/>
              <a:gd name="connsiteX19" fmla="*/ 109718 w 560981"/>
              <a:gd name="connsiteY19" fmla="*/ 148442 h 457200"/>
              <a:gd name="connsiteX20" fmla="*/ 180970 w 560981"/>
              <a:gd name="connsiteY20" fmla="*/ 124691 h 457200"/>
              <a:gd name="connsiteX21" fmla="*/ 204721 w 560981"/>
              <a:gd name="connsiteY21" fmla="*/ 89065 h 457200"/>
              <a:gd name="connsiteX22" fmla="*/ 287848 w 560981"/>
              <a:gd name="connsiteY22" fmla="*/ 53439 h 457200"/>
              <a:gd name="connsiteX23" fmla="*/ 335349 w 560981"/>
              <a:gd name="connsiteY23" fmla="*/ 5938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60981" h="457200">
                <a:moveTo>
                  <a:pt x="335349" y="5938"/>
                </a:moveTo>
                <a:cubicBezTo>
                  <a:pt x="372954" y="0"/>
                  <a:pt x="455552" y="4183"/>
                  <a:pt x="513479" y="17813"/>
                </a:cubicBezTo>
                <a:cubicBezTo>
                  <a:pt x="527372" y="21082"/>
                  <a:pt x="531433" y="40397"/>
                  <a:pt x="537230" y="53439"/>
                </a:cubicBezTo>
                <a:cubicBezTo>
                  <a:pt x="547398" y="76317"/>
                  <a:pt x="560981" y="124691"/>
                  <a:pt x="560981" y="124691"/>
                </a:cubicBezTo>
                <a:cubicBezTo>
                  <a:pt x="557022" y="144483"/>
                  <a:pt x="556192" y="165169"/>
                  <a:pt x="549105" y="184068"/>
                </a:cubicBezTo>
                <a:cubicBezTo>
                  <a:pt x="544094" y="197432"/>
                  <a:pt x="529868" y="206154"/>
                  <a:pt x="525355" y="219694"/>
                </a:cubicBezTo>
                <a:cubicBezTo>
                  <a:pt x="495747" y="308518"/>
                  <a:pt x="544470" y="280616"/>
                  <a:pt x="477853" y="302821"/>
                </a:cubicBezTo>
                <a:cubicBezTo>
                  <a:pt x="454102" y="298863"/>
                  <a:pt x="430679" y="290946"/>
                  <a:pt x="406601" y="290946"/>
                </a:cubicBezTo>
                <a:cubicBezTo>
                  <a:pt x="343265" y="290946"/>
                  <a:pt x="390768" y="306779"/>
                  <a:pt x="359100" y="338447"/>
                </a:cubicBezTo>
                <a:cubicBezTo>
                  <a:pt x="338916" y="358631"/>
                  <a:pt x="314928" y="376921"/>
                  <a:pt x="287848" y="385948"/>
                </a:cubicBezTo>
                <a:lnTo>
                  <a:pt x="216596" y="409699"/>
                </a:lnTo>
                <a:lnTo>
                  <a:pt x="180970" y="421574"/>
                </a:lnTo>
                <a:cubicBezTo>
                  <a:pt x="162957" y="433583"/>
                  <a:pt x="134302" y="457200"/>
                  <a:pt x="109718" y="457200"/>
                </a:cubicBezTo>
                <a:cubicBezTo>
                  <a:pt x="89534" y="457200"/>
                  <a:pt x="70134" y="449283"/>
                  <a:pt x="50342" y="445325"/>
                </a:cubicBezTo>
                <a:cubicBezTo>
                  <a:pt x="34508" y="421574"/>
                  <a:pt x="0" y="402476"/>
                  <a:pt x="2840" y="374073"/>
                </a:cubicBezTo>
                <a:cubicBezTo>
                  <a:pt x="6799" y="334489"/>
                  <a:pt x="8667" y="294639"/>
                  <a:pt x="14716" y="255320"/>
                </a:cubicBezTo>
                <a:cubicBezTo>
                  <a:pt x="16619" y="242948"/>
                  <a:pt x="18771" y="229469"/>
                  <a:pt x="26591" y="219694"/>
                </a:cubicBezTo>
                <a:cubicBezTo>
                  <a:pt x="35507" y="208549"/>
                  <a:pt x="49451" y="202326"/>
                  <a:pt x="62217" y="195943"/>
                </a:cubicBezTo>
                <a:cubicBezTo>
                  <a:pt x="73413" y="190345"/>
                  <a:pt x="85968" y="188026"/>
                  <a:pt x="97843" y="184068"/>
                </a:cubicBezTo>
                <a:cubicBezTo>
                  <a:pt x="101801" y="172193"/>
                  <a:pt x="99532" y="155718"/>
                  <a:pt x="109718" y="148442"/>
                </a:cubicBezTo>
                <a:cubicBezTo>
                  <a:pt x="130090" y="133890"/>
                  <a:pt x="180970" y="124691"/>
                  <a:pt x="180970" y="124691"/>
                </a:cubicBezTo>
                <a:cubicBezTo>
                  <a:pt x="188887" y="112816"/>
                  <a:pt x="194629" y="99157"/>
                  <a:pt x="204721" y="89065"/>
                </a:cubicBezTo>
                <a:cubicBezTo>
                  <a:pt x="232057" y="61730"/>
                  <a:pt x="251511" y="62524"/>
                  <a:pt x="287848" y="53439"/>
                </a:cubicBezTo>
                <a:cubicBezTo>
                  <a:pt x="303478" y="6547"/>
                  <a:pt x="297744" y="11876"/>
                  <a:pt x="335349" y="5938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6" name="Rectangle 2"/>
          <p:cNvSpPr>
            <a:spLocks noChangeArrowheads="1"/>
          </p:cNvSpPr>
          <p:nvPr/>
        </p:nvSpPr>
        <p:spPr bwMode="auto">
          <a:xfrm>
            <a:off x="5289554" y="310582"/>
            <a:ext cx="185421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te-IN" sz="1400" dirty="0" smtClean="0">
                <a:latin typeface="Ramabhadra" pitchFamily="2" charset="0"/>
                <a:cs typeface="Ramabhadra" pitchFamily="2" charset="0"/>
              </a:rPr>
              <a:t>టోరస్ జలసంధి</a:t>
            </a:r>
            <a:endParaRPr lang="en-US" sz="14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7" name="Rectangle 2"/>
          <p:cNvSpPr>
            <a:spLocks noChangeArrowheads="1"/>
          </p:cNvSpPr>
          <p:nvPr/>
        </p:nvSpPr>
        <p:spPr bwMode="auto">
          <a:xfrm rot="459980">
            <a:off x="5835672" y="5485689"/>
            <a:ext cx="123666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te-IN" sz="1600" dirty="0" smtClean="0">
                <a:latin typeface="Ramabhadra" pitchFamily="2" charset="0"/>
                <a:cs typeface="Ramabhadra" pitchFamily="2" charset="0"/>
              </a:rPr>
              <a:t>బాస్ జలసంధి</a:t>
            </a:r>
            <a:endParaRPr lang="en-US" sz="16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9" name="Rectangle 2"/>
          <p:cNvSpPr>
            <a:spLocks noChangeArrowheads="1"/>
          </p:cNvSpPr>
          <p:nvPr/>
        </p:nvSpPr>
        <p:spPr bwMode="auto">
          <a:xfrm rot="19786040">
            <a:off x="5118181" y="3747954"/>
            <a:ext cx="161458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/>
            <a:r>
              <a:rPr lang="te-IN" sz="2000" dirty="0" smtClean="0">
                <a:latin typeface="Ramabhadra" pitchFamily="2" charset="0"/>
                <a:cs typeface="Ramabhadra" pitchFamily="2" charset="0"/>
              </a:rPr>
              <a:t>ముర్రే నది</a:t>
            </a:r>
            <a:endParaRPr lang="en-US" sz="20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5" name="Rectangle 1"/>
          <p:cNvSpPr>
            <a:spLocks noChangeArrowheads="1"/>
          </p:cNvSpPr>
          <p:nvPr/>
        </p:nvSpPr>
        <p:spPr bwMode="auto">
          <a:xfrm>
            <a:off x="5572137" y="0"/>
            <a:ext cx="11224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/>
            <a:r>
              <a:rPr lang="en-US" dirty="0" err="1" smtClean="0">
                <a:solidFill>
                  <a:srgbClr val="C00000"/>
                </a:solidFill>
                <a:latin typeface="Sree Krushnadevaraya" pitchFamily="2" charset="0"/>
                <a:ea typeface="LakkiReddy" pitchFamily="2" charset="0"/>
                <a:cs typeface="Sree Krushnadevaraya" pitchFamily="2" charset="0"/>
              </a:rPr>
              <a:t>న్యూగినియా</a:t>
            </a:r>
            <a:endParaRPr lang="en-US" dirty="0">
              <a:solidFill>
                <a:srgbClr val="C00000"/>
              </a:solidFill>
              <a:latin typeface="Sree Krushnadevaraya" pitchFamily="2" charset="0"/>
              <a:ea typeface="LakkiReddy" pitchFamily="2" charset="0"/>
              <a:cs typeface="Sree Krushnadevaraya" pitchFamily="2" charset="0"/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5257800" y="2540000"/>
            <a:ext cx="1600200" cy="2286000"/>
          </a:xfrm>
          <a:custGeom>
            <a:avLst/>
            <a:gdLst>
              <a:gd name="connsiteX0" fmla="*/ 0 w 1600200"/>
              <a:gd name="connsiteY0" fmla="*/ 1714500 h 1714500"/>
              <a:gd name="connsiteX1" fmla="*/ 63500 w 1600200"/>
              <a:gd name="connsiteY1" fmla="*/ 1651000 h 1714500"/>
              <a:gd name="connsiteX2" fmla="*/ 88900 w 1600200"/>
              <a:gd name="connsiteY2" fmla="*/ 1485900 h 1714500"/>
              <a:gd name="connsiteX3" fmla="*/ 114300 w 1600200"/>
              <a:gd name="connsiteY3" fmla="*/ 1447800 h 1714500"/>
              <a:gd name="connsiteX4" fmla="*/ 203200 w 1600200"/>
              <a:gd name="connsiteY4" fmla="*/ 1409700 h 1714500"/>
              <a:gd name="connsiteX5" fmla="*/ 254000 w 1600200"/>
              <a:gd name="connsiteY5" fmla="*/ 1435100 h 1714500"/>
              <a:gd name="connsiteX6" fmla="*/ 304800 w 1600200"/>
              <a:gd name="connsiteY6" fmla="*/ 1447800 h 1714500"/>
              <a:gd name="connsiteX7" fmla="*/ 342900 w 1600200"/>
              <a:gd name="connsiteY7" fmla="*/ 1473200 h 1714500"/>
              <a:gd name="connsiteX8" fmla="*/ 533400 w 1600200"/>
              <a:gd name="connsiteY8" fmla="*/ 1460500 h 1714500"/>
              <a:gd name="connsiteX9" fmla="*/ 558800 w 1600200"/>
              <a:gd name="connsiteY9" fmla="*/ 1422400 h 1714500"/>
              <a:gd name="connsiteX10" fmla="*/ 571500 w 1600200"/>
              <a:gd name="connsiteY10" fmla="*/ 1333500 h 1714500"/>
              <a:gd name="connsiteX11" fmla="*/ 622300 w 1600200"/>
              <a:gd name="connsiteY11" fmla="*/ 1270000 h 1714500"/>
              <a:gd name="connsiteX12" fmla="*/ 660400 w 1600200"/>
              <a:gd name="connsiteY12" fmla="*/ 1231900 h 1714500"/>
              <a:gd name="connsiteX13" fmla="*/ 698500 w 1600200"/>
              <a:gd name="connsiteY13" fmla="*/ 1143000 h 1714500"/>
              <a:gd name="connsiteX14" fmla="*/ 774700 w 1600200"/>
              <a:gd name="connsiteY14" fmla="*/ 1117600 h 1714500"/>
              <a:gd name="connsiteX15" fmla="*/ 863600 w 1600200"/>
              <a:gd name="connsiteY15" fmla="*/ 1054100 h 1714500"/>
              <a:gd name="connsiteX16" fmla="*/ 901700 w 1600200"/>
              <a:gd name="connsiteY16" fmla="*/ 1041400 h 1714500"/>
              <a:gd name="connsiteX17" fmla="*/ 1028700 w 1600200"/>
              <a:gd name="connsiteY17" fmla="*/ 1016000 h 1714500"/>
              <a:gd name="connsiteX18" fmla="*/ 1104900 w 1600200"/>
              <a:gd name="connsiteY18" fmla="*/ 977900 h 1714500"/>
              <a:gd name="connsiteX19" fmla="*/ 1181100 w 1600200"/>
              <a:gd name="connsiteY19" fmla="*/ 952500 h 1714500"/>
              <a:gd name="connsiteX20" fmla="*/ 1193800 w 1600200"/>
              <a:gd name="connsiteY20" fmla="*/ 914400 h 1714500"/>
              <a:gd name="connsiteX21" fmla="*/ 1219200 w 1600200"/>
              <a:gd name="connsiteY21" fmla="*/ 812800 h 1714500"/>
              <a:gd name="connsiteX22" fmla="*/ 1282700 w 1600200"/>
              <a:gd name="connsiteY22" fmla="*/ 736600 h 1714500"/>
              <a:gd name="connsiteX23" fmla="*/ 1320800 w 1600200"/>
              <a:gd name="connsiteY23" fmla="*/ 660400 h 1714500"/>
              <a:gd name="connsiteX24" fmla="*/ 1333500 w 1600200"/>
              <a:gd name="connsiteY24" fmla="*/ 596900 h 1714500"/>
              <a:gd name="connsiteX25" fmla="*/ 1358900 w 1600200"/>
              <a:gd name="connsiteY25" fmla="*/ 393700 h 1714500"/>
              <a:gd name="connsiteX26" fmla="*/ 1397000 w 1600200"/>
              <a:gd name="connsiteY26" fmla="*/ 342900 h 1714500"/>
              <a:gd name="connsiteX27" fmla="*/ 1409700 w 1600200"/>
              <a:gd name="connsiteY27" fmla="*/ 304800 h 1714500"/>
              <a:gd name="connsiteX28" fmla="*/ 1435100 w 1600200"/>
              <a:gd name="connsiteY28" fmla="*/ 254000 h 1714500"/>
              <a:gd name="connsiteX29" fmla="*/ 1447800 w 1600200"/>
              <a:gd name="connsiteY29" fmla="*/ 177800 h 1714500"/>
              <a:gd name="connsiteX30" fmla="*/ 1460500 w 1600200"/>
              <a:gd name="connsiteY30" fmla="*/ 139700 h 1714500"/>
              <a:gd name="connsiteX31" fmla="*/ 1511300 w 1600200"/>
              <a:gd name="connsiteY31" fmla="*/ 25400 h 1714500"/>
              <a:gd name="connsiteX32" fmla="*/ 1549400 w 1600200"/>
              <a:gd name="connsiteY32" fmla="*/ 12700 h 1714500"/>
              <a:gd name="connsiteX33" fmla="*/ 1600200 w 1600200"/>
              <a:gd name="connsiteY33" fmla="*/ 0 h 1714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600200" h="1714500">
                <a:moveTo>
                  <a:pt x="0" y="1714500"/>
                </a:moveTo>
                <a:cubicBezTo>
                  <a:pt x="24630" y="1698080"/>
                  <a:pt x="55803" y="1684354"/>
                  <a:pt x="63500" y="1651000"/>
                </a:cubicBezTo>
                <a:cubicBezTo>
                  <a:pt x="75988" y="1596886"/>
                  <a:pt x="63232" y="1537236"/>
                  <a:pt x="88900" y="1485900"/>
                </a:cubicBezTo>
                <a:cubicBezTo>
                  <a:pt x="95726" y="1472248"/>
                  <a:pt x="102574" y="1457571"/>
                  <a:pt x="114300" y="1447800"/>
                </a:cubicBezTo>
                <a:cubicBezTo>
                  <a:pt x="135225" y="1430363"/>
                  <a:pt x="176731" y="1418523"/>
                  <a:pt x="203200" y="1409700"/>
                </a:cubicBezTo>
                <a:cubicBezTo>
                  <a:pt x="220133" y="1418167"/>
                  <a:pt x="236273" y="1428453"/>
                  <a:pt x="254000" y="1435100"/>
                </a:cubicBezTo>
                <a:cubicBezTo>
                  <a:pt x="270343" y="1441229"/>
                  <a:pt x="288757" y="1440924"/>
                  <a:pt x="304800" y="1447800"/>
                </a:cubicBezTo>
                <a:cubicBezTo>
                  <a:pt x="318829" y="1453813"/>
                  <a:pt x="330200" y="1464733"/>
                  <a:pt x="342900" y="1473200"/>
                </a:cubicBezTo>
                <a:cubicBezTo>
                  <a:pt x="406400" y="1468967"/>
                  <a:pt x="471451" y="1475076"/>
                  <a:pt x="533400" y="1460500"/>
                </a:cubicBezTo>
                <a:cubicBezTo>
                  <a:pt x="548258" y="1457004"/>
                  <a:pt x="554414" y="1437020"/>
                  <a:pt x="558800" y="1422400"/>
                </a:cubicBezTo>
                <a:cubicBezTo>
                  <a:pt x="567402" y="1393728"/>
                  <a:pt x="565629" y="1362853"/>
                  <a:pt x="571500" y="1333500"/>
                </a:cubicBezTo>
                <a:cubicBezTo>
                  <a:pt x="582341" y="1279293"/>
                  <a:pt x="580684" y="1304680"/>
                  <a:pt x="622300" y="1270000"/>
                </a:cubicBezTo>
                <a:cubicBezTo>
                  <a:pt x="636098" y="1258502"/>
                  <a:pt x="647700" y="1244600"/>
                  <a:pt x="660400" y="1231900"/>
                </a:cubicBezTo>
                <a:cubicBezTo>
                  <a:pt x="666401" y="1207896"/>
                  <a:pt x="672513" y="1159242"/>
                  <a:pt x="698500" y="1143000"/>
                </a:cubicBezTo>
                <a:cubicBezTo>
                  <a:pt x="721204" y="1128810"/>
                  <a:pt x="774700" y="1117600"/>
                  <a:pt x="774700" y="1117600"/>
                </a:cubicBezTo>
                <a:cubicBezTo>
                  <a:pt x="786205" y="1108971"/>
                  <a:pt x="845029" y="1063385"/>
                  <a:pt x="863600" y="1054100"/>
                </a:cubicBezTo>
                <a:cubicBezTo>
                  <a:pt x="875574" y="1048113"/>
                  <a:pt x="888632" y="1044304"/>
                  <a:pt x="901700" y="1041400"/>
                </a:cubicBezTo>
                <a:cubicBezTo>
                  <a:pt x="929979" y="1035116"/>
                  <a:pt x="997071" y="1028652"/>
                  <a:pt x="1028700" y="1016000"/>
                </a:cubicBezTo>
                <a:cubicBezTo>
                  <a:pt x="1055067" y="1005453"/>
                  <a:pt x="1078686" y="988822"/>
                  <a:pt x="1104900" y="977900"/>
                </a:cubicBezTo>
                <a:cubicBezTo>
                  <a:pt x="1129614" y="967602"/>
                  <a:pt x="1181100" y="952500"/>
                  <a:pt x="1181100" y="952500"/>
                </a:cubicBezTo>
                <a:cubicBezTo>
                  <a:pt x="1185333" y="939800"/>
                  <a:pt x="1190553" y="927387"/>
                  <a:pt x="1193800" y="914400"/>
                </a:cubicBezTo>
                <a:cubicBezTo>
                  <a:pt x="1201046" y="885417"/>
                  <a:pt x="1204685" y="841830"/>
                  <a:pt x="1219200" y="812800"/>
                </a:cubicBezTo>
                <a:cubicBezTo>
                  <a:pt x="1242849" y="765502"/>
                  <a:pt x="1247591" y="778731"/>
                  <a:pt x="1282700" y="736600"/>
                </a:cubicBezTo>
                <a:cubicBezTo>
                  <a:pt x="1304872" y="709994"/>
                  <a:pt x="1312617" y="693130"/>
                  <a:pt x="1320800" y="660400"/>
                </a:cubicBezTo>
                <a:cubicBezTo>
                  <a:pt x="1326035" y="639459"/>
                  <a:pt x="1330447" y="618269"/>
                  <a:pt x="1333500" y="596900"/>
                </a:cubicBezTo>
                <a:cubicBezTo>
                  <a:pt x="1343153" y="529326"/>
                  <a:pt x="1342344" y="459922"/>
                  <a:pt x="1358900" y="393700"/>
                </a:cubicBezTo>
                <a:cubicBezTo>
                  <a:pt x="1364034" y="373165"/>
                  <a:pt x="1384300" y="359833"/>
                  <a:pt x="1397000" y="342900"/>
                </a:cubicBezTo>
                <a:cubicBezTo>
                  <a:pt x="1401233" y="330200"/>
                  <a:pt x="1404427" y="317105"/>
                  <a:pt x="1409700" y="304800"/>
                </a:cubicBezTo>
                <a:cubicBezTo>
                  <a:pt x="1417158" y="287399"/>
                  <a:pt x="1429660" y="272134"/>
                  <a:pt x="1435100" y="254000"/>
                </a:cubicBezTo>
                <a:cubicBezTo>
                  <a:pt x="1442499" y="229336"/>
                  <a:pt x="1442214" y="202937"/>
                  <a:pt x="1447800" y="177800"/>
                </a:cubicBezTo>
                <a:cubicBezTo>
                  <a:pt x="1450704" y="164732"/>
                  <a:pt x="1456267" y="152400"/>
                  <a:pt x="1460500" y="139700"/>
                </a:cubicBezTo>
                <a:cubicBezTo>
                  <a:pt x="1472190" y="57868"/>
                  <a:pt x="1449909" y="56096"/>
                  <a:pt x="1511300" y="25400"/>
                </a:cubicBezTo>
                <a:cubicBezTo>
                  <a:pt x="1523274" y="19413"/>
                  <a:pt x="1536528" y="16378"/>
                  <a:pt x="1549400" y="12700"/>
                </a:cubicBezTo>
                <a:cubicBezTo>
                  <a:pt x="1566183" y="7905"/>
                  <a:pt x="1600200" y="0"/>
                  <a:pt x="1600200" y="0"/>
                </a:cubicBezTo>
              </a:path>
            </a:pathLst>
          </a:custGeom>
          <a:ln w="381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-285783" y="2997204"/>
            <a:ext cx="9644098" cy="50797"/>
          </a:xfrm>
          <a:prstGeom prst="line">
            <a:avLst/>
          </a:prstGeom>
          <a:ln w="381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Isosceles Triangle 52"/>
          <p:cNvSpPr/>
          <p:nvPr/>
        </p:nvSpPr>
        <p:spPr>
          <a:xfrm>
            <a:off x="6532819" y="4191005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4" name="Isosceles Triangle 53"/>
          <p:cNvSpPr/>
          <p:nvPr/>
        </p:nvSpPr>
        <p:spPr>
          <a:xfrm>
            <a:off x="6858016" y="3047997"/>
            <a:ext cx="396636" cy="411456"/>
          </a:xfrm>
          <a:prstGeom prst="triangle">
            <a:avLst/>
          </a:prstGeom>
          <a:gradFill>
            <a:gsLst>
              <a:gs pos="0">
                <a:srgbClr val="DCEBF5"/>
              </a:gs>
              <a:gs pos="8000">
                <a:srgbClr val="83A7C3"/>
              </a:gs>
              <a:gs pos="13000">
                <a:srgbClr val="768FB9"/>
              </a:gs>
              <a:gs pos="21001">
                <a:srgbClr val="83A7C3"/>
              </a:gs>
              <a:gs pos="52000">
                <a:srgbClr val="FFFFFF"/>
              </a:gs>
              <a:gs pos="56000">
                <a:srgbClr val="9C6563"/>
              </a:gs>
              <a:gs pos="58000">
                <a:srgbClr val="80302D"/>
              </a:gs>
              <a:gs pos="71001">
                <a:srgbClr val="C0524E"/>
              </a:gs>
              <a:gs pos="94000">
                <a:srgbClr val="EBDAD4"/>
              </a:gs>
              <a:gs pos="100000">
                <a:srgbClr val="55261C"/>
              </a:gs>
            </a:gsLst>
            <a:lin ang="5400000" scaled="0"/>
          </a:gra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" name="Title 8"/>
          <p:cNvSpPr txBox="1">
            <a:spLocks/>
          </p:cNvSpPr>
          <p:nvPr/>
        </p:nvSpPr>
        <p:spPr>
          <a:xfrm>
            <a:off x="7072330" y="4667263"/>
            <a:ext cx="1143000" cy="227013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te-IN" sz="1600" dirty="0" smtClean="0">
                <a:latin typeface="Ramabhadra" pitchFamily="2" charset="0"/>
                <a:ea typeface="+mj-ea"/>
                <a:cs typeface="Ramabhadra" pitchFamily="2" charset="0"/>
              </a:rPr>
              <a:t>కాన్ బెర్రా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3" name="Title 8"/>
          <p:cNvSpPr txBox="1">
            <a:spLocks/>
          </p:cNvSpPr>
          <p:nvPr/>
        </p:nvSpPr>
        <p:spPr>
          <a:xfrm>
            <a:off x="7286653" y="4286260"/>
            <a:ext cx="1071562" cy="295275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te-IN" sz="1600" dirty="0" smtClean="0">
                <a:latin typeface="Ramabhadra" pitchFamily="2" charset="0"/>
                <a:ea typeface="+mj-ea"/>
                <a:cs typeface="Ramabhadra" pitchFamily="2" charset="0"/>
              </a:rPr>
              <a:t>సిడ్ని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1" name="Freeform 50"/>
          <p:cNvSpPr/>
          <p:nvPr/>
        </p:nvSpPr>
        <p:spPr>
          <a:xfrm>
            <a:off x="5786452" y="4368800"/>
            <a:ext cx="1096433" cy="254000"/>
          </a:xfrm>
          <a:custGeom>
            <a:avLst/>
            <a:gdLst>
              <a:gd name="connsiteX0" fmla="*/ 16933 w 1096433"/>
              <a:gd name="connsiteY0" fmla="*/ 63500 h 190500"/>
              <a:gd name="connsiteX1" fmla="*/ 67733 w 1096433"/>
              <a:gd name="connsiteY1" fmla="*/ 114300 h 190500"/>
              <a:gd name="connsiteX2" fmla="*/ 118533 w 1096433"/>
              <a:gd name="connsiteY2" fmla="*/ 139700 h 190500"/>
              <a:gd name="connsiteX3" fmla="*/ 194733 w 1096433"/>
              <a:gd name="connsiteY3" fmla="*/ 165100 h 190500"/>
              <a:gd name="connsiteX4" fmla="*/ 359833 w 1096433"/>
              <a:gd name="connsiteY4" fmla="*/ 152400 h 190500"/>
              <a:gd name="connsiteX5" fmla="*/ 397933 w 1096433"/>
              <a:gd name="connsiteY5" fmla="*/ 127000 h 190500"/>
              <a:gd name="connsiteX6" fmla="*/ 448733 w 1096433"/>
              <a:gd name="connsiteY6" fmla="*/ 88900 h 190500"/>
              <a:gd name="connsiteX7" fmla="*/ 486833 w 1096433"/>
              <a:gd name="connsiteY7" fmla="*/ 76200 h 190500"/>
              <a:gd name="connsiteX8" fmla="*/ 575733 w 1096433"/>
              <a:gd name="connsiteY8" fmla="*/ 25400 h 190500"/>
              <a:gd name="connsiteX9" fmla="*/ 690033 w 1096433"/>
              <a:gd name="connsiteY9" fmla="*/ 0 h 190500"/>
              <a:gd name="connsiteX10" fmla="*/ 867833 w 1096433"/>
              <a:gd name="connsiteY10" fmla="*/ 25400 h 190500"/>
              <a:gd name="connsiteX11" fmla="*/ 944033 w 1096433"/>
              <a:gd name="connsiteY11" fmla="*/ 50800 h 190500"/>
              <a:gd name="connsiteX12" fmla="*/ 982133 w 1096433"/>
              <a:gd name="connsiteY12" fmla="*/ 63500 h 190500"/>
              <a:gd name="connsiteX13" fmla="*/ 1007533 w 1096433"/>
              <a:gd name="connsiteY13" fmla="*/ 101600 h 190500"/>
              <a:gd name="connsiteX14" fmla="*/ 1045633 w 1096433"/>
              <a:gd name="connsiteY14" fmla="*/ 114300 h 190500"/>
              <a:gd name="connsiteX15" fmla="*/ 1096433 w 1096433"/>
              <a:gd name="connsiteY15" fmla="*/ 190500 h 19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6433" h="190500">
                <a:moveTo>
                  <a:pt x="16933" y="63500"/>
                </a:moveTo>
                <a:cubicBezTo>
                  <a:pt x="118533" y="97367"/>
                  <a:pt x="0" y="46567"/>
                  <a:pt x="67733" y="114300"/>
                </a:cubicBezTo>
                <a:cubicBezTo>
                  <a:pt x="81120" y="127687"/>
                  <a:pt x="100955" y="132669"/>
                  <a:pt x="118533" y="139700"/>
                </a:cubicBezTo>
                <a:cubicBezTo>
                  <a:pt x="143392" y="149644"/>
                  <a:pt x="194733" y="165100"/>
                  <a:pt x="194733" y="165100"/>
                </a:cubicBezTo>
                <a:cubicBezTo>
                  <a:pt x="249766" y="160867"/>
                  <a:pt x="305582" y="162572"/>
                  <a:pt x="359833" y="152400"/>
                </a:cubicBezTo>
                <a:cubicBezTo>
                  <a:pt x="374835" y="149587"/>
                  <a:pt x="385513" y="135872"/>
                  <a:pt x="397933" y="127000"/>
                </a:cubicBezTo>
                <a:cubicBezTo>
                  <a:pt x="415157" y="114697"/>
                  <a:pt x="430355" y="99402"/>
                  <a:pt x="448733" y="88900"/>
                </a:cubicBezTo>
                <a:cubicBezTo>
                  <a:pt x="460356" y="82258"/>
                  <a:pt x="474859" y="82187"/>
                  <a:pt x="486833" y="76200"/>
                </a:cubicBezTo>
                <a:cubicBezTo>
                  <a:pt x="560526" y="39354"/>
                  <a:pt x="486672" y="58798"/>
                  <a:pt x="575733" y="25400"/>
                </a:cubicBezTo>
                <a:cubicBezTo>
                  <a:pt x="596231" y="17713"/>
                  <a:pt x="672790" y="3449"/>
                  <a:pt x="690033" y="0"/>
                </a:cubicBezTo>
                <a:cubicBezTo>
                  <a:pt x="749300" y="8467"/>
                  <a:pt x="809127" y="13659"/>
                  <a:pt x="867833" y="25400"/>
                </a:cubicBezTo>
                <a:cubicBezTo>
                  <a:pt x="894087" y="30651"/>
                  <a:pt x="918633" y="42333"/>
                  <a:pt x="944033" y="50800"/>
                </a:cubicBezTo>
                <a:lnTo>
                  <a:pt x="982133" y="63500"/>
                </a:lnTo>
                <a:cubicBezTo>
                  <a:pt x="990600" y="76200"/>
                  <a:pt x="995614" y="92065"/>
                  <a:pt x="1007533" y="101600"/>
                </a:cubicBezTo>
                <a:cubicBezTo>
                  <a:pt x="1017986" y="109963"/>
                  <a:pt x="1036167" y="104834"/>
                  <a:pt x="1045633" y="114300"/>
                </a:cubicBezTo>
                <a:cubicBezTo>
                  <a:pt x="1067219" y="135886"/>
                  <a:pt x="1096433" y="190500"/>
                  <a:pt x="1096433" y="190500"/>
                </a:cubicBezTo>
              </a:path>
            </a:pathLst>
          </a:custGeom>
          <a:ln w="381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3" name="Rectangle 1"/>
          <p:cNvSpPr>
            <a:spLocks noChangeArrowheads="1"/>
          </p:cNvSpPr>
          <p:nvPr/>
        </p:nvSpPr>
        <p:spPr bwMode="auto">
          <a:xfrm rot="20706212">
            <a:off x="1552517" y="2872162"/>
            <a:ext cx="280081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eaLnBrk="0" hangingPunct="0"/>
            <a:r>
              <a:rPr lang="en-US" sz="2000" dirty="0" err="1" smtClean="0">
                <a:latin typeface="Gidugu" pitchFamily="2" charset="0"/>
                <a:cs typeface="Gidugu" pitchFamily="2" charset="0"/>
              </a:rPr>
              <a:t>గ్రేట్</a:t>
            </a:r>
            <a:r>
              <a:rPr lang="en-US" sz="2000" dirty="0" smtClean="0">
                <a:latin typeface="Gidugu" pitchFamily="2" charset="0"/>
                <a:cs typeface="Gidugu" pitchFamily="2" charset="0"/>
              </a:rPr>
              <a:t> </a:t>
            </a:r>
            <a:r>
              <a:rPr lang="en-US" sz="2000" dirty="0" err="1" smtClean="0">
                <a:latin typeface="Gidugu" pitchFamily="2" charset="0"/>
                <a:cs typeface="Gidugu" pitchFamily="2" charset="0"/>
              </a:rPr>
              <a:t>ఆస్ట్రేలియన్</a:t>
            </a:r>
            <a:r>
              <a:rPr lang="en-US" sz="2000" dirty="0" smtClean="0">
                <a:latin typeface="Gidugu" pitchFamily="2" charset="0"/>
                <a:cs typeface="Gidugu" pitchFamily="2" charset="0"/>
              </a:rPr>
              <a:t> </a:t>
            </a:r>
            <a:r>
              <a:rPr lang="en-US" sz="2000" dirty="0" err="1" smtClean="0">
                <a:latin typeface="Gidugu" pitchFamily="2" charset="0"/>
                <a:cs typeface="Gidugu" pitchFamily="2" charset="0"/>
              </a:rPr>
              <a:t>ఎడారి</a:t>
            </a:r>
            <a:endParaRPr lang="en-US" sz="2000" dirty="0">
              <a:latin typeface="Gidugu" pitchFamily="2" charset="0"/>
              <a:cs typeface="Gidugu" pitchFamily="2" charset="0"/>
            </a:endParaRPr>
          </a:p>
        </p:txBody>
      </p:sp>
      <p:sp>
        <p:nvSpPr>
          <p:cNvPr id="19" name="Rectangle 1"/>
          <p:cNvSpPr>
            <a:spLocks noChangeArrowheads="1"/>
          </p:cNvSpPr>
          <p:nvPr/>
        </p:nvSpPr>
        <p:spPr bwMode="auto">
          <a:xfrm>
            <a:off x="2357422" y="6286526"/>
            <a:ext cx="400052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 eaLnBrk="0" hangingPunct="0"/>
            <a:r>
              <a:rPr lang="te-IN" sz="2400" spc="600" dirty="0" smtClean="0">
                <a:latin typeface="Ramaraja" pitchFamily="2" charset="0"/>
                <a:cs typeface="Ramaraja" pitchFamily="2" charset="0"/>
              </a:rPr>
              <a:t>దక్షిణ మహా సముద్రము</a:t>
            </a:r>
            <a:endParaRPr lang="en-US" sz="2400" spc="600" dirty="0">
              <a:latin typeface="Ramaraja" pitchFamily="2" charset="0"/>
              <a:cs typeface="Ramaraja" pitchFamily="2" charset="0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3663935" y="1031856"/>
            <a:ext cx="144462" cy="142875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5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7" name="Title 8"/>
          <p:cNvSpPr txBox="1">
            <a:spLocks/>
          </p:cNvSpPr>
          <p:nvPr/>
        </p:nvSpPr>
        <p:spPr>
          <a:xfrm>
            <a:off x="2786051" y="761981"/>
            <a:ext cx="1071562" cy="295275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en-US" sz="1500" dirty="0" err="1" smtClean="0">
                <a:latin typeface="Ramabhadra" pitchFamily="2" charset="0"/>
                <a:ea typeface="+mj-ea"/>
                <a:cs typeface="Ramabhadra" pitchFamily="2" charset="0"/>
              </a:rPr>
              <a:t>డార్విన్</a:t>
            </a:r>
            <a:endParaRPr lang="en-IN" sz="15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23857" y="476233"/>
            <a:ext cx="2533637" cy="952507"/>
          </a:xfrm>
        </p:spPr>
        <p:txBody>
          <a:bodyPr>
            <a:no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3600" b="1" i="1" kern="10" spc="600" dirty="0" err="1" smtClean="0">
                <a:ln w="3175">
                  <a:solidFill>
                    <a:srgbClr val="C00000"/>
                  </a:solidFill>
                  <a:round/>
                  <a:headEnd/>
                  <a:tailEnd/>
                </a:ln>
                <a:blipFill>
                  <a:blip r:embed="rId3"/>
                  <a:stretch>
                    <a:fillRect/>
                  </a:stretch>
                </a:blipFill>
                <a:effectLst>
                  <a:glow rad="101600">
                    <a:schemeClr val="tx1">
                      <a:alpha val="6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ఆస్ట్రేలియా</a:t>
            </a:r>
            <a:endParaRPr lang="en-US" sz="3600" b="1" i="1" kern="10" spc="600" dirty="0">
              <a:ln w="3175">
                <a:solidFill>
                  <a:srgbClr val="C00000"/>
                </a:solidFill>
                <a:round/>
                <a:headEnd/>
                <a:tailEnd/>
              </a:ln>
              <a:blipFill>
                <a:blip r:embed="rId3"/>
                <a:stretch>
                  <a:fillRect/>
                </a:stretch>
              </a:blipFill>
              <a:effectLst>
                <a:glow rad="101600">
                  <a:schemeClr val="tx1">
                    <a:alpha val="6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auto">
          <a:xfrm>
            <a:off x="6000760" y="4977859"/>
            <a:ext cx="221457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/>
            <a:r>
              <a:rPr lang="te-IN" sz="1600" dirty="0" smtClean="0">
                <a:latin typeface="Ramabhadra" pitchFamily="2" charset="0"/>
                <a:ea typeface="Calibri" pitchFamily="34" charset="0"/>
                <a:cs typeface="Ramabhadra" pitchFamily="2" charset="0"/>
              </a:rPr>
              <a:t>కోషియాస్కో శిఖరము</a:t>
            </a:r>
            <a:endParaRPr lang="en-US" sz="1600" dirty="0">
              <a:latin typeface="Ramabhadra" pitchFamily="2" charset="0"/>
              <a:ea typeface="Calibri" pitchFamily="34" charset="0"/>
              <a:cs typeface="Ramabhadra" pitchFamily="2" charset="0"/>
            </a:endParaRPr>
          </a:p>
        </p:txBody>
      </p:sp>
      <p:sp>
        <p:nvSpPr>
          <p:cNvPr id="22" name="Rectangle 3"/>
          <p:cNvSpPr>
            <a:spLocks noChangeArrowheads="1"/>
          </p:cNvSpPr>
          <p:nvPr/>
        </p:nvSpPr>
        <p:spPr bwMode="auto">
          <a:xfrm rot="4187485">
            <a:off x="5069221" y="3261733"/>
            <a:ext cx="25618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e-IN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Ramabhadra" pitchFamily="2" charset="0"/>
                <a:cs typeface="Ramabhadra" pitchFamily="2" charset="0"/>
              </a:rPr>
              <a:t>గ్రేట్</a:t>
            </a:r>
            <a:r>
              <a:rPr kumimoji="0" lang="te-IN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Ramabhadra" pitchFamily="2" charset="0"/>
                <a:cs typeface="Ramabhadra" pitchFamily="2" charset="0"/>
              </a:rPr>
              <a:t> డివైడింగ్ రేంజ్ పర్వతాలు</a:t>
            </a:r>
            <a:endParaRPr kumimoji="0" lang="en-US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ransition advTm="691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925" decel="100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" dur="1925" decel="100000"/>
                                        <p:tgtEl>
                                          <p:spTgt spid="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" dur="1925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" dur="1925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9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155" decel="100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1155" decel="100000"/>
                                        <p:tgtEl>
                                          <p:spTgt spid="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6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7" dur="1155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9" dur="1155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155" decel="100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" dur="1155" decel="100000"/>
                                        <p:tgtEl>
                                          <p:spTgt spid="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7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8" dur="1155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0" dur="1155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155" decel="100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1155" decel="100000"/>
                                        <p:tgtEl>
                                          <p:spTgt spid="5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8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9" dur="1155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1" dur="1155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155" decel="100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1155" decel="100000"/>
                                        <p:tgtEl>
                                          <p:spTgt spid="5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0" dur="1155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2" dur="1155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155" decel="100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" dur="1155" decel="100000"/>
                                        <p:tgtEl>
                                          <p:spTgt spid="2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0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1" dur="1155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2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3" dur="1155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4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155" decel="100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0" dur="1155" decel="100000"/>
                                        <p:tgtEl>
                                          <p:spTgt spid="1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2" dur="1155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4" dur="1155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5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49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98" dur="1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99" dur="1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0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6" dur="2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7" dur="2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8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9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5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5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30" dur="1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31" dur="1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32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33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8" dur="5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770" decel="100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4" dur="770" decel="100000"/>
                                        <p:tgtEl>
                                          <p:spTgt spid="4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45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46" dur="77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47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48" dur="77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49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3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6" dur="3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3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3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3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4" fill="hold">
                      <p:stCondLst>
                        <p:cond delay="indefinite"/>
                      </p:stCondLst>
                      <p:childTnLst>
                        <p:par>
                          <p:cTn id="175" fill="hold">
                            <p:stCondLst>
                              <p:cond delay="0"/>
                            </p:stCondLst>
                            <p:childTnLst>
                              <p:par>
                                <p:cTn id="17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8" dur="3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9" dur="3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0" fill="hold">
                      <p:stCondLst>
                        <p:cond delay="indefinite"/>
                      </p:stCondLst>
                      <p:childTnLst>
                        <p:par>
                          <p:cTn id="181" fill="hold">
                            <p:stCondLst>
                              <p:cond delay="0"/>
                            </p:stCondLst>
                            <p:childTnLst>
                              <p:par>
                                <p:cTn id="18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4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0" dur="3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1" dur="3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2" fill="hold">
                      <p:stCondLst>
                        <p:cond delay="indefinite"/>
                      </p:stCondLst>
                      <p:childTnLst>
                        <p:par>
                          <p:cTn id="193" fill="hold">
                            <p:stCondLst>
                              <p:cond delay="0"/>
                            </p:stCondLst>
                            <p:childTnLst>
                              <p:par>
                                <p:cTn id="194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3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3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8" fill="hold">
                      <p:stCondLst>
                        <p:cond delay="indefinite"/>
                      </p:stCondLst>
                      <p:childTnLst>
                        <p:par>
                          <p:cTn id="199" fill="hold">
                            <p:stCondLst>
                              <p:cond delay="0"/>
                            </p:stCondLst>
                            <p:childTnLst>
                              <p:par>
                                <p:cTn id="20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2" dur="3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3" dur="3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4" fill="hold">
                      <p:stCondLst>
                        <p:cond delay="indefinite"/>
                      </p:stCondLst>
                      <p:childTnLst>
                        <p:par>
                          <p:cTn id="205" fill="hold">
                            <p:stCondLst>
                              <p:cond delay="0"/>
                            </p:stCondLst>
                            <p:childTnLst>
                              <p:par>
                                <p:cTn id="20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8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9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0" fill="hold">
                      <p:stCondLst>
                        <p:cond delay="indefinite"/>
                      </p:stCondLst>
                      <p:childTnLst>
                        <p:par>
                          <p:cTn id="211" fill="hold">
                            <p:stCondLst>
                              <p:cond delay="0"/>
                            </p:stCondLst>
                            <p:childTnLst>
                              <p:par>
                                <p:cTn id="212" presetID="6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3" dur="2000" fill="hold"/>
                                        <p:tgtEl>
                                          <p:spTgt spid="3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4" fill="hold">
                      <p:stCondLst>
                        <p:cond delay="indefinite"/>
                      </p:stCondLst>
                      <p:childTnLst>
                        <p:par>
                          <p:cTn id="215" fill="hold">
                            <p:stCondLst>
                              <p:cond delay="0"/>
                            </p:stCondLst>
                            <p:childTnLst>
                              <p:par>
                                <p:cTn id="21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8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0" fill="hold">
                      <p:stCondLst>
                        <p:cond delay="indefinite"/>
                      </p:stCondLst>
                      <p:childTnLst>
                        <p:par>
                          <p:cTn id="221" fill="hold">
                            <p:stCondLst>
                              <p:cond delay="0"/>
                            </p:stCondLst>
                            <p:childTnLst>
                              <p:par>
                                <p:cTn id="22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4" dur="3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5" dur="3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6" fill="hold">
                      <p:stCondLst>
                        <p:cond delay="indefinite"/>
                      </p:stCondLst>
                      <p:childTnLst>
                        <p:par>
                          <p:cTn id="227" fill="hold">
                            <p:stCondLst>
                              <p:cond delay="0"/>
                            </p:stCondLst>
                            <p:childTnLst>
                              <p:par>
                                <p:cTn id="228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0" dur="3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1" dur="3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2" fill="hold">
                      <p:stCondLst>
                        <p:cond delay="indefinite"/>
                      </p:stCondLst>
                      <p:childTnLst>
                        <p:par>
                          <p:cTn id="233" fill="hold">
                            <p:stCondLst>
                              <p:cond delay="0"/>
                            </p:stCondLst>
                            <p:childTnLst>
                              <p:par>
                                <p:cTn id="234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6" dur="3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7" dur="3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8" fill="hold">
                      <p:stCondLst>
                        <p:cond delay="indefinite"/>
                      </p:stCondLst>
                      <p:childTnLst>
                        <p:par>
                          <p:cTn id="239" fill="hold">
                            <p:stCondLst>
                              <p:cond delay="0"/>
                            </p:stCondLst>
                            <p:childTnLst>
                              <p:par>
                                <p:cTn id="240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2" dur="3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3" dur="3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4" fill="hold">
                      <p:stCondLst>
                        <p:cond delay="indefinite"/>
                      </p:stCondLst>
                      <p:childTnLst>
                        <p:par>
                          <p:cTn id="245" fill="hold">
                            <p:stCondLst>
                              <p:cond delay="0"/>
                            </p:stCondLst>
                            <p:childTnLst>
                              <p:par>
                                <p:cTn id="24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48" dur="1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49" dur="1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50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5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2" fill="hold">
                      <p:stCondLst>
                        <p:cond delay="indefinite"/>
                      </p:stCondLst>
                      <p:childTnLst>
                        <p:par>
                          <p:cTn id="253" fill="hold">
                            <p:stCondLst>
                              <p:cond delay="0"/>
                            </p:stCondLst>
                            <p:childTnLst>
                              <p:par>
                                <p:cTn id="2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6" dur="5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7" fill="hold">
                      <p:stCondLst>
                        <p:cond delay="indefinite"/>
                      </p:stCondLst>
                      <p:childTnLst>
                        <p:par>
                          <p:cTn id="258" fill="hold">
                            <p:stCondLst>
                              <p:cond delay="0"/>
                            </p:stCondLst>
                            <p:childTnLst>
                              <p:par>
                                <p:cTn id="259" presetID="56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61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62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63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6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5" fill="hold">
                      <p:stCondLst>
                        <p:cond delay="indefinite"/>
                      </p:stCondLst>
                      <p:childTnLst>
                        <p:par>
                          <p:cTn id="266" fill="hold">
                            <p:stCondLst>
                              <p:cond delay="0"/>
                            </p:stCondLst>
                            <p:childTnLst>
                              <p:par>
                                <p:cTn id="26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9" dur="5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0" fill="hold">
                      <p:stCondLst>
                        <p:cond delay="indefinite"/>
                      </p:stCondLst>
                      <p:childTnLst>
                        <p:par>
                          <p:cTn id="271" fill="hold">
                            <p:stCondLst>
                              <p:cond delay="0"/>
                            </p:stCondLst>
                            <p:childTnLst>
                              <p:par>
                                <p:cTn id="27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4" dur="5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5" fill="hold">
                      <p:stCondLst>
                        <p:cond delay="indefinite"/>
                      </p:stCondLst>
                      <p:childTnLst>
                        <p:par>
                          <p:cTn id="276" fill="hold">
                            <p:stCondLst>
                              <p:cond delay="0"/>
                            </p:stCondLst>
                            <p:childTnLst>
                              <p:par>
                                <p:cTn id="27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1155" decel="100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0" dur="1155" decel="100000"/>
                                        <p:tgtEl>
                                          <p:spTgt spid="4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8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82" dur="1155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8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84" dur="1155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85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6" fill="hold">
                      <p:stCondLst>
                        <p:cond delay="indefinite"/>
                      </p:stCondLst>
                      <p:childTnLst>
                        <p:par>
                          <p:cTn id="287" fill="hold">
                            <p:stCondLst>
                              <p:cond delay="0"/>
                            </p:stCondLst>
                            <p:childTnLst>
                              <p:par>
                                <p:cTn id="28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0" dur="5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1" fill="hold">
                      <p:stCondLst>
                        <p:cond delay="indefinite"/>
                      </p:stCondLst>
                      <p:childTnLst>
                        <p:par>
                          <p:cTn id="292" fill="hold">
                            <p:stCondLst>
                              <p:cond delay="0"/>
                            </p:stCondLst>
                            <p:childTnLst>
                              <p:par>
                                <p:cTn id="293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95" dur="1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96" dur="1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97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98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9" fill="hold">
                      <p:stCondLst>
                        <p:cond delay="indefinite"/>
                      </p:stCondLst>
                      <p:childTnLst>
                        <p:par>
                          <p:cTn id="300" fill="hold">
                            <p:stCondLst>
                              <p:cond delay="0"/>
                            </p:stCondLst>
                            <p:childTnLst>
                              <p:par>
                                <p:cTn id="301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303" dur="1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304" dur="1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305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306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7" fill="hold">
                      <p:stCondLst>
                        <p:cond delay="indefinite"/>
                      </p:stCondLst>
                      <p:childTnLst>
                        <p:par>
                          <p:cTn id="308" fill="hold">
                            <p:stCondLst>
                              <p:cond delay="0"/>
                            </p:stCondLst>
                            <p:childTnLst>
                              <p:par>
                                <p:cTn id="309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1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3" fill="hold">
                      <p:stCondLst>
                        <p:cond delay="indefinite"/>
                      </p:stCondLst>
                      <p:childTnLst>
                        <p:par>
                          <p:cTn id="314" fill="hold">
                            <p:stCondLst>
                              <p:cond delay="0"/>
                            </p:stCondLst>
                            <p:childTnLst>
                              <p:par>
                                <p:cTn id="315" presetID="23" presetClass="entr" presetSubtype="16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7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8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9" fill="hold">
                      <p:stCondLst>
                        <p:cond delay="indefinite"/>
                      </p:stCondLst>
                      <p:childTnLst>
                        <p:par>
                          <p:cTn id="320" fill="hold">
                            <p:stCondLst>
                              <p:cond delay="0"/>
                            </p:stCondLst>
                            <p:childTnLst>
                              <p:par>
                                <p:cTn id="321" presetID="56" presetClass="entr" presetSubtype="0" fill="hold" grpId="2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323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324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32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32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10" grpId="0"/>
      <p:bldP spid="16" grpId="0"/>
      <p:bldP spid="17" grpId="0"/>
      <p:bldP spid="18" grpId="0"/>
      <p:bldP spid="20" grpId="0" animBg="1"/>
      <p:bldP spid="21" grpId="0" animBg="1"/>
      <p:bldP spid="24" grpId="0"/>
      <p:bldP spid="25" grpId="0" animBg="1"/>
      <p:bldP spid="30" grpId="0"/>
      <p:bldP spid="33" grpId="0" animBg="1"/>
      <p:bldP spid="31" grpId="0" animBg="1"/>
      <p:bldP spid="32" grpId="0" animBg="1"/>
      <p:bldP spid="35" grpId="0" animBg="1"/>
      <p:bldP spid="35" grpId="1" animBg="1"/>
      <p:bldP spid="36" grpId="0" animBg="1"/>
      <p:bldP spid="37" grpId="0" animBg="1"/>
      <p:bldP spid="38" grpId="0" animBg="1"/>
      <p:bldP spid="41" grpId="0" animBg="1"/>
      <p:bldP spid="42" grpId="0" animBg="1"/>
      <p:bldP spid="44" grpId="0" animBg="1"/>
      <p:bldP spid="46" grpId="0"/>
      <p:bldP spid="47" grpId="0"/>
      <p:bldP spid="49" grpId="0"/>
      <p:bldP spid="55" grpId="0"/>
      <p:bldP spid="50" grpId="0" animBg="1"/>
      <p:bldP spid="53" grpId="0" animBg="1"/>
      <p:bldP spid="54" grpId="0" animBg="1"/>
      <p:bldP spid="12" grpId="0"/>
      <p:bldP spid="13" grpId="0"/>
      <p:bldP spid="51" grpId="0" animBg="1"/>
      <p:bldP spid="19" grpId="0"/>
      <p:bldP spid="56" grpId="0" animBg="1"/>
      <p:bldP spid="57" grpId="0"/>
      <p:bldP spid="9" grpId="0"/>
      <p:bldP spid="9" grpId="1"/>
      <p:bldP spid="9" grpId="2"/>
      <p:bldP spid="28" grpId="0"/>
      <p:bldP spid="22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Freeform 221"/>
          <p:cNvSpPr/>
          <p:nvPr/>
        </p:nvSpPr>
        <p:spPr>
          <a:xfrm>
            <a:off x="5643568" y="660403"/>
            <a:ext cx="3857625" cy="5245100"/>
          </a:xfrm>
          <a:custGeom>
            <a:avLst/>
            <a:gdLst>
              <a:gd name="connsiteX0" fmla="*/ 3609975 w 3609975"/>
              <a:gd name="connsiteY0" fmla="*/ 104775 h 3933825"/>
              <a:gd name="connsiteX1" fmla="*/ 3362325 w 3609975"/>
              <a:gd name="connsiteY1" fmla="*/ 114300 h 3933825"/>
              <a:gd name="connsiteX2" fmla="*/ 3333750 w 3609975"/>
              <a:gd name="connsiteY2" fmla="*/ 133350 h 3933825"/>
              <a:gd name="connsiteX3" fmla="*/ 3305175 w 3609975"/>
              <a:gd name="connsiteY3" fmla="*/ 142875 h 3933825"/>
              <a:gd name="connsiteX4" fmla="*/ 3257550 w 3609975"/>
              <a:gd name="connsiteY4" fmla="*/ 200025 h 3933825"/>
              <a:gd name="connsiteX5" fmla="*/ 3238500 w 3609975"/>
              <a:gd name="connsiteY5" fmla="*/ 228600 h 3933825"/>
              <a:gd name="connsiteX6" fmla="*/ 3114675 w 3609975"/>
              <a:gd name="connsiteY6" fmla="*/ 257175 h 3933825"/>
              <a:gd name="connsiteX7" fmla="*/ 3076575 w 3609975"/>
              <a:gd name="connsiteY7" fmla="*/ 266700 h 3933825"/>
              <a:gd name="connsiteX8" fmla="*/ 2800350 w 3609975"/>
              <a:gd name="connsiteY8" fmla="*/ 266700 h 3933825"/>
              <a:gd name="connsiteX9" fmla="*/ 2762250 w 3609975"/>
              <a:gd name="connsiteY9" fmla="*/ 276225 h 3933825"/>
              <a:gd name="connsiteX10" fmla="*/ 2695575 w 3609975"/>
              <a:gd name="connsiteY10" fmla="*/ 314325 h 3933825"/>
              <a:gd name="connsiteX11" fmla="*/ 2562225 w 3609975"/>
              <a:gd name="connsiteY11" fmla="*/ 304800 h 3933825"/>
              <a:gd name="connsiteX12" fmla="*/ 2314575 w 3609975"/>
              <a:gd name="connsiteY12" fmla="*/ 285750 h 3933825"/>
              <a:gd name="connsiteX13" fmla="*/ 1981200 w 3609975"/>
              <a:gd name="connsiteY13" fmla="*/ 304800 h 3933825"/>
              <a:gd name="connsiteX14" fmla="*/ 1952625 w 3609975"/>
              <a:gd name="connsiteY14" fmla="*/ 314325 h 3933825"/>
              <a:gd name="connsiteX15" fmla="*/ 1905000 w 3609975"/>
              <a:gd name="connsiteY15" fmla="*/ 323850 h 3933825"/>
              <a:gd name="connsiteX16" fmla="*/ 1809750 w 3609975"/>
              <a:gd name="connsiteY16" fmla="*/ 342900 h 3933825"/>
              <a:gd name="connsiteX17" fmla="*/ 1390650 w 3609975"/>
              <a:gd name="connsiteY17" fmla="*/ 361950 h 3933825"/>
              <a:gd name="connsiteX18" fmla="*/ 1362075 w 3609975"/>
              <a:gd name="connsiteY18" fmla="*/ 381000 h 3933825"/>
              <a:gd name="connsiteX19" fmla="*/ 1285875 w 3609975"/>
              <a:gd name="connsiteY19" fmla="*/ 409575 h 3933825"/>
              <a:gd name="connsiteX20" fmla="*/ 1257300 w 3609975"/>
              <a:gd name="connsiteY20" fmla="*/ 438150 h 3933825"/>
              <a:gd name="connsiteX21" fmla="*/ 1143000 w 3609975"/>
              <a:gd name="connsiteY21" fmla="*/ 466725 h 3933825"/>
              <a:gd name="connsiteX22" fmla="*/ 914400 w 3609975"/>
              <a:gd name="connsiteY22" fmla="*/ 457200 h 3933825"/>
              <a:gd name="connsiteX23" fmla="*/ 923925 w 3609975"/>
              <a:gd name="connsiteY23" fmla="*/ 419100 h 3933825"/>
              <a:gd name="connsiteX24" fmla="*/ 962025 w 3609975"/>
              <a:gd name="connsiteY24" fmla="*/ 409575 h 3933825"/>
              <a:gd name="connsiteX25" fmla="*/ 990600 w 3609975"/>
              <a:gd name="connsiteY25" fmla="*/ 400050 h 3933825"/>
              <a:gd name="connsiteX26" fmla="*/ 1000125 w 3609975"/>
              <a:gd name="connsiteY26" fmla="*/ 371475 h 3933825"/>
              <a:gd name="connsiteX27" fmla="*/ 962025 w 3609975"/>
              <a:gd name="connsiteY27" fmla="*/ 304800 h 3933825"/>
              <a:gd name="connsiteX28" fmla="*/ 933450 w 3609975"/>
              <a:gd name="connsiteY28" fmla="*/ 295275 h 3933825"/>
              <a:gd name="connsiteX29" fmla="*/ 838200 w 3609975"/>
              <a:gd name="connsiteY29" fmla="*/ 304800 h 3933825"/>
              <a:gd name="connsiteX30" fmla="*/ 790575 w 3609975"/>
              <a:gd name="connsiteY30" fmla="*/ 323850 h 3933825"/>
              <a:gd name="connsiteX31" fmla="*/ 657225 w 3609975"/>
              <a:gd name="connsiteY31" fmla="*/ 304800 h 3933825"/>
              <a:gd name="connsiteX32" fmla="*/ 628650 w 3609975"/>
              <a:gd name="connsiteY32" fmla="*/ 285750 h 3933825"/>
              <a:gd name="connsiteX33" fmla="*/ 609600 w 3609975"/>
              <a:gd name="connsiteY33" fmla="*/ 257175 h 3933825"/>
              <a:gd name="connsiteX34" fmla="*/ 619125 w 3609975"/>
              <a:gd name="connsiteY34" fmla="*/ 228600 h 3933825"/>
              <a:gd name="connsiteX35" fmla="*/ 676275 w 3609975"/>
              <a:gd name="connsiteY35" fmla="*/ 200025 h 3933825"/>
              <a:gd name="connsiteX36" fmla="*/ 714375 w 3609975"/>
              <a:gd name="connsiteY36" fmla="*/ 142875 h 3933825"/>
              <a:gd name="connsiteX37" fmla="*/ 733425 w 3609975"/>
              <a:gd name="connsiteY37" fmla="*/ 114300 h 3933825"/>
              <a:gd name="connsiteX38" fmla="*/ 723900 w 3609975"/>
              <a:gd name="connsiteY38" fmla="*/ 9525 h 3933825"/>
              <a:gd name="connsiteX39" fmla="*/ 695325 w 3609975"/>
              <a:gd name="connsiteY39" fmla="*/ 0 h 3933825"/>
              <a:gd name="connsiteX40" fmla="*/ 542925 w 3609975"/>
              <a:gd name="connsiteY40" fmla="*/ 9525 h 3933825"/>
              <a:gd name="connsiteX41" fmla="*/ 476250 w 3609975"/>
              <a:gd name="connsiteY41" fmla="*/ 28575 h 3933825"/>
              <a:gd name="connsiteX42" fmla="*/ 447675 w 3609975"/>
              <a:gd name="connsiteY42" fmla="*/ 47625 h 3933825"/>
              <a:gd name="connsiteX43" fmla="*/ 352425 w 3609975"/>
              <a:gd name="connsiteY43" fmla="*/ 76200 h 3933825"/>
              <a:gd name="connsiteX44" fmla="*/ 304800 w 3609975"/>
              <a:gd name="connsiteY44" fmla="*/ 85725 h 3933825"/>
              <a:gd name="connsiteX45" fmla="*/ 247650 w 3609975"/>
              <a:gd name="connsiteY45" fmla="*/ 95250 h 3933825"/>
              <a:gd name="connsiteX46" fmla="*/ 190500 w 3609975"/>
              <a:gd name="connsiteY46" fmla="*/ 114300 h 3933825"/>
              <a:gd name="connsiteX47" fmla="*/ 161925 w 3609975"/>
              <a:gd name="connsiteY47" fmla="*/ 123825 h 3933825"/>
              <a:gd name="connsiteX48" fmla="*/ 104775 w 3609975"/>
              <a:gd name="connsiteY48" fmla="*/ 152400 h 3933825"/>
              <a:gd name="connsiteX49" fmla="*/ 57150 w 3609975"/>
              <a:gd name="connsiteY49" fmla="*/ 171450 h 3933825"/>
              <a:gd name="connsiteX50" fmla="*/ 0 w 3609975"/>
              <a:gd name="connsiteY50" fmla="*/ 180975 h 3933825"/>
              <a:gd name="connsiteX51" fmla="*/ 9525 w 3609975"/>
              <a:gd name="connsiteY51" fmla="*/ 266700 h 3933825"/>
              <a:gd name="connsiteX52" fmla="*/ 28575 w 3609975"/>
              <a:gd name="connsiteY52" fmla="*/ 295275 h 3933825"/>
              <a:gd name="connsiteX53" fmla="*/ 38100 w 3609975"/>
              <a:gd name="connsiteY53" fmla="*/ 323850 h 3933825"/>
              <a:gd name="connsiteX54" fmla="*/ 66675 w 3609975"/>
              <a:gd name="connsiteY54" fmla="*/ 352425 h 3933825"/>
              <a:gd name="connsiteX55" fmla="*/ 95250 w 3609975"/>
              <a:gd name="connsiteY55" fmla="*/ 409575 h 3933825"/>
              <a:gd name="connsiteX56" fmla="*/ 104775 w 3609975"/>
              <a:gd name="connsiteY56" fmla="*/ 514350 h 3933825"/>
              <a:gd name="connsiteX57" fmla="*/ 133350 w 3609975"/>
              <a:gd name="connsiteY57" fmla="*/ 542925 h 3933825"/>
              <a:gd name="connsiteX58" fmla="*/ 142875 w 3609975"/>
              <a:gd name="connsiteY58" fmla="*/ 590550 h 3933825"/>
              <a:gd name="connsiteX59" fmla="*/ 152400 w 3609975"/>
              <a:gd name="connsiteY59" fmla="*/ 619125 h 3933825"/>
              <a:gd name="connsiteX60" fmla="*/ 161925 w 3609975"/>
              <a:gd name="connsiteY60" fmla="*/ 752475 h 3933825"/>
              <a:gd name="connsiteX61" fmla="*/ 257175 w 3609975"/>
              <a:gd name="connsiteY61" fmla="*/ 809625 h 3933825"/>
              <a:gd name="connsiteX62" fmla="*/ 238125 w 3609975"/>
              <a:gd name="connsiteY62" fmla="*/ 838200 h 3933825"/>
              <a:gd name="connsiteX63" fmla="*/ 247650 w 3609975"/>
              <a:gd name="connsiteY63" fmla="*/ 876300 h 3933825"/>
              <a:gd name="connsiteX64" fmla="*/ 276225 w 3609975"/>
              <a:gd name="connsiteY64" fmla="*/ 885825 h 3933825"/>
              <a:gd name="connsiteX65" fmla="*/ 361950 w 3609975"/>
              <a:gd name="connsiteY65" fmla="*/ 895350 h 3933825"/>
              <a:gd name="connsiteX66" fmla="*/ 390525 w 3609975"/>
              <a:gd name="connsiteY66" fmla="*/ 914400 h 3933825"/>
              <a:gd name="connsiteX67" fmla="*/ 371475 w 3609975"/>
              <a:gd name="connsiteY67" fmla="*/ 990600 h 3933825"/>
              <a:gd name="connsiteX68" fmla="*/ 361950 w 3609975"/>
              <a:gd name="connsiteY68" fmla="*/ 1019175 h 3933825"/>
              <a:gd name="connsiteX69" fmla="*/ 333375 w 3609975"/>
              <a:gd name="connsiteY69" fmla="*/ 1028700 h 3933825"/>
              <a:gd name="connsiteX70" fmla="*/ 276225 w 3609975"/>
              <a:gd name="connsiteY70" fmla="*/ 1085850 h 3933825"/>
              <a:gd name="connsiteX71" fmla="*/ 247650 w 3609975"/>
              <a:gd name="connsiteY71" fmla="*/ 1114425 h 3933825"/>
              <a:gd name="connsiteX72" fmla="*/ 190500 w 3609975"/>
              <a:gd name="connsiteY72" fmla="*/ 1171575 h 3933825"/>
              <a:gd name="connsiteX73" fmla="*/ 200025 w 3609975"/>
              <a:gd name="connsiteY73" fmla="*/ 1200150 h 3933825"/>
              <a:gd name="connsiteX74" fmla="*/ 266700 w 3609975"/>
              <a:gd name="connsiteY74" fmla="*/ 1247775 h 3933825"/>
              <a:gd name="connsiteX75" fmla="*/ 304800 w 3609975"/>
              <a:gd name="connsiteY75" fmla="*/ 1304925 h 3933825"/>
              <a:gd name="connsiteX76" fmla="*/ 276225 w 3609975"/>
              <a:gd name="connsiteY76" fmla="*/ 1323975 h 3933825"/>
              <a:gd name="connsiteX77" fmla="*/ 247650 w 3609975"/>
              <a:gd name="connsiteY77" fmla="*/ 1333500 h 3933825"/>
              <a:gd name="connsiteX78" fmla="*/ 190500 w 3609975"/>
              <a:gd name="connsiteY78" fmla="*/ 1371600 h 3933825"/>
              <a:gd name="connsiteX79" fmla="*/ 161925 w 3609975"/>
              <a:gd name="connsiteY79" fmla="*/ 1514475 h 3933825"/>
              <a:gd name="connsiteX80" fmla="*/ 142875 w 3609975"/>
              <a:gd name="connsiteY80" fmla="*/ 1543050 h 3933825"/>
              <a:gd name="connsiteX81" fmla="*/ 171450 w 3609975"/>
              <a:gd name="connsiteY81" fmla="*/ 1647825 h 3933825"/>
              <a:gd name="connsiteX82" fmla="*/ 200025 w 3609975"/>
              <a:gd name="connsiteY82" fmla="*/ 1657350 h 3933825"/>
              <a:gd name="connsiteX83" fmla="*/ 209550 w 3609975"/>
              <a:gd name="connsiteY83" fmla="*/ 1714500 h 3933825"/>
              <a:gd name="connsiteX84" fmla="*/ 257175 w 3609975"/>
              <a:gd name="connsiteY84" fmla="*/ 1771650 h 3933825"/>
              <a:gd name="connsiteX85" fmla="*/ 276225 w 3609975"/>
              <a:gd name="connsiteY85" fmla="*/ 1800225 h 3933825"/>
              <a:gd name="connsiteX86" fmla="*/ 352425 w 3609975"/>
              <a:gd name="connsiteY86" fmla="*/ 1809750 h 3933825"/>
              <a:gd name="connsiteX87" fmla="*/ 381000 w 3609975"/>
              <a:gd name="connsiteY87" fmla="*/ 1819275 h 3933825"/>
              <a:gd name="connsiteX88" fmla="*/ 476250 w 3609975"/>
              <a:gd name="connsiteY88" fmla="*/ 1828800 h 3933825"/>
              <a:gd name="connsiteX89" fmla="*/ 495300 w 3609975"/>
              <a:gd name="connsiteY89" fmla="*/ 1857375 h 3933825"/>
              <a:gd name="connsiteX90" fmla="*/ 514350 w 3609975"/>
              <a:gd name="connsiteY90" fmla="*/ 1914525 h 3933825"/>
              <a:gd name="connsiteX91" fmla="*/ 552450 w 3609975"/>
              <a:gd name="connsiteY91" fmla="*/ 1971675 h 3933825"/>
              <a:gd name="connsiteX92" fmla="*/ 647700 w 3609975"/>
              <a:gd name="connsiteY92" fmla="*/ 1990725 h 3933825"/>
              <a:gd name="connsiteX93" fmla="*/ 704850 w 3609975"/>
              <a:gd name="connsiteY93" fmla="*/ 2009775 h 3933825"/>
              <a:gd name="connsiteX94" fmla="*/ 733425 w 3609975"/>
              <a:gd name="connsiteY94" fmla="*/ 2038350 h 3933825"/>
              <a:gd name="connsiteX95" fmla="*/ 704850 w 3609975"/>
              <a:gd name="connsiteY95" fmla="*/ 2190750 h 3933825"/>
              <a:gd name="connsiteX96" fmla="*/ 695325 w 3609975"/>
              <a:gd name="connsiteY96" fmla="*/ 2228850 h 3933825"/>
              <a:gd name="connsiteX97" fmla="*/ 733425 w 3609975"/>
              <a:gd name="connsiteY97" fmla="*/ 2266950 h 3933825"/>
              <a:gd name="connsiteX98" fmla="*/ 742950 w 3609975"/>
              <a:gd name="connsiteY98" fmla="*/ 2228850 h 3933825"/>
              <a:gd name="connsiteX99" fmla="*/ 828675 w 3609975"/>
              <a:gd name="connsiteY99" fmla="*/ 2181225 h 3933825"/>
              <a:gd name="connsiteX100" fmla="*/ 933450 w 3609975"/>
              <a:gd name="connsiteY100" fmla="*/ 2190750 h 3933825"/>
              <a:gd name="connsiteX101" fmla="*/ 952500 w 3609975"/>
              <a:gd name="connsiteY101" fmla="*/ 2228850 h 3933825"/>
              <a:gd name="connsiteX102" fmla="*/ 1009650 w 3609975"/>
              <a:gd name="connsiteY102" fmla="*/ 2286000 h 3933825"/>
              <a:gd name="connsiteX103" fmla="*/ 1038225 w 3609975"/>
              <a:gd name="connsiteY103" fmla="*/ 2314575 h 3933825"/>
              <a:gd name="connsiteX104" fmla="*/ 1057275 w 3609975"/>
              <a:gd name="connsiteY104" fmla="*/ 2343150 h 3933825"/>
              <a:gd name="connsiteX105" fmla="*/ 1114425 w 3609975"/>
              <a:gd name="connsiteY105" fmla="*/ 2352675 h 3933825"/>
              <a:gd name="connsiteX106" fmla="*/ 1143000 w 3609975"/>
              <a:gd name="connsiteY106" fmla="*/ 2371725 h 3933825"/>
              <a:gd name="connsiteX107" fmla="*/ 1285875 w 3609975"/>
              <a:gd name="connsiteY107" fmla="*/ 2390775 h 3933825"/>
              <a:gd name="connsiteX108" fmla="*/ 1314450 w 3609975"/>
              <a:gd name="connsiteY108" fmla="*/ 2419350 h 3933825"/>
              <a:gd name="connsiteX109" fmla="*/ 1695450 w 3609975"/>
              <a:gd name="connsiteY109" fmla="*/ 2428875 h 3933825"/>
              <a:gd name="connsiteX110" fmla="*/ 1704975 w 3609975"/>
              <a:gd name="connsiteY110" fmla="*/ 2457450 h 3933825"/>
              <a:gd name="connsiteX111" fmla="*/ 1685925 w 3609975"/>
              <a:gd name="connsiteY111" fmla="*/ 2514600 h 3933825"/>
              <a:gd name="connsiteX112" fmla="*/ 1704975 w 3609975"/>
              <a:gd name="connsiteY112" fmla="*/ 2543175 h 3933825"/>
              <a:gd name="connsiteX113" fmla="*/ 1704975 w 3609975"/>
              <a:gd name="connsiteY113" fmla="*/ 2647950 h 3933825"/>
              <a:gd name="connsiteX114" fmla="*/ 1657350 w 3609975"/>
              <a:gd name="connsiteY114" fmla="*/ 2657475 h 3933825"/>
              <a:gd name="connsiteX115" fmla="*/ 1628775 w 3609975"/>
              <a:gd name="connsiteY115" fmla="*/ 2676525 h 3933825"/>
              <a:gd name="connsiteX116" fmla="*/ 1600200 w 3609975"/>
              <a:gd name="connsiteY116" fmla="*/ 2733675 h 3933825"/>
              <a:gd name="connsiteX117" fmla="*/ 1619250 w 3609975"/>
              <a:gd name="connsiteY117" fmla="*/ 2809875 h 3933825"/>
              <a:gd name="connsiteX118" fmla="*/ 1647825 w 3609975"/>
              <a:gd name="connsiteY118" fmla="*/ 2838450 h 3933825"/>
              <a:gd name="connsiteX119" fmla="*/ 1685925 w 3609975"/>
              <a:gd name="connsiteY119" fmla="*/ 2886075 h 3933825"/>
              <a:gd name="connsiteX120" fmla="*/ 1714500 w 3609975"/>
              <a:gd name="connsiteY120" fmla="*/ 2943225 h 3933825"/>
              <a:gd name="connsiteX121" fmla="*/ 1743075 w 3609975"/>
              <a:gd name="connsiteY121" fmla="*/ 2962275 h 3933825"/>
              <a:gd name="connsiteX122" fmla="*/ 1771650 w 3609975"/>
              <a:gd name="connsiteY122" fmla="*/ 3000375 h 3933825"/>
              <a:gd name="connsiteX123" fmla="*/ 1800225 w 3609975"/>
              <a:gd name="connsiteY123" fmla="*/ 3028950 h 3933825"/>
              <a:gd name="connsiteX124" fmla="*/ 1809750 w 3609975"/>
              <a:gd name="connsiteY124" fmla="*/ 3124200 h 3933825"/>
              <a:gd name="connsiteX125" fmla="*/ 1828800 w 3609975"/>
              <a:gd name="connsiteY125" fmla="*/ 3152775 h 3933825"/>
              <a:gd name="connsiteX126" fmla="*/ 1819275 w 3609975"/>
              <a:gd name="connsiteY126" fmla="*/ 3238500 h 3933825"/>
              <a:gd name="connsiteX127" fmla="*/ 1828800 w 3609975"/>
              <a:gd name="connsiteY127" fmla="*/ 3276600 h 3933825"/>
              <a:gd name="connsiteX128" fmla="*/ 1857375 w 3609975"/>
              <a:gd name="connsiteY128" fmla="*/ 3295650 h 3933825"/>
              <a:gd name="connsiteX129" fmla="*/ 1914525 w 3609975"/>
              <a:gd name="connsiteY129" fmla="*/ 3314700 h 3933825"/>
              <a:gd name="connsiteX130" fmla="*/ 1943100 w 3609975"/>
              <a:gd name="connsiteY130" fmla="*/ 3333750 h 3933825"/>
              <a:gd name="connsiteX131" fmla="*/ 2009775 w 3609975"/>
              <a:gd name="connsiteY131" fmla="*/ 3343275 h 3933825"/>
              <a:gd name="connsiteX132" fmla="*/ 2038350 w 3609975"/>
              <a:gd name="connsiteY132" fmla="*/ 3381375 h 3933825"/>
              <a:gd name="connsiteX133" fmla="*/ 2143125 w 3609975"/>
              <a:gd name="connsiteY133" fmla="*/ 3429000 h 3933825"/>
              <a:gd name="connsiteX134" fmla="*/ 2171700 w 3609975"/>
              <a:gd name="connsiteY134" fmla="*/ 3448050 h 3933825"/>
              <a:gd name="connsiteX135" fmla="*/ 2200275 w 3609975"/>
              <a:gd name="connsiteY135" fmla="*/ 3457575 h 3933825"/>
              <a:gd name="connsiteX136" fmla="*/ 2219325 w 3609975"/>
              <a:gd name="connsiteY136" fmla="*/ 3486150 h 3933825"/>
              <a:gd name="connsiteX137" fmla="*/ 2200275 w 3609975"/>
              <a:gd name="connsiteY137" fmla="*/ 3657600 h 3933825"/>
              <a:gd name="connsiteX138" fmla="*/ 2190750 w 3609975"/>
              <a:gd name="connsiteY138" fmla="*/ 3733800 h 3933825"/>
              <a:gd name="connsiteX139" fmla="*/ 2162175 w 3609975"/>
              <a:gd name="connsiteY139" fmla="*/ 3771900 h 3933825"/>
              <a:gd name="connsiteX140" fmla="*/ 2114550 w 3609975"/>
              <a:gd name="connsiteY140" fmla="*/ 3857625 h 3933825"/>
              <a:gd name="connsiteX141" fmla="*/ 2133600 w 3609975"/>
              <a:gd name="connsiteY141" fmla="*/ 3886200 h 3933825"/>
              <a:gd name="connsiteX142" fmla="*/ 2143125 w 3609975"/>
              <a:gd name="connsiteY142" fmla="*/ 3914775 h 3933825"/>
              <a:gd name="connsiteX143" fmla="*/ 2171700 w 3609975"/>
              <a:gd name="connsiteY143" fmla="*/ 3933825 h 3933825"/>
              <a:gd name="connsiteX144" fmla="*/ 2200275 w 3609975"/>
              <a:gd name="connsiteY144" fmla="*/ 3914775 h 3933825"/>
              <a:gd name="connsiteX145" fmla="*/ 2228850 w 3609975"/>
              <a:gd name="connsiteY145" fmla="*/ 3886200 h 3933825"/>
              <a:gd name="connsiteX146" fmla="*/ 2286000 w 3609975"/>
              <a:gd name="connsiteY146" fmla="*/ 3867150 h 3933825"/>
              <a:gd name="connsiteX147" fmla="*/ 2628900 w 3609975"/>
              <a:gd name="connsiteY147" fmla="*/ 3867150 h 3933825"/>
              <a:gd name="connsiteX148" fmla="*/ 2657475 w 3609975"/>
              <a:gd name="connsiteY148" fmla="*/ 3838575 h 3933825"/>
              <a:gd name="connsiteX149" fmla="*/ 2686050 w 3609975"/>
              <a:gd name="connsiteY149" fmla="*/ 3829050 h 3933825"/>
              <a:gd name="connsiteX150" fmla="*/ 2771775 w 3609975"/>
              <a:gd name="connsiteY150" fmla="*/ 3810000 h 3933825"/>
              <a:gd name="connsiteX151" fmla="*/ 2847975 w 3609975"/>
              <a:gd name="connsiteY151" fmla="*/ 3781425 h 3933825"/>
              <a:gd name="connsiteX152" fmla="*/ 2876550 w 3609975"/>
              <a:gd name="connsiteY152" fmla="*/ 3752850 h 3933825"/>
              <a:gd name="connsiteX153" fmla="*/ 2886075 w 3609975"/>
              <a:gd name="connsiteY153" fmla="*/ 3695700 h 3933825"/>
              <a:gd name="connsiteX154" fmla="*/ 2895600 w 3609975"/>
              <a:gd name="connsiteY154" fmla="*/ 3667125 h 3933825"/>
              <a:gd name="connsiteX155" fmla="*/ 2857500 w 3609975"/>
              <a:gd name="connsiteY155" fmla="*/ 3552825 h 3933825"/>
              <a:gd name="connsiteX156" fmla="*/ 2781300 w 3609975"/>
              <a:gd name="connsiteY156" fmla="*/ 3543300 h 3933825"/>
              <a:gd name="connsiteX157" fmla="*/ 2752725 w 3609975"/>
              <a:gd name="connsiteY157" fmla="*/ 3486150 h 3933825"/>
              <a:gd name="connsiteX158" fmla="*/ 2733675 w 3609975"/>
              <a:gd name="connsiteY158" fmla="*/ 3457575 h 3933825"/>
              <a:gd name="connsiteX159" fmla="*/ 2743200 w 3609975"/>
              <a:gd name="connsiteY159" fmla="*/ 3362325 h 3933825"/>
              <a:gd name="connsiteX160" fmla="*/ 2771775 w 3609975"/>
              <a:gd name="connsiteY160" fmla="*/ 3305175 h 3933825"/>
              <a:gd name="connsiteX161" fmla="*/ 2781300 w 3609975"/>
              <a:gd name="connsiteY161" fmla="*/ 3276600 h 3933825"/>
              <a:gd name="connsiteX162" fmla="*/ 2752725 w 3609975"/>
              <a:gd name="connsiteY162" fmla="*/ 3114675 h 3933825"/>
              <a:gd name="connsiteX163" fmla="*/ 2733675 w 3609975"/>
              <a:gd name="connsiteY163" fmla="*/ 3086100 h 3933825"/>
              <a:gd name="connsiteX164" fmla="*/ 2667000 w 3609975"/>
              <a:gd name="connsiteY164" fmla="*/ 3000375 h 3933825"/>
              <a:gd name="connsiteX165" fmla="*/ 2609850 w 3609975"/>
              <a:gd name="connsiteY165" fmla="*/ 2962275 h 3933825"/>
              <a:gd name="connsiteX166" fmla="*/ 2581275 w 3609975"/>
              <a:gd name="connsiteY166" fmla="*/ 2943225 h 3933825"/>
              <a:gd name="connsiteX167" fmla="*/ 2552700 w 3609975"/>
              <a:gd name="connsiteY167" fmla="*/ 2914650 h 3933825"/>
              <a:gd name="connsiteX168" fmla="*/ 2514600 w 3609975"/>
              <a:gd name="connsiteY168" fmla="*/ 2847975 h 3933825"/>
              <a:gd name="connsiteX169" fmla="*/ 2486025 w 3609975"/>
              <a:gd name="connsiteY169" fmla="*/ 2838450 h 3933825"/>
              <a:gd name="connsiteX170" fmla="*/ 2447925 w 3609975"/>
              <a:gd name="connsiteY170" fmla="*/ 2771775 h 3933825"/>
              <a:gd name="connsiteX171" fmla="*/ 2438400 w 3609975"/>
              <a:gd name="connsiteY171" fmla="*/ 2743200 h 3933825"/>
              <a:gd name="connsiteX172" fmla="*/ 2409825 w 3609975"/>
              <a:gd name="connsiteY172" fmla="*/ 2714625 h 3933825"/>
              <a:gd name="connsiteX173" fmla="*/ 2419350 w 3609975"/>
              <a:gd name="connsiteY173" fmla="*/ 2590800 h 3933825"/>
              <a:gd name="connsiteX174" fmla="*/ 2447925 w 3609975"/>
              <a:gd name="connsiteY174" fmla="*/ 2581275 h 3933825"/>
              <a:gd name="connsiteX175" fmla="*/ 2533650 w 3609975"/>
              <a:gd name="connsiteY175" fmla="*/ 2571750 h 3933825"/>
              <a:gd name="connsiteX176" fmla="*/ 2600325 w 3609975"/>
              <a:gd name="connsiteY176" fmla="*/ 2524125 h 3933825"/>
              <a:gd name="connsiteX177" fmla="*/ 2619375 w 3609975"/>
              <a:gd name="connsiteY177" fmla="*/ 2486025 h 3933825"/>
              <a:gd name="connsiteX178" fmla="*/ 2667000 w 3609975"/>
              <a:gd name="connsiteY178" fmla="*/ 2419350 h 3933825"/>
              <a:gd name="connsiteX179" fmla="*/ 2724150 w 3609975"/>
              <a:gd name="connsiteY179" fmla="*/ 2400300 h 3933825"/>
              <a:gd name="connsiteX180" fmla="*/ 2800350 w 3609975"/>
              <a:gd name="connsiteY180" fmla="*/ 2381250 h 3933825"/>
              <a:gd name="connsiteX181" fmla="*/ 2790825 w 3609975"/>
              <a:gd name="connsiteY181" fmla="*/ 2181225 h 3933825"/>
              <a:gd name="connsiteX182" fmla="*/ 2762250 w 3609975"/>
              <a:gd name="connsiteY182" fmla="*/ 2152650 h 3933825"/>
              <a:gd name="connsiteX183" fmla="*/ 2724150 w 3609975"/>
              <a:gd name="connsiteY183" fmla="*/ 2143125 h 3933825"/>
              <a:gd name="connsiteX184" fmla="*/ 2695575 w 3609975"/>
              <a:gd name="connsiteY184" fmla="*/ 2133600 h 3933825"/>
              <a:gd name="connsiteX185" fmla="*/ 2667000 w 3609975"/>
              <a:gd name="connsiteY185" fmla="*/ 2076450 h 3933825"/>
              <a:gd name="connsiteX186" fmla="*/ 2695575 w 3609975"/>
              <a:gd name="connsiteY186" fmla="*/ 2000250 h 3933825"/>
              <a:gd name="connsiteX187" fmla="*/ 2743200 w 3609975"/>
              <a:gd name="connsiteY187" fmla="*/ 1943100 h 3933825"/>
              <a:gd name="connsiteX188" fmla="*/ 2762250 w 3609975"/>
              <a:gd name="connsiteY188" fmla="*/ 1885950 h 3933825"/>
              <a:gd name="connsiteX189" fmla="*/ 2771775 w 3609975"/>
              <a:gd name="connsiteY189" fmla="*/ 1857375 h 3933825"/>
              <a:gd name="connsiteX190" fmla="*/ 2781300 w 3609975"/>
              <a:gd name="connsiteY190" fmla="*/ 1704975 h 3933825"/>
              <a:gd name="connsiteX191" fmla="*/ 2800350 w 3609975"/>
              <a:gd name="connsiteY191" fmla="*/ 1628775 h 3933825"/>
              <a:gd name="connsiteX192" fmla="*/ 2876550 w 3609975"/>
              <a:gd name="connsiteY192" fmla="*/ 1600200 h 3933825"/>
              <a:gd name="connsiteX193" fmla="*/ 3000375 w 3609975"/>
              <a:gd name="connsiteY193" fmla="*/ 1609725 h 3933825"/>
              <a:gd name="connsiteX194" fmla="*/ 3057525 w 3609975"/>
              <a:gd name="connsiteY194" fmla="*/ 1628775 h 3933825"/>
              <a:gd name="connsiteX195" fmla="*/ 3095625 w 3609975"/>
              <a:gd name="connsiteY195" fmla="*/ 1657350 h 3933825"/>
              <a:gd name="connsiteX196" fmla="*/ 3295650 w 3609975"/>
              <a:gd name="connsiteY196" fmla="*/ 1657350 h 3933825"/>
              <a:gd name="connsiteX197" fmla="*/ 3390900 w 3609975"/>
              <a:gd name="connsiteY197" fmla="*/ 1619250 h 3933825"/>
              <a:gd name="connsiteX198" fmla="*/ 3419475 w 3609975"/>
              <a:gd name="connsiteY198" fmla="*/ 1609725 h 3933825"/>
              <a:gd name="connsiteX199" fmla="*/ 3495675 w 3609975"/>
              <a:gd name="connsiteY199" fmla="*/ 1609725 h 393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</a:cxnLst>
            <a:rect l="l" t="t" r="r" b="b"/>
            <a:pathLst>
              <a:path w="3609975" h="3933825">
                <a:moveTo>
                  <a:pt x="3609975" y="104775"/>
                </a:moveTo>
                <a:cubicBezTo>
                  <a:pt x="3527425" y="107950"/>
                  <a:pt x="3444498" y="105799"/>
                  <a:pt x="3362325" y="114300"/>
                </a:cubicBezTo>
                <a:cubicBezTo>
                  <a:pt x="3350938" y="115478"/>
                  <a:pt x="3343989" y="128230"/>
                  <a:pt x="3333750" y="133350"/>
                </a:cubicBezTo>
                <a:cubicBezTo>
                  <a:pt x="3324770" y="137840"/>
                  <a:pt x="3314700" y="139700"/>
                  <a:pt x="3305175" y="142875"/>
                </a:cubicBezTo>
                <a:cubicBezTo>
                  <a:pt x="3257877" y="213821"/>
                  <a:pt x="3318666" y="126686"/>
                  <a:pt x="3257550" y="200025"/>
                </a:cubicBezTo>
                <a:cubicBezTo>
                  <a:pt x="3250221" y="208819"/>
                  <a:pt x="3248208" y="222533"/>
                  <a:pt x="3238500" y="228600"/>
                </a:cubicBezTo>
                <a:cubicBezTo>
                  <a:pt x="3204874" y="249616"/>
                  <a:pt x="3151115" y="250549"/>
                  <a:pt x="3114675" y="257175"/>
                </a:cubicBezTo>
                <a:cubicBezTo>
                  <a:pt x="3101795" y="259517"/>
                  <a:pt x="3089275" y="263525"/>
                  <a:pt x="3076575" y="266700"/>
                </a:cubicBezTo>
                <a:cubicBezTo>
                  <a:pt x="2933822" y="256503"/>
                  <a:pt x="2946767" y="251288"/>
                  <a:pt x="2800350" y="266700"/>
                </a:cubicBezTo>
                <a:cubicBezTo>
                  <a:pt x="2787331" y="268070"/>
                  <a:pt x="2774507" y="271628"/>
                  <a:pt x="2762250" y="276225"/>
                </a:cubicBezTo>
                <a:cubicBezTo>
                  <a:pt x="2734628" y="286583"/>
                  <a:pt x="2719262" y="298534"/>
                  <a:pt x="2695575" y="314325"/>
                </a:cubicBezTo>
                <a:lnTo>
                  <a:pt x="2562225" y="304800"/>
                </a:lnTo>
                <a:cubicBezTo>
                  <a:pt x="2335272" y="291450"/>
                  <a:pt x="2439653" y="306596"/>
                  <a:pt x="2314575" y="285750"/>
                </a:cubicBezTo>
                <a:cubicBezTo>
                  <a:pt x="2238698" y="288460"/>
                  <a:pt x="2082116" y="284617"/>
                  <a:pt x="1981200" y="304800"/>
                </a:cubicBezTo>
                <a:cubicBezTo>
                  <a:pt x="1971355" y="306769"/>
                  <a:pt x="1962365" y="311890"/>
                  <a:pt x="1952625" y="314325"/>
                </a:cubicBezTo>
                <a:cubicBezTo>
                  <a:pt x="1936919" y="318252"/>
                  <a:pt x="1920804" y="320338"/>
                  <a:pt x="1905000" y="323850"/>
                </a:cubicBezTo>
                <a:cubicBezTo>
                  <a:pt x="1869659" y="331704"/>
                  <a:pt x="1848102" y="340599"/>
                  <a:pt x="1809750" y="342900"/>
                </a:cubicBezTo>
                <a:cubicBezTo>
                  <a:pt x="1670157" y="351276"/>
                  <a:pt x="1530350" y="355600"/>
                  <a:pt x="1390650" y="361950"/>
                </a:cubicBezTo>
                <a:cubicBezTo>
                  <a:pt x="1381125" y="368300"/>
                  <a:pt x="1372597" y="376491"/>
                  <a:pt x="1362075" y="381000"/>
                </a:cubicBezTo>
                <a:cubicBezTo>
                  <a:pt x="1312219" y="402367"/>
                  <a:pt x="1333494" y="375562"/>
                  <a:pt x="1285875" y="409575"/>
                </a:cubicBezTo>
                <a:cubicBezTo>
                  <a:pt x="1274914" y="417405"/>
                  <a:pt x="1269075" y="431608"/>
                  <a:pt x="1257300" y="438150"/>
                </a:cubicBezTo>
                <a:cubicBezTo>
                  <a:pt x="1224955" y="456119"/>
                  <a:pt x="1178479" y="460812"/>
                  <a:pt x="1143000" y="466725"/>
                </a:cubicBezTo>
                <a:lnTo>
                  <a:pt x="914400" y="457200"/>
                </a:lnTo>
                <a:cubicBezTo>
                  <a:pt x="901608" y="454419"/>
                  <a:pt x="914668" y="428357"/>
                  <a:pt x="923925" y="419100"/>
                </a:cubicBezTo>
                <a:cubicBezTo>
                  <a:pt x="933182" y="409843"/>
                  <a:pt x="949438" y="413171"/>
                  <a:pt x="962025" y="409575"/>
                </a:cubicBezTo>
                <a:cubicBezTo>
                  <a:pt x="971679" y="406817"/>
                  <a:pt x="981075" y="403225"/>
                  <a:pt x="990600" y="400050"/>
                </a:cubicBezTo>
                <a:cubicBezTo>
                  <a:pt x="993775" y="390525"/>
                  <a:pt x="1001545" y="381414"/>
                  <a:pt x="1000125" y="371475"/>
                </a:cubicBezTo>
                <a:cubicBezTo>
                  <a:pt x="999218" y="365124"/>
                  <a:pt x="970197" y="311337"/>
                  <a:pt x="962025" y="304800"/>
                </a:cubicBezTo>
                <a:cubicBezTo>
                  <a:pt x="954185" y="298528"/>
                  <a:pt x="942975" y="298450"/>
                  <a:pt x="933450" y="295275"/>
                </a:cubicBezTo>
                <a:cubicBezTo>
                  <a:pt x="901700" y="298450"/>
                  <a:pt x="869489" y="298542"/>
                  <a:pt x="838200" y="304800"/>
                </a:cubicBezTo>
                <a:cubicBezTo>
                  <a:pt x="821434" y="308153"/>
                  <a:pt x="807673" y="323850"/>
                  <a:pt x="790575" y="323850"/>
                </a:cubicBezTo>
                <a:cubicBezTo>
                  <a:pt x="745674" y="323850"/>
                  <a:pt x="701675" y="311150"/>
                  <a:pt x="657225" y="304800"/>
                </a:cubicBezTo>
                <a:cubicBezTo>
                  <a:pt x="647700" y="298450"/>
                  <a:pt x="636745" y="293845"/>
                  <a:pt x="628650" y="285750"/>
                </a:cubicBezTo>
                <a:cubicBezTo>
                  <a:pt x="620555" y="277655"/>
                  <a:pt x="611482" y="268467"/>
                  <a:pt x="609600" y="257175"/>
                </a:cubicBezTo>
                <a:cubicBezTo>
                  <a:pt x="607949" y="247271"/>
                  <a:pt x="612853" y="236440"/>
                  <a:pt x="619125" y="228600"/>
                </a:cubicBezTo>
                <a:cubicBezTo>
                  <a:pt x="632554" y="211814"/>
                  <a:pt x="657451" y="206300"/>
                  <a:pt x="676275" y="200025"/>
                </a:cubicBezTo>
                <a:lnTo>
                  <a:pt x="714375" y="142875"/>
                </a:lnTo>
                <a:lnTo>
                  <a:pt x="733425" y="114300"/>
                </a:lnTo>
                <a:cubicBezTo>
                  <a:pt x="730250" y="79375"/>
                  <a:pt x="734990" y="42794"/>
                  <a:pt x="723900" y="9525"/>
                </a:cubicBezTo>
                <a:cubicBezTo>
                  <a:pt x="720725" y="0"/>
                  <a:pt x="705365" y="0"/>
                  <a:pt x="695325" y="0"/>
                </a:cubicBezTo>
                <a:cubicBezTo>
                  <a:pt x="644426" y="0"/>
                  <a:pt x="593725" y="6350"/>
                  <a:pt x="542925" y="9525"/>
                </a:cubicBezTo>
                <a:cubicBezTo>
                  <a:pt x="530718" y="12577"/>
                  <a:pt x="489915" y="21743"/>
                  <a:pt x="476250" y="28575"/>
                </a:cubicBezTo>
                <a:cubicBezTo>
                  <a:pt x="466011" y="33695"/>
                  <a:pt x="458136" y="42976"/>
                  <a:pt x="447675" y="47625"/>
                </a:cubicBezTo>
                <a:cubicBezTo>
                  <a:pt x="423931" y="58178"/>
                  <a:pt x="380132" y="70043"/>
                  <a:pt x="352425" y="76200"/>
                </a:cubicBezTo>
                <a:cubicBezTo>
                  <a:pt x="336621" y="79712"/>
                  <a:pt x="320728" y="82829"/>
                  <a:pt x="304800" y="85725"/>
                </a:cubicBezTo>
                <a:cubicBezTo>
                  <a:pt x="285799" y="89180"/>
                  <a:pt x="266386" y="90566"/>
                  <a:pt x="247650" y="95250"/>
                </a:cubicBezTo>
                <a:cubicBezTo>
                  <a:pt x="228169" y="100120"/>
                  <a:pt x="209550" y="107950"/>
                  <a:pt x="190500" y="114300"/>
                </a:cubicBezTo>
                <a:cubicBezTo>
                  <a:pt x="180975" y="117475"/>
                  <a:pt x="170279" y="118256"/>
                  <a:pt x="161925" y="123825"/>
                </a:cubicBezTo>
                <a:cubicBezTo>
                  <a:pt x="118573" y="152727"/>
                  <a:pt x="149844" y="135499"/>
                  <a:pt x="104775" y="152400"/>
                </a:cubicBezTo>
                <a:cubicBezTo>
                  <a:pt x="88766" y="158403"/>
                  <a:pt x="73645" y="166951"/>
                  <a:pt x="57150" y="171450"/>
                </a:cubicBezTo>
                <a:cubicBezTo>
                  <a:pt x="38518" y="176532"/>
                  <a:pt x="19050" y="177800"/>
                  <a:pt x="0" y="180975"/>
                </a:cubicBezTo>
                <a:cubicBezTo>
                  <a:pt x="3175" y="209550"/>
                  <a:pt x="2552" y="238808"/>
                  <a:pt x="9525" y="266700"/>
                </a:cubicBezTo>
                <a:cubicBezTo>
                  <a:pt x="12301" y="277806"/>
                  <a:pt x="23455" y="285036"/>
                  <a:pt x="28575" y="295275"/>
                </a:cubicBezTo>
                <a:cubicBezTo>
                  <a:pt x="33065" y="304255"/>
                  <a:pt x="32531" y="315496"/>
                  <a:pt x="38100" y="323850"/>
                </a:cubicBezTo>
                <a:cubicBezTo>
                  <a:pt x="45572" y="335058"/>
                  <a:pt x="58051" y="342077"/>
                  <a:pt x="66675" y="352425"/>
                </a:cubicBezTo>
                <a:cubicBezTo>
                  <a:pt x="87191" y="377044"/>
                  <a:pt x="85704" y="380936"/>
                  <a:pt x="95250" y="409575"/>
                </a:cubicBezTo>
                <a:cubicBezTo>
                  <a:pt x="98425" y="444500"/>
                  <a:pt x="95141" y="480630"/>
                  <a:pt x="104775" y="514350"/>
                </a:cubicBezTo>
                <a:cubicBezTo>
                  <a:pt x="108476" y="527302"/>
                  <a:pt x="127326" y="530877"/>
                  <a:pt x="133350" y="542925"/>
                </a:cubicBezTo>
                <a:cubicBezTo>
                  <a:pt x="140590" y="557405"/>
                  <a:pt x="138948" y="574844"/>
                  <a:pt x="142875" y="590550"/>
                </a:cubicBezTo>
                <a:cubicBezTo>
                  <a:pt x="145310" y="600290"/>
                  <a:pt x="149225" y="609600"/>
                  <a:pt x="152400" y="619125"/>
                </a:cubicBezTo>
                <a:cubicBezTo>
                  <a:pt x="155575" y="663575"/>
                  <a:pt x="134087" y="717677"/>
                  <a:pt x="161925" y="752475"/>
                </a:cubicBezTo>
                <a:cubicBezTo>
                  <a:pt x="225877" y="832415"/>
                  <a:pt x="299866" y="695782"/>
                  <a:pt x="257175" y="809625"/>
                </a:cubicBezTo>
                <a:cubicBezTo>
                  <a:pt x="253155" y="820344"/>
                  <a:pt x="244475" y="828675"/>
                  <a:pt x="238125" y="838200"/>
                </a:cubicBezTo>
                <a:cubicBezTo>
                  <a:pt x="241300" y="850900"/>
                  <a:pt x="239472" y="866078"/>
                  <a:pt x="247650" y="876300"/>
                </a:cubicBezTo>
                <a:cubicBezTo>
                  <a:pt x="253922" y="884140"/>
                  <a:pt x="266321" y="884174"/>
                  <a:pt x="276225" y="885825"/>
                </a:cubicBezTo>
                <a:cubicBezTo>
                  <a:pt x="304585" y="890552"/>
                  <a:pt x="333375" y="892175"/>
                  <a:pt x="361950" y="895350"/>
                </a:cubicBezTo>
                <a:cubicBezTo>
                  <a:pt x="371475" y="901700"/>
                  <a:pt x="389386" y="903009"/>
                  <a:pt x="390525" y="914400"/>
                </a:cubicBezTo>
                <a:cubicBezTo>
                  <a:pt x="393130" y="940452"/>
                  <a:pt x="378364" y="965341"/>
                  <a:pt x="371475" y="990600"/>
                </a:cubicBezTo>
                <a:cubicBezTo>
                  <a:pt x="368833" y="1000286"/>
                  <a:pt x="369050" y="1012075"/>
                  <a:pt x="361950" y="1019175"/>
                </a:cubicBezTo>
                <a:cubicBezTo>
                  <a:pt x="354850" y="1026275"/>
                  <a:pt x="342900" y="1025525"/>
                  <a:pt x="333375" y="1028700"/>
                </a:cubicBezTo>
                <a:lnTo>
                  <a:pt x="276225" y="1085850"/>
                </a:lnTo>
                <a:cubicBezTo>
                  <a:pt x="266700" y="1095375"/>
                  <a:pt x="255122" y="1103217"/>
                  <a:pt x="247650" y="1114425"/>
                </a:cubicBezTo>
                <a:cubicBezTo>
                  <a:pt x="219794" y="1156209"/>
                  <a:pt x="237758" y="1136131"/>
                  <a:pt x="190500" y="1171575"/>
                </a:cubicBezTo>
                <a:cubicBezTo>
                  <a:pt x="193675" y="1181100"/>
                  <a:pt x="193597" y="1192437"/>
                  <a:pt x="200025" y="1200150"/>
                </a:cubicBezTo>
                <a:cubicBezTo>
                  <a:pt x="207409" y="1209011"/>
                  <a:pt x="253670" y="1239088"/>
                  <a:pt x="266700" y="1247775"/>
                </a:cubicBezTo>
                <a:cubicBezTo>
                  <a:pt x="279400" y="1266825"/>
                  <a:pt x="323850" y="1292225"/>
                  <a:pt x="304800" y="1304925"/>
                </a:cubicBezTo>
                <a:cubicBezTo>
                  <a:pt x="295275" y="1311275"/>
                  <a:pt x="286464" y="1318855"/>
                  <a:pt x="276225" y="1323975"/>
                </a:cubicBezTo>
                <a:cubicBezTo>
                  <a:pt x="267245" y="1328465"/>
                  <a:pt x="256427" y="1328624"/>
                  <a:pt x="247650" y="1333500"/>
                </a:cubicBezTo>
                <a:cubicBezTo>
                  <a:pt x="227636" y="1344619"/>
                  <a:pt x="190500" y="1371600"/>
                  <a:pt x="190500" y="1371600"/>
                </a:cubicBezTo>
                <a:cubicBezTo>
                  <a:pt x="143969" y="1441396"/>
                  <a:pt x="193352" y="1357340"/>
                  <a:pt x="161925" y="1514475"/>
                </a:cubicBezTo>
                <a:cubicBezTo>
                  <a:pt x="159680" y="1525700"/>
                  <a:pt x="149225" y="1533525"/>
                  <a:pt x="142875" y="1543050"/>
                </a:cubicBezTo>
                <a:cubicBezTo>
                  <a:pt x="145203" y="1554691"/>
                  <a:pt x="161092" y="1644372"/>
                  <a:pt x="171450" y="1647825"/>
                </a:cubicBezTo>
                <a:lnTo>
                  <a:pt x="200025" y="1657350"/>
                </a:lnTo>
                <a:cubicBezTo>
                  <a:pt x="203200" y="1676400"/>
                  <a:pt x="203443" y="1696178"/>
                  <a:pt x="209550" y="1714500"/>
                </a:cubicBezTo>
                <a:cubicBezTo>
                  <a:pt x="217433" y="1738149"/>
                  <a:pt x="242438" y="1753965"/>
                  <a:pt x="257175" y="1771650"/>
                </a:cubicBezTo>
                <a:cubicBezTo>
                  <a:pt x="264504" y="1780444"/>
                  <a:pt x="265596" y="1795973"/>
                  <a:pt x="276225" y="1800225"/>
                </a:cubicBezTo>
                <a:cubicBezTo>
                  <a:pt x="299992" y="1809732"/>
                  <a:pt x="327025" y="1806575"/>
                  <a:pt x="352425" y="1809750"/>
                </a:cubicBezTo>
                <a:cubicBezTo>
                  <a:pt x="361950" y="1812925"/>
                  <a:pt x="371077" y="1817748"/>
                  <a:pt x="381000" y="1819275"/>
                </a:cubicBezTo>
                <a:cubicBezTo>
                  <a:pt x="412537" y="1824127"/>
                  <a:pt x="445979" y="1818710"/>
                  <a:pt x="476250" y="1828800"/>
                </a:cubicBezTo>
                <a:cubicBezTo>
                  <a:pt x="487110" y="1832420"/>
                  <a:pt x="490651" y="1846914"/>
                  <a:pt x="495300" y="1857375"/>
                </a:cubicBezTo>
                <a:cubicBezTo>
                  <a:pt x="503455" y="1875725"/>
                  <a:pt x="508000" y="1895475"/>
                  <a:pt x="514350" y="1914525"/>
                </a:cubicBezTo>
                <a:cubicBezTo>
                  <a:pt x="523442" y="1941802"/>
                  <a:pt x="523071" y="1954887"/>
                  <a:pt x="552450" y="1971675"/>
                </a:cubicBezTo>
                <a:cubicBezTo>
                  <a:pt x="564762" y="1978711"/>
                  <a:pt x="643322" y="1989631"/>
                  <a:pt x="647700" y="1990725"/>
                </a:cubicBezTo>
                <a:cubicBezTo>
                  <a:pt x="667181" y="1995595"/>
                  <a:pt x="704850" y="2009775"/>
                  <a:pt x="704850" y="2009775"/>
                </a:cubicBezTo>
                <a:cubicBezTo>
                  <a:pt x="714375" y="2019300"/>
                  <a:pt x="731377" y="2025036"/>
                  <a:pt x="733425" y="2038350"/>
                </a:cubicBezTo>
                <a:cubicBezTo>
                  <a:pt x="744420" y="2109815"/>
                  <a:pt x="719820" y="2130872"/>
                  <a:pt x="704850" y="2190750"/>
                </a:cubicBezTo>
                <a:lnTo>
                  <a:pt x="695325" y="2228850"/>
                </a:lnTo>
                <a:cubicBezTo>
                  <a:pt x="697018" y="2233930"/>
                  <a:pt x="706332" y="2287270"/>
                  <a:pt x="733425" y="2266950"/>
                </a:cubicBezTo>
                <a:cubicBezTo>
                  <a:pt x="743898" y="2259095"/>
                  <a:pt x="734330" y="2238702"/>
                  <a:pt x="742950" y="2228850"/>
                </a:cubicBezTo>
                <a:cubicBezTo>
                  <a:pt x="769922" y="2198025"/>
                  <a:pt x="795277" y="2192358"/>
                  <a:pt x="828675" y="2181225"/>
                </a:cubicBezTo>
                <a:cubicBezTo>
                  <a:pt x="863600" y="2184400"/>
                  <a:pt x="900718" y="2178161"/>
                  <a:pt x="933450" y="2190750"/>
                </a:cubicBezTo>
                <a:cubicBezTo>
                  <a:pt x="946703" y="2195847"/>
                  <a:pt x="943630" y="2217762"/>
                  <a:pt x="952500" y="2228850"/>
                </a:cubicBezTo>
                <a:cubicBezTo>
                  <a:pt x="969330" y="2249887"/>
                  <a:pt x="990600" y="2266950"/>
                  <a:pt x="1009650" y="2286000"/>
                </a:cubicBezTo>
                <a:cubicBezTo>
                  <a:pt x="1019175" y="2295525"/>
                  <a:pt x="1030753" y="2303367"/>
                  <a:pt x="1038225" y="2314575"/>
                </a:cubicBezTo>
                <a:cubicBezTo>
                  <a:pt x="1044575" y="2324100"/>
                  <a:pt x="1047036" y="2338030"/>
                  <a:pt x="1057275" y="2343150"/>
                </a:cubicBezTo>
                <a:cubicBezTo>
                  <a:pt x="1074549" y="2351787"/>
                  <a:pt x="1095375" y="2349500"/>
                  <a:pt x="1114425" y="2352675"/>
                </a:cubicBezTo>
                <a:cubicBezTo>
                  <a:pt x="1123950" y="2359025"/>
                  <a:pt x="1132761" y="2366605"/>
                  <a:pt x="1143000" y="2371725"/>
                </a:cubicBezTo>
                <a:cubicBezTo>
                  <a:pt x="1181907" y="2391179"/>
                  <a:pt x="1260339" y="2388647"/>
                  <a:pt x="1285875" y="2390775"/>
                </a:cubicBezTo>
                <a:cubicBezTo>
                  <a:pt x="1295400" y="2400300"/>
                  <a:pt x="1300996" y="2418677"/>
                  <a:pt x="1314450" y="2419350"/>
                </a:cubicBezTo>
                <a:cubicBezTo>
                  <a:pt x="1723769" y="2439816"/>
                  <a:pt x="1564667" y="2341686"/>
                  <a:pt x="1695450" y="2428875"/>
                </a:cubicBezTo>
                <a:cubicBezTo>
                  <a:pt x="1698625" y="2438400"/>
                  <a:pt x="1706084" y="2447471"/>
                  <a:pt x="1704975" y="2457450"/>
                </a:cubicBezTo>
                <a:cubicBezTo>
                  <a:pt x="1702757" y="2477408"/>
                  <a:pt x="1685925" y="2514600"/>
                  <a:pt x="1685925" y="2514600"/>
                </a:cubicBezTo>
                <a:cubicBezTo>
                  <a:pt x="1692275" y="2524125"/>
                  <a:pt x="1699855" y="2532936"/>
                  <a:pt x="1704975" y="2543175"/>
                </a:cubicBezTo>
                <a:cubicBezTo>
                  <a:pt x="1719783" y="2572792"/>
                  <a:pt x="1722913" y="2621044"/>
                  <a:pt x="1704975" y="2647950"/>
                </a:cubicBezTo>
                <a:cubicBezTo>
                  <a:pt x="1695995" y="2661420"/>
                  <a:pt x="1673225" y="2654300"/>
                  <a:pt x="1657350" y="2657475"/>
                </a:cubicBezTo>
                <a:cubicBezTo>
                  <a:pt x="1647825" y="2663825"/>
                  <a:pt x="1636870" y="2668430"/>
                  <a:pt x="1628775" y="2676525"/>
                </a:cubicBezTo>
                <a:cubicBezTo>
                  <a:pt x="1610311" y="2694989"/>
                  <a:pt x="1607947" y="2710434"/>
                  <a:pt x="1600200" y="2733675"/>
                </a:cubicBezTo>
                <a:cubicBezTo>
                  <a:pt x="1601574" y="2740545"/>
                  <a:pt x="1610882" y="2797323"/>
                  <a:pt x="1619250" y="2809875"/>
                </a:cubicBezTo>
                <a:cubicBezTo>
                  <a:pt x="1626722" y="2821083"/>
                  <a:pt x="1638300" y="2828925"/>
                  <a:pt x="1647825" y="2838450"/>
                </a:cubicBezTo>
                <a:cubicBezTo>
                  <a:pt x="1666368" y="2894080"/>
                  <a:pt x="1642841" y="2842991"/>
                  <a:pt x="1685925" y="2886075"/>
                </a:cubicBezTo>
                <a:cubicBezTo>
                  <a:pt x="1766219" y="2966369"/>
                  <a:pt x="1652525" y="2865756"/>
                  <a:pt x="1714500" y="2943225"/>
                </a:cubicBezTo>
                <a:cubicBezTo>
                  <a:pt x="1721651" y="2952164"/>
                  <a:pt x="1734980" y="2954180"/>
                  <a:pt x="1743075" y="2962275"/>
                </a:cubicBezTo>
                <a:cubicBezTo>
                  <a:pt x="1754300" y="2973500"/>
                  <a:pt x="1761319" y="2988322"/>
                  <a:pt x="1771650" y="3000375"/>
                </a:cubicBezTo>
                <a:cubicBezTo>
                  <a:pt x="1780416" y="3010602"/>
                  <a:pt x="1790700" y="3019425"/>
                  <a:pt x="1800225" y="3028950"/>
                </a:cubicBezTo>
                <a:cubicBezTo>
                  <a:pt x="1803400" y="3060700"/>
                  <a:pt x="1802575" y="3093109"/>
                  <a:pt x="1809750" y="3124200"/>
                </a:cubicBezTo>
                <a:cubicBezTo>
                  <a:pt x="1812324" y="3135354"/>
                  <a:pt x="1827849" y="3141367"/>
                  <a:pt x="1828800" y="3152775"/>
                </a:cubicBezTo>
                <a:cubicBezTo>
                  <a:pt x="1831188" y="3181427"/>
                  <a:pt x="1822450" y="3209925"/>
                  <a:pt x="1819275" y="3238500"/>
                </a:cubicBezTo>
                <a:cubicBezTo>
                  <a:pt x="1822450" y="3251200"/>
                  <a:pt x="1821538" y="3265708"/>
                  <a:pt x="1828800" y="3276600"/>
                </a:cubicBezTo>
                <a:cubicBezTo>
                  <a:pt x="1835150" y="3286125"/>
                  <a:pt x="1846914" y="3291001"/>
                  <a:pt x="1857375" y="3295650"/>
                </a:cubicBezTo>
                <a:cubicBezTo>
                  <a:pt x="1875725" y="3303805"/>
                  <a:pt x="1897817" y="3303561"/>
                  <a:pt x="1914525" y="3314700"/>
                </a:cubicBezTo>
                <a:cubicBezTo>
                  <a:pt x="1924050" y="3321050"/>
                  <a:pt x="1932135" y="3330461"/>
                  <a:pt x="1943100" y="3333750"/>
                </a:cubicBezTo>
                <a:cubicBezTo>
                  <a:pt x="1964604" y="3340201"/>
                  <a:pt x="1987550" y="3340100"/>
                  <a:pt x="2009775" y="3343275"/>
                </a:cubicBezTo>
                <a:cubicBezTo>
                  <a:pt x="2019300" y="3355975"/>
                  <a:pt x="2026485" y="3370828"/>
                  <a:pt x="2038350" y="3381375"/>
                </a:cubicBezTo>
                <a:cubicBezTo>
                  <a:pt x="2086190" y="3423899"/>
                  <a:pt x="2089158" y="3418207"/>
                  <a:pt x="2143125" y="3429000"/>
                </a:cubicBezTo>
                <a:cubicBezTo>
                  <a:pt x="2152650" y="3435350"/>
                  <a:pt x="2161461" y="3442930"/>
                  <a:pt x="2171700" y="3448050"/>
                </a:cubicBezTo>
                <a:cubicBezTo>
                  <a:pt x="2180680" y="3452540"/>
                  <a:pt x="2192435" y="3451303"/>
                  <a:pt x="2200275" y="3457575"/>
                </a:cubicBezTo>
                <a:cubicBezTo>
                  <a:pt x="2209214" y="3464726"/>
                  <a:pt x="2212975" y="3476625"/>
                  <a:pt x="2219325" y="3486150"/>
                </a:cubicBezTo>
                <a:cubicBezTo>
                  <a:pt x="2198147" y="3761463"/>
                  <a:pt x="2221990" y="3516451"/>
                  <a:pt x="2200275" y="3657600"/>
                </a:cubicBezTo>
                <a:cubicBezTo>
                  <a:pt x="2196383" y="3682900"/>
                  <a:pt x="2198845" y="3709516"/>
                  <a:pt x="2190750" y="3733800"/>
                </a:cubicBezTo>
                <a:cubicBezTo>
                  <a:pt x="2185730" y="3748860"/>
                  <a:pt x="2171700" y="3759200"/>
                  <a:pt x="2162175" y="3771900"/>
                </a:cubicBezTo>
                <a:cubicBezTo>
                  <a:pt x="2138865" y="3841829"/>
                  <a:pt x="2157324" y="3814851"/>
                  <a:pt x="2114550" y="3857625"/>
                </a:cubicBezTo>
                <a:cubicBezTo>
                  <a:pt x="2120900" y="3867150"/>
                  <a:pt x="2128480" y="3875961"/>
                  <a:pt x="2133600" y="3886200"/>
                </a:cubicBezTo>
                <a:cubicBezTo>
                  <a:pt x="2138090" y="3895180"/>
                  <a:pt x="2136853" y="3906935"/>
                  <a:pt x="2143125" y="3914775"/>
                </a:cubicBezTo>
                <a:cubicBezTo>
                  <a:pt x="2150276" y="3923714"/>
                  <a:pt x="2162175" y="3927475"/>
                  <a:pt x="2171700" y="3933825"/>
                </a:cubicBezTo>
                <a:cubicBezTo>
                  <a:pt x="2181225" y="3927475"/>
                  <a:pt x="2191481" y="3922104"/>
                  <a:pt x="2200275" y="3914775"/>
                </a:cubicBezTo>
                <a:cubicBezTo>
                  <a:pt x="2210623" y="3906151"/>
                  <a:pt x="2217075" y="3892742"/>
                  <a:pt x="2228850" y="3886200"/>
                </a:cubicBezTo>
                <a:cubicBezTo>
                  <a:pt x="2246403" y="3876448"/>
                  <a:pt x="2286000" y="3867150"/>
                  <a:pt x="2286000" y="3867150"/>
                </a:cubicBezTo>
                <a:cubicBezTo>
                  <a:pt x="2408950" y="3875932"/>
                  <a:pt x="2500583" y="3887681"/>
                  <a:pt x="2628900" y="3867150"/>
                </a:cubicBezTo>
                <a:cubicBezTo>
                  <a:pt x="2642201" y="3865022"/>
                  <a:pt x="2646267" y="3846047"/>
                  <a:pt x="2657475" y="3838575"/>
                </a:cubicBezTo>
                <a:cubicBezTo>
                  <a:pt x="2665829" y="3833006"/>
                  <a:pt x="2676396" y="3831808"/>
                  <a:pt x="2686050" y="3829050"/>
                </a:cubicBezTo>
                <a:cubicBezTo>
                  <a:pt x="2754496" y="3809494"/>
                  <a:pt x="2693209" y="3829642"/>
                  <a:pt x="2771775" y="3810000"/>
                </a:cubicBezTo>
                <a:cubicBezTo>
                  <a:pt x="2791684" y="3805023"/>
                  <a:pt x="2833408" y="3787252"/>
                  <a:pt x="2847975" y="3781425"/>
                </a:cubicBezTo>
                <a:cubicBezTo>
                  <a:pt x="2857500" y="3771900"/>
                  <a:pt x="2871079" y="3765159"/>
                  <a:pt x="2876550" y="3752850"/>
                </a:cubicBezTo>
                <a:cubicBezTo>
                  <a:pt x="2884394" y="3735202"/>
                  <a:pt x="2881885" y="3714553"/>
                  <a:pt x="2886075" y="3695700"/>
                </a:cubicBezTo>
                <a:cubicBezTo>
                  <a:pt x="2888253" y="3685899"/>
                  <a:pt x="2892425" y="3676650"/>
                  <a:pt x="2895600" y="3667125"/>
                </a:cubicBezTo>
                <a:cubicBezTo>
                  <a:pt x="2892279" y="3637233"/>
                  <a:pt x="2902801" y="3569298"/>
                  <a:pt x="2857500" y="3552825"/>
                </a:cubicBezTo>
                <a:cubicBezTo>
                  <a:pt x="2833443" y="3544077"/>
                  <a:pt x="2806700" y="3546475"/>
                  <a:pt x="2781300" y="3543300"/>
                </a:cubicBezTo>
                <a:cubicBezTo>
                  <a:pt x="2726705" y="3461408"/>
                  <a:pt x="2792160" y="3565020"/>
                  <a:pt x="2752725" y="3486150"/>
                </a:cubicBezTo>
                <a:cubicBezTo>
                  <a:pt x="2747605" y="3475911"/>
                  <a:pt x="2740025" y="3467100"/>
                  <a:pt x="2733675" y="3457575"/>
                </a:cubicBezTo>
                <a:cubicBezTo>
                  <a:pt x="2736850" y="3425825"/>
                  <a:pt x="2738348" y="3393862"/>
                  <a:pt x="2743200" y="3362325"/>
                </a:cubicBezTo>
                <a:cubicBezTo>
                  <a:pt x="2748520" y="3327743"/>
                  <a:pt x="2756077" y="3336570"/>
                  <a:pt x="2771775" y="3305175"/>
                </a:cubicBezTo>
                <a:cubicBezTo>
                  <a:pt x="2776265" y="3296195"/>
                  <a:pt x="2778125" y="3286125"/>
                  <a:pt x="2781300" y="3276600"/>
                </a:cubicBezTo>
                <a:cubicBezTo>
                  <a:pt x="2778268" y="3243249"/>
                  <a:pt x="2778106" y="3152746"/>
                  <a:pt x="2752725" y="3114675"/>
                </a:cubicBezTo>
                <a:cubicBezTo>
                  <a:pt x="2746375" y="3105150"/>
                  <a:pt x="2738795" y="3096339"/>
                  <a:pt x="2733675" y="3086100"/>
                </a:cubicBezTo>
                <a:cubicBezTo>
                  <a:pt x="2708083" y="3034917"/>
                  <a:pt x="2751501" y="3056709"/>
                  <a:pt x="2667000" y="3000375"/>
                </a:cubicBezTo>
                <a:lnTo>
                  <a:pt x="2609850" y="2962275"/>
                </a:lnTo>
                <a:cubicBezTo>
                  <a:pt x="2600325" y="2955925"/>
                  <a:pt x="2589370" y="2951320"/>
                  <a:pt x="2581275" y="2943225"/>
                </a:cubicBezTo>
                <a:cubicBezTo>
                  <a:pt x="2571750" y="2933700"/>
                  <a:pt x="2560530" y="2925611"/>
                  <a:pt x="2552700" y="2914650"/>
                </a:cubicBezTo>
                <a:cubicBezTo>
                  <a:pt x="2543325" y="2901525"/>
                  <a:pt x="2529598" y="2859974"/>
                  <a:pt x="2514600" y="2847975"/>
                </a:cubicBezTo>
                <a:cubicBezTo>
                  <a:pt x="2506760" y="2841703"/>
                  <a:pt x="2495550" y="2841625"/>
                  <a:pt x="2486025" y="2838450"/>
                </a:cubicBezTo>
                <a:cubicBezTo>
                  <a:pt x="2466893" y="2809752"/>
                  <a:pt x="2462427" y="2805612"/>
                  <a:pt x="2447925" y="2771775"/>
                </a:cubicBezTo>
                <a:cubicBezTo>
                  <a:pt x="2443970" y="2762547"/>
                  <a:pt x="2443969" y="2751554"/>
                  <a:pt x="2438400" y="2743200"/>
                </a:cubicBezTo>
                <a:cubicBezTo>
                  <a:pt x="2430928" y="2731992"/>
                  <a:pt x="2419350" y="2724150"/>
                  <a:pt x="2409825" y="2714625"/>
                </a:cubicBezTo>
                <a:cubicBezTo>
                  <a:pt x="2413000" y="2673350"/>
                  <a:pt x="2407977" y="2630604"/>
                  <a:pt x="2419350" y="2590800"/>
                </a:cubicBezTo>
                <a:cubicBezTo>
                  <a:pt x="2422108" y="2581146"/>
                  <a:pt x="2438021" y="2582926"/>
                  <a:pt x="2447925" y="2581275"/>
                </a:cubicBezTo>
                <a:cubicBezTo>
                  <a:pt x="2476285" y="2576548"/>
                  <a:pt x="2505075" y="2574925"/>
                  <a:pt x="2533650" y="2571750"/>
                </a:cubicBezTo>
                <a:cubicBezTo>
                  <a:pt x="2547035" y="2562827"/>
                  <a:pt x="2592449" y="2533314"/>
                  <a:pt x="2600325" y="2524125"/>
                </a:cubicBezTo>
                <a:cubicBezTo>
                  <a:pt x="2609566" y="2513344"/>
                  <a:pt x="2612330" y="2498353"/>
                  <a:pt x="2619375" y="2486025"/>
                </a:cubicBezTo>
                <a:cubicBezTo>
                  <a:pt x="2625074" y="2476052"/>
                  <a:pt x="2662282" y="2422495"/>
                  <a:pt x="2667000" y="2419350"/>
                </a:cubicBezTo>
                <a:cubicBezTo>
                  <a:pt x="2683708" y="2408211"/>
                  <a:pt x="2704459" y="2404238"/>
                  <a:pt x="2724150" y="2400300"/>
                </a:cubicBezTo>
                <a:cubicBezTo>
                  <a:pt x="2781620" y="2388806"/>
                  <a:pt x="2756416" y="2395895"/>
                  <a:pt x="2800350" y="2381250"/>
                </a:cubicBezTo>
                <a:cubicBezTo>
                  <a:pt x="2816737" y="2299315"/>
                  <a:pt x="2821933" y="2299437"/>
                  <a:pt x="2790825" y="2181225"/>
                </a:cubicBezTo>
                <a:cubicBezTo>
                  <a:pt x="2787397" y="2168198"/>
                  <a:pt x="2773946" y="2159333"/>
                  <a:pt x="2762250" y="2152650"/>
                </a:cubicBezTo>
                <a:cubicBezTo>
                  <a:pt x="2750884" y="2146155"/>
                  <a:pt x="2736737" y="2146721"/>
                  <a:pt x="2724150" y="2143125"/>
                </a:cubicBezTo>
                <a:cubicBezTo>
                  <a:pt x="2714496" y="2140367"/>
                  <a:pt x="2705100" y="2136775"/>
                  <a:pt x="2695575" y="2133600"/>
                </a:cubicBezTo>
                <a:cubicBezTo>
                  <a:pt x="2685943" y="2119153"/>
                  <a:pt x="2667000" y="2096168"/>
                  <a:pt x="2667000" y="2076450"/>
                </a:cubicBezTo>
                <a:cubicBezTo>
                  <a:pt x="2667000" y="2043616"/>
                  <a:pt x="2675867" y="2023899"/>
                  <a:pt x="2695575" y="2000250"/>
                </a:cubicBezTo>
                <a:cubicBezTo>
                  <a:pt x="2716938" y="1974615"/>
                  <a:pt x="2729686" y="1973506"/>
                  <a:pt x="2743200" y="1943100"/>
                </a:cubicBezTo>
                <a:cubicBezTo>
                  <a:pt x="2751355" y="1924750"/>
                  <a:pt x="2755900" y="1905000"/>
                  <a:pt x="2762250" y="1885950"/>
                </a:cubicBezTo>
                <a:lnTo>
                  <a:pt x="2771775" y="1857375"/>
                </a:lnTo>
                <a:cubicBezTo>
                  <a:pt x="2774950" y="1806575"/>
                  <a:pt x="2774987" y="1755481"/>
                  <a:pt x="2781300" y="1704975"/>
                </a:cubicBezTo>
                <a:cubicBezTo>
                  <a:pt x="2784547" y="1678995"/>
                  <a:pt x="2776932" y="1640484"/>
                  <a:pt x="2800350" y="1628775"/>
                </a:cubicBezTo>
                <a:cubicBezTo>
                  <a:pt x="2850159" y="1603871"/>
                  <a:pt x="2824675" y="1613169"/>
                  <a:pt x="2876550" y="1600200"/>
                </a:cubicBezTo>
                <a:cubicBezTo>
                  <a:pt x="2917825" y="1603375"/>
                  <a:pt x="2959485" y="1603269"/>
                  <a:pt x="3000375" y="1609725"/>
                </a:cubicBezTo>
                <a:cubicBezTo>
                  <a:pt x="3020210" y="1612857"/>
                  <a:pt x="3057525" y="1628775"/>
                  <a:pt x="3057525" y="1628775"/>
                </a:cubicBezTo>
                <a:cubicBezTo>
                  <a:pt x="3070225" y="1638300"/>
                  <a:pt x="3081842" y="1649474"/>
                  <a:pt x="3095625" y="1657350"/>
                </a:cubicBezTo>
                <a:cubicBezTo>
                  <a:pt x="3147029" y="1686724"/>
                  <a:pt x="3293592" y="1657464"/>
                  <a:pt x="3295650" y="1657350"/>
                </a:cubicBezTo>
                <a:cubicBezTo>
                  <a:pt x="3351711" y="1629320"/>
                  <a:pt x="3320280" y="1642790"/>
                  <a:pt x="3390900" y="1619250"/>
                </a:cubicBezTo>
                <a:cubicBezTo>
                  <a:pt x="3400425" y="1616075"/>
                  <a:pt x="3409435" y="1609725"/>
                  <a:pt x="3419475" y="1609725"/>
                </a:cubicBezTo>
                <a:lnTo>
                  <a:pt x="3495675" y="1609725"/>
                </a:lnTo>
              </a:path>
            </a:pathLst>
          </a:custGeom>
          <a:solidFill>
            <a:srgbClr val="FFC000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8" name="Freeform 217"/>
          <p:cNvSpPr/>
          <p:nvPr/>
        </p:nvSpPr>
        <p:spPr>
          <a:xfrm>
            <a:off x="6143626" y="5334000"/>
            <a:ext cx="2235200" cy="1153584"/>
          </a:xfrm>
          <a:custGeom>
            <a:avLst/>
            <a:gdLst>
              <a:gd name="connsiteX0" fmla="*/ 1459441 w 2236022"/>
              <a:gd name="connsiteY0" fmla="*/ 782169 h 823200"/>
              <a:gd name="connsiteX1" fmla="*/ 1406688 w 2236022"/>
              <a:gd name="connsiteY1" fmla="*/ 782169 h 823200"/>
              <a:gd name="connsiteX2" fmla="*/ 1394964 w 2236022"/>
              <a:gd name="connsiteY2" fmla="*/ 793892 h 823200"/>
              <a:gd name="connsiteX3" fmla="*/ 1377380 w 2236022"/>
              <a:gd name="connsiteY3" fmla="*/ 799754 h 823200"/>
              <a:gd name="connsiteX4" fmla="*/ 1353934 w 2236022"/>
              <a:gd name="connsiteY4" fmla="*/ 817338 h 823200"/>
              <a:gd name="connsiteX5" fmla="*/ 1330488 w 2236022"/>
              <a:gd name="connsiteY5" fmla="*/ 823200 h 823200"/>
              <a:gd name="connsiteX6" fmla="*/ 1008103 w 2236022"/>
              <a:gd name="connsiteY6" fmla="*/ 817338 h 823200"/>
              <a:gd name="connsiteX7" fmla="*/ 931903 w 2236022"/>
              <a:gd name="connsiteY7" fmla="*/ 805615 h 823200"/>
              <a:gd name="connsiteX8" fmla="*/ 802949 w 2236022"/>
              <a:gd name="connsiteY8" fmla="*/ 793892 h 823200"/>
              <a:gd name="connsiteX9" fmla="*/ 715026 w 2236022"/>
              <a:gd name="connsiteY9" fmla="*/ 764585 h 823200"/>
              <a:gd name="connsiteX10" fmla="*/ 679857 w 2236022"/>
              <a:gd name="connsiteY10" fmla="*/ 752861 h 823200"/>
              <a:gd name="connsiteX11" fmla="*/ 632964 w 2236022"/>
              <a:gd name="connsiteY11" fmla="*/ 735277 h 823200"/>
              <a:gd name="connsiteX12" fmla="*/ 580211 w 2236022"/>
              <a:gd name="connsiteY12" fmla="*/ 729415 h 823200"/>
              <a:gd name="connsiteX13" fmla="*/ 545041 w 2236022"/>
              <a:gd name="connsiteY13" fmla="*/ 717692 h 823200"/>
              <a:gd name="connsiteX14" fmla="*/ 527457 w 2236022"/>
              <a:gd name="connsiteY14" fmla="*/ 711831 h 823200"/>
              <a:gd name="connsiteX15" fmla="*/ 480564 w 2236022"/>
              <a:gd name="connsiteY15" fmla="*/ 670800 h 823200"/>
              <a:gd name="connsiteX16" fmla="*/ 451257 w 2236022"/>
              <a:gd name="connsiteY16" fmla="*/ 635631 h 823200"/>
              <a:gd name="connsiteX17" fmla="*/ 445395 w 2236022"/>
              <a:gd name="connsiteY17" fmla="*/ 612185 h 823200"/>
              <a:gd name="connsiteX18" fmla="*/ 433672 w 2236022"/>
              <a:gd name="connsiteY18" fmla="*/ 577015 h 823200"/>
              <a:gd name="connsiteX19" fmla="*/ 427811 w 2236022"/>
              <a:gd name="connsiteY19" fmla="*/ 541846 h 823200"/>
              <a:gd name="connsiteX20" fmla="*/ 410226 w 2236022"/>
              <a:gd name="connsiteY20" fmla="*/ 524261 h 823200"/>
              <a:gd name="connsiteX21" fmla="*/ 392641 w 2236022"/>
              <a:gd name="connsiteY21" fmla="*/ 500815 h 823200"/>
              <a:gd name="connsiteX22" fmla="*/ 357472 w 2236022"/>
              <a:gd name="connsiteY22" fmla="*/ 477369 h 823200"/>
              <a:gd name="connsiteX23" fmla="*/ 345749 w 2236022"/>
              <a:gd name="connsiteY23" fmla="*/ 442200 h 823200"/>
              <a:gd name="connsiteX24" fmla="*/ 339888 w 2236022"/>
              <a:gd name="connsiteY24" fmla="*/ 424615 h 823200"/>
              <a:gd name="connsiteX25" fmla="*/ 334026 w 2236022"/>
              <a:gd name="connsiteY25" fmla="*/ 401169 h 823200"/>
              <a:gd name="connsiteX26" fmla="*/ 310580 w 2236022"/>
              <a:gd name="connsiteY26" fmla="*/ 366000 h 823200"/>
              <a:gd name="connsiteX27" fmla="*/ 334026 w 2236022"/>
              <a:gd name="connsiteY27" fmla="*/ 266354 h 823200"/>
              <a:gd name="connsiteX28" fmla="*/ 351611 w 2236022"/>
              <a:gd name="connsiteY28" fmla="*/ 254631 h 823200"/>
              <a:gd name="connsiteX29" fmla="*/ 386780 w 2236022"/>
              <a:gd name="connsiteY29" fmla="*/ 201877 h 823200"/>
              <a:gd name="connsiteX30" fmla="*/ 398503 w 2236022"/>
              <a:gd name="connsiteY30" fmla="*/ 184292 h 823200"/>
              <a:gd name="connsiteX31" fmla="*/ 392641 w 2236022"/>
              <a:gd name="connsiteY31" fmla="*/ 166708 h 823200"/>
              <a:gd name="connsiteX32" fmla="*/ 375057 w 2236022"/>
              <a:gd name="connsiteY32" fmla="*/ 160846 h 823200"/>
              <a:gd name="connsiteX33" fmla="*/ 316441 w 2236022"/>
              <a:gd name="connsiteY33" fmla="*/ 154985 h 823200"/>
              <a:gd name="connsiteX34" fmla="*/ 210934 w 2236022"/>
              <a:gd name="connsiteY34" fmla="*/ 160846 h 823200"/>
              <a:gd name="connsiteX35" fmla="*/ 193349 w 2236022"/>
              <a:gd name="connsiteY35" fmla="*/ 166708 h 823200"/>
              <a:gd name="connsiteX36" fmla="*/ 175764 w 2236022"/>
              <a:gd name="connsiteY36" fmla="*/ 184292 h 823200"/>
              <a:gd name="connsiteX37" fmla="*/ 152318 w 2236022"/>
              <a:gd name="connsiteY37" fmla="*/ 201877 h 823200"/>
              <a:gd name="connsiteX38" fmla="*/ 140595 w 2236022"/>
              <a:gd name="connsiteY38" fmla="*/ 231185 h 823200"/>
              <a:gd name="connsiteX39" fmla="*/ 99564 w 2236022"/>
              <a:gd name="connsiteY39" fmla="*/ 248769 h 823200"/>
              <a:gd name="connsiteX40" fmla="*/ 64395 w 2236022"/>
              <a:gd name="connsiteY40" fmla="*/ 266354 h 823200"/>
              <a:gd name="connsiteX41" fmla="*/ 40949 w 2236022"/>
              <a:gd name="connsiteY41" fmla="*/ 260492 h 823200"/>
              <a:gd name="connsiteX42" fmla="*/ 35088 w 2236022"/>
              <a:gd name="connsiteY42" fmla="*/ 242908 h 823200"/>
              <a:gd name="connsiteX43" fmla="*/ 23364 w 2236022"/>
              <a:gd name="connsiteY43" fmla="*/ 201877 h 823200"/>
              <a:gd name="connsiteX44" fmla="*/ 52672 w 2236022"/>
              <a:gd name="connsiteY44" fmla="*/ 166708 h 823200"/>
              <a:gd name="connsiteX45" fmla="*/ 76118 w 2236022"/>
              <a:gd name="connsiteY45" fmla="*/ 131538 h 823200"/>
              <a:gd name="connsiteX46" fmla="*/ 70257 w 2236022"/>
              <a:gd name="connsiteY46" fmla="*/ 90508 h 823200"/>
              <a:gd name="connsiteX47" fmla="*/ 58534 w 2236022"/>
              <a:gd name="connsiteY47" fmla="*/ 55338 h 823200"/>
              <a:gd name="connsiteX48" fmla="*/ 123011 w 2236022"/>
              <a:gd name="connsiteY48" fmla="*/ 31892 h 823200"/>
              <a:gd name="connsiteX49" fmla="*/ 158180 w 2236022"/>
              <a:gd name="connsiteY49" fmla="*/ 8446 h 823200"/>
              <a:gd name="connsiteX50" fmla="*/ 175764 w 2236022"/>
              <a:gd name="connsiteY50" fmla="*/ 2585 h 823200"/>
              <a:gd name="connsiteX51" fmla="*/ 246103 w 2236022"/>
              <a:gd name="connsiteY51" fmla="*/ 8446 h 823200"/>
              <a:gd name="connsiteX52" fmla="*/ 251964 w 2236022"/>
              <a:gd name="connsiteY52" fmla="*/ 31892 h 823200"/>
              <a:gd name="connsiteX53" fmla="*/ 263688 w 2236022"/>
              <a:gd name="connsiteY53" fmla="*/ 67061 h 823200"/>
              <a:gd name="connsiteX54" fmla="*/ 281272 w 2236022"/>
              <a:gd name="connsiteY54" fmla="*/ 78785 h 823200"/>
              <a:gd name="connsiteX55" fmla="*/ 322303 w 2236022"/>
              <a:gd name="connsiteY55" fmla="*/ 90508 h 823200"/>
              <a:gd name="connsiteX56" fmla="*/ 357472 w 2236022"/>
              <a:gd name="connsiteY56" fmla="*/ 119815 h 823200"/>
              <a:gd name="connsiteX57" fmla="*/ 375057 w 2236022"/>
              <a:gd name="connsiteY57" fmla="*/ 131538 h 823200"/>
              <a:gd name="connsiteX58" fmla="*/ 416088 w 2236022"/>
              <a:gd name="connsiteY58" fmla="*/ 172569 h 823200"/>
              <a:gd name="connsiteX59" fmla="*/ 638826 w 2236022"/>
              <a:gd name="connsiteY59" fmla="*/ 166708 h 823200"/>
              <a:gd name="connsiteX60" fmla="*/ 656411 w 2236022"/>
              <a:gd name="connsiteY60" fmla="*/ 154985 h 823200"/>
              <a:gd name="connsiteX61" fmla="*/ 673995 w 2236022"/>
              <a:gd name="connsiteY61" fmla="*/ 149123 h 823200"/>
              <a:gd name="connsiteX62" fmla="*/ 709164 w 2236022"/>
              <a:gd name="connsiteY62" fmla="*/ 143261 h 823200"/>
              <a:gd name="connsiteX63" fmla="*/ 726749 w 2236022"/>
              <a:gd name="connsiteY63" fmla="*/ 137400 h 823200"/>
              <a:gd name="connsiteX64" fmla="*/ 791226 w 2236022"/>
              <a:gd name="connsiteY64" fmla="*/ 131538 h 823200"/>
              <a:gd name="connsiteX65" fmla="*/ 1119472 w 2236022"/>
              <a:gd name="connsiteY65" fmla="*/ 137400 h 823200"/>
              <a:gd name="connsiteX66" fmla="*/ 1172226 w 2236022"/>
              <a:gd name="connsiteY66" fmla="*/ 160846 h 823200"/>
              <a:gd name="connsiteX67" fmla="*/ 1189811 w 2236022"/>
              <a:gd name="connsiteY67" fmla="*/ 166708 h 823200"/>
              <a:gd name="connsiteX68" fmla="*/ 1219118 w 2236022"/>
              <a:gd name="connsiteY68" fmla="*/ 178431 h 823200"/>
              <a:gd name="connsiteX69" fmla="*/ 1230841 w 2236022"/>
              <a:gd name="connsiteY69" fmla="*/ 196015 h 823200"/>
              <a:gd name="connsiteX70" fmla="*/ 1289457 w 2236022"/>
              <a:gd name="connsiteY70" fmla="*/ 225323 h 823200"/>
              <a:gd name="connsiteX71" fmla="*/ 1307041 w 2236022"/>
              <a:gd name="connsiteY71" fmla="*/ 231185 h 823200"/>
              <a:gd name="connsiteX72" fmla="*/ 1330488 w 2236022"/>
              <a:gd name="connsiteY72" fmla="*/ 237046 h 823200"/>
              <a:gd name="connsiteX73" fmla="*/ 1365657 w 2236022"/>
              <a:gd name="connsiteY73" fmla="*/ 248769 h 823200"/>
              <a:gd name="connsiteX74" fmla="*/ 1394964 w 2236022"/>
              <a:gd name="connsiteY74" fmla="*/ 278077 h 823200"/>
              <a:gd name="connsiteX75" fmla="*/ 1430134 w 2236022"/>
              <a:gd name="connsiteY75" fmla="*/ 301523 h 823200"/>
              <a:gd name="connsiteX76" fmla="*/ 1465303 w 2236022"/>
              <a:gd name="connsiteY76" fmla="*/ 330831 h 823200"/>
              <a:gd name="connsiteX77" fmla="*/ 1500472 w 2236022"/>
              <a:gd name="connsiteY77" fmla="*/ 360138 h 823200"/>
              <a:gd name="connsiteX78" fmla="*/ 1535641 w 2236022"/>
              <a:gd name="connsiteY78" fmla="*/ 366000 h 823200"/>
              <a:gd name="connsiteX79" fmla="*/ 1723211 w 2236022"/>
              <a:gd name="connsiteY79" fmla="*/ 354277 h 823200"/>
              <a:gd name="connsiteX80" fmla="*/ 1740795 w 2236022"/>
              <a:gd name="connsiteY80" fmla="*/ 348415 h 823200"/>
              <a:gd name="connsiteX81" fmla="*/ 1840441 w 2236022"/>
              <a:gd name="connsiteY81" fmla="*/ 354277 h 823200"/>
              <a:gd name="connsiteX82" fmla="*/ 1858026 w 2236022"/>
              <a:gd name="connsiteY82" fmla="*/ 360138 h 823200"/>
              <a:gd name="connsiteX83" fmla="*/ 1887334 w 2236022"/>
              <a:gd name="connsiteY83" fmla="*/ 395308 h 823200"/>
              <a:gd name="connsiteX84" fmla="*/ 1904918 w 2236022"/>
              <a:gd name="connsiteY84" fmla="*/ 412892 h 823200"/>
              <a:gd name="connsiteX85" fmla="*/ 1922503 w 2236022"/>
              <a:gd name="connsiteY85" fmla="*/ 418754 h 823200"/>
              <a:gd name="connsiteX86" fmla="*/ 1969395 w 2236022"/>
              <a:gd name="connsiteY86" fmla="*/ 442200 h 823200"/>
              <a:gd name="connsiteX87" fmla="*/ 2004564 w 2236022"/>
              <a:gd name="connsiteY87" fmla="*/ 465646 h 823200"/>
              <a:gd name="connsiteX88" fmla="*/ 2016288 w 2236022"/>
              <a:gd name="connsiteY88" fmla="*/ 483231 h 823200"/>
              <a:gd name="connsiteX89" fmla="*/ 2039734 w 2236022"/>
              <a:gd name="connsiteY89" fmla="*/ 535985 h 823200"/>
              <a:gd name="connsiteX90" fmla="*/ 2057318 w 2236022"/>
              <a:gd name="connsiteY90" fmla="*/ 547708 h 823200"/>
              <a:gd name="connsiteX91" fmla="*/ 2086626 w 2236022"/>
              <a:gd name="connsiteY91" fmla="*/ 559431 h 823200"/>
              <a:gd name="connsiteX92" fmla="*/ 2121795 w 2236022"/>
              <a:gd name="connsiteY92" fmla="*/ 571154 h 823200"/>
              <a:gd name="connsiteX93" fmla="*/ 2145241 w 2236022"/>
              <a:gd name="connsiteY93" fmla="*/ 577015 h 823200"/>
              <a:gd name="connsiteX94" fmla="*/ 2203857 w 2236022"/>
              <a:gd name="connsiteY94" fmla="*/ 588738 h 823200"/>
              <a:gd name="connsiteX95" fmla="*/ 2221441 w 2236022"/>
              <a:gd name="connsiteY95" fmla="*/ 606323 h 823200"/>
              <a:gd name="connsiteX96" fmla="*/ 2215580 w 2236022"/>
              <a:gd name="connsiteY96" fmla="*/ 647354 h 823200"/>
              <a:gd name="connsiteX97" fmla="*/ 2197995 w 2236022"/>
              <a:gd name="connsiteY97" fmla="*/ 682523 h 823200"/>
              <a:gd name="connsiteX98" fmla="*/ 2133518 w 2236022"/>
              <a:gd name="connsiteY98" fmla="*/ 723554 h 823200"/>
              <a:gd name="connsiteX99" fmla="*/ 2080764 w 2236022"/>
              <a:gd name="connsiteY99" fmla="*/ 747000 h 823200"/>
              <a:gd name="connsiteX100" fmla="*/ 1981118 w 2236022"/>
              <a:gd name="connsiteY100" fmla="*/ 752861 h 823200"/>
              <a:gd name="connsiteX101" fmla="*/ 1951811 w 2236022"/>
              <a:gd name="connsiteY101" fmla="*/ 788031 h 823200"/>
              <a:gd name="connsiteX102" fmla="*/ 1934226 w 2236022"/>
              <a:gd name="connsiteY102" fmla="*/ 793892 h 823200"/>
              <a:gd name="connsiteX103" fmla="*/ 1893195 w 2236022"/>
              <a:gd name="connsiteY103" fmla="*/ 811477 h 823200"/>
              <a:gd name="connsiteX104" fmla="*/ 1758380 w 2236022"/>
              <a:gd name="connsiteY104" fmla="*/ 805615 h 823200"/>
              <a:gd name="connsiteX105" fmla="*/ 1740795 w 2236022"/>
              <a:gd name="connsiteY105" fmla="*/ 799754 h 823200"/>
              <a:gd name="connsiteX106" fmla="*/ 1582534 w 2236022"/>
              <a:gd name="connsiteY106" fmla="*/ 793892 h 823200"/>
              <a:gd name="connsiteX107" fmla="*/ 1459441 w 2236022"/>
              <a:gd name="connsiteY107" fmla="*/ 782169 h 82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2236022" h="823200">
                <a:moveTo>
                  <a:pt x="1459441" y="782169"/>
                </a:moveTo>
                <a:cubicBezTo>
                  <a:pt x="1430133" y="780215"/>
                  <a:pt x="1435815" y="771247"/>
                  <a:pt x="1406688" y="782169"/>
                </a:cubicBezTo>
                <a:cubicBezTo>
                  <a:pt x="1401513" y="784109"/>
                  <a:pt x="1399703" y="791049"/>
                  <a:pt x="1394964" y="793892"/>
                </a:cubicBezTo>
                <a:cubicBezTo>
                  <a:pt x="1389666" y="797071"/>
                  <a:pt x="1383241" y="797800"/>
                  <a:pt x="1377380" y="799754"/>
                </a:cubicBezTo>
                <a:cubicBezTo>
                  <a:pt x="1369565" y="805615"/>
                  <a:pt x="1362672" y="812969"/>
                  <a:pt x="1353934" y="817338"/>
                </a:cubicBezTo>
                <a:cubicBezTo>
                  <a:pt x="1346729" y="820941"/>
                  <a:pt x="1338544" y="823200"/>
                  <a:pt x="1330488" y="823200"/>
                </a:cubicBezTo>
                <a:cubicBezTo>
                  <a:pt x="1223009" y="823200"/>
                  <a:pt x="1115565" y="819292"/>
                  <a:pt x="1008103" y="817338"/>
                </a:cubicBezTo>
                <a:cubicBezTo>
                  <a:pt x="966128" y="806845"/>
                  <a:pt x="995660" y="813116"/>
                  <a:pt x="931903" y="805615"/>
                </a:cubicBezTo>
                <a:cubicBezTo>
                  <a:pt x="846024" y="795512"/>
                  <a:pt x="921222" y="802341"/>
                  <a:pt x="802949" y="793892"/>
                </a:cubicBezTo>
                <a:lnTo>
                  <a:pt x="715026" y="764585"/>
                </a:lnTo>
                <a:lnTo>
                  <a:pt x="679857" y="752861"/>
                </a:lnTo>
                <a:cubicBezTo>
                  <a:pt x="678338" y="752253"/>
                  <a:pt x="640844" y="736590"/>
                  <a:pt x="632964" y="735277"/>
                </a:cubicBezTo>
                <a:cubicBezTo>
                  <a:pt x="615512" y="732368"/>
                  <a:pt x="597795" y="731369"/>
                  <a:pt x="580211" y="729415"/>
                </a:cubicBezTo>
                <a:lnTo>
                  <a:pt x="545041" y="717692"/>
                </a:lnTo>
                <a:lnTo>
                  <a:pt x="527457" y="711831"/>
                </a:lnTo>
                <a:cubicBezTo>
                  <a:pt x="494238" y="662001"/>
                  <a:pt x="548957" y="739197"/>
                  <a:pt x="480564" y="670800"/>
                </a:cubicBezTo>
                <a:cubicBezTo>
                  <a:pt x="457999" y="648234"/>
                  <a:pt x="467578" y="660112"/>
                  <a:pt x="451257" y="635631"/>
                </a:cubicBezTo>
                <a:cubicBezTo>
                  <a:pt x="449303" y="627816"/>
                  <a:pt x="447710" y="619901"/>
                  <a:pt x="445395" y="612185"/>
                </a:cubicBezTo>
                <a:cubicBezTo>
                  <a:pt x="441844" y="600349"/>
                  <a:pt x="433672" y="577015"/>
                  <a:pt x="433672" y="577015"/>
                </a:cubicBezTo>
                <a:cubicBezTo>
                  <a:pt x="431718" y="565292"/>
                  <a:pt x="432638" y="552706"/>
                  <a:pt x="427811" y="541846"/>
                </a:cubicBezTo>
                <a:cubicBezTo>
                  <a:pt x="424444" y="534271"/>
                  <a:pt x="415621" y="530555"/>
                  <a:pt x="410226" y="524261"/>
                </a:cubicBezTo>
                <a:cubicBezTo>
                  <a:pt x="403868" y="516844"/>
                  <a:pt x="399943" y="507305"/>
                  <a:pt x="392641" y="500815"/>
                </a:cubicBezTo>
                <a:cubicBezTo>
                  <a:pt x="382110" y="491455"/>
                  <a:pt x="357472" y="477369"/>
                  <a:pt x="357472" y="477369"/>
                </a:cubicBezTo>
                <a:lnTo>
                  <a:pt x="345749" y="442200"/>
                </a:lnTo>
                <a:cubicBezTo>
                  <a:pt x="343795" y="436338"/>
                  <a:pt x="341387" y="430609"/>
                  <a:pt x="339888" y="424615"/>
                </a:cubicBezTo>
                <a:cubicBezTo>
                  <a:pt x="337934" y="416800"/>
                  <a:pt x="337629" y="408374"/>
                  <a:pt x="334026" y="401169"/>
                </a:cubicBezTo>
                <a:cubicBezTo>
                  <a:pt x="327725" y="388567"/>
                  <a:pt x="310580" y="366000"/>
                  <a:pt x="310580" y="366000"/>
                </a:cubicBezTo>
                <a:cubicBezTo>
                  <a:pt x="313325" y="348157"/>
                  <a:pt x="314314" y="290007"/>
                  <a:pt x="334026" y="266354"/>
                </a:cubicBezTo>
                <a:cubicBezTo>
                  <a:pt x="338536" y="260942"/>
                  <a:pt x="345749" y="258539"/>
                  <a:pt x="351611" y="254631"/>
                </a:cubicBezTo>
                <a:lnTo>
                  <a:pt x="386780" y="201877"/>
                </a:lnTo>
                <a:lnTo>
                  <a:pt x="398503" y="184292"/>
                </a:lnTo>
                <a:cubicBezTo>
                  <a:pt x="396549" y="178431"/>
                  <a:pt x="397010" y="171077"/>
                  <a:pt x="392641" y="166708"/>
                </a:cubicBezTo>
                <a:cubicBezTo>
                  <a:pt x="388272" y="162339"/>
                  <a:pt x="381164" y="161785"/>
                  <a:pt x="375057" y="160846"/>
                </a:cubicBezTo>
                <a:cubicBezTo>
                  <a:pt x="355649" y="157860"/>
                  <a:pt x="335980" y="156939"/>
                  <a:pt x="316441" y="154985"/>
                </a:cubicBezTo>
                <a:cubicBezTo>
                  <a:pt x="281272" y="156939"/>
                  <a:pt x="245999" y="157507"/>
                  <a:pt x="210934" y="160846"/>
                </a:cubicBezTo>
                <a:cubicBezTo>
                  <a:pt x="204783" y="161432"/>
                  <a:pt x="198490" y="163281"/>
                  <a:pt x="193349" y="166708"/>
                </a:cubicBezTo>
                <a:cubicBezTo>
                  <a:pt x="186452" y="171306"/>
                  <a:pt x="182058" y="178897"/>
                  <a:pt x="175764" y="184292"/>
                </a:cubicBezTo>
                <a:cubicBezTo>
                  <a:pt x="168347" y="190650"/>
                  <a:pt x="160133" y="196015"/>
                  <a:pt x="152318" y="201877"/>
                </a:cubicBezTo>
                <a:cubicBezTo>
                  <a:pt x="148410" y="211646"/>
                  <a:pt x="146711" y="222623"/>
                  <a:pt x="140595" y="231185"/>
                </a:cubicBezTo>
                <a:cubicBezTo>
                  <a:pt x="131442" y="243999"/>
                  <a:pt x="112538" y="245062"/>
                  <a:pt x="99564" y="248769"/>
                </a:cubicBezTo>
                <a:cubicBezTo>
                  <a:pt x="78333" y="254835"/>
                  <a:pt x="83659" y="253512"/>
                  <a:pt x="64395" y="266354"/>
                </a:cubicBezTo>
                <a:cubicBezTo>
                  <a:pt x="56580" y="264400"/>
                  <a:pt x="47240" y="265525"/>
                  <a:pt x="40949" y="260492"/>
                </a:cubicBezTo>
                <a:cubicBezTo>
                  <a:pt x="36125" y="256632"/>
                  <a:pt x="36785" y="248849"/>
                  <a:pt x="35088" y="242908"/>
                </a:cubicBezTo>
                <a:cubicBezTo>
                  <a:pt x="20376" y="191414"/>
                  <a:pt x="37412" y="244016"/>
                  <a:pt x="23364" y="201877"/>
                </a:cubicBezTo>
                <a:cubicBezTo>
                  <a:pt x="65273" y="139016"/>
                  <a:pt x="0" y="234430"/>
                  <a:pt x="52672" y="166708"/>
                </a:cubicBezTo>
                <a:cubicBezTo>
                  <a:pt x="61322" y="155586"/>
                  <a:pt x="76118" y="131538"/>
                  <a:pt x="76118" y="131538"/>
                </a:cubicBezTo>
                <a:cubicBezTo>
                  <a:pt x="74164" y="117861"/>
                  <a:pt x="73363" y="103970"/>
                  <a:pt x="70257" y="90508"/>
                </a:cubicBezTo>
                <a:cubicBezTo>
                  <a:pt x="67478" y="78467"/>
                  <a:pt x="58534" y="55338"/>
                  <a:pt x="58534" y="55338"/>
                </a:cubicBezTo>
                <a:cubicBezTo>
                  <a:pt x="72215" y="14292"/>
                  <a:pt x="53127" y="53731"/>
                  <a:pt x="123011" y="31892"/>
                </a:cubicBezTo>
                <a:cubicBezTo>
                  <a:pt x="136459" y="27689"/>
                  <a:pt x="144814" y="12901"/>
                  <a:pt x="158180" y="8446"/>
                </a:cubicBezTo>
                <a:lnTo>
                  <a:pt x="175764" y="2585"/>
                </a:lnTo>
                <a:cubicBezTo>
                  <a:pt x="199210" y="4539"/>
                  <a:pt x="224144" y="0"/>
                  <a:pt x="246103" y="8446"/>
                </a:cubicBezTo>
                <a:cubicBezTo>
                  <a:pt x="253622" y="11338"/>
                  <a:pt x="249649" y="24176"/>
                  <a:pt x="251964" y="31892"/>
                </a:cubicBezTo>
                <a:cubicBezTo>
                  <a:pt x="255515" y="43728"/>
                  <a:pt x="253407" y="60206"/>
                  <a:pt x="263688" y="67061"/>
                </a:cubicBezTo>
                <a:cubicBezTo>
                  <a:pt x="269549" y="70969"/>
                  <a:pt x="274797" y="76010"/>
                  <a:pt x="281272" y="78785"/>
                </a:cubicBezTo>
                <a:cubicBezTo>
                  <a:pt x="307591" y="90065"/>
                  <a:pt x="299470" y="79091"/>
                  <a:pt x="322303" y="90508"/>
                </a:cubicBezTo>
                <a:cubicBezTo>
                  <a:pt x="344135" y="101424"/>
                  <a:pt x="338025" y="103609"/>
                  <a:pt x="357472" y="119815"/>
                </a:cubicBezTo>
                <a:cubicBezTo>
                  <a:pt x="362884" y="124325"/>
                  <a:pt x="369195" y="127630"/>
                  <a:pt x="375057" y="131538"/>
                </a:cubicBezTo>
                <a:cubicBezTo>
                  <a:pt x="401930" y="171849"/>
                  <a:pt x="385136" y="162253"/>
                  <a:pt x="416088" y="172569"/>
                </a:cubicBezTo>
                <a:cubicBezTo>
                  <a:pt x="490334" y="170615"/>
                  <a:pt x="564752" y="172128"/>
                  <a:pt x="638826" y="166708"/>
                </a:cubicBezTo>
                <a:cubicBezTo>
                  <a:pt x="645852" y="166194"/>
                  <a:pt x="650110" y="158136"/>
                  <a:pt x="656411" y="154985"/>
                </a:cubicBezTo>
                <a:cubicBezTo>
                  <a:pt x="661937" y="152222"/>
                  <a:pt x="667964" y="150463"/>
                  <a:pt x="673995" y="149123"/>
                </a:cubicBezTo>
                <a:cubicBezTo>
                  <a:pt x="685597" y="146545"/>
                  <a:pt x="697562" y="145839"/>
                  <a:pt x="709164" y="143261"/>
                </a:cubicBezTo>
                <a:cubicBezTo>
                  <a:pt x="715196" y="141921"/>
                  <a:pt x="720632" y="138274"/>
                  <a:pt x="726749" y="137400"/>
                </a:cubicBezTo>
                <a:cubicBezTo>
                  <a:pt x="748113" y="134348"/>
                  <a:pt x="769734" y="133492"/>
                  <a:pt x="791226" y="131538"/>
                </a:cubicBezTo>
                <a:cubicBezTo>
                  <a:pt x="900641" y="133492"/>
                  <a:pt x="1010167" y="132111"/>
                  <a:pt x="1119472" y="137400"/>
                </a:cubicBezTo>
                <a:cubicBezTo>
                  <a:pt x="1152955" y="139020"/>
                  <a:pt x="1149131" y="149298"/>
                  <a:pt x="1172226" y="160846"/>
                </a:cubicBezTo>
                <a:cubicBezTo>
                  <a:pt x="1177752" y="163609"/>
                  <a:pt x="1184026" y="164538"/>
                  <a:pt x="1189811" y="166708"/>
                </a:cubicBezTo>
                <a:cubicBezTo>
                  <a:pt x="1199663" y="170402"/>
                  <a:pt x="1209349" y="174523"/>
                  <a:pt x="1219118" y="178431"/>
                </a:cubicBezTo>
                <a:cubicBezTo>
                  <a:pt x="1223026" y="184292"/>
                  <a:pt x="1225539" y="191376"/>
                  <a:pt x="1230841" y="196015"/>
                </a:cubicBezTo>
                <a:cubicBezTo>
                  <a:pt x="1261845" y="223143"/>
                  <a:pt x="1258557" y="216493"/>
                  <a:pt x="1289457" y="225323"/>
                </a:cubicBezTo>
                <a:cubicBezTo>
                  <a:pt x="1295398" y="227021"/>
                  <a:pt x="1301100" y="229488"/>
                  <a:pt x="1307041" y="231185"/>
                </a:cubicBezTo>
                <a:cubicBezTo>
                  <a:pt x="1314787" y="233398"/>
                  <a:pt x="1322772" y="234731"/>
                  <a:pt x="1330488" y="237046"/>
                </a:cubicBezTo>
                <a:cubicBezTo>
                  <a:pt x="1342324" y="240597"/>
                  <a:pt x="1365657" y="248769"/>
                  <a:pt x="1365657" y="248769"/>
                </a:cubicBezTo>
                <a:cubicBezTo>
                  <a:pt x="1436002" y="295667"/>
                  <a:pt x="1332432" y="223362"/>
                  <a:pt x="1394964" y="278077"/>
                </a:cubicBezTo>
                <a:cubicBezTo>
                  <a:pt x="1405568" y="287355"/>
                  <a:pt x="1420171" y="291560"/>
                  <a:pt x="1430134" y="301523"/>
                </a:cubicBezTo>
                <a:cubicBezTo>
                  <a:pt x="1481487" y="352879"/>
                  <a:pt x="1416355" y="290043"/>
                  <a:pt x="1465303" y="330831"/>
                </a:cubicBezTo>
                <a:cubicBezTo>
                  <a:pt x="1476184" y="339898"/>
                  <a:pt x="1485921" y="355288"/>
                  <a:pt x="1500472" y="360138"/>
                </a:cubicBezTo>
                <a:cubicBezTo>
                  <a:pt x="1511747" y="363896"/>
                  <a:pt x="1523918" y="364046"/>
                  <a:pt x="1535641" y="366000"/>
                </a:cubicBezTo>
                <a:cubicBezTo>
                  <a:pt x="1598164" y="362092"/>
                  <a:pt x="1660795" y="359627"/>
                  <a:pt x="1723211" y="354277"/>
                </a:cubicBezTo>
                <a:cubicBezTo>
                  <a:pt x="1729367" y="353749"/>
                  <a:pt x="1734617" y="348415"/>
                  <a:pt x="1740795" y="348415"/>
                </a:cubicBezTo>
                <a:cubicBezTo>
                  <a:pt x="1774068" y="348415"/>
                  <a:pt x="1807226" y="352323"/>
                  <a:pt x="1840441" y="354277"/>
                </a:cubicBezTo>
                <a:cubicBezTo>
                  <a:pt x="1846303" y="356231"/>
                  <a:pt x="1852885" y="356711"/>
                  <a:pt x="1858026" y="360138"/>
                </a:cubicBezTo>
                <a:cubicBezTo>
                  <a:pt x="1877292" y="372981"/>
                  <a:pt x="1873818" y="379088"/>
                  <a:pt x="1887334" y="395308"/>
                </a:cubicBezTo>
                <a:cubicBezTo>
                  <a:pt x="1892641" y="401676"/>
                  <a:pt x="1898021" y="408294"/>
                  <a:pt x="1904918" y="412892"/>
                </a:cubicBezTo>
                <a:cubicBezTo>
                  <a:pt x="1910059" y="416319"/>
                  <a:pt x="1916641" y="416800"/>
                  <a:pt x="1922503" y="418754"/>
                </a:cubicBezTo>
                <a:cubicBezTo>
                  <a:pt x="1961670" y="457919"/>
                  <a:pt x="1914488" y="417242"/>
                  <a:pt x="1969395" y="442200"/>
                </a:cubicBezTo>
                <a:cubicBezTo>
                  <a:pt x="1982221" y="448030"/>
                  <a:pt x="2004564" y="465646"/>
                  <a:pt x="2004564" y="465646"/>
                </a:cubicBezTo>
                <a:cubicBezTo>
                  <a:pt x="2008472" y="471508"/>
                  <a:pt x="2013427" y="476793"/>
                  <a:pt x="2016288" y="483231"/>
                </a:cubicBezTo>
                <a:cubicBezTo>
                  <a:pt x="2025575" y="504126"/>
                  <a:pt x="2023815" y="520066"/>
                  <a:pt x="2039734" y="535985"/>
                </a:cubicBezTo>
                <a:cubicBezTo>
                  <a:pt x="2044715" y="540966"/>
                  <a:pt x="2051017" y="544558"/>
                  <a:pt x="2057318" y="547708"/>
                </a:cubicBezTo>
                <a:cubicBezTo>
                  <a:pt x="2066729" y="552414"/>
                  <a:pt x="2076738" y="555835"/>
                  <a:pt x="2086626" y="559431"/>
                </a:cubicBezTo>
                <a:cubicBezTo>
                  <a:pt x="2098239" y="563654"/>
                  <a:pt x="2109807" y="568157"/>
                  <a:pt x="2121795" y="571154"/>
                </a:cubicBezTo>
                <a:cubicBezTo>
                  <a:pt x="2129610" y="573108"/>
                  <a:pt x="2137364" y="575327"/>
                  <a:pt x="2145241" y="577015"/>
                </a:cubicBezTo>
                <a:cubicBezTo>
                  <a:pt x="2164724" y="581190"/>
                  <a:pt x="2203857" y="588738"/>
                  <a:pt x="2203857" y="588738"/>
                </a:cubicBezTo>
                <a:cubicBezTo>
                  <a:pt x="2209718" y="594600"/>
                  <a:pt x="2217328" y="599126"/>
                  <a:pt x="2221441" y="606323"/>
                </a:cubicBezTo>
                <a:cubicBezTo>
                  <a:pt x="2236022" y="631840"/>
                  <a:pt x="2225641" y="627232"/>
                  <a:pt x="2215580" y="647354"/>
                </a:cubicBezTo>
                <a:cubicBezTo>
                  <a:pt x="2207683" y="663147"/>
                  <a:pt x="2212925" y="669459"/>
                  <a:pt x="2197995" y="682523"/>
                </a:cubicBezTo>
                <a:cubicBezTo>
                  <a:pt x="2181616" y="696855"/>
                  <a:pt x="2152048" y="711200"/>
                  <a:pt x="2133518" y="723554"/>
                </a:cubicBezTo>
                <a:cubicBezTo>
                  <a:pt x="2116426" y="734949"/>
                  <a:pt x="2103717" y="745650"/>
                  <a:pt x="2080764" y="747000"/>
                </a:cubicBezTo>
                <a:lnTo>
                  <a:pt x="1981118" y="752861"/>
                </a:lnTo>
                <a:cubicBezTo>
                  <a:pt x="1972469" y="765835"/>
                  <a:pt x="1965349" y="779006"/>
                  <a:pt x="1951811" y="788031"/>
                </a:cubicBezTo>
                <a:cubicBezTo>
                  <a:pt x="1946670" y="791458"/>
                  <a:pt x="1939905" y="791458"/>
                  <a:pt x="1934226" y="793892"/>
                </a:cubicBezTo>
                <a:cubicBezTo>
                  <a:pt x="1883511" y="815626"/>
                  <a:pt x="1934444" y="797726"/>
                  <a:pt x="1893195" y="811477"/>
                </a:cubicBezTo>
                <a:cubicBezTo>
                  <a:pt x="1848257" y="809523"/>
                  <a:pt x="1803228" y="809065"/>
                  <a:pt x="1758380" y="805615"/>
                </a:cubicBezTo>
                <a:cubicBezTo>
                  <a:pt x="1752220" y="805141"/>
                  <a:pt x="1746960" y="800165"/>
                  <a:pt x="1740795" y="799754"/>
                </a:cubicBezTo>
                <a:cubicBezTo>
                  <a:pt x="1688122" y="796242"/>
                  <a:pt x="1635288" y="795846"/>
                  <a:pt x="1582534" y="793892"/>
                </a:cubicBezTo>
                <a:cubicBezTo>
                  <a:pt x="1517707" y="772284"/>
                  <a:pt x="1488749" y="784123"/>
                  <a:pt x="1459441" y="782169"/>
                </a:cubicBezTo>
                <a:close/>
              </a:path>
            </a:pathLst>
          </a:custGeom>
          <a:solidFill>
            <a:srgbClr val="FF33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4" name="Freeform 213"/>
          <p:cNvSpPr/>
          <p:nvPr/>
        </p:nvSpPr>
        <p:spPr>
          <a:xfrm>
            <a:off x="6308731" y="4343404"/>
            <a:ext cx="1763713" cy="1532467"/>
          </a:xfrm>
          <a:custGeom>
            <a:avLst/>
            <a:gdLst>
              <a:gd name="connsiteX0" fmla="*/ 1292107 w 1742957"/>
              <a:gd name="connsiteY0" fmla="*/ 1080168 h 1150235"/>
              <a:gd name="connsiteX1" fmla="*/ 1266707 w 1742957"/>
              <a:gd name="connsiteY1" fmla="*/ 1073818 h 1150235"/>
              <a:gd name="connsiteX2" fmla="*/ 1228607 w 1742957"/>
              <a:gd name="connsiteY2" fmla="*/ 1067468 h 1150235"/>
              <a:gd name="connsiteX3" fmla="*/ 1209557 w 1742957"/>
              <a:gd name="connsiteY3" fmla="*/ 1054768 h 1150235"/>
              <a:gd name="connsiteX4" fmla="*/ 1190507 w 1742957"/>
              <a:gd name="connsiteY4" fmla="*/ 1048418 h 1150235"/>
              <a:gd name="connsiteX5" fmla="*/ 1158757 w 1742957"/>
              <a:gd name="connsiteY5" fmla="*/ 1016668 h 1150235"/>
              <a:gd name="connsiteX6" fmla="*/ 1139707 w 1742957"/>
              <a:gd name="connsiteY6" fmla="*/ 978568 h 1150235"/>
              <a:gd name="connsiteX7" fmla="*/ 1101607 w 1742957"/>
              <a:gd name="connsiteY7" fmla="*/ 959518 h 1150235"/>
              <a:gd name="connsiteX8" fmla="*/ 1088907 w 1742957"/>
              <a:gd name="connsiteY8" fmla="*/ 940468 h 1150235"/>
              <a:gd name="connsiteX9" fmla="*/ 1069857 w 1742957"/>
              <a:gd name="connsiteY9" fmla="*/ 934118 h 1150235"/>
              <a:gd name="connsiteX10" fmla="*/ 1019057 w 1742957"/>
              <a:gd name="connsiteY10" fmla="*/ 921418 h 1150235"/>
              <a:gd name="connsiteX11" fmla="*/ 993657 w 1742957"/>
              <a:gd name="connsiteY11" fmla="*/ 915068 h 1150235"/>
              <a:gd name="connsiteX12" fmla="*/ 955557 w 1742957"/>
              <a:gd name="connsiteY12" fmla="*/ 902368 h 1150235"/>
              <a:gd name="connsiteX13" fmla="*/ 917457 w 1742957"/>
              <a:gd name="connsiteY13" fmla="*/ 896018 h 1150235"/>
              <a:gd name="connsiteX14" fmla="*/ 726957 w 1742957"/>
              <a:gd name="connsiteY14" fmla="*/ 902368 h 1150235"/>
              <a:gd name="connsiteX15" fmla="*/ 688857 w 1742957"/>
              <a:gd name="connsiteY15" fmla="*/ 908718 h 1150235"/>
              <a:gd name="connsiteX16" fmla="*/ 536457 w 1742957"/>
              <a:gd name="connsiteY16" fmla="*/ 921418 h 1150235"/>
              <a:gd name="connsiteX17" fmla="*/ 333257 w 1742957"/>
              <a:gd name="connsiteY17" fmla="*/ 946818 h 1150235"/>
              <a:gd name="connsiteX18" fmla="*/ 238007 w 1742957"/>
              <a:gd name="connsiteY18" fmla="*/ 940468 h 1150235"/>
              <a:gd name="connsiteX19" fmla="*/ 231657 w 1742957"/>
              <a:gd name="connsiteY19" fmla="*/ 921418 h 1150235"/>
              <a:gd name="connsiteX20" fmla="*/ 212607 w 1742957"/>
              <a:gd name="connsiteY20" fmla="*/ 902368 h 1150235"/>
              <a:gd name="connsiteX21" fmla="*/ 199907 w 1742957"/>
              <a:gd name="connsiteY21" fmla="*/ 883318 h 1150235"/>
              <a:gd name="connsiteX22" fmla="*/ 180857 w 1742957"/>
              <a:gd name="connsiteY22" fmla="*/ 876968 h 1150235"/>
              <a:gd name="connsiteX23" fmla="*/ 136407 w 1742957"/>
              <a:gd name="connsiteY23" fmla="*/ 870618 h 1150235"/>
              <a:gd name="connsiteX24" fmla="*/ 98307 w 1742957"/>
              <a:gd name="connsiteY24" fmla="*/ 838868 h 1150235"/>
              <a:gd name="connsiteX25" fmla="*/ 79257 w 1742957"/>
              <a:gd name="connsiteY25" fmla="*/ 813468 h 1150235"/>
              <a:gd name="connsiteX26" fmla="*/ 60207 w 1742957"/>
              <a:gd name="connsiteY26" fmla="*/ 807118 h 1150235"/>
              <a:gd name="connsiteX27" fmla="*/ 22107 w 1742957"/>
              <a:gd name="connsiteY27" fmla="*/ 788068 h 1150235"/>
              <a:gd name="connsiteX28" fmla="*/ 9407 w 1742957"/>
              <a:gd name="connsiteY28" fmla="*/ 769018 h 1150235"/>
              <a:gd name="connsiteX29" fmla="*/ 9407 w 1742957"/>
              <a:gd name="connsiteY29" fmla="*/ 699168 h 1150235"/>
              <a:gd name="connsiteX30" fmla="*/ 34807 w 1742957"/>
              <a:gd name="connsiteY30" fmla="*/ 661068 h 1150235"/>
              <a:gd name="connsiteX31" fmla="*/ 53857 w 1742957"/>
              <a:gd name="connsiteY31" fmla="*/ 654718 h 1150235"/>
              <a:gd name="connsiteX32" fmla="*/ 91957 w 1742957"/>
              <a:gd name="connsiteY32" fmla="*/ 635668 h 1150235"/>
              <a:gd name="connsiteX33" fmla="*/ 104657 w 1742957"/>
              <a:gd name="connsiteY33" fmla="*/ 616618 h 1150235"/>
              <a:gd name="connsiteX34" fmla="*/ 98307 w 1742957"/>
              <a:gd name="connsiteY34" fmla="*/ 508668 h 1150235"/>
              <a:gd name="connsiteX35" fmla="*/ 104657 w 1742957"/>
              <a:gd name="connsiteY35" fmla="*/ 483268 h 1150235"/>
              <a:gd name="connsiteX36" fmla="*/ 130057 w 1742957"/>
              <a:gd name="connsiteY36" fmla="*/ 464218 h 1150235"/>
              <a:gd name="connsiteX37" fmla="*/ 168157 w 1742957"/>
              <a:gd name="connsiteY37" fmla="*/ 438818 h 1150235"/>
              <a:gd name="connsiteX38" fmla="*/ 187207 w 1742957"/>
              <a:gd name="connsiteY38" fmla="*/ 426118 h 1150235"/>
              <a:gd name="connsiteX39" fmla="*/ 199907 w 1742957"/>
              <a:gd name="connsiteY39" fmla="*/ 407068 h 1150235"/>
              <a:gd name="connsiteX40" fmla="*/ 206257 w 1742957"/>
              <a:gd name="connsiteY40" fmla="*/ 388018 h 1150235"/>
              <a:gd name="connsiteX41" fmla="*/ 218957 w 1742957"/>
              <a:gd name="connsiteY41" fmla="*/ 330868 h 1150235"/>
              <a:gd name="connsiteX42" fmla="*/ 244357 w 1742957"/>
              <a:gd name="connsiteY42" fmla="*/ 273718 h 1150235"/>
              <a:gd name="connsiteX43" fmla="*/ 250707 w 1742957"/>
              <a:gd name="connsiteY43" fmla="*/ 254668 h 1150235"/>
              <a:gd name="connsiteX44" fmla="*/ 282457 w 1742957"/>
              <a:gd name="connsiteY44" fmla="*/ 222918 h 1150235"/>
              <a:gd name="connsiteX45" fmla="*/ 301507 w 1742957"/>
              <a:gd name="connsiteY45" fmla="*/ 203868 h 1150235"/>
              <a:gd name="connsiteX46" fmla="*/ 345957 w 1742957"/>
              <a:gd name="connsiteY46" fmla="*/ 191168 h 1150235"/>
              <a:gd name="connsiteX47" fmla="*/ 384057 w 1742957"/>
              <a:gd name="connsiteY47" fmla="*/ 165768 h 1150235"/>
              <a:gd name="connsiteX48" fmla="*/ 422157 w 1742957"/>
              <a:gd name="connsiteY48" fmla="*/ 153068 h 1150235"/>
              <a:gd name="connsiteX49" fmla="*/ 447557 w 1742957"/>
              <a:gd name="connsiteY49" fmla="*/ 178468 h 1150235"/>
              <a:gd name="connsiteX50" fmla="*/ 434857 w 1742957"/>
              <a:gd name="connsiteY50" fmla="*/ 197518 h 1150235"/>
              <a:gd name="connsiteX51" fmla="*/ 441207 w 1742957"/>
              <a:gd name="connsiteY51" fmla="*/ 216568 h 1150235"/>
              <a:gd name="connsiteX52" fmla="*/ 492007 w 1742957"/>
              <a:gd name="connsiteY52" fmla="*/ 222918 h 1150235"/>
              <a:gd name="connsiteX53" fmla="*/ 625357 w 1742957"/>
              <a:gd name="connsiteY53" fmla="*/ 229268 h 1150235"/>
              <a:gd name="connsiteX54" fmla="*/ 619007 w 1742957"/>
              <a:gd name="connsiteY54" fmla="*/ 248318 h 1150235"/>
              <a:gd name="connsiteX55" fmla="*/ 599957 w 1742957"/>
              <a:gd name="connsiteY55" fmla="*/ 254668 h 1150235"/>
              <a:gd name="connsiteX56" fmla="*/ 580907 w 1742957"/>
              <a:gd name="connsiteY56" fmla="*/ 267368 h 1150235"/>
              <a:gd name="connsiteX57" fmla="*/ 606307 w 1742957"/>
              <a:gd name="connsiteY57" fmla="*/ 337218 h 1150235"/>
              <a:gd name="connsiteX58" fmla="*/ 644407 w 1742957"/>
              <a:gd name="connsiteY58" fmla="*/ 349918 h 1150235"/>
              <a:gd name="connsiteX59" fmla="*/ 663457 w 1742957"/>
              <a:gd name="connsiteY59" fmla="*/ 368968 h 1150235"/>
              <a:gd name="connsiteX60" fmla="*/ 669807 w 1742957"/>
              <a:gd name="connsiteY60" fmla="*/ 400718 h 1150235"/>
              <a:gd name="connsiteX61" fmla="*/ 676157 w 1742957"/>
              <a:gd name="connsiteY61" fmla="*/ 426118 h 1150235"/>
              <a:gd name="connsiteX62" fmla="*/ 733307 w 1742957"/>
              <a:gd name="connsiteY62" fmla="*/ 419768 h 1150235"/>
              <a:gd name="connsiteX63" fmla="*/ 765057 w 1742957"/>
              <a:gd name="connsiteY63" fmla="*/ 381668 h 1150235"/>
              <a:gd name="connsiteX64" fmla="*/ 784107 w 1742957"/>
              <a:gd name="connsiteY64" fmla="*/ 368968 h 1150235"/>
              <a:gd name="connsiteX65" fmla="*/ 828557 w 1742957"/>
              <a:gd name="connsiteY65" fmla="*/ 330868 h 1150235"/>
              <a:gd name="connsiteX66" fmla="*/ 911107 w 1742957"/>
              <a:gd name="connsiteY66" fmla="*/ 318168 h 1150235"/>
              <a:gd name="connsiteX67" fmla="*/ 980957 w 1742957"/>
              <a:gd name="connsiteY67" fmla="*/ 286418 h 1150235"/>
              <a:gd name="connsiteX68" fmla="*/ 1000007 w 1742957"/>
              <a:gd name="connsiteY68" fmla="*/ 267368 h 1150235"/>
              <a:gd name="connsiteX69" fmla="*/ 993657 w 1742957"/>
              <a:gd name="connsiteY69" fmla="*/ 248318 h 1150235"/>
              <a:gd name="connsiteX70" fmla="*/ 885707 w 1742957"/>
              <a:gd name="connsiteY70" fmla="*/ 254668 h 1150235"/>
              <a:gd name="connsiteX71" fmla="*/ 860307 w 1742957"/>
              <a:gd name="connsiteY71" fmla="*/ 261018 h 1150235"/>
              <a:gd name="connsiteX72" fmla="*/ 784107 w 1742957"/>
              <a:gd name="connsiteY72" fmla="*/ 241968 h 1150235"/>
              <a:gd name="connsiteX73" fmla="*/ 784107 w 1742957"/>
              <a:gd name="connsiteY73" fmla="*/ 172118 h 1150235"/>
              <a:gd name="connsiteX74" fmla="*/ 822207 w 1742957"/>
              <a:gd name="connsiteY74" fmla="*/ 146718 h 1150235"/>
              <a:gd name="connsiteX75" fmla="*/ 841257 w 1742957"/>
              <a:gd name="connsiteY75" fmla="*/ 134018 h 1150235"/>
              <a:gd name="connsiteX76" fmla="*/ 853957 w 1742957"/>
              <a:gd name="connsiteY76" fmla="*/ 114968 h 1150235"/>
              <a:gd name="connsiteX77" fmla="*/ 873007 w 1742957"/>
              <a:gd name="connsiteY77" fmla="*/ 108618 h 1150235"/>
              <a:gd name="connsiteX78" fmla="*/ 949207 w 1742957"/>
              <a:gd name="connsiteY78" fmla="*/ 95918 h 1150235"/>
              <a:gd name="connsiteX79" fmla="*/ 968257 w 1742957"/>
              <a:gd name="connsiteY79" fmla="*/ 89568 h 1150235"/>
              <a:gd name="connsiteX80" fmla="*/ 1006357 w 1742957"/>
              <a:gd name="connsiteY80" fmla="*/ 57818 h 1150235"/>
              <a:gd name="connsiteX81" fmla="*/ 1044457 w 1742957"/>
              <a:gd name="connsiteY81" fmla="*/ 38768 h 1150235"/>
              <a:gd name="connsiteX82" fmla="*/ 1050807 w 1742957"/>
              <a:gd name="connsiteY82" fmla="*/ 13368 h 1150235"/>
              <a:gd name="connsiteX83" fmla="*/ 1088907 w 1742957"/>
              <a:gd name="connsiteY83" fmla="*/ 13368 h 1150235"/>
              <a:gd name="connsiteX84" fmla="*/ 1095257 w 1742957"/>
              <a:gd name="connsiteY84" fmla="*/ 51468 h 1150235"/>
              <a:gd name="connsiteX85" fmla="*/ 1114307 w 1742957"/>
              <a:gd name="connsiteY85" fmla="*/ 70518 h 1150235"/>
              <a:gd name="connsiteX86" fmla="*/ 1146057 w 1742957"/>
              <a:gd name="connsiteY86" fmla="*/ 114968 h 1150235"/>
              <a:gd name="connsiteX87" fmla="*/ 1165107 w 1742957"/>
              <a:gd name="connsiteY87" fmla="*/ 127668 h 1150235"/>
              <a:gd name="connsiteX88" fmla="*/ 1177807 w 1742957"/>
              <a:gd name="connsiteY88" fmla="*/ 146718 h 1150235"/>
              <a:gd name="connsiteX89" fmla="*/ 1234957 w 1742957"/>
              <a:gd name="connsiteY89" fmla="*/ 178468 h 1150235"/>
              <a:gd name="connsiteX90" fmla="*/ 1241307 w 1742957"/>
              <a:gd name="connsiteY90" fmla="*/ 197518 h 1150235"/>
              <a:gd name="connsiteX91" fmla="*/ 1266707 w 1742957"/>
              <a:gd name="connsiteY91" fmla="*/ 210218 h 1150235"/>
              <a:gd name="connsiteX92" fmla="*/ 1285757 w 1742957"/>
              <a:gd name="connsiteY92" fmla="*/ 222918 h 1150235"/>
              <a:gd name="connsiteX93" fmla="*/ 1323857 w 1742957"/>
              <a:gd name="connsiteY93" fmla="*/ 261018 h 1150235"/>
              <a:gd name="connsiteX94" fmla="*/ 1330207 w 1742957"/>
              <a:gd name="connsiteY94" fmla="*/ 280068 h 1150235"/>
              <a:gd name="connsiteX95" fmla="*/ 1336557 w 1742957"/>
              <a:gd name="connsiteY95" fmla="*/ 324518 h 1150235"/>
              <a:gd name="connsiteX96" fmla="*/ 1355607 w 1742957"/>
              <a:gd name="connsiteY96" fmla="*/ 337218 h 1150235"/>
              <a:gd name="connsiteX97" fmla="*/ 1349257 w 1742957"/>
              <a:gd name="connsiteY97" fmla="*/ 381668 h 1150235"/>
              <a:gd name="connsiteX98" fmla="*/ 1330207 w 1742957"/>
              <a:gd name="connsiteY98" fmla="*/ 388018 h 1150235"/>
              <a:gd name="connsiteX99" fmla="*/ 1311157 w 1742957"/>
              <a:gd name="connsiteY99" fmla="*/ 400718 h 1150235"/>
              <a:gd name="connsiteX100" fmla="*/ 1292107 w 1742957"/>
              <a:gd name="connsiteY100" fmla="*/ 438818 h 1150235"/>
              <a:gd name="connsiteX101" fmla="*/ 1298457 w 1742957"/>
              <a:gd name="connsiteY101" fmla="*/ 464218 h 1150235"/>
              <a:gd name="connsiteX102" fmla="*/ 1349257 w 1742957"/>
              <a:gd name="connsiteY102" fmla="*/ 521368 h 1150235"/>
              <a:gd name="connsiteX103" fmla="*/ 1419107 w 1742957"/>
              <a:gd name="connsiteY103" fmla="*/ 527718 h 1150235"/>
              <a:gd name="connsiteX104" fmla="*/ 1457207 w 1742957"/>
              <a:gd name="connsiteY104" fmla="*/ 553118 h 1150235"/>
              <a:gd name="connsiteX105" fmla="*/ 1520707 w 1742957"/>
              <a:gd name="connsiteY105" fmla="*/ 572168 h 1150235"/>
              <a:gd name="connsiteX106" fmla="*/ 1539757 w 1742957"/>
              <a:gd name="connsiteY106" fmla="*/ 584868 h 1150235"/>
              <a:gd name="connsiteX107" fmla="*/ 1603257 w 1742957"/>
              <a:gd name="connsiteY107" fmla="*/ 603918 h 1150235"/>
              <a:gd name="connsiteX108" fmla="*/ 1660407 w 1742957"/>
              <a:gd name="connsiteY108" fmla="*/ 654718 h 1150235"/>
              <a:gd name="connsiteX109" fmla="*/ 1692157 w 1742957"/>
              <a:gd name="connsiteY109" fmla="*/ 680118 h 1150235"/>
              <a:gd name="connsiteX110" fmla="*/ 1704857 w 1742957"/>
              <a:gd name="connsiteY110" fmla="*/ 699168 h 1150235"/>
              <a:gd name="connsiteX111" fmla="*/ 1711207 w 1742957"/>
              <a:gd name="connsiteY111" fmla="*/ 718218 h 1150235"/>
              <a:gd name="connsiteX112" fmla="*/ 1723907 w 1742957"/>
              <a:gd name="connsiteY112" fmla="*/ 819818 h 1150235"/>
              <a:gd name="connsiteX113" fmla="*/ 1730257 w 1742957"/>
              <a:gd name="connsiteY113" fmla="*/ 845218 h 1150235"/>
              <a:gd name="connsiteX114" fmla="*/ 1742957 w 1742957"/>
              <a:gd name="connsiteY114" fmla="*/ 864268 h 1150235"/>
              <a:gd name="connsiteX115" fmla="*/ 1736607 w 1742957"/>
              <a:gd name="connsiteY115" fmla="*/ 927768 h 1150235"/>
              <a:gd name="connsiteX116" fmla="*/ 1704857 w 1742957"/>
              <a:gd name="connsiteY116" fmla="*/ 959518 h 1150235"/>
              <a:gd name="connsiteX117" fmla="*/ 1685807 w 1742957"/>
              <a:gd name="connsiteY117" fmla="*/ 965868 h 1150235"/>
              <a:gd name="connsiteX118" fmla="*/ 1647707 w 1742957"/>
              <a:gd name="connsiteY118" fmla="*/ 984918 h 1150235"/>
              <a:gd name="connsiteX119" fmla="*/ 1622307 w 1742957"/>
              <a:gd name="connsiteY119" fmla="*/ 1029368 h 1150235"/>
              <a:gd name="connsiteX120" fmla="*/ 1603257 w 1742957"/>
              <a:gd name="connsiteY120" fmla="*/ 1048418 h 1150235"/>
              <a:gd name="connsiteX121" fmla="*/ 1596907 w 1742957"/>
              <a:gd name="connsiteY121" fmla="*/ 1086518 h 1150235"/>
              <a:gd name="connsiteX122" fmla="*/ 1590557 w 1742957"/>
              <a:gd name="connsiteY122" fmla="*/ 1105568 h 1150235"/>
              <a:gd name="connsiteX123" fmla="*/ 1558807 w 1742957"/>
              <a:gd name="connsiteY123" fmla="*/ 1111918 h 1150235"/>
              <a:gd name="connsiteX124" fmla="*/ 1495307 w 1742957"/>
              <a:gd name="connsiteY124" fmla="*/ 1118268 h 1150235"/>
              <a:gd name="connsiteX125" fmla="*/ 1457207 w 1742957"/>
              <a:gd name="connsiteY125" fmla="*/ 1130968 h 1150235"/>
              <a:gd name="connsiteX126" fmla="*/ 1419107 w 1742957"/>
              <a:gd name="connsiteY126" fmla="*/ 1150018 h 1150235"/>
              <a:gd name="connsiteX127" fmla="*/ 1342907 w 1742957"/>
              <a:gd name="connsiteY127" fmla="*/ 1143668 h 1150235"/>
              <a:gd name="connsiteX128" fmla="*/ 1323857 w 1742957"/>
              <a:gd name="connsiteY128" fmla="*/ 1124618 h 1150235"/>
              <a:gd name="connsiteX129" fmla="*/ 1304807 w 1742957"/>
              <a:gd name="connsiteY129" fmla="*/ 1118268 h 1150235"/>
              <a:gd name="connsiteX130" fmla="*/ 1298457 w 1742957"/>
              <a:gd name="connsiteY130" fmla="*/ 1099218 h 1150235"/>
              <a:gd name="connsiteX131" fmla="*/ 1292107 w 1742957"/>
              <a:gd name="connsiteY131" fmla="*/ 1080168 h 1150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1742957" h="1150235">
                <a:moveTo>
                  <a:pt x="1292107" y="1080168"/>
                </a:moveTo>
                <a:cubicBezTo>
                  <a:pt x="1286815" y="1075935"/>
                  <a:pt x="1275265" y="1075530"/>
                  <a:pt x="1266707" y="1073818"/>
                </a:cubicBezTo>
                <a:cubicBezTo>
                  <a:pt x="1254082" y="1071293"/>
                  <a:pt x="1240821" y="1071539"/>
                  <a:pt x="1228607" y="1067468"/>
                </a:cubicBezTo>
                <a:cubicBezTo>
                  <a:pt x="1221367" y="1065055"/>
                  <a:pt x="1216383" y="1058181"/>
                  <a:pt x="1209557" y="1054768"/>
                </a:cubicBezTo>
                <a:cubicBezTo>
                  <a:pt x="1203570" y="1051775"/>
                  <a:pt x="1196857" y="1050535"/>
                  <a:pt x="1190507" y="1048418"/>
                </a:cubicBezTo>
                <a:cubicBezTo>
                  <a:pt x="1156640" y="997618"/>
                  <a:pt x="1201090" y="1059001"/>
                  <a:pt x="1158757" y="1016668"/>
                </a:cubicBezTo>
                <a:cubicBezTo>
                  <a:pt x="1105227" y="963138"/>
                  <a:pt x="1181024" y="1030214"/>
                  <a:pt x="1139707" y="978568"/>
                </a:cubicBezTo>
                <a:cubicBezTo>
                  <a:pt x="1130755" y="967377"/>
                  <a:pt x="1114156" y="963701"/>
                  <a:pt x="1101607" y="959518"/>
                </a:cubicBezTo>
                <a:cubicBezTo>
                  <a:pt x="1097374" y="953168"/>
                  <a:pt x="1094866" y="945236"/>
                  <a:pt x="1088907" y="940468"/>
                </a:cubicBezTo>
                <a:cubicBezTo>
                  <a:pt x="1083680" y="936287"/>
                  <a:pt x="1076315" y="935879"/>
                  <a:pt x="1069857" y="934118"/>
                </a:cubicBezTo>
                <a:cubicBezTo>
                  <a:pt x="1053018" y="929525"/>
                  <a:pt x="1035990" y="925651"/>
                  <a:pt x="1019057" y="921418"/>
                </a:cubicBezTo>
                <a:cubicBezTo>
                  <a:pt x="1010590" y="919301"/>
                  <a:pt x="1001936" y="917828"/>
                  <a:pt x="993657" y="915068"/>
                </a:cubicBezTo>
                <a:cubicBezTo>
                  <a:pt x="980957" y="910835"/>
                  <a:pt x="968544" y="905615"/>
                  <a:pt x="955557" y="902368"/>
                </a:cubicBezTo>
                <a:cubicBezTo>
                  <a:pt x="943066" y="899245"/>
                  <a:pt x="930157" y="898135"/>
                  <a:pt x="917457" y="896018"/>
                </a:cubicBezTo>
                <a:cubicBezTo>
                  <a:pt x="853957" y="898135"/>
                  <a:pt x="790394" y="898844"/>
                  <a:pt x="726957" y="902368"/>
                </a:cubicBezTo>
                <a:cubicBezTo>
                  <a:pt x="714102" y="903082"/>
                  <a:pt x="701644" y="907214"/>
                  <a:pt x="688857" y="908718"/>
                </a:cubicBezTo>
                <a:cubicBezTo>
                  <a:pt x="655429" y="912651"/>
                  <a:pt x="566880" y="919078"/>
                  <a:pt x="536457" y="921418"/>
                </a:cubicBezTo>
                <a:cubicBezTo>
                  <a:pt x="419136" y="950748"/>
                  <a:pt x="486406" y="939161"/>
                  <a:pt x="333257" y="946818"/>
                </a:cubicBezTo>
                <a:cubicBezTo>
                  <a:pt x="301507" y="944701"/>
                  <a:pt x="268877" y="948186"/>
                  <a:pt x="238007" y="940468"/>
                </a:cubicBezTo>
                <a:cubicBezTo>
                  <a:pt x="231513" y="938845"/>
                  <a:pt x="235370" y="926987"/>
                  <a:pt x="231657" y="921418"/>
                </a:cubicBezTo>
                <a:cubicBezTo>
                  <a:pt x="226676" y="913946"/>
                  <a:pt x="218356" y="909267"/>
                  <a:pt x="212607" y="902368"/>
                </a:cubicBezTo>
                <a:cubicBezTo>
                  <a:pt x="207721" y="896505"/>
                  <a:pt x="205866" y="888086"/>
                  <a:pt x="199907" y="883318"/>
                </a:cubicBezTo>
                <a:cubicBezTo>
                  <a:pt x="194680" y="879137"/>
                  <a:pt x="187421" y="878281"/>
                  <a:pt x="180857" y="876968"/>
                </a:cubicBezTo>
                <a:cubicBezTo>
                  <a:pt x="166181" y="874033"/>
                  <a:pt x="151224" y="872735"/>
                  <a:pt x="136407" y="870618"/>
                </a:cubicBezTo>
                <a:cubicBezTo>
                  <a:pt x="116810" y="857553"/>
                  <a:pt x="114605" y="857882"/>
                  <a:pt x="98307" y="838868"/>
                </a:cubicBezTo>
                <a:cubicBezTo>
                  <a:pt x="91419" y="830833"/>
                  <a:pt x="87387" y="820243"/>
                  <a:pt x="79257" y="813468"/>
                </a:cubicBezTo>
                <a:cubicBezTo>
                  <a:pt x="74115" y="809183"/>
                  <a:pt x="66194" y="810111"/>
                  <a:pt x="60207" y="807118"/>
                </a:cubicBezTo>
                <a:cubicBezTo>
                  <a:pt x="10968" y="782499"/>
                  <a:pt x="69990" y="804029"/>
                  <a:pt x="22107" y="788068"/>
                </a:cubicBezTo>
                <a:cubicBezTo>
                  <a:pt x="17874" y="781718"/>
                  <a:pt x="12413" y="776033"/>
                  <a:pt x="9407" y="769018"/>
                </a:cubicBezTo>
                <a:cubicBezTo>
                  <a:pt x="0" y="747067"/>
                  <a:pt x="841" y="721440"/>
                  <a:pt x="9407" y="699168"/>
                </a:cubicBezTo>
                <a:cubicBezTo>
                  <a:pt x="14886" y="684922"/>
                  <a:pt x="20327" y="665895"/>
                  <a:pt x="34807" y="661068"/>
                </a:cubicBezTo>
                <a:cubicBezTo>
                  <a:pt x="41157" y="658951"/>
                  <a:pt x="47870" y="657711"/>
                  <a:pt x="53857" y="654718"/>
                </a:cubicBezTo>
                <a:cubicBezTo>
                  <a:pt x="103096" y="630099"/>
                  <a:pt x="44074" y="651629"/>
                  <a:pt x="91957" y="635668"/>
                </a:cubicBezTo>
                <a:cubicBezTo>
                  <a:pt x="96190" y="629318"/>
                  <a:pt x="104276" y="624240"/>
                  <a:pt x="104657" y="616618"/>
                </a:cubicBezTo>
                <a:cubicBezTo>
                  <a:pt x="106457" y="580617"/>
                  <a:pt x="98307" y="544714"/>
                  <a:pt x="98307" y="508668"/>
                </a:cubicBezTo>
                <a:cubicBezTo>
                  <a:pt x="98307" y="499941"/>
                  <a:pt x="99584" y="490370"/>
                  <a:pt x="104657" y="483268"/>
                </a:cubicBezTo>
                <a:cubicBezTo>
                  <a:pt x="110808" y="474656"/>
                  <a:pt x="121387" y="470287"/>
                  <a:pt x="130057" y="464218"/>
                </a:cubicBezTo>
                <a:cubicBezTo>
                  <a:pt x="142561" y="455465"/>
                  <a:pt x="155457" y="447285"/>
                  <a:pt x="168157" y="438818"/>
                </a:cubicBezTo>
                <a:lnTo>
                  <a:pt x="187207" y="426118"/>
                </a:lnTo>
                <a:cubicBezTo>
                  <a:pt x="191440" y="419768"/>
                  <a:pt x="196494" y="413894"/>
                  <a:pt x="199907" y="407068"/>
                </a:cubicBezTo>
                <a:cubicBezTo>
                  <a:pt x="202900" y="401081"/>
                  <a:pt x="204634" y="394512"/>
                  <a:pt x="206257" y="388018"/>
                </a:cubicBezTo>
                <a:cubicBezTo>
                  <a:pt x="210990" y="369086"/>
                  <a:pt x="213929" y="349724"/>
                  <a:pt x="218957" y="330868"/>
                </a:cubicBezTo>
                <a:cubicBezTo>
                  <a:pt x="237680" y="260658"/>
                  <a:pt x="222174" y="318085"/>
                  <a:pt x="244357" y="273718"/>
                </a:cubicBezTo>
                <a:cubicBezTo>
                  <a:pt x="247350" y="267731"/>
                  <a:pt x="247714" y="260655"/>
                  <a:pt x="250707" y="254668"/>
                </a:cubicBezTo>
                <a:cubicBezTo>
                  <a:pt x="264012" y="228058"/>
                  <a:pt x="260686" y="241061"/>
                  <a:pt x="282457" y="222918"/>
                </a:cubicBezTo>
                <a:cubicBezTo>
                  <a:pt x="289356" y="217169"/>
                  <a:pt x="294035" y="208849"/>
                  <a:pt x="301507" y="203868"/>
                </a:cubicBezTo>
                <a:cubicBezTo>
                  <a:pt x="306973" y="200224"/>
                  <a:pt x="342570" y="192015"/>
                  <a:pt x="345957" y="191168"/>
                </a:cubicBezTo>
                <a:cubicBezTo>
                  <a:pt x="358657" y="182701"/>
                  <a:pt x="369577" y="170595"/>
                  <a:pt x="384057" y="165768"/>
                </a:cubicBezTo>
                <a:lnTo>
                  <a:pt x="422157" y="153068"/>
                </a:lnTo>
                <a:cubicBezTo>
                  <a:pt x="490629" y="172631"/>
                  <a:pt x="471166" y="154859"/>
                  <a:pt x="447557" y="178468"/>
                </a:cubicBezTo>
                <a:cubicBezTo>
                  <a:pt x="442161" y="183864"/>
                  <a:pt x="439090" y="191168"/>
                  <a:pt x="434857" y="197518"/>
                </a:cubicBezTo>
                <a:cubicBezTo>
                  <a:pt x="436974" y="203868"/>
                  <a:pt x="435090" y="213850"/>
                  <a:pt x="441207" y="216568"/>
                </a:cubicBezTo>
                <a:cubicBezTo>
                  <a:pt x="456801" y="223499"/>
                  <a:pt x="474982" y="221744"/>
                  <a:pt x="492007" y="222918"/>
                </a:cubicBezTo>
                <a:cubicBezTo>
                  <a:pt x="536402" y="225980"/>
                  <a:pt x="580907" y="227151"/>
                  <a:pt x="625357" y="229268"/>
                </a:cubicBezTo>
                <a:cubicBezTo>
                  <a:pt x="623240" y="235618"/>
                  <a:pt x="623740" y="243585"/>
                  <a:pt x="619007" y="248318"/>
                </a:cubicBezTo>
                <a:cubicBezTo>
                  <a:pt x="614274" y="253051"/>
                  <a:pt x="605944" y="251675"/>
                  <a:pt x="599957" y="254668"/>
                </a:cubicBezTo>
                <a:cubicBezTo>
                  <a:pt x="593131" y="258081"/>
                  <a:pt x="587257" y="263135"/>
                  <a:pt x="580907" y="267368"/>
                </a:cubicBezTo>
                <a:cubicBezTo>
                  <a:pt x="584841" y="298837"/>
                  <a:pt x="577048" y="320963"/>
                  <a:pt x="606307" y="337218"/>
                </a:cubicBezTo>
                <a:cubicBezTo>
                  <a:pt x="618009" y="343719"/>
                  <a:pt x="644407" y="349918"/>
                  <a:pt x="644407" y="349918"/>
                </a:cubicBezTo>
                <a:cubicBezTo>
                  <a:pt x="650757" y="356268"/>
                  <a:pt x="659441" y="360936"/>
                  <a:pt x="663457" y="368968"/>
                </a:cubicBezTo>
                <a:cubicBezTo>
                  <a:pt x="668284" y="378621"/>
                  <a:pt x="667466" y="390182"/>
                  <a:pt x="669807" y="400718"/>
                </a:cubicBezTo>
                <a:cubicBezTo>
                  <a:pt x="671700" y="409237"/>
                  <a:pt x="674040" y="417651"/>
                  <a:pt x="676157" y="426118"/>
                </a:cubicBezTo>
                <a:cubicBezTo>
                  <a:pt x="695207" y="424001"/>
                  <a:pt x="715123" y="425829"/>
                  <a:pt x="733307" y="419768"/>
                </a:cubicBezTo>
                <a:cubicBezTo>
                  <a:pt x="748911" y="414567"/>
                  <a:pt x="754890" y="391835"/>
                  <a:pt x="765057" y="381668"/>
                </a:cubicBezTo>
                <a:cubicBezTo>
                  <a:pt x="770453" y="376272"/>
                  <a:pt x="778244" y="373854"/>
                  <a:pt x="784107" y="368968"/>
                </a:cubicBezTo>
                <a:cubicBezTo>
                  <a:pt x="803171" y="353081"/>
                  <a:pt x="804776" y="342759"/>
                  <a:pt x="828557" y="330868"/>
                </a:cubicBezTo>
                <a:cubicBezTo>
                  <a:pt x="844269" y="323012"/>
                  <a:pt x="907399" y="318580"/>
                  <a:pt x="911107" y="318168"/>
                </a:cubicBezTo>
                <a:cubicBezTo>
                  <a:pt x="958187" y="286781"/>
                  <a:pt x="934240" y="295761"/>
                  <a:pt x="980957" y="286418"/>
                </a:cubicBezTo>
                <a:cubicBezTo>
                  <a:pt x="987307" y="280068"/>
                  <a:pt x="997167" y="275887"/>
                  <a:pt x="1000007" y="267368"/>
                </a:cubicBezTo>
                <a:cubicBezTo>
                  <a:pt x="1002124" y="261018"/>
                  <a:pt x="1000310" y="249057"/>
                  <a:pt x="993657" y="248318"/>
                </a:cubicBezTo>
                <a:cubicBezTo>
                  <a:pt x="957832" y="244337"/>
                  <a:pt x="921690" y="252551"/>
                  <a:pt x="885707" y="254668"/>
                </a:cubicBezTo>
                <a:cubicBezTo>
                  <a:pt x="877240" y="256785"/>
                  <a:pt x="868967" y="262100"/>
                  <a:pt x="860307" y="261018"/>
                </a:cubicBezTo>
                <a:cubicBezTo>
                  <a:pt x="834327" y="257771"/>
                  <a:pt x="784107" y="241968"/>
                  <a:pt x="784107" y="241968"/>
                </a:cubicBezTo>
                <a:cubicBezTo>
                  <a:pt x="767027" y="216348"/>
                  <a:pt x="757430" y="212133"/>
                  <a:pt x="784107" y="172118"/>
                </a:cubicBezTo>
                <a:cubicBezTo>
                  <a:pt x="792574" y="159418"/>
                  <a:pt x="809507" y="155185"/>
                  <a:pt x="822207" y="146718"/>
                </a:cubicBezTo>
                <a:lnTo>
                  <a:pt x="841257" y="134018"/>
                </a:lnTo>
                <a:cubicBezTo>
                  <a:pt x="845490" y="127668"/>
                  <a:pt x="847998" y="119736"/>
                  <a:pt x="853957" y="114968"/>
                </a:cubicBezTo>
                <a:cubicBezTo>
                  <a:pt x="859184" y="110787"/>
                  <a:pt x="866571" y="110457"/>
                  <a:pt x="873007" y="108618"/>
                </a:cubicBezTo>
                <a:cubicBezTo>
                  <a:pt x="905639" y="99295"/>
                  <a:pt x="907978" y="101072"/>
                  <a:pt x="949207" y="95918"/>
                </a:cubicBezTo>
                <a:cubicBezTo>
                  <a:pt x="955557" y="93801"/>
                  <a:pt x="962688" y="93281"/>
                  <a:pt x="968257" y="89568"/>
                </a:cubicBezTo>
                <a:cubicBezTo>
                  <a:pt x="1010388" y="61481"/>
                  <a:pt x="964806" y="78593"/>
                  <a:pt x="1006357" y="57818"/>
                </a:cubicBezTo>
                <a:cubicBezTo>
                  <a:pt x="1058937" y="31528"/>
                  <a:pt x="989862" y="75164"/>
                  <a:pt x="1044457" y="38768"/>
                </a:cubicBezTo>
                <a:cubicBezTo>
                  <a:pt x="1046574" y="30301"/>
                  <a:pt x="1045355" y="20183"/>
                  <a:pt x="1050807" y="13368"/>
                </a:cubicBezTo>
                <a:cubicBezTo>
                  <a:pt x="1061502" y="0"/>
                  <a:pt x="1078212" y="9803"/>
                  <a:pt x="1088907" y="13368"/>
                </a:cubicBezTo>
                <a:cubicBezTo>
                  <a:pt x="1091024" y="26068"/>
                  <a:pt x="1090028" y="39703"/>
                  <a:pt x="1095257" y="51468"/>
                </a:cubicBezTo>
                <a:cubicBezTo>
                  <a:pt x="1098904" y="59674"/>
                  <a:pt x="1108558" y="63619"/>
                  <a:pt x="1114307" y="70518"/>
                </a:cubicBezTo>
                <a:cubicBezTo>
                  <a:pt x="1132335" y="92151"/>
                  <a:pt x="1123181" y="92092"/>
                  <a:pt x="1146057" y="114968"/>
                </a:cubicBezTo>
                <a:cubicBezTo>
                  <a:pt x="1151453" y="120364"/>
                  <a:pt x="1158757" y="123435"/>
                  <a:pt x="1165107" y="127668"/>
                </a:cubicBezTo>
                <a:cubicBezTo>
                  <a:pt x="1169340" y="134018"/>
                  <a:pt x="1172064" y="141692"/>
                  <a:pt x="1177807" y="146718"/>
                </a:cubicBezTo>
                <a:cubicBezTo>
                  <a:pt x="1204680" y="170232"/>
                  <a:pt x="1208792" y="169746"/>
                  <a:pt x="1234957" y="178468"/>
                </a:cubicBezTo>
                <a:cubicBezTo>
                  <a:pt x="1237074" y="184818"/>
                  <a:pt x="1236574" y="192785"/>
                  <a:pt x="1241307" y="197518"/>
                </a:cubicBezTo>
                <a:cubicBezTo>
                  <a:pt x="1248000" y="204211"/>
                  <a:pt x="1258488" y="205522"/>
                  <a:pt x="1266707" y="210218"/>
                </a:cubicBezTo>
                <a:cubicBezTo>
                  <a:pt x="1273333" y="214004"/>
                  <a:pt x="1280053" y="217848"/>
                  <a:pt x="1285757" y="222918"/>
                </a:cubicBezTo>
                <a:cubicBezTo>
                  <a:pt x="1299181" y="234850"/>
                  <a:pt x="1323857" y="261018"/>
                  <a:pt x="1323857" y="261018"/>
                </a:cubicBezTo>
                <a:cubicBezTo>
                  <a:pt x="1325974" y="267368"/>
                  <a:pt x="1328894" y="273504"/>
                  <a:pt x="1330207" y="280068"/>
                </a:cubicBezTo>
                <a:cubicBezTo>
                  <a:pt x="1333142" y="294744"/>
                  <a:pt x="1330478" y="310841"/>
                  <a:pt x="1336557" y="324518"/>
                </a:cubicBezTo>
                <a:cubicBezTo>
                  <a:pt x="1339657" y="331492"/>
                  <a:pt x="1349257" y="332985"/>
                  <a:pt x="1355607" y="337218"/>
                </a:cubicBezTo>
                <a:cubicBezTo>
                  <a:pt x="1353490" y="352035"/>
                  <a:pt x="1355950" y="368281"/>
                  <a:pt x="1349257" y="381668"/>
                </a:cubicBezTo>
                <a:cubicBezTo>
                  <a:pt x="1346264" y="387655"/>
                  <a:pt x="1336194" y="385025"/>
                  <a:pt x="1330207" y="388018"/>
                </a:cubicBezTo>
                <a:cubicBezTo>
                  <a:pt x="1323381" y="391431"/>
                  <a:pt x="1317507" y="396485"/>
                  <a:pt x="1311157" y="400718"/>
                </a:cubicBezTo>
                <a:cubicBezTo>
                  <a:pt x="1304736" y="410350"/>
                  <a:pt x="1292107" y="425673"/>
                  <a:pt x="1292107" y="438818"/>
                </a:cubicBezTo>
                <a:cubicBezTo>
                  <a:pt x="1292107" y="447545"/>
                  <a:pt x="1295697" y="455939"/>
                  <a:pt x="1298457" y="464218"/>
                </a:cubicBezTo>
                <a:cubicBezTo>
                  <a:pt x="1306636" y="488754"/>
                  <a:pt x="1315318" y="518283"/>
                  <a:pt x="1349257" y="521368"/>
                </a:cubicBezTo>
                <a:lnTo>
                  <a:pt x="1419107" y="527718"/>
                </a:lnTo>
                <a:cubicBezTo>
                  <a:pt x="1431807" y="536185"/>
                  <a:pt x="1442727" y="548291"/>
                  <a:pt x="1457207" y="553118"/>
                </a:cubicBezTo>
                <a:cubicBezTo>
                  <a:pt x="1503586" y="568578"/>
                  <a:pt x="1482320" y="562571"/>
                  <a:pt x="1520707" y="572168"/>
                </a:cubicBezTo>
                <a:cubicBezTo>
                  <a:pt x="1527057" y="576401"/>
                  <a:pt x="1532783" y="581768"/>
                  <a:pt x="1539757" y="584868"/>
                </a:cubicBezTo>
                <a:cubicBezTo>
                  <a:pt x="1559634" y="593702"/>
                  <a:pt x="1582147" y="598641"/>
                  <a:pt x="1603257" y="603918"/>
                </a:cubicBezTo>
                <a:cubicBezTo>
                  <a:pt x="1626162" y="619188"/>
                  <a:pt x="1643008" y="628620"/>
                  <a:pt x="1660407" y="654718"/>
                </a:cubicBezTo>
                <a:cubicBezTo>
                  <a:pt x="1676820" y="679337"/>
                  <a:pt x="1665867" y="671355"/>
                  <a:pt x="1692157" y="680118"/>
                </a:cubicBezTo>
                <a:cubicBezTo>
                  <a:pt x="1696390" y="686468"/>
                  <a:pt x="1701444" y="692342"/>
                  <a:pt x="1704857" y="699168"/>
                </a:cubicBezTo>
                <a:cubicBezTo>
                  <a:pt x="1707850" y="705155"/>
                  <a:pt x="1710163" y="711606"/>
                  <a:pt x="1711207" y="718218"/>
                </a:cubicBezTo>
                <a:cubicBezTo>
                  <a:pt x="1716530" y="751931"/>
                  <a:pt x="1715629" y="786707"/>
                  <a:pt x="1723907" y="819818"/>
                </a:cubicBezTo>
                <a:cubicBezTo>
                  <a:pt x="1726024" y="828285"/>
                  <a:pt x="1726819" y="837196"/>
                  <a:pt x="1730257" y="845218"/>
                </a:cubicBezTo>
                <a:cubicBezTo>
                  <a:pt x="1733263" y="852233"/>
                  <a:pt x="1738724" y="857918"/>
                  <a:pt x="1742957" y="864268"/>
                </a:cubicBezTo>
                <a:cubicBezTo>
                  <a:pt x="1740840" y="885435"/>
                  <a:pt x="1741390" y="907041"/>
                  <a:pt x="1736607" y="927768"/>
                </a:cubicBezTo>
                <a:cubicBezTo>
                  <a:pt x="1733294" y="942125"/>
                  <a:pt x="1716637" y="953628"/>
                  <a:pt x="1704857" y="959518"/>
                </a:cubicBezTo>
                <a:cubicBezTo>
                  <a:pt x="1698870" y="962511"/>
                  <a:pt x="1691794" y="962875"/>
                  <a:pt x="1685807" y="965868"/>
                </a:cubicBezTo>
                <a:cubicBezTo>
                  <a:pt x="1636568" y="990487"/>
                  <a:pt x="1695590" y="968957"/>
                  <a:pt x="1647707" y="984918"/>
                </a:cubicBezTo>
                <a:cubicBezTo>
                  <a:pt x="1639943" y="1000445"/>
                  <a:pt x="1633526" y="1015905"/>
                  <a:pt x="1622307" y="1029368"/>
                </a:cubicBezTo>
                <a:cubicBezTo>
                  <a:pt x="1616558" y="1036267"/>
                  <a:pt x="1609607" y="1042068"/>
                  <a:pt x="1603257" y="1048418"/>
                </a:cubicBezTo>
                <a:cubicBezTo>
                  <a:pt x="1601140" y="1061118"/>
                  <a:pt x="1599700" y="1073949"/>
                  <a:pt x="1596907" y="1086518"/>
                </a:cubicBezTo>
                <a:cubicBezTo>
                  <a:pt x="1595455" y="1093052"/>
                  <a:pt x="1596126" y="1101855"/>
                  <a:pt x="1590557" y="1105568"/>
                </a:cubicBezTo>
                <a:cubicBezTo>
                  <a:pt x="1581577" y="1111555"/>
                  <a:pt x="1569505" y="1110492"/>
                  <a:pt x="1558807" y="1111918"/>
                </a:cubicBezTo>
                <a:cubicBezTo>
                  <a:pt x="1537721" y="1114729"/>
                  <a:pt x="1516474" y="1116151"/>
                  <a:pt x="1495307" y="1118268"/>
                </a:cubicBezTo>
                <a:cubicBezTo>
                  <a:pt x="1482607" y="1122501"/>
                  <a:pt x="1468346" y="1123542"/>
                  <a:pt x="1457207" y="1130968"/>
                </a:cubicBezTo>
                <a:cubicBezTo>
                  <a:pt x="1432588" y="1147381"/>
                  <a:pt x="1445397" y="1141255"/>
                  <a:pt x="1419107" y="1150018"/>
                </a:cubicBezTo>
                <a:cubicBezTo>
                  <a:pt x="1393707" y="1147901"/>
                  <a:pt x="1367534" y="1150235"/>
                  <a:pt x="1342907" y="1143668"/>
                </a:cubicBezTo>
                <a:cubicBezTo>
                  <a:pt x="1334230" y="1141354"/>
                  <a:pt x="1331329" y="1129599"/>
                  <a:pt x="1323857" y="1124618"/>
                </a:cubicBezTo>
                <a:cubicBezTo>
                  <a:pt x="1318288" y="1120905"/>
                  <a:pt x="1311157" y="1120385"/>
                  <a:pt x="1304807" y="1118268"/>
                </a:cubicBezTo>
                <a:cubicBezTo>
                  <a:pt x="1302690" y="1111918"/>
                  <a:pt x="1303190" y="1103951"/>
                  <a:pt x="1298457" y="1099218"/>
                </a:cubicBezTo>
                <a:cubicBezTo>
                  <a:pt x="1293724" y="1094485"/>
                  <a:pt x="1297399" y="1084401"/>
                  <a:pt x="1292107" y="1080168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16" name="Freeform 215"/>
          <p:cNvSpPr/>
          <p:nvPr/>
        </p:nvSpPr>
        <p:spPr>
          <a:xfrm>
            <a:off x="8143881" y="3810003"/>
            <a:ext cx="1000125" cy="1714500"/>
          </a:xfrm>
          <a:custGeom>
            <a:avLst/>
            <a:gdLst>
              <a:gd name="connsiteX0" fmla="*/ 98519 w 224740"/>
              <a:gd name="connsiteY0" fmla="*/ 222642 h 334838"/>
              <a:gd name="connsiteX1" fmla="*/ 95714 w 224740"/>
              <a:gd name="connsiteY1" fmla="*/ 205812 h 334838"/>
              <a:gd name="connsiteX2" fmla="*/ 81690 w 224740"/>
              <a:gd name="connsiteY2" fmla="*/ 180568 h 334838"/>
              <a:gd name="connsiteX3" fmla="*/ 73275 w 224740"/>
              <a:gd name="connsiteY3" fmla="*/ 172153 h 334838"/>
              <a:gd name="connsiteX4" fmla="*/ 56445 w 224740"/>
              <a:gd name="connsiteY4" fmla="*/ 160934 h 334838"/>
              <a:gd name="connsiteX5" fmla="*/ 50836 w 224740"/>
              <a:gd name="connsiteY5" fmla="*/ 152519 h 334838"/>
              <a:gd name="connsiteX6" fmla="*/ 42421 w 224740"/>
              <a:gd name="connsiteY6" fmla="*/ 135689 h 334838"/>
              <a:gd name="connsiteX7" fmla="*/ 34006 w 224740"/>
              <a:gd name="connsiteY7" fmla="*/ 130080 h 334838"/>
              <a:gd name="connsiteX8" fmla="*/ 28396 w 224740"/>
              <a:gd name="connsiteY8" fmla="*/ 121665 h 334838"/>
              <a:gd name="connsiteX9" fmla="*/ 25591 w 224740"/>
              <a:gd name="connsiteY9" fmla="*/ 99226 h 334838"/>
              <a:gd name="connsiteX10" fmla="*/ 8762 w 224740"/>
              <a:gd name="connsiteY10" fmla="*/ 93616 h 334838"/>
              <a:gd name="connsiteX11" fmla="*/ 5957 w 224740"/>
              <a:gd name="connsiteY11" fmla="*/ 65567 h 334838"/>
              <a:gd name="connsiteX12" fmla="*/ 8762 w 224740"/>
              <a:gd name="connsiteY12" fmla="*/ 57152 h 334838"/>
              <a:gd name="connsiteX13" fmla="*/ 17177 w 224740"/>
              <a:gd name="connsiteY13" fmla="*/ 54347 h 334838"/>
              <a:gd name="connsiteX14" fmla="*/ 34006 w 224740"/>
              <a:gd name="connsiteY14" fmla="*/ 43127 h 334838"/>
              <a:gd name="connsiteX15" fmla="*/ 42421 w 224740"/>
              <a:gd name="connsiteY15" fmla="*/ 37518 h 334838"/>
              <a:gd name="connsiteX16" fmla="*/ 50836 w 224740"/>
              <a:gd name="connsiteY16" fmla="*/ 34713 h 334838"/>
              <a:gd name="connsiteX17" fmla="*/ 62055 w 224740"/>
              <a:gd name="connsiteY17" fmla="*/ 17883 h 334838"/>
              <a:gd name="connsiteX18" fmla="*/ 76080 w 224740"/>
              <a:gd name="connsiteY18" fmla="*/ 6664 h 334838"/>
              <a:gd name="connsiteX19" fmla="*/ 104129 w 224740"/>
              <a:gd name="connsiteY19" fmla="*/ 3859 h 334838"/>
              <a:gd name="connsiteX20" fmla="*/ 151812 w 224740"/>
              <a:gd name="connsiteY20" fmla="*/ 12273 h 334838"/>
              <a:gd name="connsiteX21" fmla="*/ 163032 w 224740"/>
              <a:gd name="connsiteY21" fmla="*/ 29103 h 334838"/>
              <a:gd name="connsiteX22" fmla="*/ 168642 w 224740"/>
              <a:gd name="connsiteY22" fmla="*/ 45932 h 334838"/>
              <a:gd name="connsiteX23" fmla="*/ 118153 w 224740"/>
              <a:gd name="connsiteY23" fmla="*/ 57152 h 334838"/>
              <a:gd name="connsiteX24" fmla="*/ 112543 w 224740"/>
              <a:gd name="connsiteY24" fmla="*/ 65567 h 334838"/>
              <a:gd name="connsiteX25" fmla="*/ 112543 w 224740"/>
              <a:gd name="connsiteY25" fmla="*/ 107640 h 334838"/>
              <a:gd name="connsiteX26" fmla="*/ 120958 w 224740"/>
              <a:gd name="connsiteY26" fmla="*/ 116055 h 334838"/>
              <a:gd name="connsiteX27" fmla="*/ 129373 w 224740"/>
              <a:gd name="connsiteY27" fmla="*/ 121665 h 334838"/>
              <a:gd name="connsiteX28" fmla="*/ 137788 w 224740"/>
              <a:gd name="connsiteY28" fmla="*/ 130080 h 334838"/>
              <a:gd name="connsiteX29" fmla="*/ 154617 w 224740"/>
              <a:gd name="connsiteY29" fmla="*/ 141299 h 334838"/>
              <a:gd name="connsiteX30" fmla="*/ 160227 w 224740"/>
              <a:gd name="connsiteY30" fmla="*/ 149714 h 334838"/>
              <a:gd name="connsiteX31" fmla="*/ 165837 w 224740"/>
              <a:gd name="connsiteY31" fmla="*/ 166543 h 334838"/>
              <a:gd name="connsiteX32" fmla="*/ 174251 w 224740"/>
              <a:gd name="connsiteY32" fmla="*/ 169348 h 334838"/>
              <a:gd name="connsiteX33" fmla="*/ 182666 w 224740"/>
              <a:gd name="connsiteY33" fmla="*/ 166543 h 334838"/>
              <a:gd name="connsiteX34" fmla="*/ 193886 w 224740"/>
              <a:gd name="connsiteY34" fmla="*/ 163738 h 334838"/>
              <a:gd name="connsiteX35" fmla="*/ 202301 w 224740"/>
              <a:gd name="connsiteY35" fmla="*/ 158129 h 334838"/>
              <a:gd name="connsiteX36" fmla="*/ 216325 w 224740"/>
              <a:gd name="connsiteY36" fmla="*/ 183373 h 334838"/>
              <a:gd name="connsiteX37" fmla="*/ 207910 w 224740"/>
              <a:gd name="connsiteY37" fmla="*/ 188983 h 334838"/>
              <a:gd name="connsiteX38" fmla="*/ 191081 w 224740"/>
              <a:gd name="connsiteY38" fmla="*/ 194592 h 334838"/>
              <a:gd name="connsiteX39" fmla="*/ 193886 w 224740"/>
              <a:gd name="connsiteY39" fmla="*/ 217032 h 334838"/>
              <a:gd name="connsiteX40" fmla="*/ 210715 w 224740"/>
              <a:gd name="connsiteY40" fmla="*/ 242276 h 334838"/>
              <a:gd name="connsiteX41" fmla="*/ 216325 w 224740"/>
              <a:gd name="connsiteY41" fmla="*/ 250691 h 334838"/>
              <a:gd name="connsiteX42" fmla="*/ 221935 w 224740"/>
              <a:gd name="connsiteY42" fmla="*/ 267520 h 334838"/>
              <a:gd name="connsiteX43" fmla="*/ 224740 w 224740"/>
              <a:gd name="connsiteY43" fmla="*/ 275935 h 334838"/>
              <a:gd name="connsiteX44" fmla="*/ 221935 w 224740"/>
              <a:gd name="connsiteY44" fmla="*/ 320813 h 334838"/>
              <a:gd name="connsiteX45" fmla="*/ 216325 w 224740"/>
              <a:gd name="connsiteY45" fmla="*/ 329228 h 334838"/>
              <a:gd name="connsiteX46" fmla="*/ 199496 w 224740"/>
              <a:gd name="connsiteY46" fmla="*/ 334838 h 334838"/>
              <a:gd name="connsiteX47" fmla="*/ 165837 w 224740"/>
              <a:gd name="connsiteY47" fmla="*/ 332033 h 334838"/>
              <a:gd name="connsiteX48" fmla="*/ 146202 w 224740"/>
              <a:gd name="connsiteY48" fmla="*/ 326423 h 334838"/>
              <a:gd name="connsiteX49" fmla="*/ 126568 w 224740"/>
              <a:gd name="connsiteY49" fmla="*/ 320813 h 334838"/>
              <a:gd name="connsiteX50" fmla="*/ 106934 w 224740"/>
              <a:gd name="connsiteY50" fmla="*/ 309594 h 334838"/>
              <a:gd name="connsiteX51" fmla="*/ 90104 w 224740"/>
              <a:gd name="connsiteY51" fmla="*/ 284349 h 334838"/>
              <a:gd name="connsiteX52" fmla="*/ 84494 w 224740"/>
              <a:gd name="connsiteY52" fmla="*/ 275935 h 334838"/>
              <a:gd name="connsiteX53" fmla="*/ 92909 w 224740"/>
              <a:gd name="connsiteY53" fmla="*/ 247886 h 334838"/>
              <a:gd name="connsiteX54" fmla="*/ 98519 w 224740"/>
              <a:gd name="connsiteY54" fmla="*/ 239471 h 334838"/>
              <a:gd name="connsiteX55" fmla="*/ 95714 w 224740"/>
              <a:gd name="connsiteY55" fmla="*/ 205812 h 334838"/>
              <a:gd name="connsiteX56" fmla="*/ 92909 w 224740"/>
              <a:gd name="connsiteY56" fmla="*/ 194592 h 334838"/>
              <a:gd name="connsiteX57" fmla="*/ 76080 w 224740"/>
              <a:gd name="connsiteY57" fmla="*/ 180568 h 334838"/>
              <a:gd name="connsiteX58" fmla="*/ 70470 w 224740"/>
              <a:gd name="connsiteY58" fmla="*/ 172153 h 334838"/>
              <a:gd name="connsiteX59" fmla="*/ 62055 w 224740"/>
              <a:gd name="connsiteY59" fmla="*/ 166543 h 334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224740" h="334838">
                <a:moveTo>
                  <a:pt x="98519" y="222642"/>
                </a:moveTo>
                <a:cubicBezTo>
                  <a:pt x="97584" y="217032"/>
                  <a:pt x="96948" y="211364"/>
                  <a:pt x="95714" y="205812"/>
                </a:cubicBezTo>
                <a:cubicBezTo>
                  <a:pt x="93699" y="196743"/>
                  <a:pt x="87887" y="186765"/>
                  <a:pt x="81690" y="180568"/>
                </a:cubicBezTo>
                <a:cubicBezTo>
                  <a:pt x="78885" y="177763"/>
                  <a:pt x="76406" y="174588"/>
                  <a:pt x="73275" y="172153"/>
                </a:cubicBezTo>
                <a:cubicBezTo>
                  <a:pt x="67953" y="168014"/>
                  <a:pt x="56445" y="160934"/>
                  <a:pt x="56445" y="160934"/>
                </a:cubicBezTo>
                <a:cubicBezTo>
                  <a:pt x="54575" y="158129"/>
                  <a:pt x="52343" y="155534"/>
                  <a:pt x="50836" y="152519"/>
                </a:cubicBezTo>
                <a:cubicBezTo>
                  <a:pt x="46275" y="143396"/>
                  <a:pt x="50458" y="143725"/>
                  <a:pt x="42421" y="135689"/>
                </a:cubicBezTo>
                <a:cubicBezTo>
                  <a:pt x="40037" y="133305"/>
                  <a:pt x="36811" y="131950"/>
                  <a:pt x="34006" y="130080"/>
                </a:cubicBezTo>
                <a:cubicBezTo>
                  <a:pt x="32136" y="127275"/>
                  <a:pt x="29283" y="124917"/>
                  <a:pt x="28396" y="121665"/>
                </a:cubicBezTo>
                <a:cubicBezTo>
                  <a:pt x="26413" y="114393"/>
                  <a:pt x="29914" y="105401"/>
                  <a:pt x="25591" y="99226"/>
                </a:cubicBezTo>
                <a:cubicBezTo>
                  <a:pt x="22200" y="94382"/>
                  <a:pt x="8762" y="93616"/>
                  <a:pt x="8762" y="93616"/>
                </a:cubicBezTo>
                <a:cubicBezTo>
                  <a:pt x="0" y="80473"/>
                  <a:pt x="1666" y="87024"/>
                  <a:pt x="5957" y="65567"/>
                </a:cubicBezTo>
                <a:cubicBezTo>
                  <a:pt x="6537" y="62668"/>
                  <a:pt x="6671" y="59243"/>
                  <a:pt x="8762" y="57152"/>
                </a:cubicBezTo>
                <a:cubicBezTo>
                  <a:pt x="10853" y="55061"/>
                  <a:pt x="14372" y="55282"/>
                  <a:pt x="17177" y="54347"/>
                </a:cubicBezTo>
                <a:lnTo>
                  <a:pt x="34006" y="43127"/>
                </a:lnTo>
                <a:cubicBezTo>
                  <a:pt x="36811" y="41257"/>
                  <a:pt x="39223" y="38584"/>
                  <a:pt x="42421" y="37518"/>
                </a:cubicBezTo>
                <a:lnTo>
                  <a:pt x="50836" y="34713"/>
                </a:lnTo>
                <a:lnTo>
                  <a:pt x="62055" y="17883"/>
                </a:lnTo>
                <a:cubicBezTo>
                  <a:pt x="67539" y="9657"/>
                  <a:pt x="66016" y="8212"/>
                  <a:pt x="76080" y="6664"/>
                </a:cubicBezTo>
                <a:cubicBezTo>
                  <a:pt x="85367" y="5235"/>
                  <a:pt x="94779" y="4794"/>
                  <a:pt x="104129" y="3859"/>
                </a:cubicBezTo>
                <a:cubicBezTo>
                  <a:pt x="113302" y="4514"/>
                  <a:pt x="141072" y="0"/>
                  <a:pt x="151812" y="12273"/>
                </a:cubicBezTo>
                <a:cubicBezTo>
                  <a:pt x="156252" y="17347"/>
                  <a:pt x="160900" y="22707"/>
                  <a:pt x="163032" y="29103"/>
                </a:cubicBezTo>
                <a:lnTo>
                  <a:pt x="168642" y="45932"/>
                </a:lnTo>
                <a:cubicBezTo>
                  <a:pt x="160291" y="70986"/>
                  <a:pt x="171542" y="45912"/>
                  <a:pt x="118153" y="57152"/>
                </a:cubicBezTo>
                <a:cubicBezTo>
                  <a:pt x="114854" y="57847"/>
                  <a:pt x="114413" y="62762"/>
                  <a:pt x="112543" y="65567"/>
                </a:cubicBezTo>
                <a:cubicBezTo>
                  <a:pt x="108412" y="82095"/>
                  <a:pt x="106236" y="85565"/>
                  <a:pt x="112543" y="107640"/>
                </a:cubicBezTo>
                <a:cubicBezTo>
                  <a:pt x="113633" y="111454"/>
                  <a:pt x="117911" y="113515"/>
                  <a:pt x="120958" y="116055"/>
                </a:cubicBezTo>
                <a:cubicBezTo>
                  <a:pt x="123548" y="118213"/>
                  <a:pt x="126783" y="119507"/>
                  <a:pt x="129373" y="121665"/>
                </a:cubicBezTo>
                <a:cubicBezTo>
                  <a:pt x="132420" y="124205"/>
                  <a:pt x="134657" y="127645"/>
                  <a:pt x="137788" y="130080"/>
                </a:cubicBezTo>
                <a:cubicBezTo>
                  <a:pt x="143110" y="134219"/>
                  <a:pt x="154617" y="141299"/>
                  <a:pt x="154617" y="141299"/>
                </a:cubicBezTo>
                <a:cubicBezTo>
                  <a:pt x="156487" y="144104"/>
                  <a:pt x="158858" y="146633"/>
                  <a:pt x="160227" y="149714"/>
                </a:cubicBezTo>
                <a:cubicBezTo>
                  <a:pt x="162629" y="155117"/>
                  <a:pt x="160227" y="164673"/>
                  <a:pt x="165837" y="166543"/>
                </a:cubicBezTo>
                <a:lnTo>
                  <a:pt x="174251" y="169348"/>
                </a:lnTo>
                <a:cubicBezTo>
                  <a:pt x="177056" y="168413"/>
                  <a:pt x="179823" y="167355"/>
                  <a:pt x="182666" y="166543"/>
                </a:cubicBezTo>
                <a:cubicBezTo>
                  <a:pt x="186373" y="165484"/>
                  <a:pt x="190343" y="165256"/>
                  <a:pt x="193886" y="163738"/>
                </a:cubicBezTo>
                <a:cubicBezTo>
                  <a:pt x="196985" y="162410"/>
                  <a:pt x="199496" y="159999"/>
                  <a:pt x="202301" y="158129"/>
                </a:cubicBezTo>
                <a:cubicBezTo>
                  <a:pt x="215160" y="177418"/>
                  <a:pt x="211388" y="168562"/>
                  <a:pt x="216325" y="183373"/>
                </a:cubicBezTo>
                <a:cubicBezTo>
                  <a:pt x="213520" y="185243"/>
                  <a:pt x="210991" y="187614"/>
                  <a:pt x="207910" y="188983"/>
                </a:cubicBezTo>
                <a:cubicBezTo>
                  <a:pt x="202507" y="191384"/>
                  <a:pt x="191081" y="194592"/>
                  <a:pt x="191081" y="194592"/>
                </a:cubicBezTo>
                <a:cubicBezTo>
                  <a:pt x="192016" y="202072"/>
                  <a:pt x="191351" y="209933"/>
                  <a:pt x="193886" y="217032"/>
                </a:cubicBezTo>
                <a:cubicBezTo>
                  <a:pt x="193886" y="217033"/>
                  <a:pt x="207910" y="238068"/>
                  <a:pt x="210715" y="242276"/>
                </a:cubicBezTo>
                <a:cubicBezTo>
                  <a:pt x="212585" y="245081"/>
                  <a:pt x="215259" y="247493"/>
                  <a:pt x="216325" y="250691"/>
                </a:cubicBezTo>
                <a:lnTo>
                  <a:pt x="221935" y="267520"/>
                </a:lnTo>
                <a:lnTo>
                  <a:pt x="224740" y="275935"/>
                </a:lnTo>
                <a:cubicBezTo>
                  <a:pt x="223805" y="290894"/>
                  <a:pt x="224273" y="306008"/>
                  <a:pt x="221935" y="320813"/>
                </a:cubicBezTo>
                <a:cubicBezTo>
                  <a:pt x="221409" y="324143"/>
                  <a:pt x="219184" y="327441"/>
                  <a:pt x="216325" y="329228"/>
                </a:cubicBezTo>
                <a:cubicBezTo>
                  <a:pt x="211311" y="332362"/>
                  <a:pt x="199496" y="334838"/>
                  <a:pt x="199496" y="334838"/>
                </a:cubicBezTo>
                <a:cubicBezTo>
                  <a:pt x="188276" y="333903"/>
                  <a:pt x="177009" y="333429"/>
                  <a:pt x="165837" y="332033"/>
                </a:cubicBezTo>
                <a:cubicBezTo>
                  <a:pt x="158043" y="331059"/>
                  <a:pt x="153447" y="328493"/>
                  <a:pt x="146202" y="326423"/>
                </a:cubicBezTo>
                <a:cubicBezTo>
                  <a:pt x="139087" y="324390"/>
                  <a:pt x="133292" y="323695"/>
                  <a:pt x="126568" y="320813"/>
                </a:cubicBezTo>
                <a:cubicBezTo>
                  <a:pt x="116604" y="316543"/>
                  <a:pt x="115384" y="315227"/>
                  <a:pt x="106934" y="309594"/>
                </a:cubicBezTo>
                <a:lnTo>
                  <a:pt x="90104" y="284349"/>
                </a:lnTo>
                <a:lnTo>
                  <a:pt x="84494" y="275935"/>
                </a:lnTo>
                <a:cubicBezTo>
                  <a:pt x="86062" y="269663"/>
                  <a:pt x="90177" y="251984"/>
                  <a:pt x="92909" y="247886"/>
                </a:cubicBezTo>
                <a:lnTo>
                  <a:pt x="98519" y="239471"/>
                </a:lnTo>
                <a:cubicBezTo>
                  <a:pt x="97584" y="228251"/>
                  <a:pt x="97110" y="216984"/>
                  <a:pt x="95714" y="205812"/>
                </a:cubicBezTo>
                <a:cubicBezTo>
                  <a:pt x="95236" y="201987"/>
                  <a:pt x="94822" y="197939"/>
                  <a:pt x="92909" y="194592"/>
                </a:cubicBezTo>
                <a:cubicBezTo>
                  <a:pt x="89588" y="188780"/>
                  <a:pt x="81440" y="184142"/>
                  <a:pt x="76080" y="180568"/>
                </a:cubicBezTo>
                <a:cubicBezTo>
                  <a:pt x="74210" y="177763"/>
                  <a:pt x="72854" y="174537"/>
                  <a:pt x="70470" y="172153"/>
                </a:cubicBezTo>
                <a:cubicBezTo>
                  <a:pt x="68086" y="169769"/>
                  <a:pt x="62055" y="166543"/>
                  <a:pt x="62055" y="166543"/>
                </a:cubicBezTo>
              </a:path>
            </a:pathLst>
          </a:custGeom>
          <a:solidFill>
            <a:srgbClr val="3399FF"/>
          </a:solidFill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571473" y="285728"/>
            <a:ext cx="3500462" cy="571504"/>
          </a:xfrm>
          <a:prstGeom prst="rect">
            <a:avLst/>
          </a:prstGeom>
        </p:spPr>
        <p:txBody>
          <a:bodyPr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IN" sz="28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యూరప్</a:t>
            </a:r>
            <a:r>
              <a:rPr lang="en-IN" sz="28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IN" spc="50" dirty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(</a:t>
            </a:r>
            <a:r>
              <a:rPr lang="en-IN" spc="50" dirty="0" err="1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రాజకీయ</a:t>
            </a:r>
            <a:r>
              <a:rPr lang="en-IN" spc="50" dirty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IN" spc="50" dirty="0" err="1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పటము</a:t>
            </a:r>
            <a:r>
              <a:rPr lang="en-IN" spc="50" dirty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)</a:t>
            </a:r>
          </a:p>
        </p:txBody>
      </p:sp>
      <p:sp>
        <p:nvSpPr>
          <p:cNvPr id="93" name="Freeform 92"/>
          <p:cNvSpPr/>
          <p:nvPr/>
        </p:nvSpPr>
        <p:spPr>
          <a:xfrm>
            <a:off x="1571625" y="4974167"/>
            <a:ext cx="546100" cy="876300"/>
          </a:xfrm>
          <a:custGeom>
            <a:avLst/>
            <a:gdLst>
              <a:gd name="connsiteX0" fmla="*/ 233012 w 547227"/>
              <a:gd name="connsiteY0" fmla="*/ 28517 h 875372"/>
              <a:gd name="connsiteX1" fmla="*/ 335397 w 547227"/>
              <a:gd name="connsiteY1" fmla="*/ 46170 h 875372"/>
              <a:gd name="connsiteX2" fmla="*/ 338928 w 547227"/>
              <a:gd name="connsiteY2" fmla="*/ 56761 h 875372"/>
              <a:gd name="connsiteX3" fmla="*/ 374233 w 547227"/>
              <a:gd name="connsiteY3" fmla="*/ 70883 h 875372"/>
              <a:gd name="connsiteX4" fmla="*/ 384824 w 547227"/>
              <a:gd name="connsiteY4" fmla="*/ 74414 h 875372"/>
              <a:gd name="connsiteX5" fmla="*/ 395416 w 547227"/>
              <a:gd name="connsiteY5" fmla="*/ 77944 h 875372"/>
              <a:gd name="connsiteX6" fmla="*/ 409538 w 547227"/>
              <a:gd name="connsiteY6" fmla="*/ 99127 h 875372"/>
              <a:gd name="connsiteX7" fmla="*/ 413068 w 547227"/>
              <a:gd name="connsiteY7" fmla="*/ 109719 h 875372"/>
              <a:gd name="connsiteX8" fmla="*/ 423660 w 547227"/>
              <a:gd name="connsiteY8" fmla="*/ 113249 h 875372"/>
              <a:gd name="connsiteX9" fmla="*/ 473087 w 547227"/>
              <a:gd name="connsiteY9" fmla="*/ 116780 h 875372"/>
              <a:gd name="connsiteX10" fmla="*/ 494270 w 547227"/>
              <a:gd name="connsiteY10" fmla="*/ 127371 h 875372"/>
              <a:gd name="connsiteX11" fmla="*/ 501331 w 547227"/>
              <a:gd name="connsiteY11" fmla="*/ 137963 h 875372"/>
              <a:gd name="connsiteX12" fmla="*/ 511922 w 547227"/>
              <a:gd name="connsiteY12" fmla="*/ 173268 h 875372"/>
              <a:gd name="connsiteX13" fmla="*/ 533105 w 547227"/>
              <a:gd name="connsiteY13" fmla="*/ 180329 h 875372"/>
              <a:gd name="connsiteX14" fmla="*/ 543697 w 547227"/>
              <a:gd name="connsiteY14" fmla="*/ 212103 h 875372"/>
              <a:gd name="connsiteX15" fmla="*/ 547227 w 547227"/>
              <a:gd name="connsiteY15" fmla="*/ 222695 h 875372"/>
              <a:gd name="connsiteX16" fmla="*/ 540166 w 547227"/>
              <a:gd name="connsiteY16" fmla="*/ 233286 h 875372"/>
              <a:gd name="connsiteX17" fmla="*/ 504861 w 547227"/>
              <a:gd name="connsiteY17" fmla="*/ 240347 h 875372"/>
              <a:gd name="connsiteX18" fmla="*/ 494270 w 547227"/>
              <a:gd name="connsiteY18" fmla="*/ 247408 h 875372"/>
              <a:gd name="connsiteX19" fmla="*/ 462495 w 547227"/>
              <a:gd name="connsiteY19" fmla="*/ 250939 h 875372"/>
              <a:gd name="connsiteX20" fmla="*/ 458965 w 547227"/>
              <a:gd name="connsiteY20" fmla="*/ 261530 h 875372"/>
              <a:gd name="connsiteX21" fmla="*/ 437782 w 547227"/>
              <a:gd name="connsiteY21" fmla="*/ 275652 h 875372"/>
              <a:gd name="connsiteX22" fmla="*/ 434251 w 547227"/>
              <a:gd name="connsiteY22" fmla="*/ 296835 h 875372"/>
              <a:gd name="connsiteX23" fmla="*/ 427190 w 547227"/>
              <a:gd name="connsiteY23" fmla="*/ 307427 h 875372"/>
              <a:gd name="connsiteX24" fmla="*/ 423660 w 547227"/>
              <a:gd name="connsiteY24" fmla="*/ 318018 h 875372"/>
              <a:gd name="connsiteX25" fmla="*/ 416599 w 547227"/>
              <a:gd name="connsiteY25" fmla="*/ 370976 h 875372"/>
              <a:gd name="connsiteX26" fmla="*/ 409538 w 547227"/>
              <a:gd name="connsiteY26" fmla="*/ 381567 h 875372"/>
              <a:gd name="connsiteX27" fmla="*/ 398946 w 547227"/>
              <a:gd name="connsiteY27" fmla="*/ 385098 h 875372"/>
              <a:gd name="connsiteX28" fmla="*/ 395416 w 547227"/>
              <a:gd name="connsiteY28" fmla="*/ 395689 h 875372"/>
              <a:gd name="connsiteX29" fmla="*/ 391885 w 547227"/>
              <a:gd name="connsiteY29" fmla="*/ 455708 h 875372"/>
              <a:gd name="connsiteX30" fmla="*/ 370702 w 547227"/>
              <a:gd name="connsiteY30" fmla="*/ 462769 h 875372"/>
              <a:gd name="connsiteX31" fmla="*/ 360111 w 547227"/>
              <a:gd name="connsiteY31" fmla="*/ 469830 h 875372"/>
              <a:gd name="connsiteX32" fmla="*/ 356580 w 547227"/>
              <a:gd name="connsiteY32" fmla="*/ 480421 h 875372"/>
              <a:gd name="connsiteX33" fmla="*/ 317745 w 547227"/>
              <a:gd name="connsiteY33" fmla="*/ 498074 h 875372"/>
              <a:gd name="connsiteX34" fmla="*/ 307153 w 547227"/>
              <a:gd name="connsiteY34" fmla="*/ 501604 h 875372"/>
              <a:gd name="connsiteX35" fmla="*/ 293031 w 547227"/>
              <a:gd name="connsiteY35" fmla="*/ 533379 h 875372"/>
              <a:gd name="connsiteX36" fmla="*/ 296562 w 547227"/>
              <a:gd name="connsiteY36" fmla="*/ 565154 h 875372"/>
              <a:gd name="connsiteX37" fmla="*/ 307153 w 547227"/>
              <a:gd name="connsiteY37" fmla="*/ 572215 h 875372"/>
              <a:gd name="connsiteX38" fmla="*/ 307153 w 547227"/>
              <a:gd name="connsiteY38" fmla="*/ 656947 h 875372"/>
              <a:gd name="connsiteX39" fmla="*/ 300092 w 547227"/>
              <a:gd name="connsiteY39" fmla="*/ 667538 h 875372"/>
              <a:gd name="connsiteX40" fmla="*/ 289501 w 547227"/>
              <a:gd name="connsiteY40" fmla="*/ 671069 h 875372"/>
              <a:gd name="connsiteX41" fmla="*/ 275379 w 547227"/>
              <a:gd name="connsiteY41" fmla="*/ 692252 h 875372"/>
              <a:gd name="connsiteX42" fmla="*/ 261257 w 547227"/>
              <a:gd name="connsiteY42" fmla="*/ 716965 h 875372"/>
              <a:gd name="connsiteX43" fmla="*/ 254195 w 547227"/>
              <a:gd name="connsiteY43" fmla="*/ 724026 h 875372"/>
              <a:gd name="connsiteX44" fmla="*/ 254195 w 547227"/>
              <a:gd name="connsiteY44" fmla="*/ 755801 h 875372"/>
              <a:gd name="connsiteX45" fmla="*/ 257726 w 547227"/>
              <a:gd name="connsiteY45" fmla="*/ 766392 h 875372"/>
              <a:gd name="connsiteX46" fmla="*/ 268318 w 547227"/>
              <a:gd name="connsiteY46" fmla="*/ 776984 h 875372"/>
              <a:gd name="connsiteX47" fmla="*/ 275379 w 547227"/>
              <a:gd name="connsiteY47" fmla="*/ 787575 h 875372"/>
              <a:gd name="connsiteX48" fmla="*/ 271848 w 547227"/>
              <a:gd name="connsiteY48" fmla="*/ 801697 h 875372"/>
              <a:gd name="connsiteX49" fmla="*/ 261257 w 547227"/>
              <a:gd name="connsiteY49" fmla="*/ 808758 h 875372"/>
              <a:gd name="connsiteX50" fmla="*/ 254195 w 547227"/>
              <a:gd name="connsiteY50" fmla="*/ 815819 h 875372"/>
              <a:gd name="connsiteX51" fmla="*/ 243604 w 547227"/>
              <a:gd name="connsiteY51" fmla="*/ 819350 h 875372"/>
              <a:gd name="connsiteX52" fmla="*/ 233012 w 547227"/>
              <a:gd name="connsiteY52" fmla="*/ 826411 h 875372"/>
              <a:gd name="connsiteX53" fmla="*/ 218890 w 547227"/>
              <a:gd name="connsiteY53" fmla="*/ 847594 h 875372"/>
              <a:gd name="connsiteX54" fmla="*/ 201238 w 547227"/>
              <a:gd name="connsiteY54" fmla="*/ 861716 h 875372"/>
              <a:gd name="connsiteX55" fmla="*/ 162402 w 547227"/>
              <a:gd name="connsiteY55" fmla="*/ 865246 h 875372"/>
              <a:gd name="connsiteX56" fmla="*/ 88262 w 547227"/>
              <a:gd name="connsiteY56" fmla="*/ 865246 h 875372"/>
              <a:gd name="connsiteX57" fmla="*/ 84731 w 547227"/>
              <a:gd name="connsiteY57" fmla="*/ 854655 h 875372"/>
              <a:gd name="connsiteX58" fmla="*/ 77670 w 547227"/>
              <a:gd name="connsiteY58" fmla="*/ 844063 h 875372"/>
              <a:gd name="connsiteX59" fmla="*/ 52957 w 547227"/>
              <a:gd name="connsiteY59" fmla="*/ 840533 h 875372"/>
              <a:gd name="connsiteX60" fmla="*/ 28243 w 547227"/>
              <a:gd name="connsiteY60" fmla="*/ 822880 h 875372"/>
              <a:gd name="connsiteX61" fmla="*/ 17652 w 547227"/>
              <a:gd name="connsiteY61" fmla="*/ 819350 h 875372"/>
              <a:gd name="connsiteX62" fmla="*/ 7060 w 547227"/>
              <a:gd name="connsiteY62" fmla="*/ 815819 h 875372"/>
              <a:gd name="connsiteX63" fmla="*/ 7060 w 547227"/>
              <a:gd name="connsiteY63" fmla="*/ 794636 h 875372"/>
              <a:gd name="connsiteX64" fmla="*/ 28243 w 547227"/>
              <a:gd name="connsiteY64" fmla="*/ 780514 h 875372"/>
              <a:gd name="connsiteX65" fmla="*/ 28243 w 547227"/>
              <a:gd name="connsiteY65" fmla="*/ 759331 h 875372"/>
              <a:gd name="connsiteX66" fmla="*/ 31774 w 547227"/>
              <a:gd name="connsiteY66" fmla="*/ 741679 h 875372"/>
              <a:gd name="connsiteX67" fmla="*/ 38835 w 547227"/>
              <a:gd name="connsiteY67" fmla="*/ 720496 h 875372"/>
              <a:gd name="connsiteX68" fmla="*/ 45896 w 547227"/>
              <a:gd name="connsiteY68" fmla="*/ 649886 h 875372"/>
              <a:gd name="connsiteX69" fmla="*/ 49426 w 547227"/>
              <a:gd name="connsiteY69" fmla="*/ 625172 h 875372"/>
              <a:gd name="connsiteX70" fmla="*/ 45896 w 547227"/>
              <a:gd name="connsiteY70" fmla="*/ 600459 h 875372"/>
              <a:gd name="connsiteX71" fmla="*/ 35304 w 547227"/>
              <a:gd name="connsiteY71" fmla="*/ 596928 h 875372"/>
              <a:gd name="connsiteX72" fmla="*/ 21182 w 547227"/>
              <a:gd name="connsiteY72" fmla="*/ 593398 h 875372"/>
              <a:gd name="connsiteX73" fmla="*/ 17652 w 547227"/>
              <a:gd name="connsiteY73" fmla="*/ 536910 h 875372"/>
              <a:gd name="connsiteX74" fmla="*/ 7060 w 547227"/>
              <a:gd name="connsiteY74" fmla="*/ 505135 h 875372"/>
              <a:gd name="connsiteX75" fmla="*/ 3530 w 547227"/>
              <a:gd name="connsiteY75" fmla="*/ 494543 h 875372"/>
              <a:gd name="connsiteX76" fmla="*/ 7060 w 547227"/>
              <a:gd name="connsiteY76" fmla="*/ 483952 h 875372"/>
              <a:gd name="connsiteX77" fmla="*/ 24713 w 547227"/>
              <a:gd name="connsiteY77" fmla="*/ 462769 h 875372"/>
              <a:gd name="connsiteX78" fmla="*/ 56487 w 547227"/>
              <a:gd name="connsiteY78" fmla="*/ 438055 h 875372"/>
              <a:gd name="connsiteX79" fmla="*/ 70609 w 547227"/>
              <a:gd name="connsiteY79" fmla="*/ 416872 h 875372"/>
              <a:gd name="connsiteX80" fmla="*/ 77670 w 547227"/>
              <a:gd name="connsiteY80" fmla="*/ 406281 h 875372"/>
              <a:gd name="connsiteX81" fmla="*/ 88262 w 547227"/>
              <a:gd name="connsiteY81" fmla="*/ 395689 h 875372"/>
              <a:gd name="connsiteX82" fmla="*/ 95323 w 547227"/>
              <a:gd name="connsiteY82" fmla="*/ 370976 h 875372"/>
              <a:gd name="connsiteX83" fmla="*/ 98853 w 547227"/>
              <a:gd name="connsiteY83" fmla="*/ 360384 h 875372"/>
              <a:gd name="connsiteX84" fmla="*/ 120036 w 547227"/>
              <a:gd name="connsiteY84" fmla="*/ 353323 h 875372"/>
              <a:gd name="connsiteX85" fmla="*/ 130628 w 547227"/>
              <a:gd name="connsiteY85" fmla="*/ 349793 h 875372"/>
              <a:gd name="connsiteX86" fmla="*/ 141219 w 547227"/>
              <a:gd name="connsiteY86" fmla="*/ 342732 h 875372"/>
              <a:gd name="connsiteX87" fmla="*/ 148280 w 547227"/>
              <a:gd name="connsiteY87" fmla="*/ 318018 h 875372"/>
              <a:gd name="connsiteX88" fmla="*/ 155341 w 547227"/>
              <a:gd name="connsiteY88" fmla="*/ 296835 h 875372"/>
              <a:gd name="connsiteX89" fmla="*/ 169463 w 547227"/>
              <a:gd name="connsiteY89" fmla="*/ 275652 h 875372"/>
              <a:gd name="connsiteX90" fmla="*/ 176524 w 547227"/>
              <a:gd name="connsiteY90" fmla="*/ 254469 h 875372"/>
              <a:gd name="connsiteX91" fmla="*/ 187116 w 547227"/>
              <a:gd name="connsiteY91" fmla="*/ 240347 h 875372"/>
              <a:gd name="connsiteX92" fmla="*/ 208299 w 547227"/>
              <a:gd name="connsiteY92" fmla="*/ 226225 h 875372"/>
              <a:gd name="connsiteX93" fmla="*/ 218890 w 547227"/>
              <a:gd name="connsiteY93" fmla="*/ 159146 h 875372"/>
              <a:gd name="connsiteX94" fmla="*/ 229482 w 547227"/>
              <a:gd name="connsiteY94" fmla="*/ 127371 h 875372"/>
              <a:gd name="connsiteX95" fmla="*/ 233012 w 547227"/>
              <a:gd name="connsiteY95" fmla="*/ 116780 h 875372"/>
              <a:gd name="connsiteX96" fmla="*/ 236543 w 547227"/>
              <a:gd name="connsiteY96" fmla="*/ 49700 h 875372"/>
              <a:gd name="connsiteX97" fmla="*/ 233012 w 547227"/>
              <a:gd name="connsiteY97" fmla="*/ 28517 h 875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</a:cxnLst>
            <a:rect l="l" t="t" r="r" b="b"/>
            <a:pathLst>
              <a:path w="547227" h="875372">
                <a:moveTo>
                  <a:pt x="233012" y="28517"/>
                </a:moveTo>
                <a:cubicBezTo>
                  <a:pt x="249488" y="27929"/>
                  <a:pt x="322205" y="0"/>
                  <a:pt x="335397" y="46170"/>
                </a:cubicBezTo>
                <a:cubicBezTo>
                  <a:pt x="336419" y="49748"/>
                  <a:pt x="336297" y="54130"/>
                  <a:pt x="338928" y="56761"/>
                </a:cubicBezTo>
                <a:cubicBezTo>
                  <a:pt x="344123" y="61956"/>
                  <a:pt x="370096" y="69504"/>
                  <a:pt x="374233" y="70883"/>
                </a:cubicBezTo>
                <a:lnTo>
                  <a:pt x="384824" y="74414"/>
                </a:lnTo>
                <a:lnTo>
                  <a:pt x="395416" y="77944"/>
                </a:lnTo>
                <a:cubicBezTo>
                  <a:pt x="400123" y="85005"/>
                  <a:pt x="406855" y="91076"/>
                  <a:pt x="409538" y="99127"/>
                </a:cubicBezTo>
                <a:cubicBezTo>
                  <a:pt x="410715" y="102658"/>
                  <a:pt x="410436" y="107087"/>
                  <a:pt x="413068" y="109719"/>
                </a:cubicBezTo>
                <a:cubicBezTo>
                  <a:pt x="415700" y="112351"/>
                  <a:pt x="419964" y="112814"/>
                  <a:pt x="423660" y="113249"/>
                </a:cubicBezTo>
                <a:cubicBezTo>
                  <a:pt x="440065" y="115179"/>
                  <a:pt x="456611" y="115603"/>
                  <a:pt x="473087" y="116780"/>
                </a:cubicBezTo>
                <a:cubicBezTo>
                  <a:pt x="481701" y="119651"/>
                  <a:pt x="487426" y="120527"/>
                  <a:pt x="494270" y="127371"/>
                </a:cubicBezTo>
                <a:cubicBezTo>
                  <a:pt x="497270" y="130371"/>
                  <a:pt x="498977" y="134432"/>
                  <a:pt x="501331" y="137963"/>
                </a:cubicBezTo>
                <a:cubicBezTo>
                  <a:pt x="502318" y="144875"/>
                  <a:pt x="501848" y="166972"/>
                  <a:pt x="511922" y="173268"/>
                </a:cubicBezTo>
                <a:cubicBezTo>
                  <a:pt x="518234" y="177213"/>
                  <a:pt x="533105" y="180329"/>
                  <a:pt x="533105" y="180329"/>
                </a:cubicBezTo>
                <a:lnTo>
                  <a:pt x="543697" y="212103"/>
                </a:lnTo>
                <a:lnTo>
                  <a:pt x="547227" y="222695"/>
                </a:lnTo>
                <a:cubicBezTo>
                  <a:pt x="544873" y="226225"/>
                  <a:pt x="543696" y="230932"/>
                  <a:pt x="540166" y="233286"/>
                </a:cubicBezTo>
                <a:cubicBezTo>
                  <a:pt x="536653" y="235628"/>
                  <a:pt x="504935" y="240335"/>
                  <a:pt x="504861" y="240347"/>
                </a:cubicBezTo>
                <a:cubicBezTo>
                  <a:pt x="501331" y="242701"/>
                  <a:pt x="498386" y="246379"/>
                  <a:pt x="494270" y="247408"/>
                </a:cubicBezTo>
                <a:cubicBezTo>
                  <a:pt x="483931" y="249993"/>
                  <a:pt x="472390" y="246981"/>
                  <a:pt x="462495" y="250939"/>
                </a:cubicBezTo>
                <a:cubicBezTo>
                  <a:pt x="459040" y="252321"/>
                  <a:pt x="461029" y="258434"/>
                  <a:pt x="458965" y="261530"/>
                </a:cubicBezTo>
                <a:cubicBezTo>
                  <a:pt x="451409" y="272865"/>
                  <a:pt x="448886" y="271951"/>
                  <a:pt x="437782" y="275652"/>
                </a:cubicBezTo>
                <a:cubicBezTo>
                  <a:pt x="436605" y="282713"/>
                  <a:pt x="436515" y="290044"/>
                  <a:pt x="434251" y="296835"/>
                </a:cubicBezTo>
                <a:cubicBezTo>
                  <a:pt x="432909" y="300861"/>
                  <a:pt x="429088" y="303632"/>
                  <a:pt x="427190" y="307427"/>
                </a:cubicBezTo>
                <a:cubicBezTo>
                  <a:pt x="425526" y="310755"/>
                  <a:pt x="424837" y="314488"/>
                  <a:pt x="423660" y="318018"/>
                </a:cubicBezTo>
                <a:cubicBezTo>
                  <a:pt x="423134" y="323805"/>
                  <a:pt x="421996" y="358384"/>
                  <a:pt x="416599" y="370976"/>
                </a:cubicBezTo>
                <a:cubicBezTo>
                  <a:pt x="414928" y="374876"/>
                  <a:pt x="412851" y="378916"/>
                  <a:pt x="409538" y="381567"/>
                </a:cubicBezTo>
                <a:cubicBezTo>
                  <a:pt x="406632" y="383892"/>
                  <a:pt x="402477" y="383921"/>
                  <a:pt x="398946" y="385098"/>
                </a:cubicBezTo>
                <a:cubicBezTo>
                  <a:pt x="397769" y="388628"/>
                  <a:pt x="395786" y="391986"/>
                  <a:pt x="395416" y="395689"/>
                </a:cubicBezTo>
                <a:cubicBezTo>
                  <a:pt x="393422" y="415630"/>
                  <a:pt x="398813" y="436903"/>
                  <a:pt x="391885" y="455708"/>
                </a:cubicBezTo>
                <a:cubicBezTo>
                  <a:pt x="389312" y="462692"/>
                  <a:pt x="376895" y="458640"/>
                  <a:pt x="370702" y="462769"/>
                </a:cubicBezTo>
                <a:lnTo>
                  <a:pt x="360111" y="469830"/>
                </a:lnTo>
                <a:cubicBezTo>
                  <a:pt x="358934" y="473360"/>
                  <a:pt x="359211" y="477790"/>
                  <a:pt x="356580" y="480421"/>
                </a:cubicBezTo>
                <a:cubicBezTo>
                  <a:pt x="339590" y="497411"/>
                  <a:pt x="337223" y="493204"/>
                  <a:pt x="317745" y="498074"/>
                </a:cubicBezTo>
                <a:cubicBezTo>
                  <a:pt x="314135" y="498977"/>
                  <a:pt x="310684" y="500427"/>
                  <a:pt x="307153" y="501604"/>
                </a:cubicBezTo>
                <a:cubicBezTo>
                  <a:pt x="298750" y="526813"/>
                  <a:pt x="304221" y="516595"/>
                  <a:pt x="293031" y="533379"/>
                </a:cubicBezTo>
                <a:cubicBezTo>
                  <a:pt x="285418" y="556217"/>
                  <a:pt x="280018" y="551367"/>
                  <a:pt x="296562" y="565154"/>
                </a:cubicBezTo>
                <a:cubicBezTo>
                  <a:pt x="299822" y="567870"/>
                  <a:pt x="303623" y="569861"/>
                  <a:pt x="307153" y="572215"/>
                </a:cubicBezTo>
                <a:cubicBezTo>
                  <a:pt x="315579" y="605915"/>
                  <a:pt x="314915" y="597443"/>
                  <a:pt x="307153" y="656947"/>
                </a:cubicBezTo>
                <a:cubicBezTo>
                  <a:pt x="306604" y="661154"/>
                  <a:pt x="303405" y="664887"/>
                  <a:pt x="300092" y="667538"/>
                </a:cubicBezTo>
                <a:cubicBezTo>
                  <a:pt x="297186" y="669863"/>
                  <a:pt x="293031" y="669892"/>
                  <a:pt x="289501" y="671069"/>
                </a:cubicBezTo>
                <a:cubicBezTo>
                  <a:pt x="283296" y="689681"/>
                  <a:pt x="290070" y="674622"/>
                  <a:pt x="275379" y="692252"/>
                </a:cubicBezTo>
                <a:cubicBezTo>
                  <a:pt x="263335" y="706706"/>
                  <a:pt x="272775" y="699689"/>
                  <a:pt x="261257" y="716965"/>
                </a:cubicBezTo>
                <a:cubicBezTo>
                  <a:pt x="259410" y="719735"/>
                  <a:pt x="256549" y="721672"/>
                  <a:pt x="254195" y="724026"/>
                </a:cubicBezTo>
                <a:cubicBezTo>
                  <a:pt x="248833" y="740116"/>
                  <a:pt x="249224" y="733434"/>
                  <a:pt x="254195" y="755801"/>
                </a:cubicBezTo>
                <a:cubicBezTo>
                  <a:pt x="255002" y="759434"/>
                  <a:pt x="255662" y="763296"/>
                  <a:pt x="257726" y="766392"/>
                </a:cubicBezTo>
                <a:cubicBezTo>
                  <a:pt x="260496" y="770546"/>
                  <a:pt x="265121" y="773148"/>
                  <a:pt x="268318" y="776984"/>
                </a:cubicBezTo>
                <a:cubicBezTo>
                  <a:pt x="271034" y="780244"/>
                  <a:pt x="273025" y="784045"/>
                  <a:pt x="275379" y="787575"/>
                </a:cubicBezTo>
                <a:cubicBezTo>
                  <a:pt x="274202" y="792282"/>
                  <a:pt x="274540" y="797660"/>
                  <a:pt x="271848" y="801697"/>
                </a:cubicBezTo>
                <a:cubicBezTo>
                  <a:pt x="269494" y="805227"/>
                  <a:pt x="264570" y="806107"/>
                  <a:pt x="261257" y="808758"/>
                </a:cubicBezTo>
                <a:cubicBezTo>
                  <a:pt x="258658" y="810837"/>
                  <a:pt x="257049" y="814106"/>
                  <a:pt x="254195" y="815819"/>
                </a:cubicBezTo>
                <a:cubicBezTo>
                  <a:pt x="251004" y="817734"/>
                  <a:pt x="246932" y="817686"/>
                  <a:pt x="243604" y="819350"/>
                </a:cubicBezTo>
                <a:cubicBezTo>
                  <a:pt x="239809" y="821248"/>
                  <a:pt x="236543" y="824057"/>
                  <a:pt x="233012" y="826411"/>
                </a:cubicBezTo>
                <a:lnTo>
                  <a:pt x="218890" y="847594"/>
                </a:lnTo>
                <a:cubicBezTo>
                  <a:pt x="212105" y="857772"/>
                  <a:pt x="213802" y="859921"/>
                  <a:pt x="201238" y="861716"/>
                </a:cubicBezTo>
                <a:cubicBezTo>
                  <a:pt x="188370" y="863554"/>
                  <a:pt x="175347" y="864069"/>
                  <a:pt x="162402" y="865246"/>
                </a:cubicBezTo>
                <a:cubicBezTo>
                  <a:pt x="135046" y="874366"/>
                  <a:pt x="136363" y="875372"/>
                  <a:pt x="88262" y="865246"/>
                </a:cubicBezTo>
                <a:cubicBezTo>
                  <a:pt x="84620" y="864479"/>
                  <a:pt x="86395" y="857983"/>
                  <a:pt x="84731" y="854655"/>
                </a:cubicBezTo>
                <a:cubicBezTo>
                  <a:pt x="82833" y="850860"/>
                  <a:pt x="81548" y="845786"/>
                  <a:pt x="77670" y="844063"/>
                </a:cubicBezTo>
                <a:cubicBezTo>
                  <a:pt x="70066" y="840683"/>
                  <a:pt x="61195" y="841710"/>
                  <a:pt x="52957" y="840533"/>
                </a:cubicBezTo>
                <a:cubicBezTo>
                  <a:pt x="47072" y="822880"/>
                  <a:pt x="52957" y="831118"/>
                  <a:pt x="28243" y="822880"/>
                </a:cubicBezTo>
                <a:lnTo>
                  <a:pt x="17652" y="819350"/>
                </a:lnTo>
                <a:lnTo>
                  <a:pt x="7060" y="815819"/>
                </a:lnTo>
                <a:cubicBezTo>
                  <a:pt x="4707" y="808759"/>
                  <a:pt x="0" y="801697"/>
                  <a:pt x="7060" y="794636"/>
                </a:cubicBezTo>
                <a:cubicBezTo>
                  <a:pt x="13061" y="788635"/>
                  <a:pt x="28243" y="780514"/>
                  <a:pt x="28243" y="780514"/>
                </a:cubicBezTo>
                <a:cubicBezTo>
                  <a:pt x="37659" y="752273"/>
                  <a:pt x="28243" y="787574"/>
                  <a:pt x="28243" y="759331"/>
                </a:cubicBezTo>
                <a:cubicBezTo>
                  <a:pt x="28243" y="753330"/>
                  <a:pt x="30195" y="747468"/>
                  <a:pt x="31774" y="741679"/>
                </a:cubicBezTo>
                <a:cubicBezTo>
                  <a:pt x="33732" y="734498"/>
                  <a:pt x="38835" y="720496"/>
                  <a:pt x="38835" y="720496"/>
                </a:cubicBezTo>
                <a:cubicBezTo>
                  <a:pt x="46795" y="664766"/>
                  <a:pt x="37559" y="733261"/>
                  <a:pt x="45896" y="649886"/>
                </a:cubicBezTo>
                <a:cubicBezTo>
                  <a:pt x="46724" y="641606"/>
                  <a:pt x="48249" y="633410"/>
                  <a:pt x="49426" y="625172"/>
                </a:cubicBezTo>
                <a:cubicBezTo>
                  <a:pt x="48249" y="616934"/>
                  <a:pt x="49617" y="607902"/>
                  <a:pt x="45896" y="600459"/>
                </a:cubicBezTo>
                <a:cubicBezTo>
                  <a:pt x="44232" y="597130"/>
                  <a:pt x="38882" y="597950"/>
                  <a:pt x="35304" y="596928"/>
                </a:cubicBezTo>
                <a:cubicBezTo>
                  <a:pt x="30639" y="595595"/>
                  <a:pt x="25889" y="594575"/>
                  <a:pt x="21182" y="593398"/>
                </a:cubicBezTo>
                <a:cubicBezTo>
                  <a:pt x="20005" y="574569"/>
                  <a:pt x="20201" y="555603"/>
                  <a:pt x="17652" y="536910"/>
                </a:cubicBezTo>
                <a:cubicBezTo>
                  <a:pt x="17651" y="536904"/>
                  <a:pt x="8826" y="510434"/>
                  <a:pt x="7060" y="505135"/>
                </a:cubicBezTo>
                <a:lnTo>
                  <a:pt x="3530" y="494543"/>
                </a:lnTo>
                <a:cubicBezTo>
                  <a:pt x="4707" y="491013"/>
                  <a:pt x="5396" y="487280"/>
                  <a:pt x="7060" y="483952"/>
                </a:cubicBezTo>
                <a:cubicBezTo>
                  <a:pt x="10770" y="476532"/>
                  <a:pt x="18323" y="467739"/>
                  <a:pt x="24713" y="462769"/>
                </a:cubicBezTo>
                <a:cubicBezTo>
                  <a:pt x="39733" y="451087"/>
                  <a:pt x="45966" y="451583"/>
                  <a:pt x="56487" y="438055"/>
                </a:cubicBezTo>
                <a:cubicBezTo>
                  <a:pt x="61697" y="431356"/>
                  <a:pt x="65902" y="423933"/>
                  <a:pt x="70609" y="416872"/>
                </a:cubicBezTo>
                <a:cubicBezTo>
                  <a:pt x="72963" y="413342"/>
                  <a:pt x="74670" y="409281"/>
                  <a:pt x="77670" y="406281"/>
                </a:cubicBezTo>
                <a:lnTo>
                  <a:pt x="88262" y="395689"/>
                </a:lnTo>
                <a:cubicBezTo>
                  <a:pt x="96724" y="370302"/>
                  <a:pt x="86459" y="401999"/>
                  <a:pt x="95323" y="370976"/>
                </a:cubicBezTo>
                <a:cubicBezTo>
                  <a:pt x="96345" y="367398"/>
                  <a:pt x="95825" y="362547"/>
                  <a:pt x="98853" y="360384"/>
                </a:cubicBezTo>
                <a:cubicBezTo>
                  <a:pt x="104909" y="356058"/>
                  <a:pt x="112975" y="355677"/>
                  <a:pt x="120036" y="353323"/>
                </a:cubicBezTo>
                <a:lnTo>
                  <a:pt x="130628" y="349793"/>
                </a:lnTo>
                <a:cubicBezTo>
                  <a:pt x="134158" y="347439"/>
                  <a:pt x="138568" y="346045"/>
                  <a:pt x="141219" y="342732"/>
                </a:cubicBezTo>
                <a:cubicBezTo>
                  <a:pt x="143119" y="340357"/>
                  <a:pt x="147974" y="319036"/>
                  <a:pt x="148280" y="318018"/>
                </a:cubicBezTo>
                <a:cubicBezTo>
                  <a:pt x="150419" y="310889"/>
                  <a:pt x="151212" y="303028"/>
                  <a:pt x="155341" y="296835"/>
                </a:cubicBezTo>
                <a:cubicBezTo>
                  <a:pt x="160048" y="289774"/>
                  <a:pt x="166779" y="283703"/>
                  <a:pt x="169463" y="275652"/>
                </a:cubicBezTo>
                <a:cubicBezTo>
                  <a:pt x="171817" y="268591"/>
                  <a:pt x="172058" y="260423"/>
                  <a:pt x="176524" y="254469"/>
                </a:cubicBezTo>
                <a:cubicBezTo>
                  <a:pt x="180055" y="249762"/>
                  <a:pt x="182718" y="244256"/>
                  <a:pt x="187116" y="240347"/>
                </a:cubicBezTo>
                <a:cubicBezTo>
                  <a:pt x="193459" y="234709"/>
                  <a:pt x="208299" y="226225"/>
                  <a:pt x="208299" y="226225"/>
                </a:cubicBezTo>
                <a:cubicBezTo>
                  <a:pt x="227093" y="198035"/>
                  <a:pt x="209457" y="228326"/>
                  <a:pt x="218890" y="159146"/>
                </a:cubicBezTo>
                <a:cubicBezTo>
                  <a:pt x="218891" y="159140"/>
                  <a:pt x="227716" y="132669"/>
                  <a:pt x="229482" y="127371"/>
                </a:cubicBezTo>
                <a:lnTo>
                  <a:pt x="233012" y="116780"/>
                </a:lnTo>
                <a:cubicBezTo>
                  <a:pt x="234189" y="94420"/>
                  <a:pt x="234889" y="72030"/>
                  <a:pt x="236543" y="49700"/>
                </a:cubicBezTo>
                <a:cubicBezTo>
                  <a:pt x="240219" y="75"/>
                  <a:pt x="216536" y="29105"/>
                  <a:pt x="233012" y="28517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5" name="Freeform 94"/>
          <p:cNvSpPr/>
          <p:nvPr/>
        </p:nvSpPr>
        <p:spPr>
          <a:xfrm>
            <a:off x="1792292" y="4734988"/>
            <a:ext cx="1493837" cy="1352549"/>
          </a:xfrm>
          <a:custGeom>
            <a:avLst/>
            <a:gdLst>
              <a:gd name="connsiteX0" fmla="*/ 26712 w 1495401"/>
              <a:gd name="connsiteY0" fmla="*/ 250666 h 1352182"/>
              <a:gd name="connsiteX1" fmla="*/ 33773 w 1495401"/>
              <a:gd name="connsiteY1" fmla="*/ 229483 h 1352182"/>
              <a:gd name="connsiteX2" fmla="*/ 37304 w 1495401"/>
              <a:gd name="connsiteY2" fmla="*/ 218891 h 1352182"/>
              <a:gd name="connsiteX3" fmla="*/ 47896 w 1495401"/>
              <a:gd name="connsiteY3" fmla="*/ 197708 h 1352182"/>
              <a:gd name="connsiteX4" fmla="*/ 44365 w 1495401"/>
              <a:gd name="connsiteY4" fmla="*/ 158873 h 1352182"/>
              <a:gd name="connsiteX5" fmla="*/ 37304 w 1495401"/>
              <a:gd name="connsiteY5" fmla="*/ 137690 h 1352182"/>
              <a:gd name="connsiteX6" fmla="*/ 30243 w 1495401"/>
              <a:gd name="connsiteY6" fmla="*/ 116507 h 1352182"/>
              <a:gd name="connsiteX7" fmla="*/ 23182 w 1495401"/>
              <a:gd name="connsiteY7" fmla="*/ 95324 h 1352182"/>
              <a:gd name="connsiteX8" fmla="*/ 19651 w 1495401"/>
              <a:gd name="connsiteY8" fmla="*/ 84732 h 1352182"/>
              <a:gd name="connsiteX9" fmla="*/ 12590 w 1495401"/>
              <a:gd name="connsiteY9" fmla="*/ 74141 h 1352182"/>
              <a:gd name="connsiteX10" fmla="*/ 16121 w 1495401"/>
              <a:gd name="connsiteY10" fmla="*/ 60019 h 1352182"/>
              <a:gd name="connsiteX11" fmla="*/ 37304 w 1495401"/>
              <a:gd name="connsiteY11" fmla="*/ 52958 h 1352182"/>
              <a:gd name="connsiteX12" fmla="*/ 107914 w 1495401"/>
              <a:gd name="connsiteY12" fmla="*/ 49427 h 1352182"/>
              <a:gd name="connsiteX13" fmla="*/ 160872 w 1495401"/>
              <a:gd name="connsiteY13" fmla="*/ 31775 h 1352182"/>
              <a:gd name="connsiteX14" fmla="*/ 171463 w 1495401"/>
              <a:gd name="connsiteY14" fmla="*/ 28244 h 1352182"/>
              <a:gd name="connsiteX15" fmla="*/ 182055 w 1495401"/>
              <a:gd name="connsiteY15" fmla="*/ 24714 h 1352182"/>
              <a:gd name="connsiteX16" fmla="*/ 203238 w 1495401"/>
              <a:gd name="connsiteY16" fmla="*/ 10592 h 1352182"/>
              <a:gd name="connsiteX17" fmla="*/ 213829 w 1495401"/>
              <a:gd name="connsiteY17" fmla="*/ 3531 h 1352182"/>
              <a:gd name="connsiteX18" fmla="*/ 227951 w 1495401"/>
              <a:gd name="connsiteY18" fmla="*/ 0 h 1352182"/>
              <a:gd name="connsiteX19" fmla="*/ 252665 w 1495401"/>
              <a:gd name="connsiteY19" fmla="*/ 3531 h 1352182"/>
              <a:gd name="connsiteX20" fmla="*/ 266787 w 1495401"/>
              <a:gd name="connsiteY20" fmla="*/ 24714 h 1352182"/>
              <a:gd name="connsiteX21" fmla="*/ 277378 w 1495401"/>
              <a:gd name="connsiteY21" fmla="*/ 31775 h 1352182"/>
              <a:gd name="connsiteX22" fmla="*/ 298561 w 1495401"/>
              <a:gd name="connsiteY22" fmla="*/ 49427 h 1352182"/>
              <a:gd name="connsiteX23" fmla="*/ 319744 w 1495401"/>
              <a:gd name="connsiteY23" fmla="*/ 56488 h 1352182"/>
              <a:gd name="connsiteX24" fmla="*/ 340927 w 1495401"/>
              <a:gd name="connsiteY24" fmla="*/ 63549 h 1352182"/>
              <a:gd name="connsiteX25" fmla="*/ 351519 w 1495401"/>
              <a:gd name="connsiteY25" fmla="*/ 67080 h 1352182"/>
              <a:gd name="connsiteX26" fmla="*/ 362110 w 1495401"/>
              <a:gd name="connsiteY26" fmla="*/ 74141 h 1352182"/>
              <a:gd name="connsiteX27" fmla="*/ 422129 w 1495401"/>
              <a:gd name="connsiteY27" fmla="*/ 77671 h 1352182"/>
              <a:gd name="connsiteX28" fmla="*/ 443312 w 1495401"/>
              <a:gd name="connsiteY28" fmla="*/ 84732 h 1352182"/>
              <a:gd name="connsiteX29" fmla="*/ 453903 w 1495401"/>
              <a:gd name="connsiteY29" fmla="*/ 88263 h 1352182"/>
              <a:gd name="connsiteX30" fmla="*/ 468025 w 1495401"/>
              <a:gd name="connsiteY30" fmla="*/ 91793 h 1352182"/>
              <a:gd name="connsiteX31" fmla="*/ 489208 w 1495401"/>
              <a:gd name="connsiteY31" fmla="*/ 98854 h 1352182"/>
              <a:gd name="connsiteX32" fmla="*/ 499800 w 1495401"/>
              <a:gd name="connsiteY32" fmla="*/ 105915 h 1352182"/>
              <a:gd name="connsiteX33" fmla="*/ 520983 w 1495401"/>
              <a:gd name="connsiteY33" fmla="*/ 116507 h 1352182"/>
              <a:gd name="connsiteX34" fmla="*/ 528044 w 1495401"/>
              <a:gd name="connsiteY34" fmla="*/ 127098 h 1352182"/>
              <a:gd name="connsiteX35" fmla="*/ 552757 w 1495401"/>
              <a:gd name="connsiteY35" fmla="*/ 134159 h 1352182"/>
              <a:gd name="connsiteX36" fmla="*/ 573940 w 1495401"/>
              <a:gd name="connsiteY36" fmla="*/ 141220 h 1352182"/>
              <a:gd name="connsiteX37" fmla="*/ 584532 w 1495401"/>
              <a:gd name="connsiteY37" fmla="*/ 144751 h 1352182"/>
              <a:gd name="connsiteX38" fmla="*/ 595123 w 1495401"/>
              <a:gd name="connsiteY38" fmla="*/ 155342 h 1352182"/>
              <a:gd name="connsiteX39" fmla="*/ 605715 w 1495401"/>
              <a:gd name="connsiteY39" fmla="*/ 158873 h 1352182"/>
              <a:gd name="connsiteX40" fmla="*/ 616306 w 1495401"/>
              <a:gd name="connsiteY40" fmla="*/ 165934 h 1352182"/>
              <a:gd name="connsiteX41" fmla="*/ 648081 w 1495401"/>
              <a:gd name="connsiteY41" fmla="*/ 176525 h 1352182"/>
              <a:gd name="connsiteX42" fmla="*/ 679855 w 1495401"/>
              <a:gd name="connsiteY42" fmla="*/ 187117 h 1352182"/>
              <a:gd name="connsiteX43" fmla="*/ 690447 w 1495401"/>
              <a:gd name="connsiteY43" fmla="*/ 190647 h 1352182"/>
              <a:gd name="connsiteX44" fmla="*/ 701038 w 1495401"/>
              <a:gd name="connsiteY44" fmla="*/ 194178 h 1352182"/>
              <a:gd name="connsiteX45" fmla="*/ 715160 w 1495401"/>
              <a:gd name="connsiteY45" fmla="*/ 197708 h 1352182"/>
              <a:gd name="connsiteX46" fmla="*/ 739874 w 1495401"/>
              <a:gd name="connsiteY46" fmla="*/ 208300 h 1352182"/>
              <a:gd name="connsiteX47" fmla="*/ 761057 w 1495401"/>
              <a:gd name="connsiteY47" fmla="*/ 215361 h 1352182"/>
              <a:gd name="connsiteX48" fmla="*/ 771648 w 1495401"/>
              <a:gd name="connsiteY48" fmla="*/ 218891 h 1352182"/>
              <a:gd name="connsiteX49" fmla="*/ 792831 w 1495401"/>
              <a:gd name="connsiteY49" fmla="*/ 222422 h 1352182"/>
              <a:gd name="connsiteX50" fmla="*/ 803423 w 1495401"/>
              <a:gd name="connsiteY50" fmla="*/ 225952 h 1352182"/>
              <a:gd name="connsiteX51" fmla="*/ 817545 w 1495401"/>
              <a:gd name="connsiteY51" fmla="*/ 229483 h 1352182"/>
              <a:gd name="connsiteX52" fmla="*/ 838728 w 1495401"/>
              <a:gd name="connsiteY52" fmla="*/ 236544 h 1352182"/>
              <a:gd name="connsiteX53" fmla="*/ 859911 w 1495401"/>
              <a:gd name="connsiteY53" fmla="*/ 243605 h 1352182"/>
              <a:gd name="connsiteX54" fmla="*/ 870502 w 1495401"/>
              <a:gd name="connsiteY54" fmla="*/ 247135 h 1352182"/>
              <a:gd name="connsiteX55" fmla="*/ 881094 w 1495401"/>
              <a:gd name="connsiteY55" fmla="*/ 250666 h 1352182"/>
              <a:gd name="connsiteX56" fmla="*/ 941112 w 1495401"/>
              <a:gd name="connsiteY56" fmla="*/ 254196 h 1352182"/>
              <a:gd name="connsiteX57" fmla="*/ 951704 w 1495401"/>
              <a:gd name="connsiteY57" fmla="*/ 261257 h 1352182"/>
              <a:gd name="connsiteX58" fmla="*/ 965826 w 1495401"/>
              <a:gd name="connsiteY58" fmla="*/ 278910 h 1352182"/>
              <a:gd name="connsiteX59" fmla="*/ 979948 w 1495401"/>
              <a:gd name="connsiteY59" fmla="*/ 300093 h 1352182"/>
              <a:gd name="connsiteX60" fmla="*/ 987009 w 1495401"/>
              <a:gd name="connsiteY60" fmla="*/ 310684 h 1352182"/>
              <a:gd name="connsiteX61" fmla="*/ 1018784 w 1495401"/>
              <a:gd name="connsiteY61" fmla="*/ 324806 h 1352182"/>
              <a:gd name="connsiteX62" fmla="*/ 1029375 w 1495401"/>
              <a:gd name="connsiteY62" fmla="*/ 328337 h 1352182"/>
              <a:gd name="connsiteX63" fmla="*/ 1050558 w 1495401"/>
              <a:gd name="connsiteY63" fmla="*/ 338928 h 1352182"/>
              <a:gd name="connsiteX64" fmla="*/ 1061150 w 1495401"/>
              <a:gd name="connsiteY64" fmla="*/ 349520 h 1352182"/>
              <a:gd name="connsiteX65" fmla="*/ 1064680 w 1495401"/>
              <a:gd name="connsiteY65" fmla="*/ 360111 h 1352182"/>
              <a:gd name="connsiteX66" fmla="*/ 1075272 w 1495401"/>
              <a:gd name="connsiteY66" fmla="*/ 363642 h 1352182"/>
              <a:gd name="connsiteX67" fmla="*/ 1096455 w 1495401"/>
              <a:gd name="connsiteY67" fmla="*/ 377764 h 1352182"/>
              <a:gd name="connsiteX68" fmla="*/ 1107046 w 1495401"/>
              <a:gd name="connsiteY68" fmla="*/ 384825 h 1352182"/>
              <a:gd name="connsiteX69" fmla="*/ 1117638 w 1495401"/>
              <a:gd name="connsiteY69" fmla="*/ 391886 h 1352182"/>
              <a:gd name="connsiteX70" fmla="*/ 1142351 w 1495401"/>
              <a:gd name="connsiteY70" fmla="*/ 420130 h 1352182"/>
              <a:gd name="connsiteX71" fmla="*/ 1149412 w 1495401"/>
              <a:gd name="connsiteY71" fmla="*/ 430721 h 1352182"/>
              <a:gd name="connsiteX72" fmla="*/ 1163534 w 1495401"/>
              <a:gd name="connsiteY72" fmla="*/ 434252 h 1352182"/>
              <a:gd name="connsiteX73" fmla="*/ 1237675 w 1495401"/>
              <a:gd name="connsiteY73" fmla="*/ 441313 h 1352182"/>
              <a:gd name="connsiteX74" fmla="*/ 1255327 w 1495401"/>
              <a:gd name="connsiteY74" fmla="*/ 444843 h 1352182"/>
              <a:gd name="connsiteX75" fmla="*/ 1262388 w 1495401"/>
              <a:gd name="connsiteY75" fmla="*/ 455435 h 1352182"/>
              <a:gd name="connsiteX76" fmla="*/ 1287102 w 1495401"/>
              <a:gd name="connsiteY76" fmla="*/ 469557 h 1352182"/>
              <a:gd name="connsiteX77" fmla="*/ 1318876 w 1495401"/>
              <a:gd name="connsiteY77" fmla="*/ 480148 h 1352182"/>
              <a:gd name="connsiteX78" fmla="*/ 1329468 w 1495401"/>
              <a:gd name="connsiteY78" fmla="*/ 483679 h 1352182"/>
              <a:gd name="connsiteX79" fmla="*/ 1332998 w 1495401"/>
              <a:gd name="connsiteY79" fmla="*/ 526045 h 1352182"/>
              <a:gd name="connsiteX80" fmla="*/ 1340059 w 1495401"/>
              <a:gd name="connsiteY80" fmla="*/ 547228 h 1352182"/>
              <a:gd name="connsiteX81" fmla="*/ 1343590 w 1495401"/>
              <a:gd name="connsiteY81" fmla="*/ 561350 h 1352182"/>
              <a:gd name="connsiteX82" fmla="*/ 1354181 w 1495401"/>
              <a:gd name="connsiteY82" fmla="*/ 564880 h 1352182"/>
              <a:gd name="connsiteX83" fmla="*/ 1495401 w 1495401"/>
              <a:gd name="connsiteY83" fmla="*/ 568411 h 1352182"/>
              <a:gd name="connsiteX84" fmla="*/ 1484810 w 1495401"/>
              <a:gd name="connsiteY84" fmla="*/ 600185 h 1352182"/>
              <a:gd name="connsiteX85" fmla="*/ 1474218 w 1495401"/>
              <a:gd name="connsiteY85" fmla="*/ 603716 h 1352182"/>
              <a:gd name="connsiteX86" fmla="*/ 1463627 w 1495401"/>
              <a:gd name="connsiteY86" fmla="*/ 614307 h 1352182"/>
              <a:gd name="connsiteX87" fmla="*/ 1460096 w 1495401"/>
              <a:gd name="connsiteY87" fmla="*/ 624899 h 1352182"/>
              <a:gd name="connsiteX88" fmla="*/ 1453035 w 1495401"/>
              <a:gd name="connsiteY88" fmla="*/ 653143 h 1352182"/>
              <a:gd name="connsiteX89" fmla="*/ 1449505 w 1495401"/>
              <a:gd name="connsiteY89" fmla="*/ 667265 h 1352182"/>
              <a:gd name="connsiteX90" fmla="*/ 1428322 w 1495401"/>
              <a:gd name="connsiteY90" fmla="*/ 670795 h 1352182"/>
              <a:gd name="connsiteX91" fmla="*/ 1407139 w 1495401"/>
              <a:gd name="connsiteY91" fmla="*/ 677856 h 1352182"/>
              <a:gd name="connsiteX92" fmla="*/ 1396547 w 1495401"/>
              <a:gd name="connsiteY92" fmla="*/ 681387 h 1352182"/>
              <a:gd name="connsiteX93" fmla="*/ 1385956 w 1495401"/>
              <a:gd name="connsiteY93" fmla="*/ 688448 h 1352182"/>
              <a:gd name="connsiteX94" fmla="*/ 1354181 w 1495401"/>
              <a:gd name="connsiteY94" fmla="*/ 699039 h 1352182"/>
              <a:gd name="connsiteX95" fmla="*/ 1332998 w 1495401"/>
              <a:gd name="connsiteY95" fmla="*/ 706100 h 1352182"/>
              <a:gd name="connsiteX96" fmla="*/ 1311815 w 1495401"/>
              <a:gd name="connsiteY96" fmla="*/ 709631 h 1352182"/>
              <a:gd name="connsiteX97" fmla="*/ 1301224 w 1495401"/>
              <a:gd name="connsiteY97" fmla="*/ 713161 h 1352182"/>
              <a:gd name="connsiteX98" fmla="*/ 1287102 w 1495401"/>
              <a:gd name="connsiteY98" fmla="*/ 716692 h 1352182"/>
              <a:gd name="connsiteX99" fmla="*/ 1265919 w 1495401"/>
              <a:gd name="connsiteY99" fmla="*/ 723753 h 1352182"/>
              <a:gd name="connsiteX100" fmla="*/ 1241205 w 1495401"/>
              <a:gd name="connsiteY100" fmla="*/ 727283 h 1352182"/>
              <a:gd name="connsiteX101" fmla="*/ 1227083 w 1495401"/>
              <a:gd name="connsiteY101" fmla="*/ 730814 h 1352182"/>
              <a:gd name="connsiteX102" fmla="*/ 1191778 w 1495401"/>
              <a:gd name="connsiteY102" fmla="*/ 734344 h 1352182"/>
              <a:gd name="connsiteX103" fmla="*/ 1170595 w 1495401"/>
              <a:gd name="connsiteY103" fmla="*/ 741405 h 1352182"/>
              <a:gd name="connsiteX104" fmla="*/ 1145882 w 1495401"/>
              <a:gd name="connsiteY104" fmla="*/ 766119 h 1352182"/>
              <a:gd name="connsiteX105" fmla="*/ 1135290 w 1495401"/>
              <a:gd name="connsiteY105" fmla="*/ 776711 h 1352182"/>
              <a:gd name="connsiteX106" fmla="*/ 1117638 w 1495401"/>
              <a:gd name="connsiteY106" fmla="*/ 801424 h 1352182"/>
              <a:gd name="connsiteX107" fmla="*/ 1107046 w 1495401"/>
              <a:gd name="connsiteY107" fmla="*/ 804955 h 1352182"/>
              <a:gd name="connsiteX108" fmla="*/ 1085863 w 1495401"/>
              <a:gd name="connsiteY108" fmla="*/ 819077 h 1352182"/>
              <a:gd name="connsiteX109" fmla="*/ 1064680 w 1495401"/>
              <a:gd name="connsiteY109" fmla="*/ 847321 h 1352182"/>
              <a:gd name="connsiteX110" fmla="*/ 1047028 w 1495401"/>
              <a:gd name="connsiteY110" fmla="*/ 868504 h 1352182"/>
              <a:gd name="connsiteX111" fmla="*/ 1036436 w 1495401"/>
              <a:gd name="connsiteY111" fmla="*/ 872034 h 1352182"/>
              <a:gd name="connsiteX112" fmla="*/ 1022314 w 1495401"/>
              <a:gd name="connsiteY112" fmla="*/ 893217 h 1352182"/>
              <a:gd name="connsiteX113" fmla="*/ 1015253 w 1495401"/>
              <a:gd name="connsiteY113" fmla="*/ 903809 h 1352182"/>
              <a:gd name="connsiteX114" fmla="*/ 1001131 w 1495401"/>
              <a:gd name="connsiteY114" fmla="*/ 935583 h 1352182"/>
              <a:gd name="connsiteX115" fmla="*/ 979948 w 1495401"/>
              <a:gd name="connsiteY115" fmla="*/ 949705 h 1352182"/>
              <a:gd name="connsiteX116" fmla="*/ 969357 w 1495401"/>
              <a:gd name="connsiteY116" fmla="*/ 956766 h 1352182"/>
              <a:gd name="connsiteX117" fmla="*/ 962296 w 1495401"/>
              <a:gd name="connsiteY117" fmla="*/ 967358 h 1352182"/>
              <a:gd name="connsiteX118" fmla="*/ 965826 w 1495401"/>
              <a:gd name="connsiteY118" fmla="*/ 981480 h 1352182"/>
              <a:gd name="connsiteX119" fmla="*/ 976418 w 1495401"/>
              <a:gd name="connsiteY119" fmla="*/ 1013254 h 1352182"/>
              <a:gd name="connsiteX120" fmla="*/ 979948 w 1495401"/>
              <a:gd name="connsiteY120" fmla="*/ 1023846 h 1352182"/>
              <a:gd name="connsiteX121" fmla="*/ 983479 w 1495401"/>
              <a:gd name="connsiteY121" fmla="*/ 1041498 h 1352182"/>
              <a:gd name="connsiteX122" fmla="*/ 994070 w 1495401"/>
              <a:gd name="connsiteY122" fmla="*/ 1048559 h 1352182"/>
              <a:gd name="connsiteX123" fmla="*/ 1015253 w 1495401"/>
              <a:gd name="connsiteY123" fmla="*/ 1055620 h 1352182"/>
              <a:gd name="connsiteX124" fmla="*/ 1015253 w 1495401"/>
              <a:gd name="connsiteY124" fmla="*/ 1090925 h 1352182"/>
              <a:gd name="connsiteX125" fmla="*/ 1004662 w 1495401"/>
              <a:gd name="connsiteY125" fmla="*/ 1094456 h 1352182"/>
              <a:gd name="connsiteX126" fmla="*/ 990540 w 1495401"/>
              <a:gd name="connsiteY126" fmla="*/ 1097986 h 1352182"/>
              <a:gd name="connsiteX127" fmla="*/ 969357 w 1495401"/>
              <a:gd name="connsiteY127" fmla="*/ 1105047 h 1352182"/>
              <a:gd name="connsiteX128" fmla="*/ 941112 w 1495401"/>
              <a:gd name="connsiteY128" fmla="*/ 1112108 h 1352182"/>
              <a:gd name="connsiteX129" fmla="*/ 919929 w 1495401"/>
              <a:gd name="connsiteY129" fmla="*/ 1119169 h 1352182"/>
              <a:gd name="connsiteX130" fmla="*/ 902277 w 1495401"/>
              <a:gd name="connsiteY130" fmla="*/ 1136822 h 1352182"/>
              <a:gd name="connsiteX131" fmla="*/ 884624 w 1495401"/>
              <a:gd name="connsiteY131" fmla="*/ 1154474 h 1352182"/>
              <a:gd name="connsiteX132" fmla="*/ 877563 w 1495401"/>
              <a:gd name="connsiteY132" fmla="*/ 1165066 h 1352182"/>
              <a:gd name="connsiteX133" fmla="*/ 870502 w 1495401"/>
              <a:gd name="connsiteY133" fmla="*/ 1186249 h 1352182"/>
              <a:gd name="connsiteX134" fmla="*/ 863441 w 1495401"/>
              <a:gd name="connsiteY134" fmla="*/ 1225084 h 1352182"/>
              <a:gd name="connsiteX135" fmla="*/ 852850 w 1495401"/>
              <a:gd name="connsiteY135" fmla="*/ 1235676 h 1352182"/>
              <a:gd name="connsiteX136" fmla="*/ 821075 w 1495401"/>
              <a:gd name="connsiteY136" fmla="*/ 1246267 h 1352182"/>
              <a:gd name="connsiteX137" fmla="*/ 810484 w 1495401"/>
              <a:gd name="connsiteY137" fmla="*/ 1249798 h 1352182"/>
              <a:gd name="connsiteX138" fmla="*/ 792831 w 1495401"/>
              <a:gd name="connsiteY138" fmla="*/ 1246267 h 1352182"/>
              <a:gd name="connsiteX139" fmla="*/ 782240 w 1495401"/>
              <a:gd name="connsiteY139" fmla="*/ 1239206 h 1352182"/>
              <a:gd name="connsiteX140" fmla="*/ 753996 w 1495401"/>
              <a:gd name="connsiteY140" fmla="*/ 1242737 h 1352182"/>
              <a:gd name="connsiteX141" fmla="*/ 732813 w 1495401"/>
              <a:gd name="connsiteY141" fmla="*/ 1256859 h 1352182"/>
              <a:gd name="connsiteX142" fmla="*/ 722221 w 1495401"/>
              <a:gd name="connsiteY142" fmla="*/ 1263920 h 1352182"/>
              <a:gd name="connsiteX143" fmla="*/ 708099 w 1495401"/>
              <a:gd name="connsiteY143" fmla="*/ 1281572 h 1352182"/>
              <a:gd name="connsiteX144" fmla="*/ 690447 w 1495401"/>
              <a:gd name="connsiteY144" fmla="*/ 1299225 h 1352182"/>
              <a:gd name="connsiteX145" fmla="*/ 672794 w 1495401"/>
              <a:gd name="connsiteY145" fmla="*/ 1330999 h 1352182"/>
              <a:gd name="connsiteX146" fmla="*/ 651611 w 1495401"/>
              <a:gd name="connsiteY146" fmla="*/ 1341591 h 1352182"/>
              <a:gd name="connsiteX147" fmla="*/ 605715 w 1495401"/>
              <a:gd name="connsiteY147" fmla="*/ 1338060 h 1352182"/>
              <a:gd name="connsiteX148" fmla="*/ 584532 w 1495401"/>
              <a:gd name="connsiteY148" fmla="*/ 1323938 h 1352182"/>
              <a:gd name="connsiteX149" fmla="*/ 581001 w 1495401"/>
              <a:gd name="connsiteY149" fmla="*/ 1313347 h 1352182"/>
              <a:gd name="connsiteX150" fmla="*/ 559818 w 1495401"/>
              <a:gd name="connsiteY150" fmla="*/ 1316877 h 1352182"/>
              <a:gd name="connsiteX151" fmla="*/ 549227 w 1495401"/>
              <a:gd name="connsiteY151" fmla="*/ 1320408 h 1352182"/>
              <a:gd name="connsiteX152" fmla="*/ 503330 w 1495401"/>
              <a:gd name="connsiteY152" fmla="*/ 1316877 h 1352182"/>
              <a:gd name="connsiteX153" fmla="*/ 492739 w 1495401"/>
              <a:gd name="connsiteY153" fmla="*/ 1313347 h 1352182"/>
              <a:gd name="connsiteX154" fmla="*/ 450373 w 1495401"/>
              <a:gd name="connsiteY154" fmla="*/ 1309816 h 1352182"/>
              <a:gd name="connsiteX155" fmla="*/ 429190 w 1495401"/>
              <a:gd name="connsiteY155" fmla="*/ 1302755 h 1352182"/>
              <a:gd name="connsiteX156" fmla="*/ 418598 w 1495401"/>
              <a:gd name="connsiteY156" fmla="*/ 1299225 h 1352182"/>
              <a:gd name="connsiteX157" fmla="*/ 408007 w 1495401"/>
              <a:gd name="connsiteY157" fmla="*/ 1292164 h 1352182"/>
              <a:gd name="connsiteX158" fmla="*/ 347988 w 1495401"/>
              <a:gd name="connsiteY158" fmla="*/ 1292164 h 1352182"/>
              <a:gd name="connsiteX159" fmla="*/ 337397 w 1495401"/>
              <a:gd name="connsiteY159" fmla="*/ 1295694 h 1352182"/>
              <a:gd name="connsiteX160" fmla="*/ 312683 w 1495401"/>
              <a:gd name="connsiteY160" fmla="*/ 1302755 h 1352182"/>
              <a:gd name="connsiteX161" fmla="*/ 302092 w 1495401"/>
              <a:gd name="connsiteY161" fmla="*/ 1309816 h 1352182"/>
              <a:gd name="connsiteX162" fmla="*/ 277378 w 1495401"/>
              <a:gd name="connsiteY162" fmla="*/ 1316877 h 1352182"/>
              <a:gd name="connsiteX163" fmla="*/ 245604 w 1495401"/>
              <a:gd name="connsiteY163" fmla="*/ 1327469 h 1352182"/>
              <a:gd name="connsiteX164" fmla="*/ 224421 w 1495401"/>
              <a:gd name="connsiteY164" fmla="*/ 1334530 h 1352182"/>
              <a:gd name="connsiteX165" fmla="*/ 213829 w 1495401"/>
              <a:gd name="connsiteY165" fmla="*/ 1338060 h 1352182"/>
              <a:gd name="connsiteX166" fmla="*/ 203238 w 1495401"/>
              <a:gd name="connsiteY166" fmla="*/ 1345121 h 1352182"/>
              <a:gd name="connsiteX167" fmla="*/ 182055 w 1495401"/>
              <a:gd name="connsiteY167" fmla="*/ 1352182 h 1352182"/>
              <a:gd name="connsiteX168" fmla="*/ 146750 w 1495401"/>
              <a:gd name="connsiteY168" fmla="*/ 1348652 h 1352182"/>
              <a:gd name="connsiteX169" fmla="*/ 125567 w 1495401"/>
              <a:gd name="connsiteY169" fmla="*/ 1341591 h 1352182"/>
              <a:gd name="connsiteX170" fmla="*/ 114975 w 1495401"/>
              <a:gd name="connsiteY170" fmla="*/ 1334530 h 1352182"/>
              <a:gd name="connsiteX171" fmla="*/ 104384 w 1495401"/>
              <a:gd name="connsiteY171" fmla="*/ 1295694 h 1352182"/>
              <a:gd name="connsiteX172" fmla="*/ 100853 w 1495401"/>
              <a:gd name="connsiteY172" fmla="*/ 1285103 h 1352182"/>
              <a:gd name="connsiteX173" fmla="*/ 97323 w 1495401"/>
              <a:gd name="connsiteY173" fmla="*/ 1253328 h 1352182"/>
              <a:gd name="connsiteX174" fmla="*/ 93792 w 1495401"/>
              <a:gd name="connsiteY174" fmla="*/ 1203901 h 1352182"/>
              <a:gd name="connsiteX175" fmla="*/ 90262 w 1495401"/>
              <a:gd name="connsiteY175" fmla="*/ 1193310 h 1352182"/>
              <a:gd name="connsiteX176" fmla="*/ 76140 w 1495401"/>
              <a:gd name="connsiteY176" fmla="*/ 1172127 h 1352182"/>
              <a:gd name="connsiteX177" fmla="*/ 58487 w 1495401"/>
              <a:gd name="connsiteY177" fmla="*/ 1150944 h 1352182"/>
              <a:gd name="connsiteX178" fmla="*/ 54957 w 1495401"/>
              <a:gd name="connsiteY178" fmla="*/ 1140352 h 1352182"/>
              <a:gd name="connsiteX179" fmla="*/ 33773 w 1495401"/>
              <a:gd name="connsiteY179" fmla="*/ 1112108 h 1352182"/>
              <a:gd name="connsiteX180" fmla="*/ 12590 w 1495401"/>
              <a:gd name="connsiteY180" fmla="*/ 1097986 h 1352182"/>
              <a:gd name="connsiteX181" fmla="*/ 9060 w 1495401"/>
              <a:gd name="connsiteY181" fmla="*/ 1066212 h 1352182"/>
              <a:gd name="connsiteX182" fmla="*/ 30243 w 1495401"/>
              <a:gd name="connsiteY182" fmla="*/ 1055620 h 1352182"/>
              <a:gd name="connsiteX183" fmla="*/ 51426 w 1495401"/>
              <a:gd name="connsiteY183" fmla="*/ 1041498 h 1352182"/>
              <a:gd name="connsiteX184" fmla="*/ 54957 w 1495401"/>
              <a:gd name="connsiteY184" fmla="*/ 1030907 h 1352182"/>
              <a:gd name="connsiteX185" fmla="*/ 47896 w 1495401"/>
              <a:gd name="connsiteY185" fmla="*/ 1006193 h 1352182"/>
              <a:gd name="connsiteX186" fmla="*/ 40835 w 1495401"/>
              <a:gd name="connsiteY186" fmla="*/ 995602 h 1352182"/>
              <a:gd name="connsiteX187" fmla="*/ 37304 w 1495401"/>
              <a:gd name="connsiteY187" fmla="*/ 985010 h 1352182"/>
              <a:gd name="connsiteX188" fmla="*/ 44365 w 1495401"/>
              <a:gd name="connsiteY188" fmla="*/ 953236 h 1352182"/>
              <a:gd name="connsiteX189" fmla="*/ 58487 w 1495401"/>
              <a:gd name="connsiteY189" fmla="*/ 932053 h 1352182"/>
              <a:gd name="connsiteX190" fmla="*/ 79670 w 1495401"/>
              <a:gd name="connsiteY190" fmla="*/ 917931 h 1352182"/>
              <a:gd name="connsiteX191" fmla="*/ 86731 w 1495401"/>
              <a:gd name="connsiteY191" fmla="*/ 907339 h 1352182"/>
              <a:gd name="connsiteX192" fmla="*/ 93792 w 1495401"/>
              <a:gd name="connsiteY192" fmla="*/ 875565 h 1352182"/>
              <a:gd name="connsiteX193" fmla="*/ 90262 w 1495401"/>
              <a:gd name="connsiteY193" fmla="*/ 822607 h 1352182"/>
              <a:gd name="connsiteX194" fmla="*/ 83201 w 1495401"/>
              <a:gd name="connsiteY194" fmla="*/ 801424 h 1352182"/>
              <a:gd name="connsiteX195" fmla="*/ 79670 w 1495401"/>
              <a:gd name="connsiteY195" fmla="*/ 790833 h 1352182"/>
              <a:gd name="connsiteX196" fmla="*/ 83201 w 1495401"/>
              <a:gd name="connsiteY196" fmla="*/ 762589 h 1352182"/>
              <a:gd name="connsiteX197" fmla="*/ 111445 w 1495401"/>
              <a:gd name="connsiteY197" fmla="*/ 744936 h 1352182"/>
              <a:gd name="connsiteX198" fmla="*/ 132628 w 1495401"/>
              <a:gd name="connsiteY198" fmla="*/ 734344 h 1352182"/>
              <a:gd name="connsiteX199" fmla="*/ 139689 w 1495401"/>
              <a:gd name="connsiteY199" fmla="*/ 723753 h 1352182"/>
              <a:gd name="connsiteX200" fmla="*/ 143219 w 1495401"/>
              <a:gd name="connsiteY200" fmla="*/ 713161 h 1352182"/>
              <a:gd name="connsiteX201" fmla="*/ 164402 w 1495401"/>
              <a:gd name="connsiteY201" fmla="*/ 706100 h 1352182"/>
              <a:gd name="connsiteX202" fmla="*/ 174994 w 1495401"/>
              <a:gd name="connsiteY202" fmla="*/ 699039 h 1352182"/>
              <a:gd name="connsiteX203" fmla="*/ 189116 w 1495401"/>
              <a:gd name="connsiteY203" fmla="*/ 628429 h 1352182"/>
              <a:gd name="connsiteX204" fmla="*/ 199707 w 1495401"/>
              <a:gd name="connsiteY204" fmla="*/ 624899 h 1352182"/>
              <a:gd name="connsiteX205" fmla="*/ 203238 w 1495401"/>
              <a:gd name="connsiteY205" fmla="*/ 564880 h 1352182"/>
              <a:gd name="connsiteX206" fmla="*/ 217360 w 1495401"/>
              <a:gd name="connsiteY206" fmla="*/ 543697 h 1352182"/>
              <a:gd name="connsiteX207" fmla="*/ 224421 w 1495401"/>
              <a:gd name="connsiteY207" fmla="*/ 533106 h 1352182"/>
              <a:gd name="connsiteX208" fmla="*/ 235012 w 1495401"/>
              <a:gd name="connsiteY208" fmla="*/ 511923 h 1352182"/>
              <a:gd name="connsiteX209" fmla="*/ 245604 w 1495401"/>
              <a:gd name="connsiteY209" fmla="*/ 501331 h 1352182"/>
              <a:gd name="connsiteX210" fmla="*/ 259726 w 1495401"/>
              <a:gd name="connsiteY210" fmla="*/ 497801 h 1352182"/>
              <a:gd name="connsiteX211" fmla="*/ 270317 w 1495401"/>
              <a:gd name="connsiteY211" fmla="*/ 494270 h 1352182"/>
              <a:gd name="connsiteX212" fmla="*/ 287970 w 1495401"/>
              <a:gd name="connsiteY212" fmla="*/ 490740 h 1352182"/>
              <a:gd name="connsiteX213" fmla="*/ 298561 w 1495401"/>
              <a:gd name="connsiteY213" fmla="*/ 487209 h 1352182"/>
              <a:gd name="connsiteX214" fmla="*/ 316214 w 1495401"/>
              <a:gd name="connsiteY214" fmla="*/ 483679 h 1352182"/>
              <a:gd name="connsiteX215" fmla="*/ 323275 w 1495401"/>
              <a:gd name="connsiteY215" fmla="*/ 473087 h 1352182"/>
              <a:gd name="connsiteX216" fmla="*/ 305622 w 1495401"/>
              <a:gd name="connsiteY216" fmla="*/ 451904 h 1352182"/>
              <a:gd name="connsiteX217" fmla="*/ 298561 w 1495401"/>
              <a:gd name="connsiteY217" fmla="*/ 398947 h 1352182"/>
              <a:gd name="connsiteX218" fmla="*/ 291500 w 1495401"/>
              <a:gd name="connsiteY218" fmla="*/ 388355 h 1352182"/>
              <a:gd name="connsiteX219" fmla="*/ 280909 w 1495401"/>
              <a:gd name="connsiteY219" fmla="*/ 384825 h 1352182"/>
              <a:gd name="connsiteX220" fmla="*/ 273848 w 1495401"/>
              <a:gd name="connsiteY220" fmla="*/ 363642 h 1352182"/>
              <a:gd name="connsiteX221" fmla="*/ 270317 w 1495401"/>
              <a:gd name="connsiteY221" fmla="*/ 353050 h 1352182"/>
              <a:gd name="connsiteX222" fmla="*/ 192646 w 1495401"/>
              <a:gd name="connsiteY222" fmla="*/ 342459 h 1352182"/>
              <a:gd name="connsiteX223" fmla="*/ 171463 w 1495401"/>
              <a:gd name="connsiteY223" fmla="*/ 331867 h 1352182"/>
              <a:gd name="connsiteX224" fmla="*/ 157341 w 1495401"/>
              <a:gd name="connsiteY224" fmla="*/ 314215 h 1352182"/>
              <a:gd name="connsiteX225" fmla="*/ 136158 w 1495401"/>
              <a:gd name="connsiteY225" fmla="*/ 307154 h 1352182"/>
              <a:gd name="connsiteX226" fmla="*/ 125567 w 1495401"/>
              <a:gd name="connsiteY226" fmla="*/ 303623 h 1352182"/>
              <a:gd name="connsiteX227" fmla="*/ 118506 w 1495401"/>
              <a:gd name="connsiteY227" fmla="*/ 293032 h 1352182"/>
              <a:gd name="connsiteX228" fmla="*/ 114975 w 1495401"/>
              <a:gd name="connsiteY228" fmla="*/ 278910 h 1352182"/>
              <a:gd name="connsiteX229" fmla="*/ 93792 w 1495401"/>
              <a:gd name="connsiteY229" fmla="*/ 271849 h 1352182"/>
              <a:gd name="connsiteX230" fmla="*/ 72609 w 1495401"/>
              <a:gd name="connsiteY230" fmla="*/ 264788 h 1352182"/>
              <a:gd name="connsiteX231" fmla="*/ 62018 w 1495401"/>
              <a:gd name="connsiteY231" fmla="*/ 261257 h 1352182"/>
              <a:gd name="connsiteX232" fmla="*/ 26712 w 1495401"/>
              <a:gd name="connsiteY232" fmla="*/ 250666 h 13521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</a:cxnLst>
            <a:rect l="l" t="t" r="r" b="b"/>
            <a:pathLst>
              <a:path w="1495401" h="1352182">
                <a:moveTo>
                  <a:pt x="26712" y="250666"/>
                </a:moveTo>
                <a:lnTo>
                  <a:pt x="33773" y="229483"/>
                </a:lnTo>
                <a:cubicBezTo>
                  <a:pt x="34950" y="225952"/>
                  <a:pt x="35240" y="221988"/>
                  <a:pt x="37304" y="218891"/>
                </a:cubicBezTo>
                <a:cubicBezTo>
                  <a:pt x="46429" y="205203"/>
                  <a:pt x="43023" y="212325"/>
                  <a:pt x="47896" y="197708"/>
                </a:cubicBezTo>
                <a:cubicBezTo>
                  <a:pt x="46719" y="184763"/>
                  <a:pt x="46624" y="171674"/>
                  <a:pt x="44365" y="158873"/>
                </a:cubicBezTo>
                <a:cubicBezTo>
                  <a:pt x="43071" y="151543"/>
                  <a:pt x="39658" y="144751"/>
                  <a:pt x="37304" y="137690"/>
                </a:cubicBezTo>
                <a:lnTo>
                  <a:pt x="30243" y="116507"/>
                </a:lnTo>
                <a:lnTo>
                  <a:pt x="23182" y="95324"/>
                </a:lnTo>
                <a:cubicBezTo>
                  <a:pt x="22005" y="91793"/>
                  <a:pt x="21715" y="87829"/>
                  <a:pt x="19651" y="84732"/>
                </a:cubicBezTo>
                <a:lnTo>
                  <a:pt x="12590" y="74141"/>
                </a:lnTo>
                <a:cubicBezTo>
                  <a:pt x="13767" y="69434"/>
                  <a:pt x="12437" y="63177"/>
                  <a:pt x="16121" y="60019"/>
                </a:cubicBezTo>
                <a:cubicBezTo>
                  <a:pt x="21772" y="55175"/>
                  <a:pt x="29870" y="53330"/>
                  <a:pt x="37304" y="52958"/>
                </a:cubicBezTo>
                <a:lnTo>
                  <a:pt x="107914" y="49427"/>
                </a:lnTo>
                <a:lnTo>
                  <a:pt x="160872" y="31775"/>
                </a:lnTo>
                <a:lnTo>
                  <a:pt x="171463" y="28244"/>
                </a:lnTo>
                <a:lnTo>
                  <a:pt x="182055" y="24714"/>
                </a:lnTo>
                <a:lnTo>
                  <a:pt x="203238" y="10592"/>
                </a:lnTo>
                <a:cubicBezTo>
                  <a:pt x="206768" y="8238"/>
                  <a:pt x="209713" y="4560"/>
                  <a:pt x="213829" y="3531"/>
                </a:cubicBezTo>
                <a:lnTo>
                  <a:pt x="227951" y="0"/>
                </a:lnTo>
                <a:cubicBezTo>
                  <a:pt x="236189" y="1177"/>
                  <a:pt x="244939" y="440"/>
                  <a:pt x="252665" y="3531"/>
                </a:cubicBezTo>
                <a:cubicBezTo>
                  <a:pt x="270664" y="10731"/>
                  <a:pt x="258116" y="13875"/>
                  <a:pt x="266787" y="24714"/>
                </a:cubicBezTo>
                <a:cubicBezTo>
                  <a:pt x="269438" y="28027"/>
                  <a:pt x="274118" y="29059"/>
                  <a:pt x="277378" y="31775"/>
                </a:cubicBezTo>
                <a:cubicBezTo>
                  <a:pt x="286877" y="39690"/>
                  <a:pt x="287295" y="44420"/>
                  <a:pt x="298561" y="49427"/>
                </a:cubicBezTo>
                <a:cubicBezTo>
                  <a:pt x="305362" y="52450"/>
                  <a:pt x="312683" y="54134"/>
                  <a:pt x="319744" y="56488"/>
                </a:cubicBezTo>
                <a:lnTo>
                  <a:pt x="340927" y="63549"/>
                </a:lnTo>
                <a:cubicBezTo>
                  <a:pt x="344458" y="64726"/>
                  <a:pt x="348422" y="65016"/>
                  <a:pt x="351519" y="67080"/>
                </a:cubicBezTo>
                <a:cubicBezTo>
                  <a:pt x="355049" y="69434"/>
                  <a:pt x="357914" y="73512"/>
                  <a:pt x="362110" y="74141"/>
                </a:cubicBezTo>
                <a:cubicBezTo>
                  <a:pt x="381929" y="77114"/>
                  <a:pt x="402123" y="76494"/>
                  <a:pt x="422129" y="77671"/>
                </a:cubicBezTo>
                <a:lnTo>
                  <a:pt x="443312" y="84732"/>
                </a:lnTo>
                <a:cubicBezTo>
                  <a:pt x="446842" y="85909"/>
                  <a:pt x="450293" y="87361"/>
                  <a:pt x="453903" y="88263"/>
                </a:cubicBezTo>
                <a:cubicBezTo>
                  <a:pt x="458610" y="89440"/>
                  <a:pt x="463377" y="90399"/>
                  <a:pt x="468025" y="91793"/>
                </a:cubicBezTo>
                <a:cubicBezTo>
                  <a:pt x="475154" y="93932"/>
                  <a:pt x="489208" y="98854"/>
                  <a:pt x="489208" y="98854"/>
                </a:cubicBezTo>
                <a:cubicBezTo>
                  <a:pt x="492739" y="101208"/>
                  <a:pt x="496005" y="104017"/>
                  <a:pt x="499800" y="105915"/>
                </a:cubicBezTo>
                <a:cubicBezTo>
                  <a:pt x="529034" y="120533"/>
                  <a:pt x="490627" y="96270"/>
                  <a:pt x="520983" y="116507"/>
                </a:cubicBezTo>
                <a:cubicBezTo>
                  <a:pt x="523337" y="120037"/>
                  <a:pt x="524731" y="124447"/>
                  <a:pt x="528044" y="127098"/>
                </a:cubicBezTo>
                <a:cubicBezTo>
                  <a:pt x="530420" y="128999"/>
                  <a:pt x="551738" y="133853"/>
                  <a:pt x="552757" y="134159"/>
                </a:cubicBezTo>
                <a:cubicBezTo>
                  <a:pt x="559886" y="136298"/>
                  <a:pt x="566879" y="138866"/>
                  <a:pt x="573940" y="141220"/>
                </a:cubicBezTo>
                <a:lnTo>
                  <a:pt x="584532" y="144751"/>
                </a:lnTo>
                <a:cubicBezTo>
                  <a:pt x="588062" y="148281"/>
                  <a:pt x="590969" y="152573"/>
                  <a:pt x="595123" y="155342"/>
                </a:cubicBezTo>
                <a:cubicBezTo>
                  <a:pt x="598220" y="157406"/>
                  <a:pt x="602386" y="157209"/>
                  <a:pt x="605715" y="158873"/>
                </a:cubicBezTo>
                <a:cubicBezTo>
                  <a:pt x="609510" y="160771"/>
                  <a:pt x="612429" y="164211"/>
                  <a:pt x="616306" y="165934"/>
                </a:cubicBezTo>
                <a:cubicBezTo>
                  <a:pt x="616326" y="165943"/>
                  <a:pt x="642775" y="174756"/>
                  <a:pt x="648081" y="176525"/>
                </a:cubicBezTo>
                <a:lnTo>
                  <a:pt x="679855" y="187117"/>
                </a:lnTo>
                <a:lnTo>
                  <a:pt x="690447" y="190647"/>
                </a:lnTo>
                <a:cubicBezTo>
                  <a:pt x="693977" y="191824"/>
                  <a:pt x="697428" y="193276"/>
                  <a:pt x="701038" y="194178"/>
                </a:cubicBezTo>
                <a:lnTo>
                  <a:pt x="715160" y="197708"/>
                </a:lnTo>
                <a:cubicBezTo>
                  <a:pt x="731964" y="208910"/>
                  <a:pt x="719149" y="202082"/>
                  <a:pt x="739874" y="208300"/>
                </a:cubicBezTo>
                <a:cubicBezTo>
                  <a:pt x="747003" y="210439"/>
                  <a:pt x="753996" y="213007"/>
                  <a:pt x="761057" y="215361"/>
                </a:cubicBezTo>
                <a:cubicBezTo>
                  <a:pt x="764587" y="216538"/>
                  <a:pt x="767977" y="218279"/>
                  <a:pt x="771648" y="218891"/>
                </a:cubicBezTo>
                <a:cubicBezTo>
                  <a:pt x="778709" y="220068"/>
                  <a:pt x="785843" y="220869"/>
                  <a:pt x="792831" y="222422"/>
                </a:cubicBezTo>
                <a:cubicBezTo>
                  <a:pt x="796464" y="223229"/>
                  <a:pt x="799845" y="224930"/>
                  <a:pt x="803423" y="225952"/>
                </a:cubicBezTo>
                <a:cubicBezTo>
                  <a:pt x="808089" y="227285"/>
                  <a:pt x="812897" y="228089"/>
                  <a:pt x="817545" y="229483"/>
                </a:cubicBezTo>
                <a:cubicBezTo>
                  <a:pt x="824674" y="231622"/>
                  <a:pt x="831667" y="234190"/>
                  <a:pt x="838728" y="236544"/>
                </a:cubicBezTo>
                <a:lnTo>
                  <a:pt x="859911" y="243605"/>
                </a:lnTo>
                <a:lnTo>
                  <a:pt x="870502" y="247135"/>
                </a:lnTo>
                <a:cubicBezTo>
                  <a:pt x="874033" y="248312"/>
                  <a:pt x="877379" y="250447"/>
                  <a:pt x="881094" y="250666"/>
                </a:cubicBezTo>
                <a:lnTo>
                  <a:pt x="941112" y="254196"/>
                </a:lnTo>
                <a:cubicBezTo>
                  <a:pt x="944643" y="256550"/>
                  <a:pt x="949053" y="257944"/>
                  <a:pt x="951704" y="261257"/>
                </a:cubicBezTo>
                <a:cubicBezTo>
                  <a:pt x="971196" y="285621"/>
                  <a:pt x="935472" y="258673"/>
                  <a:pt x="965826" y="278910"/>
                </a:cubicBezTo>
                <a:lnTo>
                  <a:pt x="979948" y="300093"/>
                </a:lnTo>
                <a:cubicBezTo>
                  <a:pt x="982302" y="303623"/>
                  <a:pt x="983479" y="308330"/>
                  <a:pt x="987009" y="310684"/>
                </a:cubicBezTo>
                <a:cubicBezTo>
                  <a:pt x="1003795" y="321874"/>
                  <a:pt x="993574" y="316402"/>
                  <a:pt x="1018784" y="324806"/>
                </a:cubicBezTo>
                <a:cubicBezTo>
                  <a:pt x="1022314" y="325983"/>
                  <a:pt x="1026279" y="326273"/>
                  <a:pt x="1029375" y="328337"/>
                </a:cubicBezTo>
                <a:cubicBezTo>
                  <a:pt x="1043063" y="337462"/>
                  <a:pt x="1035941" y="334056"/>
                  <a:pt x="1050558" y="338928"/>
                </a:cubicBezTo>
                <a:cubicBezTo>
                  <a:pt x="1054089" y="342459"/>
                  <a:pt x="1058380" y="345365"/>
                  <a:pt x="1061150" y="349520"/>
                </a:cubicBezTo>
                <a:cubicBezTo>
                  <a:pt x="1063214" y="352616"/>
                  <a:pt x="1062049" y="357480"/>
                  <a:pt x="1064680" y="360111"/>
                </a:cubicBezTo>
                <a:cubicBezTo>
                  <a:pt x="1067312" y="362743"/>
                  <a:pt x="1072019" y="361835"/>
                  <a:pt x="1075272" y="363642"/>
                </a:cubicBezTo>
                <a:cubicBezTo>
                  <a:pt x="1082690" y="367763"/>
                  <a:pt x="1089394" y="373057"/>
                  <a:pt x="1096455" y="377764"/>
                </a:cubicBezTo>
                <a:lnTo>
                  <a:pt x="1107046" y="384825"/>
                </a:lnTo>
                <a:lnTo>
                  <a:pt x="1117638" y="391886"/>
                </a:lnTo>
                <a:cubicBezTo>
                  <a:pt x="1134114" y="416599"/>
                  <a:pt x="1124699" y="408362"/>
                  <a:pt x="1142351" y="420130"/>
                </a:cubicBezTo>
                <a:cubicBezTo>
                  <a:pt x="1144705" y="423660"/>
                  <a:pt x="1145882" y="428367"/>
                  <a:pt x="1149412" y="430721"/>
                </a:cubicBezTo>
                <a:cubicBezTo>
                  <a:pt x="1153449" y="433413"/>
                  <a:pt x="1158868" y="432919"/>
                  <a:pt x="1163534" y="434252"/>
                </a:cubicBezTo>
                <a:cubicBezTo>
                  <a:pt x="1200602" y="444843"/>
                  <a:pt x="1134219" y="435565"/>
                  <a:pt x="1237675" y="441313"/>
                </a:cubicBezTo>
                <a:cubicBezTo>
                  <a:pt x="1243559" y="442490"/>
                  <a:pt x="1250117" y="441866"/>
                  <a:pt x="1255327" y="444843"/>
                </a:cubicBezTo>
                <a:cubicBezTo>
                  <a:pt x="1259011" y="446948"/>
                  <a:pt x="1259388" y="452435"/>
                  <a:pt x="1262388" y="455435"/>
                </a:cubicBezTo>
                <a:cubicBezTo>
                  <a:pt x="1266633" y="459680"/>
                  <a:pt x="1282488" y="467711"/>
                  <a:pt x="1287102" y="469557"/>
                </a:cubicBezTo>
                <a:cubicBezTo>
                  <a:pt x="1287119" y="469564"/>
                  <a:pt x="1313572" y="478380"/>
                  <a:pt x="1318876" y="480148"/>
                </a:cubicBezTo>
                <a:lnTo>
                  <a:pt x="1329468" y="483679"/>
                </a:lnTo>
                <a:cubicBezTo>
                  <a:pt x="1330645" y="497801"/>
                  <a:pt x="1330668" y="512067"/>
                  <a:pt x="1332998" y="526045"/>
                </a:cubicBezTo>
                <a:cubicBezTo>
                  <a:pt x="1334222" y="533387"/>
                  <a:pt x="1337920" y="540099"/>
                  <a:pt x="1340059" y="547228"/>
                </a:cubicBezTo>
                <a:cubicBezTo>
                  <a:pt x="1341453" y="551876"/>
                  <a:pt x="1340559" y="557561"/>
                  <a:pt x="1343590" y="561350"/>
                </a:cubicBezTo>
                <a:cubicBezTo>
                  <a:pt x="1345915" y="564256"/>
                  <a:pt x="1350464" y="564707"/>
                  <a:pt x="1354181" y="564880"/>
                </a:cubicBezTo>
                <a:cubicBezTo>
                  <a:pt x="1401218" y="567068"/>
                  <a:pt x="1448328" y="567234"/>
                  <a:pt x="1495401" y="568411"/>
                </a:cubicBezTo>
                <a:cubicBezTo>
                  <a:pt x="1493678" y="578748"/>
                  <a:pt x="1494357" y="592547"/>
                  <a:pt x="1484810" y="600185"/>
                </a:cubicBezTo>
                <a:cubicBezTo>
                  <a:pt x="1481904" y="602510"/>
                  <a:pt x="1477749" y="602539"/>
                  <a:pt x="1474218" y="603716"/>
                </a:cubicBezTo>
                <a:cubicBezTo>
                  <a:pt x="1470688" y="607246"/>
                  <a:pt x="1466396" y="610153"/>
                  <a:pt x="1463627" y="614307"/>
                </a:cubicBezTo>
                <a:cubicBezTo>
                  <a:pt x="1461563" y="617404"/>
                  <a:pt x="1461075" y="621308"/>
                  <a:pt x="1460096" y="624899"/>
                </a:cubicBezTo>
                <a:cubicBezTo>
                  <a:pt x="1457543" y="634261"/>
                  <a:pt x="1455389" y="643728"/>
                  <a:pt x="1453035" y="653143"/>
                </a:cubicBezTo>
                <a:cubicBezTo>
                  <a:pt x="1451858" y="657850"/>
                  <a:pt x="1454291" y="666467"/>
                  <a:pt x="1449505" y="667265"/>
                </a:cubicBezTo>
                <a:lnTo>
                  <a:pt x="1428322" y="670795"/>
                </a:lnTo>
                <a:lnTo>
                  <a:pt x="1407139" y="677856"/>
                </a:lnTo>
                <a:cubicBezTo>
                  <a:pt x="1403608" y="679033"/>
                  <a:pt x="1399644" y="679323"/>
                  <a:pt x="1396547" y="681387"/>
                </a:cubicBezTo>
                <a:cubicBezTo>
                  <a:pt x="1393017" y="683741"/>
                  <a:pt x="1389833" y="686725"/>
                  <a:pt x="1385956" y="688448"/>
                </a:cubicBezTo>
                <a:cubicBezTo>
                  <a:pt x="1385936" y="688457"/>
                  <a:pt x="1359487" y="697270"/>
                  <a:pt x="1354181" y="699039"/>
                </a:cubicBezTo>
                <a:cubicBezTo>
                  <a:pt x="1354170" y="699043"/>
                  <a:pt x="1333009" y="706098"/>
                  <a:pt x="1332998" y="706100"/>
                </a:cubicBezTo>
                <a:cubicBezTo>
                  <a:pt x="1325937" y="707277"/>
                  <a:pt x="1318803" y="708078"/>
                  <a:pt x="1311815" y="709631"/>
                </a:cubicBezTo>
                <a:cubicBezTo>
                  <a:pt x="1308182" y="710438"/>
                  <a:pt x="1304802" y="712139"/>
                  <a:pt x="1301224" y="713161"/>
                </a:cubicBezTo>
                <a:cubicBezTo>
                  <a:pt x="1296558" y="714494"/>
                  <a:pt x="1291750" y="715298"/>
                  <a:pt x="1287102" y="716692"/>
                </a:cubicBezTo>
                <a:cubicBezTo>
                  <a:pt x="1279973" y="718831"/>
                  <a:pt x="1273287" y="722701"/>
                  <a:pt x="1265919" y="723753"/>
                </a:cubicBezTo>
                <a:cubicBezTo>
                  <a:pt x="1257681" y="724930"/>
                  <a:pt x="1249392" y="725794"/>
                  <a:pt x="1241205" y="727283"/>
                </a:cubicBezTo>
                <a:cubicBezTo>
                  <a:pt x="1236431" y="728151"/>
                  <a:pt x="1231886" y="730128"/>
                  <a:pt x="1227083" y="730814"/>
                </a:cubicBezTo>
                <a:cubicBezTo>
                  <a:pt x="1215375" y="732487"/>
                  <a:pt x="1203546" y="733167"/>
                  <a:pt x="1191778" y="734344"/>
                </a:cubicBezTo>
                <a:cubicBezTo>
                  <a:pt x="1184717" y="736698"/>
                  <a:pt x="1174723" y="735212"/>
                  <a:pt x="1170595" y="741405"/>
                </a:cubicBezTo>
                <a:cubicBezTo>
                  <a:pt x="1154409" y="765685"/>
                  <a:pt x="1164524" y="759906"/>
                  <a:pt x="1145882" y="766119"/>
                </a:cubicBezTo>
                <a:cubicBezTo>
                  <a:pt x="1142351" y="769650"/>
                  <a:pt x="1138487" y="772875"/>
                  <a:pt x="1135290" y="776711"/>
                </a:cubicBezTo>
                <a:cubicBezTo>
                  <a:pt x="1129438" y="783734"/>
                  <a:pt x="1124572" y="795645"/>
                  <a:pt x="1117638" y="801424"/>
                </a:cubicBezTo>
                <a:cubicBezTo>
                  <a:pt x="1114779" y="803807"/>
                  <a:pt x="1110299" y="803148"/>
                  <a:pt x="1107046" y="804955"/>
                </a:cubicBezTo>
                <a:cubicBezTo>
                  <a:pt x="1099628" y="809076"/>
                  <a:pt x="1085863" y="819077"/>
                  <a:pt x="1085863" y="819077"/>
                </a:cubicBezTo>
                <a:cubicBezTo>
                  <a:pt x="1077138" y="845253"/>
                  <a:pt x="1085459" y="836931"/>
                  <a:pt x="1064680" y="847321"/>
                </a:cubicBezTo>
                <a:cubicBezTo>
                  <a:pt x="1059471" y="855134"/>
                  <a:pt x="1055181" y="863069"/>
                  <a:pt x="1047028" y="868504"/>
                </a:cubicBezTo>
                <a:cubicBezTo>
                  <a:pt x="1043931" y="870568"/>
                  <a:pt x="1039967" y="870857"/>
                  <a:pt x="1036436" y="872034"/>
                </a:cubicBezTo>
                <a:lnTo>
                  <a:pt x="1022314" y="893217"/>
                </a:lnTo>
                <a:lnTo>
                  <a:pt x="1015253" y="903809"/>
                </a:lnTo>
                <a:cubicBezTo>
                  <a:pt x="1012623" y="911699"/>
                  <a:pt x="1009030" y="928672"/>
                  <a:pt x="1001131" y="935583"/>
                </a:cubicBezTo>
                <a:cubicBezTo>
                  <a:pt x="994744" y="941171"/>
                  <a:pt x="987009" y="944998"/>
                  <a:pt x="979948" y="949705"/>
                </a:cubicBezTo>
                <a:lnTo>
                  <a:pt x="969357" y="956766"/>
                </a:lnTo>
                <a:cubicBezTo>
                  <a:pt x="967003" y="960297"/>
                  <a:pt x="962896" y="963157"/>
                  <a:pt x="962296" y="967358"/>
                </a:cubicBezTo>
                <a:cubicBezTo>
                  <a:pt x="961610" y="972161"/>
                  <a:pt x="964432" y="976832"/>
                  <a:pt x="965826" y="981480"/>
                </a:cubicBezTo>
                <a:cubicBezTo>
                  <a:pt x="965846" y="981547"/>
                  <a:pt x="974642" y="1007925"/>
                  <a:pt x="976418" y="1013254"/>
                </a:cubicBezTo>
                <a:cubicBezTo>
                  <a:pt x="977595" y="1016785"/>
                  <a:pt x="979218" y="1020197"/>
                  <a:pt x="979948" y="1023846"/>
                </a:cubicBezTo>
                <a:cubicBezTo>
                  <a:pt x="981125" y="1029730"/>
                  <a:pt x="980502" y="1036288"/>
                  <a:pt x="983479" y="1041498"/>
                </a:cubicBezTo>
                <a:cubicBezTo>
                  <a:pt x="985584" y="1045182"/>
                  <a:pt x="990193" y="1046836"/>
                  <a:pt x="994070" y="1048559"/>
                </a:cubicBezTo>
                <a:cubicBezTo>
                  <a:pt x="1000871" y="1051582"/>
                  <a:pt x="1015253" y="1055620"/>
                  <a:pt x="1015253" y="1055620"/>
                </a:cubicBezTo>
                <a:cubicBezTo>
                  <a:pt x="1019601" y="1068664"/>
                  <a:pt x="1023367" y="1074697"/>
                  <a:pt x="1015253" y="1090925"/>
                </a:cubicBezTo>
                <a:cubicBezTo>
                  <a:pt x="1013589" y="1094253"/>
                  <a:pt x="1008240" y="1093434"/>
                  <a:pt x="1004662" y="1094456"/>
                </a:cubicBezTo>
                <a:cubicBezTo>
                  <a:pt x="999997" y="1095789"/>
                  <a:pt x="995188" y="1096592"/>
                  <a:pt x="990540" y="1097986"/>
                </a:cubicBezTo>
                <a:cubicBezTo>
                  <a:pt x="983411" y="1100125"/>
                  <a:pt x="976578" y="1103242"/>
                  <a:pt x="969357" y="1105047"/>
                </a:cubicBezTo>
                <a:cubicBezTo>
                  <a:pt x="959942" y="1107401"/>
                  <a:pt x="950319" y="1109039"/>
                  <a:pt x="941112" y="1112108"/>
                </a:cubicBezTo>
                <a:lnTo>
                  <a:pt x="919929" y="1119169"/>
                </a:lnTo>
                <a:cubicBezTo>
                  <a:pt x="901102" y="1147411"/>
                  <a:pt x="925811" y="1113288"/>
                  <a:pt x="902277" y="1136822"/>
                </a:cubicBezTo>
                <a:cubicBezTo>
                  <a:pt x="878743" y="1160356"/>
                  <a:pt x="912866" y="1135647"/>
                  <a:pt x="884624" y="1154474"/>
                </a:cubicBezTo>
                <a:cubicBezTo>
                  <a:pt x="882270" y="1158005"/>
                  <a:pt x="879286" y="1161188"/>
                  <a:pt x="877563" y="1165066"/>
                </a:cubicBezTo>
                <a:cubicBezTo>
                  <a:pt x="874540" y="1171867"/>
                  <a:pt x="870502" y="1186249"/>
                  <a:pt x="870502" y="1186249"/>
                </a:cubicBezTo>
                <a:cubicBezTo>
                  <a:pt x="870351" y="1187453"/>
                  <a:pt x="868466" y="1217546"/>
                  <a:pt x="863441" y="1225084"/>
                </a:cubicBezTo>
                <a:cubicBezTo>
                  <a:pt x="860671" y="1229238"/>
                  <a:pt x="857215" y="1233251"/>
                  <a:pt x="852850" y="1235676"/>
                </a:cubicBezTo>
                <a:cubicBezTo>
                  <a:pt x="852840" y="1235682"/>
                  <a:pt x="826376" y="1244500"/>
                  <a:pt x="821075" y="1246267"/>
                </a:cubicBezTo>
                <a:lnTo>
                  <a:pt x="810484" y="1249798"/>
                </a:lnTo>
                <a:cubicBezTo>
                  <a:pt x="804600" y="1248621"/>
                  <a:pt x="798450" y="1248374"/>
                  <a:pt x="792831" y="1246267"/>
                </a:cubicBezTo>
                <a:cubicBezTo>
                  <a:pt x="788858" y="1244777"/>
                  <a:pt x="786466" y="1239590"/>
                  <a:pt x="782240" y="1239206"/>
                </a:cubicBezTo>
                <a:cubicBezTo>
                  <a:pt x="772791" y="1238347"/>
                  <a:pt x="763411" y="1241560"/>
                  <a:pt x="753996" y="1242737"/>
                </a:cubicBezTo>
                <a:lnTo>
                  <a:pt x="732813" y="1256859"/>
                </a:lnTo>
                <a:lnTo>
                  <a:pt x="722221" y="1263920"/>
                </a:lnTo>
                <a:cubicBezTo>
                  <a:pt x="715349" y="1284539"/>
                  <a:pt x="724069" y="1265602"/>
                  <a:pt x="708099" y="1281572"/>
                </a:cubicBezTo>
                <a:cubicBezTo>
                  <a:pt x="684559" y="1305112"/>
                  <a:pt x="718693" y="1280394"/>
                  <a:pt x="690447" y="1299225"/>
                </a:cubicBezTo>
                <a:cubicBezTo>
                  <a:pt x="687338" y="1308551"/>
                  <a:pt x="681897" y="1327964"/>
                  <a:pt x="672794" y="1330999"/>
                </a:cubicBezTo>
                <a:cubicBezTo>
                  <a:pt x="658178" y="1335872"/>
                  <a:pt x="665299" y="1332466"/>
                  <a:pt x="651611" y="1341591"/>
                </a:cubicBezTo>
                <a:cubicBezTo>
                  <a:pt x="636312" y="1340414"/>
                  <a:pt x="620554" y="1341965"/>
                  <a:pt x="605715" y="1338060"/>
                </a:cubicBezTo>
                <a:cubicBezTo>
                  <a:pt x="597508" y="1335900"/>
                  <a:pt x="584532" y="1323938"/>
                  <a:pt x="584532" y="1323938"/>
                </a:cubicBezTo>
                <a:cubicBezTo>
                  <a:pt x="583355" y="1320408"/>
                  <a:pt x="583632" y="1315978"/>
                  <a:pt x="581001" y="1313347"/>
                </a:cubicBezTo>
                <a:cubicBezTo>
                  <a:pt x="571547" y="1303893"/>
                  <a:pt x="567620" y="1312976"/>
                  <a:pt x="559818" y="1316877"/>
                </a:cubicBezTo>
                <a:cubicBezTo>
                  <a:pt x="556490" y="1318541"/>
                  <a:pt x="552757" y="1319231"/>
                  <a:pt x="549227" y="1320408"/>
                </a:cubicBezTo>
                <a:cubicBezTo>
                  <a:pt x="533928" y="1319231"/>
                  <a:pt x="518556" y="1318780"/>
                  <a:pt x="503330" y="1316877"/>
                </a:cubicBezTo>
                <a:cubicBezTo>
                  <a:pt x="499637" y="1316415"/>
                  <a:pt x="496428" y="1313839"/>
                  <a:pt x="492739" y="1313347"/>
                </a:cubicBezTo>
                <a:cubicBezTo>
                  <a:pt x="478692" y="1311474"/>
                  <a:pt x="464495" y="1310993"/>
                  <a:pt x="450373" y="1309816"/>
                </a:cubicBezTo>
                <a:lnTo>
                  <a:pt x="429190" y="1302755"/>
                </a:lnTo>
                <a:lnTo>
                  <a:pt x="418598" y="1299225"/>
                </a:lnTo>
                <a:cubicBezTo>
                  <a:pt x="415068" y="1296871"/>
                  <a:pt x="411907" y="1293835"/>
                  <a:pt x="408007" y="1292164"/>
                </a:cubicBezTo>
                <a:cubicBezTo>
                  <a:pt x="389245" y="1284123"/>
                  <a:pt x="366321" y="1290754"/>
                  <a:pt x="347988" y="1292164"/>
                </a:cubicBezTo>
                <a:cubicBezTo>
                  <a:pt x="344458" y="1293341"/>
                  <a:pt x="340975" y="1294672"/>
                  <a:pt x="337397" y="1295694"/>
                </a:cubicBezTo>
                <a:cubicBezTo>
                  <a:pt x="306357" y="1304563"/>
                  <a:pt x="338085" y="1294289"/>
                  <a:pt x="312683" y="1302755"/>
                </a:cubicBezTo>
                <a:cubicBezTo>
                  <a:pt x="309153" y="1305109"/>
                  <a:pt x="305887" y="1307918"/>
                  <a:pt x="302092" y="1309816"/>
                </a:cubicBezTo>
                <a:cubicBezTo>
                  <a:pt x="296155" y="1312784"/>
                  <a:pt x="283040" y="1315179"/>
                  <a:pt x="277378" y="1316877"/>
                </a:cubicBezTo>
                <a:cubicBezTo>
                  <a:pt x="277311" y="1316897"/>
                  <a:pt x="250933" y="1325693"/>
                  <a:pt x="245604" y="1327469"/>
                </a:cubicBezTo>
                <a:lnTo>
                  <a:pt x="224421" y="1334530"/>
                </a:lnTo>
                <a:lnTo>
                  <a:pt x="213829" y="1338060"/>
                </a:lnTo>
                <a:cubicBezTo>
                  <a:pt x="210299" y="1340414"/>
                  <a:pt x="207115" y="1343398"/>
                  <a:pt x="203238" y="1345121"/>
                </a:cubicBezTo>
                <a:cubicBezTo>
                  <a:pt x="196437" y="1348144"/>
                  <a:pt x="182055" y="1352182"/>
                  <a:pt x="182055" y="1352182"/>
                </a:cubicBezTo>
                <a:cubicBezTo>
                  <a:pt x="170287" y="1351005"/>
                  <a:pt x="158374" y="1350831"/>
                  <a:pt x="146750" y="1348652"/>
                </a:cubicBezTo>
                <a:cubicBezTo>
                  <a:pt x="139435" y="1347280"/>
                  <a:pt x="125567" y="1341591"/>
                  <a:pt x="125567" y="1341591"/>
                </a:cubicBezTo>
                <a:cubicBezTo>
                  <a:pt x="122036" y="1339237"/>
                  <a:pt x="117224" y="1338128"/>
                  <a:pt x="114975" y="1334530"/>
                </a:cubicBezTo>
                <a:cubicBezTo>
                  <a:pt x="108662" y="1324429"/>
                  <a:pt x="107241" y="1307121"/>
                  <a:pt x="104384" y="1295694"/>
                </a:cubicBezTo>
                <a:cubicBezTo>
                  <a:pt x="103481" y="1292084"/>
                  <a:pt x="102030" y="1288633"/>
                  <a:pt x="100853" y="1285103"/>
                </a:cubicBezTo>
                <a:cubicBezTo>
                  <a:pt x="99676" y="1274511"/>
                  <a:pt x="98246" y="1263945"/>
                  <a:pt x="97323" y="1253328"/>
                </a:cubicBezTo>
                <a:cubicBezTo>
                  <a:pt x="95892" y="1236872"/>
                  <a:pt x="95722" y="1220306"/>
                  <a:pt x="93792" y="1203901"/>
                </a:cubicBezTo>
                <a:cubicBezTo>
                  <a:pt x="93357" y="1200205"/>
                  <a:pt x="92069" y="1196563"/>
                  <a:pt x="90262" y="1193310"/>
                </a:cubicBezTo>
                <a:cubicBezTo>
                  <a:pt x="86141" y="1185892"/>
                  <a:pt x="82141" y="1178128"/>
                  <a:pt x="76140" y="1172127"/>
                </a:cubicBezTo>
                <a:cubicBezTo>
                  <a:pt x="62548" y="1158535"/>
                  <a:pt x="68318" y="1165689"/>
                  <a:pt x="58487" y="1150944"/>
                </a:cubicBezTo>
                <a:cubicBezTo>
                  <a:pt x="57310" y="1147413"/>
                  <a:pt x="56764" y="1143605"/>
                  <a:pt x="54957" y="1140352"/>
                </a:cubicBezTo>
                <a:cubicBezTo>
                  <a:pt x="51476" y="1134087"/>
                  <a:pt x="41938" y="1118231"/>
                  <a:pt x="33773" y="1112108"/>
                </a:cubicBezTo>
                <a:cubicBezTo>
                  <a:pt x="26984" y="1107016"/>
                  <a:pt x="12590" y="1097986"/>
                  <a:pt x="12590" y="1097986"/>
                </a:cubicBezTo>
                <a:cubicBezTo>
                  <a:pt x="4422" y="1085735"/>
                  <a:pt x="0" y="1084333"/>
                  <a:pt x="9060" y="1066212"/>
                </a:cubicBezTo>
                <a:cubicBezTo>
                  <a:pt x="12677" y="1058979"/>
                  <a:pt x="24459" y="1058833"/>
                  <a:pt x="30243" y="1055620"/>
                </a:cubicBezTo>
                <a:cubicBezTo>
                  <a:pt x="37661" y="1051499"/>
                  <a:pt x="51426" y="1041498"/>
                  <a:pt x="51426" y="1041498"/>
                </a:cubicBezTo>
                <a:cubicBezTo>
                  <a:pt x="52603" y="1037968"/>
                  <a:pt x="54957" y="1034628"/>
                  <a:pt x="54957" y="1030907"/>
                </a:cubicBezTo>
                <a:cubicBezTo>
                  <a:pt x="54957" y="1028648"/>
                  <a:pt x="49560" y="1009520"/>
                  <a:pt x="47896" y="1006193"/>
                </a:cubicBezTo>
                <a:cubicBezTo>
                  <a:pt x="45999" y="1002398"/>
                  <a:pt x="42733" y="999397"/>
                  <a:pt x="40835" y="995602"/>
                </a:cubicBezTo>
                <a:cubicBezTo>
                  <a:pt x="39171" y="992273"/>
                  <a:pt x="38481" y="988541"/>
                  <a:pt x="37304" y="985010"/>
                </a:cubicBezTo>
                <a:cubicBezTo>
                  <a:pt x="38261" y="979267"/>
                  <a:pt x="40227" y="960684"/>
                  <a:pt x="44365" y="953236"/>
                </a:cubicBezTo>
                <a:cubicBezTo>
                  <a:pt x="48486" y="945818"/>
                  <a:pt x="51426" y="936760"/>
                  <a:pt x="58487" y="932053"/>
                </a:cubicBezTo>
                <a:lnTo>
                  <a:pt x="79670" y="917931"/>
                </a:lnTo>
                <a:cubicBezTo>
                  <a:pt x="82024" y="914400"/>
                  <a:pt x="84833" y="911134"/>
                  <a:pt x="86731" y="907339"/>
                </a:cubicBezTo>
                <a:cubicBezTo>
                  <a:pt x="91078" y="898645"/>
                  <a:pt x="92435" y="883707"/>
                  <a:pt x="93792" y="875565"/>
                </a:cubicBezTo>
                <a:cubicBezTo>
                  <a:pt x="92615" y="857912"/>
                  <a:pt x="92764" y="840121"/>
                  <a:pt x="90262" y="822607"/>
                </a:cubicBezTo>
                <a:cubicBezTo>
                  <a:pt x="89209" y="815239"/>
                  <a:pt x="85555" y="808485"/>
                  <a:pt x="83201" y="801424"/>
                </a:cubicBezTo>
                <a:lnTo>
                  <a:pt x="79670" y="790833"/>
                </a:lnTo>
                <a:cubicBezTo>
                  <a:pt x="80847" y="781418"/>
                  <a:pt x="80704" y="771743"/>
                  <a:pt x="83201" y="762589"/>
                </a:cubicBezTo>
                <a:cubicBezTo>
                  <a:pt x="87118" y="748228"/>
                  <a:pt x="98993" y="749087"/>
                  <a:pt x="111445" y="744936"/>
                </a:cubicBezTo>
                <a:cubicBezTo>
                  <a:pt x="126060" y="740064"/>
                  <a:pt x="118942" y="743468"/>
                  <a:pt x="132628" y="734344"/>
                </a:cubicBezTo>
                <a:cubicBezTo>
                  <a:pt x="134982" y="730814"/>
                  <a:pt x="137792" y="727548"/>
                  <a:pt x="139689" y="723753"/>
                </a:cubicBezTo>
                <a:cubicBezTo>
                  <a:pt x="141353" y="720424"/>
                  <a:pt x="140191" y="715324"/>
                  <a:pt x="143219" y="713161"/>
                </a:cubicBezTo>
                <a:cubicBezTo>
                  <a:pt x="149275" y="708835"/>
                  <a:pt x="158209" y="710228"/>
                  <a:pt x="164402" y="706100"/>
                </a:cubicBezTo>
                <a:lnTo>
                  <a:pt x="174994" y="699039"/>
                </a:lnTo>
                <a:cubicBezTo>
                  <a:pt x="177415" y="655461"/>
                  <a:pt x="161140" y="642416"/>
                  <a:pt x="189116" y="628429"/>
                </a:cubicBezTo>
                <a:cubicBezTo>
                  <a:pt x="192444" y="626765"/>
                  <a:pt x="196177" y="626076"/>
                  <a:pt x="199707" y="624899"/>
                </a:cubicBezTo>
                <a:cubicBezTo>
                  <a:pt x="200884" y="604893"/>
                  <a:pt x="198981" y="584463"/>
                  <a:pt x="203238" y="564880"/>
                </a:cubicBezTo>
                <a:cubicBezTo>
                  <a:pt x="205041" y="556587"/>
                  <a:pt x="212653" y="550758"/>
                  <a:pt x="217360" y="543697"/>
                </a:cubicBezTo>
                <a:lnTo>
                  <a:pt x="224421" y="533106"/>
                </a:lnTo>
                <a:cubicBezTo>
                  <a:pt x="227959" y="522490"/>
                  <a:pt x="227407" y="521049"/>
                  <a:pt x="235012" y="511923"/>
                </a:cubicBezTo>
                <a:cubicBezTo>
                  <a:pt x="238209" y="508087"/>
                  <a:pt x="241269" y="503808"/>
                  <a:pt x="245604" y="501331"/>
                </a:cubicBezTo>
                <a:cubicBezTo>
                  <a:pt x="249817" y="498924"/>
                  <a:pt x="255061" y="499134"/>
                  <a:pt x="259726" y="497801"/>
                </a:cubicBezTo>
                <a:cubicBezTo>
                  <a:pt x="263304" y="496779"/>
                  <a:pt x="266707" y="495173"/>
                  <a:pt x="270317" y="494270"/>
                </a:cubicBezTo>
                <a:cubicBezTo>
                  <a:pt x="276139" y="492815"/>
                  <a:pt x="282148" y="492195"/>
                  <a:pt x="287970" y="490740"/>
                </a:cubicBezTo>
                <a:cubicBezTo>
                  <a:pt x="291580" y="489837"/>
                  <a:pt x="294951" y="488112"/>
                  <a:pt x="298561" y="487209"/>
                </a:cubicBezTo>
                <a:cubicBezTo>
                  <a:pt x="304383" y="485754"/>
                  <a:pt x="310330" y="484856"/>
                  <a:pt x="316214" y="483679"/>
                </a:cubicBezTo>
                <a:cubicBezTo>
                  <a:pt x="318568" y="480148"/>
                  <a:pt x="323275" y="477330"/>
                  <a:pt x="323275" y="473087"/>
                </a:cubicBezTo>
                <a:cubicBezTo>
                  <a:pt x="323275" y="454794"/>
                  <a:pt x="317268" y="455786"/>
                  <a:pt x="305622" y="451904"/>
                </a:cubicBezTo>
                <a:cubicBezTo>
                  <a:pt x="304832" y="442427"/>
                  <a:pt x="305773" y="413371"/>
                  <a:pt x="298561" y="398947"/>
                </a:cubicBezTo>
                <a:cubicBezTo>
                  <a:pt x="296663" y="395152"/>
                  <a:pt x="294813" y="391006"/>
                  <a:pt x="291500" y="388355"/>
                </a:cubicBezTo>
                <a:cubicBezTo>
                  <a:pt x="288594" y="386030"/>
                  <a:pt x="284439" y="386002"/>
                  <a:pt x="280909" y="384825"/>
                </a:cubicBezTo>
                <a:lnTo>
                  <a:pt x="273848" y="363642"/>
                </a:lnTo>
                <a:cubicBezTo>
                  <a:pt x="272671" y="360111"/>
                  <a:pt x="273848" y="354227"/>
                  <a:pt x="270317" y="353050"/>
                </a:cubicBezTo>
                <a:cubicBezTo>
                  <a:pt x="231236" y="340023"/>
                  <a:pt x="256562" y="346453"/>
                  <a:pt x="192646" y="342459"/>
                </a:cubicBezTo>
                <a:cubicBezTo>
                  <a:pt x="185670" y="340133"/>
                  <a:pt x="176440" y="338088"/>
                  <a:pt x="171463" y="331867"/>
                </a:cubicBezTo>
                <a:cubicBezTo>
                  <a:pt x="159317" y="316685"/>
                  <a:pt x="179324" y="323985"/>
                  <a:pt x="157341" y="314215"/>
                </a:cubicBezTo>
                <a:cubicBezTo>
                  <a:pt x="150540" y="311192"/>
                  <a:pt x="143219" y="309508"/>
                  <a:pt x="136158" y="307154"/>
                </a:cubicBezTo>
                <a:lnTo>
                  <a:pt x="125567" y="303623"/>
                </a:lnTo>
                <a:cubicBezTo>
                  <a:pt x="123213" y="300093"/>
                  <a:pt x="120177" y="296932"/>
                  <a:pt x="118506" y="293032"/>
                </a:cubicBezTo>
                <a:cubicBezTo>
                  <a:pt x="116594" y="288572"/>
                  <a:pt x="118659" y="282068"/>
                  <a:pt x="114975" y="278910"/>
                </a:cubicBezTo>
                <a:cubicBezTo>
                  <a:pt x="109324" y="274066"/>
                  <a:pt x="100853" y="274203"/>
                  <a:pt x="93792" y="271849"/>
                </a:cubicBezTo>
                <a:lnTo>
                  <a:pt x="72609" y="264788"/>
                </a:lnTo>
                <a:cubicBezTo>
                  <a:pt x="69079" y="263611"/>
                  <a:pt x="65739" y="261257"/>
                  <a:pt x="62018" y="261257"/>
                </a:cubicBezTo>
                <a:lnTo>
                  <a:pt x="26712" y="250666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6" name="Title 1"/>
          <p:cNvSpPr>
            <a:spLocks noGrp="1"/>
          </p:cNvSpPr>
          <p:nvPr>
            <p:ph type="ctrTitle"/>
          </p:nvPr>
        </p:nvSpPr>
        <p:spPr>
          <a:xfrm rot="17925397">
            <a:off x="1244073" y="5363109"/>
            <a:ext cx="1115484" cy="244475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1200" smtClean="0">
                <a:latin typeface="Ramabhadra" pitchFamily="2" charset="0"/>
                <a:cs typeface="Ramabhadra" pitchFamily="2" charset="0"/>
              </a:rPr>
              <a:t>పోర్చుగల్</a:t>
            </a:r>
            <a:endParaRPr lang="en-IN" sz="1200" smtClean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7" name="Title 1"/>
          <p:cNvSpPr txBox="1">
            <a:spLocks/>
          </p:cNvSpPr>
          <p:nvPr/>
        </p:nvSpPr>
        <p:spPr>
          <a:xfrm>
            <a:off x="1979614" y="5374221"/>
            <a:ext cx="876300" cy="15028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600" dirty="0" err="1">
                <a:latin typeface="Ramabhadra" pitchFamily="2" charset="0"/>
                <a:ea typeface="+mj-ea"/>
                <a:cs typeface="Ramabhadra" pitchFamily="2" charset="0"/>
              </a:rPr>
              <a:t>స్పెయిన్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98" name="Freeform 97"/>
          <p:cNvSpPr/>
          <p:nvPr/>
        </p:nvSpPr>
        <p:spPr>
          <a:xfrm>
            <a:off x="2608269" y="3814236"/>
            <a:ext cx="1419225" cy="1507067"/>
          </a:xfrm>
          <a:custGeom>
            <a:avLst/>
            <a:gdLst>
              <a:gd name="connsiteX0" fmla="*/ 123968 w 1419251"/>
              <a:gd name="connsiteY0" fmla="*/ 1168596 h 1508627"/>
              <a:gd name="connsiteX1" fmla="*/ 134560 w 1419251"/>
              <a:gd name="connsiteY1" fmla="*/ 1161535 h 1508627"/>
              <a:gd name="connsiteX2" fmla="*/ 148682 w 1419251"/>
              <a:gd name="connsiteY2" fmla="*/ 1140352 h 1508627"/>
              <a:gd name="connsiteX3" fmla="*/ 155743 w 1419251"/>
              <a:gd name="connsiteY3" fmla="*/ 1115639 h 1508627"/>
              <a:gd name="connsiteX4" fmla="*/ 162804 w 1419251"/>
              <a:gd name="connsiteY4" fmla="*/ 1105047 h 1508627"/>
              <a:gd name="connsiteX5" fmla="*/ 183987 w 1419251"/>
              <a:gd name="connsiteY5" fmla="*/ 1097986 h 1508627"/>
              <a:gd name="connsiteX6" fmla="*/ 194579 w 1419251"/>
              <a:gd name="connsiteY6" fmla="*/ 1076803 h 1508627"/>
              <a:gd name="connsiteX7" fmla="*/ 201640 w 1419251"/>
              <a:gd name="connsiteY7" fmla="*/ 1066212 h 1508627"/>
              <a:gd name="connsiteX8" fmla="*/ 208701 w 1419251"/>
              <a:gd name="connsiteY8" fmla="*/ 1045029 h 1508627"/>
              <a:gd name="connsiteX9" fmla="*/ 212231 w 1419251"/>
              <a:gd name="connsiteY9" fmla="*/ 1034437 h 1508627"/>
              <a:gd name="connsiteX10" fmla="*/ 215762 w 1419251"/>
              <a:gd name="connsiteY10" fmla="*/ 988541 h 1508627"/>
              <a:gd name="connsiteX11" fmla="*/ 222823 w 1419251"/>
              <a:gd name="connsiteY11" fmla="*/ 977949 h 1508627"/>
              <a:gd name="connsiteX12" fmla="*/ 233414 w 1419251"/>
              <a:gd name="connsiteY12" fmla="*/ 956766 h 1508627"/>
              <a:gd name="connsiteX13" fmla="*/ 236945 w 1419251"/>
              <a:gd name="connsiteY13" fmla="*/ 942644 h 1508627"/>
              <a:gd name="connsiteX14" fmla="*/ 240475 w 1419251"/>
              <a:gd name="connsiteY14" fmla="*/ 932053 h 1508627"/>
              <a:gd name="connsiteX15" fmla="*/ 244006 w 1419251"/>
              <a:gd name="connsiteY15" fmla="*/ 861443 h 1508627"/>
              <a:gd name="connsiteX16" fmla="*/ 251067 w 1419251"/>
              <a:gd name="connsiteY16" fmla="*/ 850851 h 1508627"/>
              <a:gd name="connsiteX17" fmla="*/ 272250 w 1419251"/>
              <a:gd name="connsiteY17" fmla="*/ 836729 h 1508627"/>
              <a:gd name="connsiteX18" fmla="*/ 286372 w 1419251"/>
              <a:gd name="connsiteY18" fmla="*/ 815546 h 1508627"/>
              <a:gd name="connsiteX19" fmla="*/ 300494 w 1419251"/>
              <a:gd name="connsiteY19" fmla="*/ 769650 h 1508627"/>
              <a:gd name="connsiteX20" fmla="*/ 296963 w 1419251"/>
              <a:gd name="connsiteY20" fmla="*/ 727283 h 1508627"/>
              <a:gd name="connsiteX21" fmla="*/ 289902 w 1419251"/>
              <a:gd name="connsiteY21" fmla="*/ 716692 h 1508627"/>
              <a:gd name="connsiteX22" fmla="*/ 268719 w 1419251"/>
              <a:gd name="connsiteY22" fmla="*/ 699039 h 1508627"/>
              <a:gd name="connsiteX23" fmla="*/ 254597 w 1419251"/>
              <a:gd name="connsiteY23" fmla="*/ 674326 h 1508627"/>
              <a:gd name="connsiteX24" fmla="*/ 244006 w 1419251"/>
              <a:gd name="connsiteY24" fmla="*/ 663734 h 1508627"/>
              <a:gd name="connsiteX25" fmla="*/ 233414 w 1419251"/>
              <a:gd name="connsiteY25" fmla="*/ 631960 h 1508627"/>
              <a:gd name="connsiteX26" fmla="*/ 229884 w 1419251"/>
              <a:gd name="connsiteY26" fmla="*/ 621368 h 1508627"/>
              <a:gd name="connsiteX27" fmla="*/ 226353 w 1419251"/>
              <a:gd name="connsiteY27" fmla="*/ 526045 h 1508627"/>
              <a:gd name="connsiteX28" fmla="*/ 219292 w 1419251"/>
              <a:gd name="connsiteY28" fmla="*/ 515453 h 1508627"/>
              <a:gd name="connsiteX29" fmla="*/ 208701 w 1419251"/>
              <a:gd name="connsiteY29" fmla="*/ 511923 h 1508627"/>
              <a:gd name="connsiteX30" fmla="*/ 205170 w 1419251"/>
              <a:gd name="connsiteY30" fmla="*/ 494270 h 1508627"/>
              <a:gd name="connsiteX31" fmla="*/ 194579 w 1419251"/>
              <a:gd name="connsiteY31" fmla="*/ 469557 h 1508627"/>
              <a:gd name="connsiteX32" fmla="*/ 183987 w 1419251"/>
              <a:gd name="connsiteY32" fmla="*/ 462496 h 1508627"/>
              <a:gd name="connsiteX33" fmla="*/ 169865 w 1419251"/>
              <a:gd name="connsiteY33" fmla="*/ 441313 h 1508627"/>
              <a:gd name="connsiteX34" fmla="*/ 152213 w 1419251"/>
              <a:gd name="connsiteY34" fmla="*/ 420130 h 1508627"/>
              <a:gd name="connsiteX35" fmla="*/ 141621 w 1419251"/>
              <a:gd name="connsiteY35" fmla="*/ 413069 h 1508627"/>
              <a:gd name="connsiteX36" fmla="*/ 134560 w 1419251"/>
              <a:gd name="connsiteY36" fmla="*/ 402477 h 1508627"/>
              <a:gd name="connsiteX37" fmla="*/ 123968 w 1419251"/>
              <a:gd name="connsiteY37" fmla="*/ 398947 h 1508627"/>
              <a:gd name="connsiteX38" fmla="*/ 71011 w 1419251"/>
              <a:gd name="connsiteY38" fmla="*/ 388355 h 1508627"/>
              <a:gd name="connsiteX39" fmla="*/ 49828 w 1419251"/>
              <a:gd name="connsiteY39" fmla="*/ 374233 h 1508627"/>
              <a:gd name="connsiteX40" fmla="*/ 39236 w 1419251"/>
              <a:gd name="connsiteY40" fmla="*/ 370703 h 1508627"/>
              <a:gd name="connsiteX41" fmla="*/ 28645 w 1419251"/>
              <a:gd name="connsiteY41" fmla="*/ 363642 h 1508627"/>
              <a:gd name="connsiteX42" fmla="*/ 18053 w 1419251"/>
              <a:gd name="connsiteY42" fmla="*/ 360111 h 1508627"/>
              <a:gd name="connsiteX43" fmla="*/ 10992 w 1419251"/>
              <a:gd name="connsiteY43" fmla="*/ 349520 h 1508627"/>
              <a:gd name="connsiteX44" fmla="*/ 7462 w 1419251"/>
              <a:gd name="connsiteY44" fmla="*/ 296562 h 1508627"/>
              <a:gd name="connsiteX45" fmla="*/ 14523 w 1419251"/>
              <a:gd name="connsiteY45" fmla="*/ 285971 h 1508627"/>
              <a:gd name="connsiteX46" fmla="*/ 35706 w 1419251"/>
              <a:gd name="connsiteY46" fmla="*/ 275379 h 1508627"/>
              <a:gd name="connsiteX47" fmla="*/ 32175 w 1419251"/>
              <a:gd name="connsiteY47" fmla="*/ 264788 h 1508627"/>
              <a:gd name="connsiteX48" fmla="*/ 7462 w 1419251"/>
              <a:gd name="connsiteY48" fmla="*/ 254196 h 1508627"/>
              <a:gd name="connsiteX49" fmla="*/ 401 w 1419251"/>
              <a:gd name="connsiteY49" fmla="*/ 243605 h 1508627"/>
              <a:gd name="connsiteX50" fmla="*/ 7462 w 1419251"/>
              <a:gd name="connsiteY50" fmla="*/ 233013 h 1508627"/>
              <a:gd name="connsiteX51" fmla="*/ 53358 w 1419251"/>
              <a:gd name="connsiteY51" fmla="*/ 222422 h 1508627"/>
              <a:gd name="connsiteX52" fmla="*/ 63950 w 1419251"/>
              <a:gd name="connsiteY52" fmla="*/ 218891 h 1508627"/>
              <a:gd name="connsiteX53" fmla="*/ 85133 w 1419251"/>
              <a:gd name="connsiteY53" fmla="*/ 222422 h 1508627"/>
              <a:gd name="connsiteX54" fmla="*/ 106316 w 1419251"/>
              <a:gd name="connsiteY54" fmla="*/ 236544 h 1508627"/>
              <a:gd name="connsiteX55" fmla="*/ 116907 w 1419251"/>
              <a:gd name="connsiteY55" fmla="*/ 240074 h 1508627"/>
              <a:gd name="connsiteX56" fmla="*/ 155743 w 1419251"/>
              <a:gd name="connsiteY56" fmla="*/ 236544 h 1508627"/>
              <a:gd name="connsiteX57" fmla="*/ 162804 w 1419251"/>
              <a:gd name="connsiteY57" fmla="*/ 215361 h 1508627"/>
              <a:gd name="connsiteX58" fmla="*/ 183987 w 1419251"/>
              <a:gd name="connsiteY58" fmla="*/ 229483 h 1508627"/>
              <a:gd name="connsiteX59" fmla="*/ 208701 w 1419251"/>
              <a:gd name="connsiteY59" fmla="*/ 243605 h 1508627"/>
              <a:gd name="connsiteX60" fmla="*/ 219292 w 1419251"/>
              <a:gd name="connsiteY60" fmla="*/ 250666 h 1508627"/>
              <a:gd name="connsiteX61" fmla="*/ 229884 w 1419251"/>
              <a:gd name="connsiteY61" fmla="*/ 271849 h 1508627"/>
              <a:gd name="connsiteX62" fmla="*/ 240475 w 1419251"/>
              <a:gd name="connsiteY62" fmla="*/ 275379 h 1508627"/>
              <a:gd name="connsiteX63" fmla="*/ 272250 w 1419251"/>
              <a:gd name="connsiteY63" fmla="*/ 293032 h 1508627"/>
              <a:gd name="connsiteX64" fmla="*/ 307555 w 1419251"/>
              <a:gd name="connsiteY64" fmla="*/ 296562 h 1508627"/>
              <a:gd name="connsiteX65" fmla="*/ 325207 w 1419251"/>
              <a:gd name="connsiteY65" fmla="*/ 314215 h 1508627"/>
              <a:gd name="connsiteX66" fmla="*/ 335799 w 1419251"/>
              <a:gd name="connsiteY66" fmla="*/ 321276 h 1508627"/>
              <a:gd name="connsiteX67" fmla="*/ 353451 w 1419251"/>
              <a:gd name="connsiteY67" fmla="*/ 218891 h 1508627"/>
              <a:gd name="connsiteX68" fmla="*/ 346390 w 1419251"/>
              <a:gd name="connsiteY68" fmla="*/ 197708 h 1508627"/>
              <a:gd name="connsiteX69" fmla="*/ 342860 w 1419251"/>
              <a:gd name="connsiteY69" fmla="*/ 187117 h 1508627"/>
              <a:gd name="connsiteX70" fmla="*/ 346390 w 1419251"/>
              <a:gd name="connsiteY70" fmla="*/ 155342 h 1508627"/>
              <a:gd name="connsiteX71" fmla="*/ 367573 w 1419251"/>
              <a:gd name="connsiteY71" fmla="*/ 148281 h 1508627"/>
              <a:gd name="connsiteX72" fmla="*/ 417000 w 1419251"/>
              <a:gd name="connsiteY72" fmla="*/ 155342 h 1508627"/>
              <a:gd name="connsiteX73" fmla="*/ 427592 w 1419251"/>
              <a:gd name="connsiteY73" fmla="*/ 162403 h 1508627"/>
              <a:gd name="connsiteX74" fmla="*/ 438183 w 1419251"/>
              <a:gd name="connsiteY74" fmla="*/ 194178 h 1508627"/>
              <a:gd name="connsiteX75" fmla="*/ 441714 w 1419251"/>
              <a:gd name="connsiteY75" fmla="*/ 204769 h 1508627"/>
              <a:gd name="connsiteX76" fmla="*/ 455836 w 1419251"/>
              <a:gd name="connsiteY76" fmla="*/ 208300 h 1508627"/>
              <a:gd name="connsiteX77" fmla="*/ 466427 w 1419251"/>
              <a:gd name="connsiteY77" fmla="*/ 211830 h 1508627"/>
              <a:gd name="connsiteX78" fmla="*/ 498202 w 1419251"/>
              <a:gd name="connsiteY78" fmla="*/ 215361 h 1508627"/>
              <a:gd name="connsiteX79" fmla="*/ 505263 w 1419251"/>
              <a:gd name="connsiteY79" fmla="*/ 225952 h 1508627"/>
              <a:gd name="connsiteX80" fmla="*/ 551159 w 1419251"/>
              <a:gd name="connsiteY80" fmla="*/ 229483 h 1508627"/>
              <a:gd name="connsiteX81" fmla="*/ 568812 w 1419251"/>
              <a:gd name="connsiteY81" fmla="*/ 187117 h 1508627"/>
              <a:gd name="connsiteX82" fmla="*/ 579403 w 1419251"/>
              <a:gd name="connsiteY82" fmla="*/ 183586 h 1508627"/>
              <a:gd name="connsiteX83" fmla="*/ 632361 w 1419251"/>
              <a:gd name="connsiteY83" fmla="*/ 176525 h 1508627"/>
              <a:gd name="connsiteX84" fmla="*/ 653544 w 1419251"/>
              <a:gd name="connsiteY84" fmla="*/ 169464 h 1508627"/>
              <a:gd name="connsiteX85" fmla="*/ 664135 w 1419251"/>
              <a:gd name="connsiteY85" fmla="*/ 165934 h 1508627"/>
              <a:gd name="connsiteX86" fmla="*/ 674727 w 1419251"/>
              <a:gd name="connsiteY86" fmla="*/ 155342 h 1508627"/>
              <a:gd name="connsiteX87" fmla="*/ 713562 w 1419251"/>
              <a:gd name="connsiteY87" fmla="*/ 144751 h 1508627"/>
              <a:gd name="connsiteX88" fmla="*/ 734745 w 1419251"/>
              <a:gd name="connsiteY88" fmla="*/ 137690 h 1508627"/>
              <a:gd name="connsiteX89" fmla="*/ 745337 w 1419251"/>
              <a:gd name="connsiteY89" fmla="*/ 130629 h 1508627"/>
              <a:gd name="connsiteX90" fmla="*/ 748867 w 1419251"/>
              <a:gd name="connsiteY90" fmla="*/ 120037 h 1508627"/>
              <a:gd name="connsiteX91" fmla="*/ 755928 w 1419251"/>
              <a:gd name="connsiteY91" fmla="*/ 109446 h 1508627"/>
              <a:gd name="connsiteX92" fmla="*/ 770050 w 1419251"/>
              <a:gd name="connsiteY92" fmla="*/ 31775 h 1508627"/>
              <a:gd name="connsiteX93" fmla="*/ 780642 w 1419251"/>
              <a:gd name="connsiteY93" fmla="*/ 21183 h 1508627"/>
              <a:gd name="connsiteX94" fmla="*/ 791233 w 1419251"/>
              <a:gd name="connsiteY94" fmla="*/ 17653 h 1508627"/>
              <a:gd name="connsiteX95" fmla="*/ 823008 w 1419251"/>
              <a:gd name="connsiteY95" fmla="*/ 3531 h 1508627"/>
              <a:gd name="connsiteX96" fmla="*/ 833599 w 1419251"/>
              <a:gd name="connsiteY96" fmla="*/ 0 h 1508627"/>
              <a:gd name="connsiteX97" fmla="*/ 886557 w 1419251"/>
              <a:gd name="connsiteY97" fmla="*/ 3531 h 1508627"/>
              <a:gd name="connsiteX98" fmla="*/ 897148 w 1419251"/>
              <a:gd name="connsiteY98" fmla="*/ 7061 h 1508627"/>
              <a:gd name="connsiteX99" fmla="*/ 900679 w 1419251"/>
              <a:gd name="connsiteY99" fmla="*/ 17653 h 1508627"/>
              <a:gd name="connsiteX100" fmla="*/ 904209 w 1419251"/>
              <a:gd name="connsiteY100" fmla="*/ 49427 h 1508627"/>
              <a:gd name="connsiteX101" fmla="*/ 925392 w 1419251"/>
              <a:gd name="connsiteY101" fmla="*/ 56488 h 1508627"/>
              <a:gd name="connsiteX102" fmla="*/ 935984 w 1419251"/>
              <a:gd name="connsiteY102" fmla="*/ 63549 h 1508627"/>
              <a:gd name="connsiteX103" fmla="*/ 939514 w 1419251"/>
              <a:gd name="connsiteY103" fmla="*/ 74141 h 1508627"/>
              <a:gd name="connsiteX104" fmla="*/ 946575 w 1419251"/>
              <a:gd name="connsiteY104" fmla="*/ 84732 h 1508627"/>
              <a:gd name="connsiteX105" fmla="*/ 957167 w 1419251"/>
              <a:gd name="connsiteY105" fmla="*/ 95324 h 1508627"/>
              <a:gd name="connsiteX106" fmla="*/ 971289 w 1419251"/>
              <a:gd name="connsiteY106" fmla="*/ 116507 h 1508627"/>
              <a:gd name="connsiteX107" fmla="*/ 1003063 w 1419251"/>
              <a:gd name="connsiteY107" fmla="*/ 137690 h 1508627"/>
              <a:gd name="connsiteX108" fmla="*/ 1013655 w 1419251"/>
              <a:gd name="connsiteY108" fmla="*/ 144751 h 1508627"/>
              <a:gd name="connsiteX109" fmla="*/ 1034838 w 1419251"/>
              <a:gd name="connsiteY109" fmla="*/ 162403 h 1508627"/>
              <a:gd name="connsiteX110" fmla="*/ 1048960 w 1419251"/>
              <a:gd name="connsiteY110" fmla="*/ 183586 h 1508627"/>
              <a:gd name="connsiteX111" fmla="*/ 1056021 w 1419251"/>
              <a:gd name="connsiteY111" fmla="*/ 204769 h 1508627"/>
              <a:gd name="connsiteX112" fmla="*/ 1070143 w 1419251"/>
              <a:gd name="connsiteY112" fmla="*/ 229483 h 1508627"/>
              <a:gd name="connsiteX113" fmla="*/ 1080735 w 1419251"/>
              <a:gd name="connsiteY113" fmla="*/ 233013 h 1508627"/>
              <a:gd name="connsiteX114" fmla="*/ 1091326 w 1419251"/>
              <a:gd name="connsiteY114" fmla="*/ 240074 h 1508627"/>
              <a:gd name="connsiteX115" fmla="*/ 1112509 w 1419251"/>
              <a:gd name="connsiteY115" fmla="*/ 250666 h 1508627"/>
              <a:gd name="connsiteX116" fmla="*/ 1133692 w 1419251"/>
              <a:gd name="connsiteY116" fmla="*/ 271849 h 1508627"/>
              <a:gd name="connsiteX117" fmla="*/ 1154875 w 1419251"/>
              <a:gd name="connsiteY117" fmla="*/ 285971 h 1508627"/>
              <a:gd name="connsiteX118" fmla="*/ 1165467 w 1419251"/>
              <a:gd name="connsiteY118" fmla="*/ 293032 h 1508627"/>
              <a:gd name="connsiteX119" fmla="*/ 1176058 w 1419251"/>
              <a:gd name="connsiteY119" fmla="*/ 314215 h 1508627"/>
              <a:gd name="connsiteX120" fmla="*/ 1179589 w 1419251"/>
              <a:gd name="connsiteY120" fmla="*/ 324806 h 1508627"/>
              <a:gd name="connsiteX121" fmla="*/ 1190180 w 1419251"/>
              <a:gd name="connsiteY121" fmla="*/ 328337 h 1508627"/>
              <a:gd name="connsiteX122" fmla="*/ 1246668 w 1419251"/>
              <a:gd name="connsiteY122" fmla="*/ 331867 h 1508627"/>
              <a:gd name="connsiteX123" fmla="*/ 1267851 w 1419251"/>
              <a:gd name="connsiteY123" fmla="*/ 342459 h 1508627"/>
              <a:gd name="connsiteX124" fmla="*/ 1271382 w 1419251"/>
              <a:gd name="connsiteY124" fmla="*/ 353050 h 1508627"/>
              <a:gd name="connsiteX125" fmla="*/ 1289034 w 1419251"/>
              <a:gd name="connsiteY125" fmla="*/ 374233 h 1508627"/>
              <a:gd name="connsiteX126" fmla="*/ 1313748 w 1419251"/>
              <a:gd name="connsiteY126" fmla="*/ 398947 h 1508627"/>
              <a:gd name="connsiteX127" fmla="*/ 1324339 w 1419251"/>
              <a:gd name="connsiteY127" fmla="*/ 406008 h 1508627"/>
              <a:gd name="connsiteX128" fmla="*/ 1373766 w 1419251"/>
              <a:gd name="connsiteY128" fmla="*/ 416599 h 1508627"/>
              <a:gd name="connsiteX129" fmla="*/ 1405541 w 1419251"/>
              <a:gd name="connsiteY129" fmla="*/ 430721 h 1508627"/>
              <a:gd name="connsiteX130" fmla="*/ 1409071 w 1419251"/>
              <a:gd name="connsiteY130" fmla="*/ 458965 h 1508627"/>
              <a:gd name="connsiteX131" fmla="*/ 1387888 w 1419251"/>
              <a:gd name="connsiteY131" fmla="*/ 473087 h 1508627"/>
              <a:gd name="connsiteX132" fmla="*/ 1377297 w 1419251"/>
              <a:gd name="connsiteY132" fmla="*/ 480148 h 1508627"/>
              <a:gd name="connsiteX133" fmla="*/ 1373766 w 1419251"/>
              <a:gd name="connsiteY133" fmla="*/ 490740 h 1508627"/>
              <a:gd name="connsiteX134" fmla="*/ 1366705 w 1419251"/>
              <a:gd name="connsiteY134" fmla="*/ 526045 h 1508627"/>
              <a:gd name="connsiteX135" fmla="*/ 1352583 w 1419251"/>
              <a:gd name="connsiteY135" fmla="*/ 547228 h 1508627"/>
              <a:gd name="connsiteX136" fmla="*/ 1349053 w 1419251"/>
              <a:gd name="connsiteY136" fmla="*/ 561350 h 1508627"/>
              <a:gd name="connsiteX137" fmla="*/ 1338461 w 1419251"/>
              <a:gd name="connsiteY137" fmla="*/ 593124 h 1508627"/>
              <a:gd name="connsiteX138" fmla="*/ 1334931 w 1419251"/>
              <a:gd name="connsiteY138" fmla="*/ 603716 h 1508627"/>
              <a:gd name="connsiteX139" fmla="*/ 1331400 w 1419251"/>
              <a:gd name="connsiteY139" fmla="*/ 614307 h 1508627"/>
              <a:gd name="connsiteX140" fmla="*/ 1324339 w 1419251"/>
              <a:gd name="connsiteY140" fmla="*/ 649612 h 1508627"/>
              <a:gd name="connsiteX141" fmla="*/ 1317278 w 1419251"/>
              <a:gd name="connsiteY141" fmla="*/ 670795 h 1508627"/>
              <a:gd name="connsiteX142" fmla="*/ 1292565 w 1419251"/>
              <a:gd name="connsiteY142" fmla="*/ 674326 h 1508627"/>
              <a:gd name="connsiteX143" fmla="*/ 1271382 w 1419251"/>
              <a:gd name="connsiteY143" fmla="*/ 681387 h 1508627"/>
              <a:gd name="connsiteX144" fmla="*/ 1239607 w 1419251"/>
              <a:gd name="connsiteY144" fmla="*/ 702570 h 1508627"/>
              <a:gd name="connsiteX145" fmla="*/ 1229016 w 1419251"/>
              <a:gd name="connsiteY145" fmla="*/ 709631 h 1508627"/>
              <a:gd name="connsiteX146" fmla="*/ 1218424 w 1419251"/>
              <a:gd name="connsiteY146" fmla="*/ 713161 h 1508627"/>
              <a:gd name="connsiteX147" fmla="*/ 1207833 w 1419251"/>
              <a:gd name="connsiteY147" fmla="*/ 723753 h 1508627"/>
              <a:gd name="connsiteX148" fmla="*/ 1186650 w 1419251"/>
              <a:gd name="connsiteY148" fmla="*/ 737875 h 1508627"/>
              <a:gd name="connsiteX149" fmla="*/ 1179589 w 1419251"/>
              <a:gd name="connsiteY149" fmla="*/ 748466 h 1508627"/>
              <a:gd name="connsiteX150" fmla="*/ 1168997 w 1419251"/>
              <a:gd name="connsiteY150" fmla="*/ 759058 h 1508627"/>
              <a:gd name="connsiteX151" fmla="*/ 1165467 w 1419251"/>
              <a:gd name="connsiteY151" fmla="*/ 769650 h 1508627"/>
              <a:gd name="connsiteX152" fmla="*/ 1137223 w 1419251"/>
              <a:gd name="connsiteY152" fmla="*/ 801424 h 1508627"/>
              <a:gd name="connsiteX153" fmla="*/ 1116040 w 1419251"/>
              <a:gd name="connsiteY153" fmla="*/ 815546 h 1508627"/>
              <a:gd name="connsiteX154" fmla="*/ 1105448 w 1419251"/>
              <a:gd name="connsiteY154" fmla="*/ 822607 h 1508627"/>
              <a:gd name="connsiteX155" fmla="*/ 1101918 w 1419251"/>
              <a:gd name="connsiteY155" fmla="*/ 875565 h 1508627"/>
              <a:gd name="connsiteX156" fmla="*/ 1140753 w 1419251"/>
              <a:gd name="connsiteY156" fmla="*/ 872034 h 1508627"/>
              <a:gd name="connsiteX157" fmla="*/ 1161936 w 1419251"/>
              <a:gd name="connsiteY157" fmla="*/ 864973 h 1508627"/>
              <a:gd name="connsiteX158" fmla="*/ 1190180 w 1419251"/>
              <a:gd name="connsiteY158" fmla="*/ 868504 h 1508627"/>
              <a:gd name="connsiteX159" fmla="*/ 1204302 w 1419251"/>
              <a:gd name="connsiteY159" fmla="*/ 886156 h 1508627"/>
              <a:gd name="connsiteX160" fmla="*/ 1225485 w 1419251"/>
              <a:gd name="connsiteY160" fmla="*/ 896748 h 1508627"/>
              <a:gd name="connsiteX161" fmla="*/ 1232546 w 1419251"/>
              <a:gd name="connsiteY161" fmla="*/ 907339 h 1508627"/>
              <a:gd name="connsiteX162" fmla="*/ 1225485 w 1419251"/>
              <a:gd name="connsiteY162" fmla="*/ 981480 h 1508627"/>
              <a:gd name="connsiteX163" fmla="*/ 1218424 w 1419251"/>
              <a:gd name="connsiteY163" fmla="*/ 992071 h 1508627"/>
              <a:gd name="connsiteX164" fmla="*/ 1214894 w 1419251"/>
              <a:gd name="connsiteY164" fmla="*/ 1041498 h 1508627"/>
              <a:gd name="connsiteX165" fmla="*/ 1200772 w 1419251"/>
              <a:gd name="connsiteY165" fmla="*/ 1045029 h 1508627"/>
              <a:gd name="connsiteX166" fmla="*/ 1176058 w 1419251"/>
              <a:gd name="connsiteY166" fmla="*/ 1052090 h 1508627"/>
              <a:gd name="connsiteX167" fmla="*/ 1165467 w 1419251"/>
              <a:gd name="connsiteY167" fmla="*/ 1059151 h 1508627"/>
              <a:gd name="connsiteX168" fmla="*/ 1161936 w 1419251"/>
              <a:gd name="connsiteY168" fmla="*/ 1069742 h 1508627"/>
              <a:gd name="connsiteX169" fmla="*/ 1172528 w 1419251"/>
              <a:gd name="connsiteY169" fmla="*/ 1122700 h 1508627"/>
              <a:gd name="connsiteX170" fmla="*/ 1179589 w 1419251"/>
              <a:gd name="connsiteY170" fmla="*/ 1133291 h 1508627"/>
              <a:gd name="connsiteX171" fmla="*/ 1186650 w 1419251"/>
              <a:gd name="connsiteY171" fmla="*/ 1175657 h 1508627"/>
              <a:gd name="connsiteX172" fmla="*/ 1193711 w 1419251"/>
              <a:gd name="connsiteY172" fmla="*/ 1196840 h 1508627"/>
              <a:gd name="connsiteX173" fmla="*/ 1197241 w 1419251"/>
              <a:gd name="connsiteY173" fmla="*/ 1207432 h 1508627"/>
              <a:gd name="connsiteX174" fmla="*/ 1211363 w 1419251"/>
              <a:gd name="connsiteY174" fmla="*/ 1228615 h 1508627"/>
              <a:gd name="connsiteX175" fmla="*/ 1221955 w 1419251"/>
              <a:gd name="connsiteY175" fmla="*/ 1249798 h 1508627"/>
              <a:gd name="connsiteX176" fmla="*/ 1225485 w 1419251"/>
              <a:gd name="connsiteY176" fmla="*/ 1267450 h 1508627"/>
              <a:gd name="connsiteX177" fmla="*/ 1246668 w 1419251"/>
              <a:gd name="connsiteY177" fmla="*/ 1281572 h 1508627"/>
              <a:gd name="connsiteX178" fmla="*/ 1250199 w 1419251"/>
              <a:gd name="connsiteY178" fmla="*/ 1313347 h 1508627"/>
              <a:gd name="connsiteX179" fmla="*/ 1218424 w 1419251"/>
              <a:gd name="connsiteY179" fmla="*/ 1323938 h 1508627"/>
              <a:gd name="connsiteX180" fmla="*/ 1186650 w 1419251"/>
              <a:gd name="connsiteY180" fmla="*/ 1334530 h 1508627"/>
              <a:gd name="connsiteX181" fmla="*/ 1176058 w 1419251"/>
              <a:gd name="connsiteY181" fmla="*/ 1338060 h 1508627"/>
              <a:gd name="connsiteX182" fmla="*/ 1165467 w 1419251"/>
              <a:gd name="connsiteY182" fmla="*/ 1341591 h 1508627"/>
              <a:gd name="connsiteX183" fmla="*/ 1140753 w 1419251"/>
              <a:gd name="connsiteY183" fmla="*/ 1348652 h 1508627"/>
              <a:gd name="connsiteX184" fmla="*/ 1133692 w 1419251"/>
              <a:gd name="connsiteY184" fmla="*/ 1369835 h 1508627"/>
              <a:gd name="connsiteX185" fmla="*/ 1130162 w 1419251"/>
              <a:gd name="connsiteY185" fmla="*/ 1380426 h 1508627"/>
              <a:gd name="connsiteX186" fmla="*/ 1108979 w 1419251"/>
              <a:gd name="connsiteY186" fmla="*/ 1387487 h 1508627"/>
              <a:gd name="connsiteX187" fmla="*/ 1098387 w 1419251"/>
              <a:gd name="connsiteY187" fmla="*/ 1391018 h 1508627"/>
              <a:gd name="connsiteX188" fmla="*/ 1006594 w 1419251"/>
              <a:gd name="connsiteY188" fmla="*/ 1387487 h 1508627"/>
              <a:gd name="connsiteX189" fmla="*/ 996002 w 1419251"/>
              <a:gd name="connsiteY189" fmla="*/ 1383957 h 1508627"/>
              <a:gd name="connsiteX190" fmla="*/ 981880 w 1419251"/>
              <a:gd name="connsiteY190" fmla="*/ 1369835 h 1508627"/>
              <a:gd name="connsiteX191" fmla="*/ 960697 w 1419251"/>
              <a:gd name="connsiteY191" fmla="*/ 1355713 h 1508627"/>
              <a:gd name="connsiteX192" fmla="*/ 950106 w 1419251"/>
              <a:gd name="connsiteY192" fmla="*/ 1348652 h 1508627"/>
              <a:gd name="connsiteX193" fmla="*/ 932453 w 1419251"/>
              <a:gd name="connsiteY193" fmla="*/ 1330999 h 1508627"/>
              <a:gd name="connsiteX194" fmla="*/ 921862 w 1419251"/>
              <a:gd name="connsiteY194" fmla="*/ 1320408 h 1508627"/>
              <a:gd name="connsiteX195" fmla="*/ 911270 w 1419251"/>
              <a:gd name="connsiteY195" fmla="*/ 1313347 h 1508627"/>
              <a:gd name="connsiteX196" fmla="*/ 854782 w 1419251"/>
              <a:gd name="connsiteY196" fmla="*/ 1309816 h 1508627"/>
              <a:gd name="connsiteX197" fmla="*/ 840660 w 1419251"/>
              <a:gd name="connsiteY197" fmla="*/ 1302755 h 1508627"/>
              <a:gd name="connsiteX198" fmla="*/ 830069 w 1419251"/>
              <a:gd name="connsiteY198" fmla="*/ 1299225 h 1508627"/>
              <a:gd name="connsiteX199" fmla="*/ 808886 w 1419251"/>
              <a:gd name="connsiteY199" fmla="*/ 1288633 h 1508627"/>
              <a:gd name="connsiteX200" fmla="*/ 791233 w 1419251"/>
              <a:gd name="connsiteY200" fmla="*/ 1292164 h 1508627"/>
              <a:gd name="connsiteX201" fmla="*/ 770050 w 1419251"/>
              <a:gd name="connsiteY201" fmla="*/ 1299225 h 1508627"/>
              <a:gd name="connsiteX202" fmla="*/ 759459 w 1419251"/>
              <a:gd name="connsiteY202" fmla="*/ 1302755 h 1508627"/>
              <a:gd name="connsiteX203" fmla="*/ 724154 w 1419251"/>
              <a:gd name="connsiteY203" fmla="*/ 1313347 h 1508627"/>
              <a:gd name="connsiteX204" fmla="*/ 702971 w 1419251"/>
              <a:gd name="connsiteY204" fmla="*/ 1320408 h 1508627"/>
              <a:gd name="connsiteX205" fmla="*/ 692379 w 1419251"/>
              <a:gd name="connsiteY205" fmla="*/ 1323938 h 1508627"/>
              <a:gd name="connsiteX206" fmla="*/ 681788 w 1419251"/>
              <a:gd name="connsiteY206" fmla="*/ 1330999 h 1508627"/>
              <a:gd name="connsiteX207" fmla="*/ 674727 w 1419251"/>
              <a:gd name="connsiteY207" fmla="*/ 1352182 h 1508627"/>
              <a:gd name="connsiteX208" fmla="*/ 660605 w 1419251"/>
              <a:gd name="connsiteY208" fmla="*/ 1376896 h 1508627"/>
              <a:gd name="connsiteX209" fmla="*/ 664135 w 1419251"/>
              <a:gd name="connsiteY209" fmla="*/ 1387487 h 1508627"/>
              <a:gd name="connsiteX210" fmla="*/ 674727 w 1419251"/>
              <a:gd name="connsiteY210" fmla="*/ 1391018 h 1508627"/>
              <a:gd name="connsiteX211" fmla="*/ 678257 w 1419251"/>
              <a:gd name="connsiteY211" fmla="*/ 1405140 h 1508627"/>
              <a:gd name="connsiteX212" fmla="*/ 674727 w 1419251"/>
              <a:gd name="connsiteY212" fmla="*/ 1454567 h 1508627"/>
              <a:gd name="connsiteX213" fmla="*/ 671196 w 1419251"/>
              <a:gd name="connsiteY213" fmla="*/ 1496933 h 1508627"/>
              <a:gd name="connsiteX214" fmla="*/ 572342 w 1419251"/>
              <a:gd name="connsiteY214" fmla="*/ 1493402 h 1508627"/>
              <a:gd name="connsiteX215" fmla="*/ 554690 w 1419251"/>
              <a:gd name="connsiteY215" fmla="*/ 1489872 h 1508627"/>
              <a:gd name="connsiteX216" fmla="*/ 544098 w 1419251"/>
              <a:gd name="connsiteY216" fmla="*/ 1482811 h 1508627"/>
              <a:gd name="connsiteX217" fmla="*/ 533507 w 1419251"/>
              <a:gd name="connsiteY217" fmla="*/ 1479280 h 1508627"/>
              <a:gd name="connsiteX218" fmla="*/ 522915 w 1419251"/>
              <a:gd name="connsiteY218" fmla="*/ 1429853 h 1508627"/>
              <a:gd name="connsiteX219" fmla="*/ 519385 w 1419251"/>
              <a:gd name="connsiteY219" fmla="*/ 1419262 h 1508627"/>
              <a:gd name="connsiteX220" fmla="*/ 498202 w 1419251"/>
              <a:gd name="connsiteY220" fmla="*/ 1405140 h 1508627"/>
              <a:gd name="connsiteX221" fmla="*/ 487610 w 1419251"/>
              <a:gd name="connsiteY221" fmla="*/ 1401609 h 1508627"/>
              <a:gd name="connsiteX222" fmla="*/ 466427 w 1419251"/>
              <a:gd name="connsiteY222" fmla="*/ 1387487 h 1508627"/>
              <a:gd name="connsiteX223" fmla="*/ 455836 w 1419251"/>
              <a:gd name="connsiteY223" fmla="*/ 1380426 h 1508627"/>
              <a:gd name="connsiteX224" fmla="*/ 427592 w 1419251"/>
              <a:gd name="connsiteY224" fmla="*/ 1373365 h 1508627"/>
              <a:gd name="connsiteX225" fmla="*/ 417000 w 1419251"/>
              <a:gd name="connsiteY225" fmla="*/ 1369835 h 1508627"/>
              <a:gd name="connsiteX226" fmla="*/ 371104 w 1419251"/>
              <a:gd name="connsiteY226" fmla="*/ 1366304 h 1508627"/>
              <a:gd name="connsiteX227" fmla="*/ 339329 w 1419251"/>
              <a:gd name="connsiteY227" fmla="*/ 1355713 h 1508627"/>
              <a:gd name="connsiteX228" fmla="*/ 318146 w 1419251"/>
              <a:gd name="connsiteY228" fmla="*/ 1341591 h 1508627"/>
              <a:gd name="connsiteX229" fmla="*/ 311085 w 1419251"/>
              <a:gd name="connsiteY229" fmla="*/ 1330999 h 1508627"/>
              <a:gd name="connsiteX230" fmla="*/ 300494 w 1419251"/>
              <a:gd name="connsiteY230" fmla="*/ 1320408 h 1508627"/>
              <a:gd name="connsiteX231" fmla="*/ 286372 w 1419251"/>
              <a:gd name="connsiteY231" fmla="*/ 1299225 h 1508627"/>
              <a:gd name="connsiteX232" fmla="*/ 275780 w 1419251"/>
              <a:gd name="connsiteY232" fmla="*/ 1278042 h 1508627"/>
              <a:gd name="connsiteX233" fmla="*/ 244006 w 1419251"/>
              <a:gd name="connsiteY233" fmla="*/ 1267450 h 1508627"/>
              <a:gd name="connsiteX234" fmla="*/ 229884 w 1419251"/>
              <a:gd name="connsiteY234" fmla="*/ 1263920 h 1508627"/>
              <a:gd name="connsiteX235" fmla="*/ 219292 w 1419251"/>
              <a:gd name="connsiteY235" fmla="*/ 1256859 h 1508627"/>
              <a:gd name="connsiteX236" fmla="*/ 208701 w 1419251"/>
              <a:gd name="connsiteY236" fmla="*/ 1253328 h 1508627"/>
              <a:gd name="connsiteX237" fmla="*/ 176926 w 1419251"/>
              <a:gd name="connsiteY237" fmla="*/ 1235676 h 1508627"/>
              <a:gd name="connsiteX238" fmla="*/ 173396 w 1419251"/>
              <a:gd name="connsiteY238" fmla="*/ 1225084 h 1508627"/>
              <a:gd name="connsiteX239" fmla="*/ 155743 w 1419251"/>
              <a:gd name="connsiteY239" fmla="*/ 1200371 h 1508627"/>
              <a:gd name="connsiteX240" fmla="*/ 141621 w 1419251"/>
              <a:gd name="connsiteY240" fmla="*/ 1168596 h 1508627"/>
              <a:gd name="connsiteX241" fmla="*/ 123968 w 1419251"/>
              <a:gd name="connsiteY241" fmla="*/ 1168596 h 15086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</a:cxnLst>
            <a:rect l="l" t="t" r="r" b="b"/>
            <a:pathLst>
              <a:path w="1419251" h="1508627">
                <a:moveTo>
                  <a:pt x="123968" y="1168596"/>
                </a:moveTo>
                <a:cubicBezTo>
                  <a:pt x="122791" y="1167419"/>
                  <a:pt x="131766" y="1164728"/>
                  <a:pt x="134560" y="1161535"/>
                </a:cubicBezTo>
                <a:cubicBezTo>
                  <a:pt x="140148" y="1155148"/>
                  <a:pt x="148682" y="1140352"/>
                  <a:pt x="148682" y="1140352"/>
                </a:cubicBezTo>
                <a:cubicBezTo>
                  <a:pt x="149812" y="1135832"/>
                  <a:pt x="153212" y="1120701"/>
                  <a:pt x="155743" y="1115639"/>
                </a:cubicBezTo>
                <a:cubicBezTo>
                  <a:pt x="157641" y="1111844"/>
                  <a:pt x="159206" y="1107296"/>
                  <a:pt x="162804" y="1105047"/>
                </a:cubicBezTo>
                <a:cubicBezTo>
                  <a:pt x="169116" y="1101102"/>
                  <a:pt x="183987" y="1097986"/>
                  <a:pt x="183987" y="1097986"/>
                </a:cubicBezTo>
                <a:cubicBezTo>
                  <a:pt x="204222" y="1067635"/>
                  <a:pt x="179962" y="1106036"/>
                  <a:pt x="194579" y="1076803"/>
                </a:cubicBezTo>
                <a:cubicBezTo>
                  <a:pt x="196477" y="1073008"/>
                  <a:pt x="199286" y="1069742"/>
                  <a:pt x="201640" y="1066212"/>
                </a:cubicBezTo>
                <a:lnTo>
                  <a:pt x="208701" y="1045029"/>
                </a:lnTo>
                <a:lnTo>
                  <a:pt x="212231" y="1034437"/>
                </a:lnTo>
                <a:cubicBezTo>
                  <a:pt x="213408" y="1019138"/>
                  <a:pt x="212934" y="1003622"/>
                  <a:pt x="215762" y="988541"/>
                </a:cubicBezTo>
                <a:cubicBezTo>
                  <a:pt x="216544" y="984370"/>
                  <a:pt x="220925" y="981744"/>
                  <a:pt x="222823" y="977949"/>
                </a:cubicBezTo>
                <a:cubicBezTo>
                  <a:pt x="237440" y="948715"/>
                  <a:pt x="213177" y="987123"/>
                  <a:pt x="233414" y="956766"/>
                </a:cubicBezTo>
                <a:cubicBezTo>
                  <a:pt x="234591" y="952059"/>
                  <a:pt x="235612" y="947310"/>
                  <a:pt x="236945" y="942644"/>
                </a:cubicBezTo>
                <a:cubicBezTo>
                  <a:pt x="237967" y="939066"/>
                  <a:pt x="240153" y="935760"/>
                  <a:pt x="240475" y="932053"/>
                </a:cubicBezTo>
                <a:cubicBezTo>
                  <a:pt x="242517" y="908576"/>
                  <a:pt x="240958" y="884811"/>
                  <a:pt x="244006" y="861443"/>
                </a:cubicBezTo>
                <a:cubicBezTo>
                  <a:pt x="244555" y="857235"/>
                  <a:pt x="247874" y="853645"/>
                  <a:pt x="251067" y="850851"/>
                </a:cubicBezTo>
                <a:cubicBezTo>
                  <a:pt x="257454" y="845263"/>
                  <a:pt x="272250" y="836729"/>
                  <a:pt x="272250" y="836729"/>
                </a:cubicBezTo>
                <a:cubicBezTo>
                  <a:pt x="276957" y="829668"/>
                  <a:pt x="285528" y="823990"/>
                  <a:pt x="286372" y="815546"/>
                </a:cubicBezTo>
                <a:cubicBezTo>
                  <a:pt x="290399" y="775273"/>
                  <a:pt x="281539" y="788604"/>
                  <a:pt x="300494" y="769650"/>
                </a:cubicBezTo>
                <a:cubicBezTo>
                  <a:pt x="299317" y="755528"/>
                  <a:pt x="299742" y="741179"/>
                  <a:pt x="296963" y="727283"/>
                </a:cubicBezTo>
                <a:cubicBezTo>
                  <a:pt x="296131" y="723122"/>
                  <a:pt x="292618" y="719952"/>
                  <a:pt x="289902" y="716692"/>
                </a:cubicBezTo>
                <a:cubicBezTo>
                  <a:pt x="281405" y="706496"/>
                  <a:pt x="279136" y="705983"/>
                  <a:pt x="268719" y="699039"/>
                </a:cubicBezTo>
                <a:cubicBezTo>
                  <a:pt x="264401" y="690404"/>
                  <a:pt x="260836" y="681813"/>
                  <a:pt x="254597" y="674326"/>
                </a:cubicBezTo>
                <a:cubicBezTo>
                  <a:pt x="251401" y="670490"/>
                  <a:pt x="247536" y="667265"/>
                  <a:pt x="244006" y="663734"/>
                </a:cubicBezTo>
                <a:lnTo>
                  <a:pt x="233414" y="631960"/>
                </a:lnTo>
                <a:lnTo>
                  <a:pt x="229884" y="621368"/>
                </a:lnTo>
                <a:cubicBezTo>
                  <a:pt x="228707" y="589594"/>
                  <a:pt x="229517" y="557683"/>
                  <a:pt x="226353" y="526045"/>
                </a:cubicBezTo>
                <a:cubicBezTo>
                  <a:pt x="225931" y="521823"/>
                  <a:pt x="222605" y="518104"/>
                  <a:pt x="219292" y="515453"/>
                </a:cubicBezTo>
                <a:cubicBezTo>
                  <a:pt x="216386" y="513128"/>
                  <a:pt x="212231" y="513100"/>
                  <a:pt x="208701" y="511923"/>
                </a:cubicBezTo>
                <a:cubicBezTo>
                  <a:pt x="207524" y="506039"/>
                  <a:pt x="206472" y="500128"/>
                  <a:pt x="205170" y="494270"/>
                </a:cubicBezTo>
                <a:cubicBezTo>
                  <a:pt x="202855" y="483852"/>
                  <a:pt x="202370" y="477347"/>
                  <a:pt x="194579" y="469557"/>
                </a:cubicBezTo>
                <a:cubicBezTo>
                  <a:pt x="191578" y="466557"/>
                  <a:pt x="187518" y="464850"/>
                  <a:pt x="183987" y="462496"/>
                </a:cubicBezTo>
                <a:lnTo>
                  <a:pt x="169865" y="441313"/>
                </a:lnTo>
                <a:cubicBezTo>
                  <a:pt x="162922" y="430898"/>
                  <a:pt x="162407" y="428625"/>
                  <a:pt x="152213" y="420130"/>
                </a:cubicBezTo>
                <a:cubicBezTo>
                  <a:pt x="148953" y="417414"/>
                  <a:pt x="145152" y="415423"/>
                  <a:pt x="141621" y="413069"/>
                </a:cubicBezTo>
                <a:cubicBezTo>
                  <a:pt x="139267" y="409538"/>
                  <a:pt x="137873" y="405128"/>
                  <a:pt x="134560" y="402477"/>
                </a:cubicBezTo>
                <a:cubicBezTo>
                  <a:pt x="131654" y="400152"/>
                  <a:pt x="127297" y="400611"/>
                  <a:pt x="123968" y="398947"/>
                </a:cubicBezTo>
                <a:cubicBezTo>
                  <a:pt x="92630" y="383279"/>
                  <a:pt x="147518" y="394732"/>
                  <a:pt x="71011" y="388355"/>
                </a:cubicBezTo>
                <a:cubicBezTo>
                  <a:pt x="45826" y="379961"/>
                  <a:pt x="76274" y="391864"/>
                  <a:pt x="49828" y="374233"/>
                </a:cubicBezTo>
                <a:cubicBezTo>
                  <a:pt x="46731" y="372169"/>
                  <a:pt x="42767" y="371880"/>
                  <a:pt x="39236" y="370703"/>
                </a:cubicBezTo>
                <a:cubicBezTo>
                  <a:pt x="35706" y="368349"/>
                  <a:pt x="32440" y="365540"/>
                  <a:pt x="28645" y="363642"/>
                </a:cubicBezTo>
                <a:cubicBezTo>
                  <a:pt x="25316" y="361978"/>
                  <a:pt x="20959" y="362436"/>
                  <a:pt x="18053" y="360111"/>
                </a:cubicBezTo>
                <a:cubicBezTo>
                  <a:pt x="14740" y="357460"/>
                  <a:pt x="13346" y="353050"/>
                  <a:pt x="10992" y="349520"/>
                </a:cubicBezTo>
                <a:cubicBezTo>
                  <a:pt x="2732" y="324741"/>
                  <a:pt x="0" y="326408"/>
                  <a:pt x="7462" y="296562"/>
                </a:cubicBezTo>
                <a:cubicBezTo>
                  <a:pt x="8491" y="292446"/>
                  <a:pt x="11523" y="288971"/>
                  <a:pt x="14523" y="285971"/>
                </a:cubicBezTo>
                <a:cubicBezTo>
                  <a:pt x="21367" y="279127"/>
                  <a:pt x="27091" y="278251"/>
                  <a:pt x="35706" y="275379"/>
                </a:cubicBezTo>
                <a:cubicBezTo>
                  <a:pt x="34529" y="271849"/>
                  <a:pt x="34500" y="267694"/>
                  <a:pt x="32175" y="264788"/>
                </a:cubicBezTo>
                <a:cubicBezTo>
                  <a:pt x="26080" y="257169"/>
                  <a:pt x="15942" y="256316"/>
                  <a:pt x="7462" y="254196"/>
                </a:cubicBezTo>
                <a:cubicBezTo>
                  <a:pt x="5108" y="250666"/>
                  <a:pt x="401" y="247848"/>
                  <a:pt x="401" y="243605"/>
                </a:cubicBezTo>
                <a:cubicBezTo>
                  <a:pt x="401" y="239362"/>
                  <a:pt x="4462" y="236014"/>
                  <a:pt x="7462" y="233013"/>
                </a:cubicBezTo>
                <a:cubicBezTo>
                  <a:pt x="20326" y="220148"/>
                  <a:pt x="34924" y="224265"/>
                  <a:pt x="53358" y="222422"/>
                </a:cubicBezTo>
                <a:cubicBezTo>
                  <a:pt x="56889" y="221245"/>
                  <a:pt x="60228" y="218891"/>
                  <a:pt x="63950" y="218891"/>
                </a:cubicBezTo>
                <a:cubicBezTo>
                  <a:pt x="71108" y="218891"/>
                  <a:pt x="78525" y="219669"/>
                  <a:pt x="85133" y="222422"/>
                </a:cubicBezTo>
                <a:cubicBezTo>
                  <a:pt x="92966" y="225686"/>
                  <a:pt x="98265" y="233861"/>
                  <a:pt x="106316" y="236544"/>
                </a:cubicBezTo>
                <a:lnTo>
                  <a:pt x="116907" y="240074"/>
                </a:lnTo>
                <a:lnTo>
                  <a:pt x="155743" y="236544"/>
                </a:lnTo>
                <a:cubicBezTo>
                  <a:pt x="162296" y="233015"/>
                  <a:pt x="162804" y="215361"/>
                  <a:pt x="162804" y="215361"/>
                </a:cubicBezTo>
                <a:cubicBezTo>
                  <a:pt x="188478" y="221779"/>
                  <a:pt x="167732" y="213228"/>
                  <a:pt x="183987" y="229483"/>
                </a:cubicBezTo>
                <a:cubicBezTo>
                  <a:pt x="189721" y="235217"/>
                  <a:pt x="202241" y="239914"/>
                  <a:pt x="208701" y="243605"/>
                </a:cubicBezTo>
                <a:cubicBezTo>
                  <a:pt x="212385" y="245710"/>
                  <a:pt x="215762" y="248312"/>
                  <a:pt x="219292" y="250666"/>
                </a:cubicBezTo>
                <a:cubicBezTo>
                  <a:pt x="221618" y="257642"/>
                  <a:pt x="223663" y="266872"/>
                  <a:pt x="229884" y="271849"/>
                </a:cubicBezTo>
                <a:cubicBezTo>
                  <a:pt x="232790" y="274174"/>
                  <a:pt x="236945" y="274202"/>
                  <a:pt x="240475" y="275379"/>
                </a:cubicBezTo>
                <a:cubicBezTo>
                  <a:pt x="249874" y="281645"/>
                  <a:pt x="260133" y="291168"/>
                  <a:pt x="272250" y="293032"/>
                </a:cubicBezTo>
                <a:cubicBezTo>
                  <a:pt x="283939" y="294830"/>
                  <a:pt x="295787" y="295385"/>
                  <a:pt x="307555" y="296562"/>
                </a:cubicBezTo>
                <a:cubicBezTo>
                  <a:pt x="335801" y="315393"/>
                  <a:pt x="301667" y="290675"/>
                  <a:pt x="325207" y="314215"/>
                </a:cubicBezTo>
                <a:cubicBezTo>
                  <a:pt x="328207" y="317215"/>
                  <a:pt x="332268" y="318922"/>
                  <a:pt x="335799" y="321276"/>
                </a:cubicBezTo>
                <a:cubicBezTo>
                  <a:pt x="388314" y="312522"/>
                  <a:pt x="362724" y="323984"/>
                  <a:pt x="353451" y="218891"/>
                </a:cubicBezTo>
                <a:cubicBezTo>
                  <a:pt x="352797" y="211477"/>
                  <a:pt x="348744" y="204769"/>
                  <a:pt x="346390" y="197708"/>
                </a:cubicBezTo>
                <a:lnTo>
                  <a:pt x="342860" y="187117"/>
                </a:lnTo>
                <a:cubicBezTo>
                  <a:pt x="344037" y="176525"/>
                  <a:pt x="340669" y="164333"/>
                  <a:pt x="346390" y="155342"/>
                </a:cubicBezTo>
                <a:cubicBezTo>
                  <a:pt x="350386" y="149063"/>
                  <a:pt x="367573" y="148281"/>
                  <a:pt x="367573" y="148281"/>
                </a:cubicBezTo>
                <a:cubicBezTo>
                  <a:pt x="377489" y="149183"/>
                  <a:pt x="403417" y="148551"/>
                  <a:pt x="417000" y="155342"/>
                </a:cubicBezTo>
                <a:cubicBezTo>
                  <a:pt x="420795" y="157240"/>
                  <a:pt x="424061" y="160049"/>
                  <a:pt x="427592" y="162403"/>
                </a:cubicBezTo>
                <a:lnTo>
                  <a:pt x="438183" y="194178"/>
                </a:lnTo>
                <a:cubicBezTo>
                  <a:pt x="439360" y="197708"/>
                  <a:pt x="438104" y="203866"/>
                  <a:pt x="441714" y="204769"/>
                </a:cubicBezTo>
                <a:cubicBezTo>
                  <a:pt x="446421" y="205946"/>
                  <a:pt x="451170" y="206967"/>
                  <a:pt x="455836" y="208300"/>
                </a:cubicBezTo>
                <a:cubicBezTo>
                  <a:pt x="459414" y="209322"/>
                  <a:pt x="462756" y="211218"/>
                  <a:pt x="466427" y="211830"/>
                </a:cubicBezTo>
                <a:cubicBezTo>
                  <a:pt x="476939" y="213582"/>
                  <a:pt x="487610" y="214184"/>
                  <a:pt x="498202" y="215361"/>
                </a:cubicBezTo>
                <a:cubicBezTo>
                  <a:pt x="500556" y="218891"/>
                  <a:pt x="502263" y="222952"/>
                  <a:pt x="505263" y="225952"/>
                </a:cubicBezTo>
                <a:cubicBezTo>
                  <a:pt x="519504" y="240193"/>
                  <a:pt x="528889" y="231710"/>
                  <a:pt x="551159" y="229483"/>
                </a:cubicBezTo>
                <a:cubicBezTo>
                  <a:pt x="577511" y="220698"/>
                  <a:pt x="549496" y="233477"/>
                  <a:pt x="568812" y="187117"/>
                </a:cubicBezTo>
                <a:cubicBezTo>
                  <a:pt x="570243" y="183682"/>
                  <a:pt x="575732" y="184198"/>
                  <a:pt x="579403" y="183586"/>
                </a:cubicBezTo>
                <a:cubicBezTo>
                  <a:pt x="597053" y="180644"/>
                  <a:pt x="614934" y="180882"/>
                  <a:pt x="632361" y="176525"/>
                </a:cubicBezTo>
                <a:cubicBezTo>
                  <a:pt x="639582" y="174720"/>
                  <a:pt x="646483" y="171818"/>
                  <a:pt x="653544" y="169464"/>
                </a:cubicBezTo>
                <a:lnTo>
                  <a:pt x="664135" y="165934"/>
                </a:lnTo>
                <a:cubicBezTo>
                  <a:pt x="667666" y="162403"/>
                  <a:pt x="670362" y="157767"/>
                  <a:pt x="674727" y="155342"/>
                </a:cubicBezTo>
                <a:cubicBezTo>
                  <a:pt x="688446" y="147720"/>
                  <a:pt x="699219" y="148663"/>
                  <a:pt x="713562" y="144751"/>
                </a:cubicBezTo>
                <a:cubicBezTo>
                  <a:pt x="720743" y="142793"/>
                  <a:pt x="734745" y="137690"/>
                  <a:pt x="734745" y="137690"/>
                </a:cubicBezTo>
                <a:cubicBezTo>
                  <a:pt x="738276" y="135336"/>
                  <a:pt x="742686" y="133942"/>
                  <a:pt x="745337" y="130629"/>
                </a:cubicBezTo>
                <a:cubicBezTo>
                  <a:pt x="747662" y="127723"/>
                  <a:pt x="747203" y="123366"/>
                  <a:pt x="748867" y="120037"/>
                </a:cubicBezTo>
                <a:cubicBezTo>
                  <a:pt x="750764" y="116242"/>
                  <a:pt x="753574" y="112976"/>
                  <a:pt x="755928" y="109446"/>
                </a:cubicBezTo>
                <a:cubicBezTo>
                  <a:pt x="759693" y="73683"/>
                  <a:pt x="751223" y="54367"/>
                  <a:pt x="770050" y="31775"/>
                </a:cubicBezTo>
                <a:cubicBezTo>
                  <a:pt x="773247" y="27939"/>
                  <a:pt x="776487" y="23953"/>
                  <a:pt x="780642" y="21183"/>
                </a:cubicBezTo>
                <a:cubicBezTo>
                  <a:pt x="783738" y="19119"/>
                  <a:pt x="787703" y="18830"/>
                  <a:pt x="791233" y="17653"/>
                </a:cubicBezTo>
                <a:cubicBezTo>
                  <a:pt x="808019" y="6463"/>
                  <a:pt x="797798" y="11935"/>
                  <a:pt x="823008" y="3531"/>
                </a:cubicBezTo>
                <a:lnTo>
                  <a:pt x="833599" y="0"/>
                </a:lnTo>
                <a:cubicBezTo>
                  <a:pt x="851252" y="1177"/>
                  <a:pt x="868973" y="1577"/>
                  <a:pt x="886557" y="3531"/>
                </a:cubicBezTo>
                <a:cubicBezTo>
                  <a:pt x="890256" y="3942"/>
                  <a:pt x="894517" y="4430"/>
                  <a:pt x="897148" y="7061"/>
                </a:cubicBezTo>
                <a:cubicBezTo>
                  <a:pt x="899780" y="9693"/>
                  <a:pt x="899502" y="14122"/>
                  <a:pt x="900679" y="17653"/>
                </a:cubicBezTo>
                <a:cubicBezTo>
                  <a:pt x="901856" y="28244"/>
                  <a:pt x="898488" y="40437"/>
                  <a:pt x="904209" y="49427"/>
                </a:cubicBezTo>
                <a:cubicBezTo>
                  <a:pt x="908205" y="55706"/>
                  <a:pt x="925392" y="56488"/>
                  <a:pt x="925392" y="56488"/>
                </a:cubicBezTo>
                <a:cubicBezTo>
                  <a:pt x="928923" y="58842"/>
                  <a:pt x="933333" y="60236"/>
                  <a:pt x="935984" y="63549"/>
                </a:cubicBezTo>
                <a:cubicBezTo>
                  <a:pt x="938309" y="66455"/>
                  <a:pt x="937850" y="70812"/>
                  <a:pt x="939514" y="74141"/>
                </a:cubicBezTo>
                <a:cubicBezTo>
                  <a:pt x="941411" y="77936"/>
                  <a:pt x="943859" y="81472"/>
                  <a:pt x="946575" y="84732"/>
                </a:cubicBezTo>
                <a:cubicBezTo>
                  <a:pt x="949772" y="88568"/>
                  <a:pt x="954102" y="91383"/>
                  <a:pt x="957167" y="95324"/>
                </a:cubicBezTo>
                <a:cubicBezTo>
                  <a:pt x="962377" y="102023"/>
                  <a:pt x="964228" y="111800"/>
                  <a:pt x="971289" y="116507"/>
                </a:cubicBezTo>
                <a:lnTo>
                  <a:pt x="1003063" y="137690"/>
                </a:lnTo>
                <a:cubicBezTo>
                  <a:pt x="1006594" y="140044"/>
                  <a:pt x="1010655" y="141751"/>
                  <a:pt x="1013655" y="144751"/>
                </a:cubicBezTo>
                <a:cubicBezTo>
                  <a:pt x="1027246" y="158342"/>
                  <a:pt x="1020092" y="152573"/>
                  <a:pt x="1034838" y="162403"/>
                </a:cubicBezTo>
                <a:cubicBezTo>
                  <a:pt x="1039545" y="169464"/>
                  <a:pt x="1046276" y="175535"/>
                  <a:pt x="1048960" y="183586"/>
                </a:cubicBezTo>
                <a:lnTo>
                  <a:pt x="1056021" y="204769"/>
                </a:lnTo>
                <a:cubicBezTo>
                  <a:pt x="1059540" y="215326"/>
                  <a:pt x="1060280" y="221264"/>
                  <a:pt x="1070143" y="229483"/>
                </a:cubicBezTo>
                <a:cubicBezTo>
                  <a:pt x="1073002" y="231865"/>
                  <a:pt x="1077204" y="231836"/>
                  <a:pt x="1080735" y="233013"/>
                </a:cubicBezTo>
                <a:cubicBezTo>
                  <a:pt x="1084265" y="235367"/>
                  <a:pt x="1087531" y="238176"/>
                  <a:pt x="1091326" y="240074"/>
                </a:cubicBezTo>
                <a:cubicBezTo>
                  <a:pt x="1105347" y="247085"/>
                  <a:pt x="1099501" y="239103"/>
                  <a:pt x="1112509" y="250666"/>
                </a:cubicBezTo>
                <a:cubicBezTo>
                  <a:pt x="1119972" y="257300"/>
                  <a:pt x="1125383" y="266310"/>
                  <a:pt x="1133692" y="271849"/>
                </a:cubicBezTo>
                <a:lnTo>
                  <a:pt x="1154875" y="285971"/>
                </a:lnTo>
                <a:lnTo>
                  <a:pt x="1165467" y="293032"/>
                </a:lnTo>
                <a:cubicBezTo>
                  <a:pt x="1174337" y="319645"/>
                  <a:pt x="1162374" y="286847"/>
                  <a:pt x="1176058" y="314215"/>
                </a:cubicBezTo>
                <a:cubicBezTo>
                  <a:pt x="1177722" y="317543"/>
                  <a:pt x="1176958" y="322175"/>
                  <a:pt x="1179589" y="324806"/>
                </a:cubicBezTo>
                <a:cubicBezTo>
                  <a:pt x="1182220" y="327437"/>
                  <a:pt x="1186479" y="327947"/>
                  <a:pt x="1190180" y="328337"/>
                </a:cubicBezTo>
                <a:cubicBezTo>
                  <a:pt x="1208942" y="330312"/>
                  <a:pt x="1227839" y="330690"/>
                  <a:pt x="1246668" y="331867"/>
                </a:cubicBezTo>
                <a:cubicBezTo>
                  <a:pt x="1253645" y="334193"/>
                  <a:pt x="1262873" y="336237"/>
                  <a:pt x="1267851" y="342459"/>
                </a:cubicBezTo>
                <a:cubicBezTo>
                  <a:pt x="1270176" y="345365"/>
                  <a:pt x="1269718" y="349722"/>
                  <a:pt x="1271382" y="353050"/>
                </a:cubicBezTo>
                <a:cubicBezTo>
                  <a:pt x="1276298" y="362882"/>
                  <a:pt x="1281224" y="366423"/>
                  <a:pt x="1289034" y="374233"/>
                </a:cubicBezTo>
                <a:cubicBezTo>
                  <a:pt x="1295249" y="392876"/>
                  <a:pt x="1289468" y="382760"/>
                  <a:pt x="1313748" y="398947"/>
                </a:cubicBezTo>
                <a:cubicBezTo>
                  <a:pt x="1317278" y="401301"/>
                  <a:pt x="1320314" y="404666"/>
                  <a:pt x="1324339" y="406008"/>
                </a:cubicBezTo>
                <a:cubicBezTo>
                  <a:pt x="1354523" y="416069"/>
                  <a:pt x="1338137" y="412146"/>
                  <a:pt x="1373766" y="416599"/>
                </a:cubicBezTo>
                <a:cubicBezTo>
                  <a:pt x="1398975" y="425002"/>
                  <a:pt x="1388756" y="419532"/>
                  <a:pt x="1405541" y="430721"/>
                </a:cubicBezTo>
                <a:cubicBezTo>
                  <a:pt x="1411817" y="440136"/>
                  <a:pt x="1419251" y="445877"/>
                  <a:pt x="1409071" y="458965"/>
                </a:cubicBezTo>
                <a:cubicBezTo>
                  <a:pt x="1403861" y="465664"/>
                  <a:pt x="1394949" y="468380"/>
                  <a:pt x="1387888" y="473087"/>
                </a:cubicBezTo>
                <a:lnTo>
                  <a:pt x="1377297" y="480148"/>
                </a:lnTo>
                <a:cubicBezTo>
                  <a:pt x="1376120" y="483679"/>
                  <a:pt x="1374496" y="487091"/>
                  <a:pt x="1373766" y="490740"/>
                </a:cubicBezTo>
                <a:cubicBezTo>
                  <a:pt x="1372339" y="497873"/>
                  <a:pt x="1371691" y="517069"/>
                  <a:pt x="1366705" y="526045"/>
                </a:cubicBezTo>
                <a:cubicBezTo>
                  <a:pt x="1362584" y="533463"/>
                  <a:pt x="1352583" y="547228"/>
                  <a:pt x="1352583" y="547228"/>
                </a:cubicBezTo>
                <a:cubicBezTo>
                  <a:pt x="1351406" y="551935"/>
                  <a:pt x="1350447" y="556702"/>
                  <a:pt x="1349053" y="561350"/>
                </a:cubicBezTo>
                <a:cubicBezTo>
                  <a:pt x="1349033" y="561417"/>
                  <a:pt x="1340237" y="587795"/>
                  <a:pt x="1338461" y="593124"/>
                </a:cubicBezTo>
                <a:lnTo>
                  <a:pt x="1334931" y="603716"/>
                </a:lnTo>
                <a:lnTo>
                  <a:pt x="1331400" y="614307"/>
                </a:lnTo>
                <a:cubicBezTo>
                  <a:pt x="1329013" y="628630"/>
                  <a:pt x="1328291" y="636440"/>
                  <a:pt x="1324339" y="649612"/>
                </a:cubicBezTo>
                <a:cubicBezTo>
                  <a:pt x="1322200" y="656741"/>
                  <a:pt x="1324646" y="669742"/>
                  <a:pt x="1317278" y="670795"/>
                </a:cubicBezTo>
                <a:lnTo>
                  <a:pt x="1292565" y="674326"/>
                </a:lnTo>
                <a:cubicBezTo>
                  <a:pt x="1285504" y="676680"/>
                  <a:pt x="1277575" y="677258"/>
                  <a:pt x="1271382" y="681387"/>
                </a:cubicBezTo>
                <a:lnTo>
                  <a:pt x="1239607" y="702570"/>
                </a:lnTo>
                <a:cubicBezTo>
                  <a:pt x="1236077" y="704924"/>
                  <a:pt x="1233041" y="708289"/>
                  <a:pt x="1229016" y="709631"/>
                </a:cubicBezTo>
                <a:lnTo>
                  <a:pt x="1218424" y="713161"/>
                </a:lnTo>
                <a:cubicBezTo>
                  <a:pt x="1214894" y="716692"/>
                  <a:pt x="1211774" y="720688"/>
                  <a:pt x="1207833" y="723753"/>
                </a:cubicBezTo>
                <a:cubicBezTo>
                  <a:pt x="1201134" y="728963"/>
                  <a:pt x="1186650" y="737875"/>
                  <a:pt x="1186650" y="737875"/>
                </a:cubicBezTo>
                <a:cubicBezTo>
                  <a:pt x="1184296" y="741405"/>
                  <a:pt x="1182305" y="745206"/>
                  <a:pt x="1179589" y="748466"/>
                </a:cubicBezTo>
                <a:cubicBezTo>
                  <a:pt x="1176392" y="752302"/>
                  <a:pt x="1171767" y="754903"/>
                  <a:pt x="1168997" y="759058"/>
                </a:cubicBezTo>
                <a:cubicBezTo>
                  <a:pt x="1166933" y="762155"/>
                  <a:pt x="1167131" y="766321"/>
                  <a:pt x="1165467" y="769650"/>
                </a:cubicBezTo>
                <a:cubicBezTo>
                  <a:pt x="1160162" y="780261"/>
                  <a:pt x="1144238" y="796748"/>
                  <a:pt x="1137223" y="801424"/>
                </a:cubicBezTo>
                <a:lnTo>
                  <a:pt x="1116040" y="815546"/>
                </a:lnTo>
                <a:lnTo>
                  <a:pt x="1105448" y="822607"/>
                </a:lnTo>
                <a:cubicBezTo>
                  <a:pt x="1095017" y="853900"/>
                  <a:pt x="1097565" y="836393"/>
                  <a:pt x="1101918" y="875565"/>
                </a:cubicBezTo>
                <a:cubicBezTo>
                  <a:pt x="1114863" y="874388"/>
                  <a:pt x="1127952" y="874293"/>
                  <a:pt x="1140753" y="872034"/>
                </a:cubicBezTo>
                <a:cubicBezTo>
                  <a:pt x="1148083" y="870740"/>
                  <a:pt x="1161936" y="864973"/>
                  <a:pt x="1161936" y="864973"/>
                </a:cubicBezTo>
                <a:cubicBezTo>
                  <a:pt x="1171351" y="866150"/>
                  <a:pt x="1181026" y="866007"/>
                  <a:pt x="1190180" y="868504"/>
                </a:cubicBezTo>
                <a:cubicBezTo>
                  <a:pt x="1208301" y="873446"/>
                  <a:pt x="1195543" y="875208"/>
                  <a:pt x="1204302" y="886156"/>
                </a:cubicBezTo>
                <a:cubicBezTo>
                  <a:pt x="1209279" y="892377"/>
                  <a:pt x="1218509" y="894422"/>
                  <a:pt x="1225485" y="896748"/>
                </a:cubicBezTo>
                <a:cubicBezTo>
                  <a:pt x="1227839" y="900278"/>
                  <a:pt x="1232344" y="903101"/>
                  <a:pt x="1232546" y="907339"/>
                </a:cubicBezTo>
                <a:cubicBezTo>
                  <a:pt x="1232608" y="908642"/>
                  <a:pt x="1235059" y="962332"/>
                  <a:pt x="1225485" y="981480"/>
                </a:cubicBezTo>
                <a:cubicBezTo>
                  <a:pt x="1223587" y="985275"/>
                  <a:pt x="1220778" y="988541"/>
                  <a:pt x="1218424" y="992071"/>
                </a:cubicBezTo>
                <a:cubicBezTo>
                  <a:pt x="1217247" y="1008547"/>
                  <a:pt x="1220117" y="1025828"/>
                  <a:pt x="1214894" y="1041498"/>
                </a:cubicBezTo>
                <a:cubicBezTo>
                  <a:pt x="1213360" y="1046101"/>
                  <a:pt x="1205438" y="1043696"/>
                  <a:pt x="1200772" y="1045029"/>
                </a:cubicBezTo>
                <a:cubicBezTo>
                  <a:pt x="1165317" y="1055159"/>
                  <a:pt x="1220205" y="1041052"/>
                  <a:pt x="1176058" y="1052090"/>
                </a:cubicBezTo>
                <a:cubicBezTo>
                  <a:pt x="1172528" y="1054444"/>
                  <a:pt x="1168118" y="1055838"/>
                  <a:pt x="1165467" y="1059151"/>
                </a:cubicBezTo>
                <a:cubicBezTo>
                  <a:pt x="1163142" y="1062057"/>
                  <a:pt x="1161936" y="1066021"/>
                  <a:pt x="1161936" y="1069742"/>
                </a:cubicBezTo>
                <a:cubicBezTo>
                  <a:pt x="1161936" y="1079981"/>
                  <a:pt x="1165137" y="1111614"/>
                  <a:pt x="1172528" y="1122700"/>
                </a:cubicBezTo>
                <a:lnTo>
                  <a:pt x="1179589" y="1133291"/>
                </a:lnTo>
                <a:cubicBezTo>
                  <a:pt x="1189242" y="1162256"/>
                  <a:pt x="1174823" y="1116524"/>
                  <a:pt x="1186650" y="1175657"/>
                </a:cubicBezTo>
                <a:cubicBezTo>
                  <a:pt x="1188110" y="1182955"/>
                  <a:pt x="1191357" y="1189779"/>
                  <a:pt x="1193711" y="1196840"/>
                </a:cubicBezTo>
                <a:cubicBezTo>
                  <a:pt x="1194888" y="1200371"/>
                  <a:pt x="1195177" y="1204335"/>
                  <a:pt x="1197241" y="1207432"/>
                </a:cubicBezTo>
                <a:lnTo>
                  <a:pt x="1211363" y="1228615"/>
                </a:lnTo>
                <a:cubicBezTo>
                  <a:pt x="1218266" y="1238969"/>
                  <a:pt x="1219032" y="1238105"/>
                  <a:pt x="1221955" y="1249798"/>
                </a:cubicBezTo>
                <a:cubicBezTo>
                  <a:pt x="1223410" y="1255619"/>
                  <a:pt x="1221801" y="1262713"/>
                  <a:pt x="1225485" y="1267450"/>
                </a:cubicBezTo>
                <a:cubicBezTo>
                  <a:pt x="1230695" y="1274149"/>
                  <a:pt x="1246668" y="1281572"/>
                  <a:pt x="1246668" y="1281572"/>
                </a:cubicBezTo>
                <a:cubicBezTo>
                  <a:pt x="1247664" y="1284559"/>
                  <a:pt x="1259704" y="1306558"/>
                  <a:pt x="1250199" y="1313347"/>
                </a:cubicBezTo>
                <a:cubicBezTo>
                  <a:pt x="1250193" y="1313351"/>
                  <a:pt x="1223723" y="1322172"/>
                  <a:pt x="1218424" y="1323938"/>
                </a:cubicBezTo>
                <a:lnTo>
                  <a:pt x="1186650" y="1334530"/>
                </a:lnTo>
                <a:lnTo>
                  <a:pt x="1176058" y="1338060"/>
                </a:lnTo>
                <a:cubicBezTo>
                  <a:pt x="1172528" y="1339237"/>
                  <a:pt x="1169077" y="1340689"/>
                  <a:pt x="1165467" y="1341591"/>
                </a:cubicBezTo>
                <a:cubicBezTo>
                  <a:pt x="1147734" y="1346024"/>
                  <a:pt x="1155948" y="1343586"/>
                  <a:pt x="1140753" y="1348652"/>
                </a:cubicBezTo>
                <a:lnTo>
                  <a:pt x="1133692" y="1369835"/>
                </a:lnTo>
                <a:cubicBezTo>
                  <a:pt x="1132515" y="1373365"/>
                  <a:pt x="1133692" y="1379249"/>
                  <a:pt x="1130162" y="1380426"/>
                </a:cubicBezTo>
                <a:lnTo>
                  <a:pt x="1108979" y="1387487"/>
                </a:lnTo>
                <a:lnTo>
                  <a:pt x="1098387" y="1391018"/>
                </a:lnTo>
                <a:cubicBezTo>
                  <a:pt x="1067789" y="1389841"/>
                  <a:pt x="1037142" y="1389594"/>
                  <a:pt x="1006594" y="1387487"/>
                </a:cubicBezTo>
                <a:cubicBezTo>
                  <a:pt x="1002881" y="1387231"/>
                  <a:pt x="998634" y="1386589"/>
                  <a:pt x="996002" y="1383957"/>
                </a:cubicBezTo>
                <a:cubicBezTo>
                  <a:pt x="977173" y="1365128"/>
                  <a:pt x="1010125" y="1379248"/>
                  <a:pt x="981880" y="1369835"/>
                </a:cubicBezTo>
                <a:lnTo>
                  <a:pt x="960697" y="1355713"/>
                </a:lnTo>
                <a:lnTo>
                  <a:pt x="950106" y="1348652"/>
                </a:lnTo>
                <a:cubicBezTo>
                  <a:pt x="937161" y="1329234"/>
                  <a:pt x="950106" y="1345709"/>
                  <a:pt x="932453" y="1330999"/>
                </a:cubicBezTo>
                <a:cubicBezTo>
                  <a:pt x="928617" y="1327803"/>
                  <a:pt x="925698" y="1323604"/>
                  <a:pt x="921862" y="1320408"/>
                </a:cubicBezTo>
                <a:cubicBezTo>
                  <a:pt x="918602" y="1317692"/>
                  <a:pt x="915461" y="1314009"/>
                  <a:pt x="911270" y="1313347"/>
                </a:cubicBezTo>
                <a:cubicBezTo>
                  <a:pt x="892635" y="1310404"/>
                  <a:pt x="873611" y="1310993"/>
                  <a:pt x="854782" y="1309816"/>
                </a:cubicBezTo>
                <a:cubicBezTo>
                  <a:pt x="850075" y="1307462"/>
                  <a:pt x="845497" y="1304828"/>
                  <a:pt x="840660" y="1302755"/>
                </a:cubicBezTo>
                <a:cubicBezTo>
                  <a:pt x="837240" y="1301289"/>
                  <a:pt x="833397" y="1300889"/>
                  <a:pt x="830069" y="1299225"/>
                </a:cubicBezTo>
                <a:cubicBezTo>
                  <a:pt x="802686" y="1285534"/>
                  <a:pt x="835513" y="1297510"/>
                  <a:pt x="808886" y="1288633"/>
                </a:cubicBezTo>
                <a:cubicBezTo>
                  <a:pt x="803002" y="1289810"/>
                  <a:pt x="797022" y="1290585"/>
                  <a:pt x="791233" y="1292164"/>
                </a:cubicBezTo>
                <a:cubicBezTo>
                  <a:pt x="784052" y="1294122"/>
                  <a:pt x="777111" y="1296871"/>
                  <a:pt x="770050" y="1299225"/>
                </a:cubicBezTo>
                <a:cubicBezTo>
                  <a:pt x="766520" y="1300402"/>
                  <a:pt x="763069" y="1301852"/>
                  <a:pt x="759459" y="1302755"/>
                </a:cubicBezTo>
                <a:cubicBezTo>
                  <a:pt x="738112" y="1308092"/>
                  <a:pt x="749947" y="1304750"/>
                  <a:pt x="724154" y="1313347"/>
                </a:cubicBezTo>
                <a:lnTo>
                  <a:pt x="702971" y="1320408"/>
                </a:lnTo>
                <a:lnTo>
                  <a:pt x="692379" y="1323938"/>
                </a:lnTo>
                <a:cubicBezTo>
                  <a:pt x="688849" y="1326292"/>
                  <a:pt x="684037" y="1327401"/>
                  <a:pt x="681788" y="1330999"/>
                </a:cubicBezTo>
                <a:cubicBezTo>
                  <a:pt x="677843" y="1337311"/>
                  <a:pt x="678056" y="1345525"/>
                  <a:pt x="674727" y="1352182"/>
                </a:cubicBezTo>
                <a:cubicBezTo>
                  <a:pt x="665768" y="1370099"/>
                  <a:pt x="670585" y="1361925"/>
                  <a:pt x="660605" y="1376896"/>
                </a:cubicBezTo>
                <a:cubicBezTo>
                  <a:pt x="661782" y="1380426"/>
                  <a:pt x="661504" y="1384856"/>
                  <a:pt x="664135" y="1387487"/>
                </a:cubicBezTo>
                <a:cubicBezTo>
                  <a:pt x="666767" y="1390119"/>
                  <a:pt x="672402" y="1388112"/>
                  <a:pt x="674727" y="1391018"/>
                </a:cubicBezTo>
                <a:cubicBezTo>
                  <a:pt x="677758" y="1394807"/>
                  <a:pt x="677080" y="1400433"/>
                  <a:pt x="678257" y="1405140"/>
                </a:cubicBezTo>
                <a:cubicBezTo>
                  <a:pt x="677080" y="1421616"/>
                  <a:pt x="675994" y="1438098"/>
                  <a:pt x="674727" y="1454567"/>
                </a:cubicBezTo>
                <a:cubicBezTo>
                  <a:pt x="673640" y="1468696"/>
                  <a:pt x="684446" y="1491907"/>
                  <a:pt x="671196" y="1496933"/>
                </a:cubicBezTo>
                <a:cubicBezTo>
                  <a:pt x="640367" y="1508627"/>
                  <a:pt x="605293" y="1494579"/>
                  <a:pt x="572342" y="1493402"/>
                </a:cubicBezTo>
                <a:cubicBezTo>
                  <a:pt x="566458" y="1492225"/>
                  <a:pt x="560308" y="1491979"/>
                  <a:pt x="554690" y="1489872"/>
                </a:cubicBezTo>
                <a:cubicBezTo>
                  <a:pt x="550717" y="1488382"/>
                  <a:pt x="547893" y="1484709"/>
                  <a:pt x="544098" y="1482811"/>
                </a:cubicBezTo>
                <a:cubicBezTo>
                  <a:pt x="540770" y="1481147"/>
                  <a:pt x="537037" y="1480457"/>
                  <a:pt x="533507" y="1479280"/>
                </a:cubicBezTo>
                <a:cubicBezTo>
                  <a:pt x="529052" y="1443649"/>
                  <a:pt x="532977" y="1460039"/>
                  <a:pt x="522915" y="1429853"/>
                </a:cubicBezTo>
                <a:cubicBezTo>
                  <a:pt x="521738" y="1426323"/>
                  <a:pt x="522481" y="1421326"/>
                  <a:pt x="519385" y="1419262"/>
                </a:cubicBezTo>
                <a:cubicBezTo>
                  <a:pt x="512324" y="1414555"/>
                  <a:pt x="506253" y="1407824"/>
                  <a:pt x="498202" y="1405140"/>
                </a:cubicBezTo>
                <a:cubicBezTo>
                  <a:pt x="494671" y="1403963"/>
                  <a:pt x="490863" y="1403416"/>
                  <a:pt x="487610" y="1401609"/>
                </a:cubicBezTo>
                <a:cubicBezTo>
                  <a:pt x="480192" y="1397488"/>
                  <a:pt x="473488" y="1392194"/>
                  <a:pt x="466427" y="1387487"/>
                </a:cubicBezTo>
                <a:cubicBezTo>
                  <a:pt x="462897" y="1385133"/>
                  <a:pt x="459952" y="1381455"/>
                  <a:pt x="455836" y="1380426"/>
                </a:cubicBezTo>
                <a:cubicBezTo>
                  <a:pt x="446421" y="1378072"/>
                  <a:pt x="436799" y="1376433"/>
                  <a:pt x="427592" y="1373365"/>
                </a:cubicBezTo>
                <a:cubicBezTo>
                  <a:pt x="424061" y="1372188"/>
                  <a:pt x="420693" y="1370297"/>
                  <a:pt x="417000" y="1369835"/>
                </a:cubicBezTo>
                <a:cubicBezTo>
                  <a:pt x="401775" y="1367932"/>
                  <a:pt x="386403" y="1367481"/>
                  <a:pt x="371104" y="1366304"/>
                </a:cubicBezTo>
                <a:cubicBezTo>
                  <a:pt x="357550" y="1363594"/>
                  <a:pt x="350698" y="1363834"/>
                  <a:pt x="339329" y="1355713"/>
                </a:cubicBezTo>
                <a:cubicBezTo>
                  <a:pt x="316190" y="1339184"/>
                  <a:pt x="340866" y="1349163"/>
                  <a:pt x="318146" y="1341591"/>
                </a:cubicBezTo>
                <a:cubicBezTo>
                  <a:pt x="315792" y="1338060"/>
                  <a:pt x="313801" y="1334259"/>
                  <a:pt x="311085" y="1330999"/>
                </a:cubicBezTo>
                <a:cubicBezTo>
                  <a:pt x="307889" y="1327163"/>
                  <a:pt x="303263" y="1324562"/>
                  <a:pt x="300494" y="1320408"/>
                </a:cubicBezTo>
                <a:cubicBezTo>
                  <a:pt x="280057" y="1289753"/>
                  <a:pt x="320156" y="1333009"/>
                  <a:pt x="286372" y="1299225"/>
                </a:cubicBezTo>
                <a:cubicBezTo>
                  <a:pt x="283500" y="1290610"/>
                  <a:pt x="282624" y="1284886"/>
                  <a:pt x="275780" y="1278042"/>
                </a:cubicBezTo>
                <a:cubicBezTo>
                  <a:pt x="265501" y="1267763"/>
                  <a:pt x="258800" y="1270409"/>
                  <a:pt x="244006" y="1267450"/>
                </a:cubicBezTo>
                <a:cubicBezTo>
                  <a:pt x="239248" y="1266498"/>
                  <a:pt x="234591" y="1265097"/>
                  <a:pt x="229884" y="1263920"/>
                </a:cubicBezTo>
                <a:cubicBezTo>
                  <a:pt x="226353" y="1261566"/>
                  <a:pt x="223087" y="1258757"/>
                  <a:pt x="219292" y="1256859"/>
                </a:cubicBezTo>
                <a:cubicBezTo>
                  <a:pt x="215964" y="1255195"/>
                  <a:pt x="211954" y="1255135"/>
                  <a:pt x="208701" y="1253328"/>
                </a:cubicBezTo>
                <a:cubicBezTo>
                  <a:pt x="172289" y="1233098"/>
                  <a:pt x="200889" y="1243662"/>
                  <a:pt x="176926" y="1235676"/>
                </a:cubicBezTo>
                <a:cubicBezTo>
                  <a:pt x="175749" y="1232145"/>
                  <a:pt x="175060" y="1228413"/>
                  <a:pt x="173396" y="1225084"/>
                </a:cubicBezTo>
                <a:cubicBezTo>
                  <a:pt x="170815" y="1219923"/>
                  <a:pt x="158141" y="1203568"/>
                  <a:pt x="155743" y="1200371"/>
                </a:cubicBezTo>
                <a:cubicBezTo>
                  <a:pt x="153380" y="1193281"/>
                  <a:pt x="149367" y="1175051"/>
                  <a:pt x="141621" y="1168596"/>
                </a:cubicBezTo>
                <a:cubicBezTo>
                  <a:pt x="128849" y="1157952"/>
                  <a:pt x="125145" y="1169773"/>
                  <a:pt x="123968" y="1168596"/>
                </a:cubicBezTo>
                <a:close/>
              </a:path>
            </a:pathLst>
          </a:custGeom>
          <a:solidFill>
            <a:srgbClr val="00B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2916244" y="4436537"/>
            <a:ext cx="935037" cy="28786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1600" dirty="0" err="1">
                <a:latin typeface="Ramabhadra" pitchFamily="2" charset="0"/>
                <a:ea typeface="+mj-ea"/>
                <a:cs typeface="Ramabhadra" pitchFamily="2" charset="0"/>
              </a:rPr>
              <a:t>ఫ్రాన్స్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00" name="Freeform 99"/>
          <p:cNvSpPr/>
          <p:nvPr/>
        </p:nvSpPr>
        <p:spPr>
          <a:xfrm>
            <a:off x="2584456" y="2400304"/>
            <a:ext cx="868363" cy="1413933"/>
          </a:xfrm>
          <a:custGeom>
            <a:avLst/>
            <a:gdLst>
              <a:gd name="connsiteX0" fmla="*/ 3530 w 868503"/>
              <a:gd name="connsiteY0" fmla="*/ 1356204 h 1412692"/>
              <a:gd name="connsiteX1" fmla="*/ 28243 w 868503"/>
              <a:gd name="connsiteY1" fmla="*/ 1352674 h 1412692"/>
              <a:gd name="connsiteX2" fmla="*/ 49426 w 868503"/>
              <a:gd name="connsiteY2" fmla="*/ 1338552 h 1412692"/>
              <a:gd name="connsiteX3" fmla="*/ 63548 w 868503"/>
              <a:gd name="connsiteY3" fmla="*/ 1331491 h 1412692"/>
              <a:gd name="connsiteX4" fmla="*/ 70609 w 868503"/>
              <a:gd name="connsiteY4" fmla="*/ 1320899 h 1412692"/>
              <a:gd name="connsiteX5" fmla="*/ 112975 w 868503"/>
              <a:gd name="connsiteY5" fmla="*/ 1310308 h 1412692"/>
              <a:gd name="connsiteX6" fmla="*/ 134158 w 868503"/>
              <a:gd name="connsiteY6" fmla="*/ 1299716 h 1412692"/>
              <a:gd name="connsiteX7" fmla="*/ 144750 w 868503"/>
              <a:gd name="connsiteY7" fmla="*/ 1289125 h 1412692"/>
              <a:gd name="connsiteX8" fmla="*/ 155341 w 868503"/>
              <a:gd name="connsiteY8" fmla="*/ 1285594 h 1412692"/>
              <a:gd name="connsiteX9" fmla="*/ 176525 w 868503"/>
              <a:gd name="connsiteY9" fmla="*/ 1271472 h 1412692"/>
              <a:gd name="connsiteX10" fmla="*/ 183586 w 868503"/>
              <a:gd name="connsiteY10" fmla="*/ 1260881 h 1412692"/>
              <a:gd name="connsiteX11" fmla="*/ 201238 w 868503"/>
              <a:gd name="connsiteY11" fmla="*/ 1229106 h 1412692"/>
              <a:gd name="connsiteX12" fmla="*/ 211830 w 868503"/>
              <a:gd name="connsiteY12" fmla="*/ 1222045 h 1412692"/>
              <a:gd name="connsiteX13" fmla="*/ 261257 w 868503"/>
              <a:gd name="connsiteY13" fmla="*/ 1232636 h 1412692"/>
              <a:gd name="connsiteX14" fmla="*/ 271848 w 868503"/>
              <a:gd name="connsiteY14" fmla="*/ 1236167 h 1412692"/>
              <a:gd name="connsiteX15" fmla="*/ 278909 w 868503"/>
              <a:gd name="connsiteY15" fmla="*/ 1246758 h 1412692"/>
              <a:gd name="connsiteX16" fmla="*/ 289501 w 868503"/>
              <a:gd name="connsiteY16" fmla="*/ 1250289 h 1412692"/>
              <a:gd name="connsiteX17" fmla="*/ 300092 w 868503"/>
              <a:gd name="connsiteY17" fmla="*/ 1257350 h 1412692"/>
              <a:gd name="connsiteX18" fmla="*/ 317745 w 868503"/>
              <a:gd name="connsiteY18" fmla="*/ 1253819 h 1412692"/>
              <a:gd name="connsiteX19" fmla="*/ 331867 w 868503"/>
              <a:gd name="connsiteY19" fmla="*/ 1232636 h 1412692"/>
              <a:gd name="connsiteX20" fmla="*/ 328336 w 868503"/>
              <a:gd name="connsiteY20" fmla="*/ 1207923 h 1412692"/>
              <a:gd name="connsiteX21" fmla="*/ 317745 w 868503"/>
              <a:gd name="connsiteY21" fmla="*/ 1200862 h 1412692"/>
              <a:gd name="connsiteX22" fmla="*/ 278909 w 868503"/>
              <a:gd name="connsiteY22" fmla="*/ 1197331 h 1412692"/>
              <a:gd name="connsiteX23" fmla="*/ 254196 w 868503"/>
              <a:gd name="connsiteY23" fmla="*/ 1165557 h 1412692"/>
              <a:gd name="connsiteX24" fmla="*/ 247135 w 868503"/>
              <a:gd name="connsiteY24" fmla="*/ 1154965 h 1412692"/>
              <a:gd name="connsiteX25" fmla="*/ 222421 w 868503"/>
              <a:gd name="connsiteY25" fmla="*/ 1151435 h 1412692"/>
              <a:gd name="connsiteX26" fmla="*/ 208299 w 868503"/>
              <a:gd name="connsiteY26" fmla="*/ 1137313 h 1412692"/>
              <a:gd name="connsiteX27" fmla="*/ 197708 w 868503"/>
              <a:gd name="connsiteY27" fmla="*/ 1133782 h 1412692"/>
              <a:gd name="connsiteX28" fmla="*/ 155341 w 868503"/>
              <a:gd name="connsiteY28" fmla="*/ 1130252 h 1412692"/>
              <a:gd name="connsiteX29" fmla="*/ 144750 w 868503"/>
              <a:gd name="connsiteY29" fmla="*/ 1109069 h 1412692"/>
              <a:gd name="connsiteX30" fmla="*/ 148280 w 868503"/>
              <a:gd name="connsiteY30" fmla="*/ 1091416 h 1412692"/>
              <a:gd name="connsiteX31" fmla="*/ 169464 w 868503"/>
              <a:gd name="connsiteY31" fmla="*/ 1084355 h 1412692"/>
              <a:gd name="connsiteX32" fmla="*/ 190647 w 868503"/>
              <a:gd name="connsiteY32" fmla="*/ 1077294 h 1412692"/>
              <a:gd name="connsiteX33" fmla="*/ 201238 w 868503"/>
              <a:gd name="connsiteY33" fmla="*/ 1073764 h 1412692"/>
              <a:gd name="connsiteX34" fmla="*/ 215360 w 868503"/>
              <a:gd name="connsiteY34" fmla="*/ 1070233 h 1412692"/>
              <a:gd name="connsiteX35" fmla="*/ 225952 w 868503"/>
              <a:gd name="connsiteY35" fmla="*/ 1066703 h 1412692"/>
              <a:gd name="connsiteX36" fmla="*/ 254196 w 868503"/>
              <a:gd name="connsiteY36" fmla="*/ 1059642 h 1412692"/>
              <a:gd name="connsiteX37" fmla="*/ 261257 w 868503"/>
              <a:gd name="connsiteY37" fmla="*/ 1049050 h 1412692"/>
              <a:gd name="connsiteX38" fmla="*/ 282440 w 868503"/>
              <a:gd name="connsiteY38" fmla="*/ 1034928 h 1412692"/>
              <a:gd name="connsiteX39" fmla="*/ 289501 w 868503"/>
              <a:gd name="connsiteY39" fmla="*/ 1024337 h 1412692"/>
              <a:gd name="connsiteX40" fmla="*/ 303623 w 868503"/>
              <a:gd name="connsiteY40" fmla="*/ 967849 h 1412692"/>
              <a:gd name="connsiteX41" fmla="*/ 300092 w 868503"/>
              <a:gd name="connsiteY41" fmla="*/ 957257 h 1412692"/>
              <a:gd name="connsiteX42" fmla="*/ 289501 w 868503"/>
              <a:gd name="connsiteY42" fmla="*/ 950196 h 1412692"/>
              <a:gd name="connsiteX43" fmla="*/ 233013 w 868503"/>
              <a:gd name="connsiteY43" fmla="*/ 943135 h 1412692"/>
              <a:gd name="connsiteX44" fmla="*/ 233013 w 868503"/>
              <a:gd name="connsiteY44" fmla="*/ 921952 h 1412692"/>
              <a:gd name="connsiteX45" fmla="*/ 247135 w 868503"/>
              <a:gd name="connsiteY45" fmla="*/ 918422 h 1412692"/>
              <a:gd name="connsiteX46" fmla="*/ 268318 w 868503"/>
              <a:gd name="connsiteY46" fmla="*/ 914891 h 1412692"/>
              <a:gd name="connsiteX47" fmla="*/ 293031 w 868503"/>
              <a:gd name="connsiteY47" fmla="*/ 907830 h 1412692"/>
              <a:gd name="connsiteX48" fmla="*/ 307153 w 868503"/>
              <a:gd name="connsiteY48" fmla="*/ 904300 h 1412692"/>
              <a:gd name="connsiteX49" fmla="*/ 328336 w 868503"/>
              <a:gd name="connsiteY49" fmla="*/ 897239 h 1412692"/>
              <a:gd name="connsiteX50" fmla="*/ 338928 w 868503"/>
              <a:gd name="connsiteY50" fmla="*/ 890178 h 1412692"/>
              <a:gd name="connsiteX51" fmla="*/ 388355 w 868503"/>
              <a:gd name="connsiteY51" fmla="*/ 890178 h 1412692"/>
              <a:gd name="connsiteX52" fmla="*/ 448373 w 868503"/>
              <a:gd name="connsiteY52" fmla="*/ 893708 h 1412692"/>
              <a:gd name="connsiteX53" fmla="*/ 455434 w 868503"/>
              <a:gd name="connsiteY53" fmla="*/ 833690 h 1412692"/>
              <a:gd name="connsiteX54" fmla="*/ 462495 w 868503"/>
              <a:gd name="connsiteY54" fmla="*/ 823098 h 1412692"/>
              <a:gd name="connsiteX55" fmla="*/ 473087 w 868503"/>
              <a:gd name="connsiteY55" fmla="*/ 819568 h 1412692"/>
              <a:gd name="connsiteX56" fmla="*/ 473087 w 868503"/>
              <a:gd name="connsiteY56" fmla="*/ 805446 h 1412692"/>
              <a:gd name="connsiteX57" fmla="*/ 469556 w 868503"/>
              <a:gd name="connsiteY57" fmla="*/ 794854 h 1412692"/>
              <a:gd name="connsiteX58" fmla="*/ 466026 w 868503"/>
              <a:gd name="connsiteY58" fmla="*/ 766610 h 1412692"/>
              <a:gd name="connsiteX59" fmla="*/ 458965 w 868503"/>
              <a:gd name="connsiteY59" fmla="*/ 745427 h 1412692"/>
              <a:gd name="connsiteX60" fmla="*/ 455434 w 868503"/>
              <a:gd name="connsiteY60" fmla="*/ 731305 h 1412692"/>
              <a:gd name="connsiteX61" fmla="*/ 448373 w 868503"/>
              <a:gd name="connsiteY61" fmla="*/ 710122 h 1412692"/>
              <a:gd name="connsiteX62" fmla="*/ 444843 w 868503"/>
              <a:gd name="connsiteY62" fmla="*/ 699531 h 1412692"/>
              <a:gd name="connsiteX63" fmla="*/ 455434 w 868503"/>
              <a:gd name="connsiteY63" fmla="*/ 639512 h 1412692"/>
              <a:gd name="connsiteX64" fmla="*/ 466026 w 868503"/>
              <a:gd name="connsiteY64" fmla="*/ 635982 h 1412692"/>
              <a:gd name="connsiteX65" fmla="*/ 462495 w 868503"/>
              <a:gd name="connsiteY65" fmla="*/ 625390 h 1412692"/>
              <a:gd name="connsiteX66" fmla="*/ 451904 w 868503"/>
              <a:gd name="connsiteY66" fmla="*/ 621860 h 1412692"/>
              <a:gd name="connsiteX67" fmla="*/ 430721 w 868503"/>
              <a:gd name="connsiteY67" fmla="*/ 628921 h 1412692"/>
              <a:gd name="connsiteX68" fmla="*/ 420129 w 868503"/>
              <a:gd name="connsiteY68" fmla="*/ 632451 h 1412692"/>
              <a:gd name="connsiteX69" fmla="*/ 409538 w 868503"/>
              <a:gd name="connsiteY69" fmla="*/ 635982 h 1412692"/>
              <a:gd name="connsiteX70" fmla="*/ 398946 w 868503"/>
              <a:gd name="connsiteY70" fmla="*/ 639512 h 1412692"/>
              <a:gd name="connsiteX71" fmla="*/ 381294 w 868503"/>
              <a:gd name="connsiteY71" fmla="*/ 635982 h 1412692"/>
              <a:gd name="connsiteX72" fmla="*/ 370702 w 868503"/>
              <a:gd name="connsiteY72" fmla="*/ 628921 h 1412692"/>
              <a:gd name="connsiteX73" fmla="*/ 345989 w 868503"/>
              <a:gd name="connsiteY73" fmla="*/ 625390 h 1412692"/>
              <a:gd name="connsiteX74" fmla="*/ 328336 w 868503"/>
              <a:gd name="connsiteY74" fmla="*/ 618329 h 1412692"/>
              <a:gd name="connsiteX75" fmla="*/ 307153 w 868503"/>
              <a:gd name="connsiteY75" fmla="*/ 604207 h 1412692"/>
              <a:gd name="connsiteX76" fmla="*/ 303623 w 868503"/>
              <a:gd name="connsiteY76" fmla="*/ 593616 h 1412692"/>
              <a:gd name="connsiteX77" fmla="*/ 328336 w 868503"/>
              <a:gd name="connsiteY77" fmla="*/ 579494 h 1412692"/>
              <a:gd name="connsiteX78" fmla="*/ 335397 w 868503"/>
              <a:gd name="connsiteY78" fmla="*/ 554780 h 1412692"/>
              <a:gd name="connsiteX79" fmla="*/ 338928 w 868503"/>
              <a:gd name="connsiteY79" fmla="*/ 537128 h 1412692"/>
              <a:gd name="connsiteX80" fmla="*/ 349519 w 868503"/>
              <a:gd name="connsiteY80" fmla="*/ 515945 h 1412692"/>
              <a:gd name="connsiteX81" fmla="*/ 360111 w 868503"/>
              <a:gd name="connsiteY81" fmla="*/ 512414 h 1412692"/>
              <a:gd name="connsiteX82" fmla="*/ 363641 w 868503"/>
              <a:gd name="connsiteY82" fmla="*/ 438274 h 1412692"/>
              <a:gd name="connsiteX83" fmla="*/ 338928 w 868503"/>
              <a:gd name="connsiteY83" fmla="*/ 452396 h 1412692"/>
              <a:gd name="connsiteX84" fmla="*/ 307153 w 868503"/>
              <a:gd name="connsiteY84" fmla="*/ 462987 h 1412692"/>
              <a:gd name="connsiteX85" fmla="*/ 285970 w 868503"/>
              <a:gd name="connsiteY85" fmla="*/ 470048 h 1412692"/>
              <a:gd name="connsiteX86" fmla="*/ 275379 w 868503"/>
              <a:gd name="connsiteY86" fmla="*/ 473579 h 1412692"/>
              <a:gd name="connsiteX87" fmla="*/ 282440 w 868503"/>
              <a:gd name="connsiteY87" fmla="*/ 462987 h 1412692"/>
              <a:gd name="connsiteX88" fmla="*/ 285970 w 868503"/>
              <a:gd name="connsiteY88" fmla="*/ 452396 h 1412692"/>
              <a:gd name="connsiteX89" fmla="*/ 300092 w 868503"/>
              <a:gd name="connsiteY89" fmla="*/ 431213 h 1412692"/>
              <a:gd name="connsiteX90" fmla="*/ 307153 w 868503"/>
              <a:gd name="connsiteY90" fmla="*/ 420621 h 1412692"/>
              <a:gd name="connsiteX91" fmla="*/ 314214 w 868503"/>
              <a:gd name="connsiteY91" fmla="*/ 410030 h 1412692"/>
              <a:gd name="connsiteX92" fmla="*/ 317745 w 868503"/>
              <a:gd name="connsiteY92" fmla="*/ 381786 h 1412692"/>
              <a:gd name="connsiteX93" fmla="*/ 342458 w 868503"/>
              <a:gd name="connsiteY93" fmla="*/ 371194 h 1412692"/>
              <a:gd name="connsiteX94" fmla="*/ 338928 w 868503"/>
              <a:gd name="connsiteY94" fmla="*/ 360603 h 1412692"/>
              <a:gd name="connsiteX95" fmla="*/ 321275 w 868503"/>
              <a:gd name="connsiteY95" fmla="*/ 342950 h 1412692"/>
              <a:gd name="connsiteX96" fmla="*/ 303623 w 868503"/>
              <a:gd name="connsiteY96" fmla="*/ 339419 h 1412692"/>
              <a:gd name="connsiteX97" fmla="*/ 293031 w 868503"/>
              <a:gd name="connsiteY97" fmla="*/ 335889 h 1412692"/>
              <a:gd name="connsiteX98" fmla="*/ 296562 w 868503"/>
              <a:gd name="connsiteY98" fmla="*/ 289992 h 1412692"/>
              <a:gd name="connsiteX99" fmla="*/ 303623 w 868503"/>
              <a:gd name="connsiteY99" fmla="*/ 268809 h 1412692"/>
              <a:gd name="connsiteX100" fmla="*/ 324806 w 868503"/>
              <a:gd name="connsiteY100" fmla="*/ 254687 h 1412692"/>
              <a:gd name="connsiteX101" fmla="*/ 349519 w 868503"/>
              <a:gd name="connsiteY101" fmla="*/ 237035 h 1412692"/>
              <a:gd name="connsiteX102" fmla="*/ 360111 w 868503"/>
              <a:gd name="connsiteY102" fmla="*/ 233504 h 1412692"/>
              <a:gd name="connsiteX103" fmla="*/ 370702 w 868503"/>
              <a:gd name="connsiteY103" fmla="*/ 222913 h 1412692"/>
              <a:gd name="connsiteX104" fmla="*/ 381294 w 868503"/>
              <a:gd name="connsiteY104" fmla="*/ 215852 h 1412692"/>
              <a:gd name="connsiteX105" fmla="*/ 377763 w 868503"/>
              <a:gd name="connsiteY105" fmla="*/ 198199 h 1412692"/>
              <a:gd name="connsiteX106" fmla="*/ 367172 w 868503"/>
              <a:gd name="connsiteY106" fmla="*/ 177016 h 1412692"/>
              <a:gd name="connsiteX107" fmla="*/ 363641 w 868503"/>
              <a:gd name="connsiteY107" fmla="*/ 166425 h 1412692"/>
              <a:gd name="connsiteX108" fmla="*/ 370702 w 868503"/>
              <a:gd name="connsiteY108" fmla="*/ 155833 h 1412692"/>
              <a:gd name="connsiteX109" fmla="*/ 374233 w 868503"/>
              <a:gd name="connsiteY109" fmla="*/ 145242 h 1412692"/>
              <a:gd name="connsiteX110" fmla="*/ 384824 w 868503"/>
              <a:gd name="connsiteY110" fmla="*/ 141711 h 1412692"/>
              <a:gd name="connsiteX111" fmla="*/ 395416 w 868503"/>
              <a:gd name="connsiteY111" fmla="*/ 134650 h 1412692"/>
              <a:gd name="connsiteX112" fmla="*/ 420129 w 868503"/>
              <a:gd name="connsiteY112" fmla="*/ 102876 h 1412692"/>
              <a:gd name="connsiteX113" fmla="*/ 423660 w 868503"/>
              <a:gd name="connsiteY113" fmla="*/ 92284 h 1412692"/>
              <a:gd name="connsiteX114" fmla="*/ 455434 w 868503"/>
              <a:gd name="connsiteY114" fmla="*/ 67571 h 1412692"/>
              <a:gd name="connsiteX115" fmla="*/ 480148 w 868503"/>
              <a:gd name="connsiteY115" fmla="*/ 49918 h 1412692"/>
              <a:gd name="connsiteX116" fmla="*/ 497800 w 868503"/>
              <a:gd name="connsiteY116" fmla="*/ 18144 h 1412692"/>
              <a:gd name="connsiteX117" fmla="*/ 508392 w 868503"/>
              <a:gd name="connsiteY117" fmla="*/ 11083 h 1412692"/>
              <a:gd name="connsiteX118" fmla="*/ 515453 w 868503"/>
              <a:gd name="connsiteY118" fmla="*/ 491 h 1412692"/>
              <a:gd name="connsiteX119" fmla="*/ 547227 w 868503"/>
              <a:gd name="connsiteY119" fmla="*/ 7552 h 1412692"/>
              <a:gd name="connsiteX120" fmla="*/ 568410 w 868503"/>
              <a:gd name="connsiteY120" fmla="*/ 14613 h 1412692"/>
              <a:gd name="connsiteX121" fmla="*/ 579002 w 868503"/>
              <a:gd name="connsiteY121" fmla="*/ 21674 h 1412692"/>
              <a:gd name="connsiteX122" fmla="*/ 589593 w 868503"/>
              <a:gd name="connsiteY122" fmla="*/ 25205 h 1412692"/>
              <a:gd name="connsiteX123" fmla="*/ 684917 w 868503"/>
              <a:gd name="connsiteY123" fmla="*/ 28735 h 1412692"/>
              <a:gd name="connsiteX124" fmla="*/ 688447 w 868503"/>
              <a:gd name="connsiteY124" fmla="*/ 39327 h 1412692"/>
              <a:gd name="connsiteX125" fmla="*/ 681386 w 868503"/>
              <a:gd name="connsiteY125" fmla="*/ 49918 h 1412692"/>
              <a:gd name="connsiteX126" fmla="*/ 674325 w 868503"/>
              <a:gd name="connsiteY126" fmla="*/ 71101 h 1412692"/>
              <a:gd name="connsiteX127" fmla="*/ 653142 w 868503"/>
              <a:gd name="connsiteY127" fmla="*/ 78162 h 1412692"/>
              <a:gd name="connsiteX128" fmla="*/ 642551 w 868503"/>
              <a:gd name="connsiteY128" fmla="*/ 81693 h 1412692"/>
              <a:gd name="connsiteX129" fmla="*/ 628429 w 868503"/>
              <a:gd name="connsiteY129" fmla="*/ 102876 h 1412692"/>
              <a:gd name="connsiteX130" fmla="*/ 621368 w 868503"/>
              <a:gd name="connsiteY130" fmla="*/ 113467 h 1412692"/>
              <a:gd name="connsiteX131" fmla="*/ 600185 w 868503"/>
              <a:gd name="connsiteY131" fmla="*/ 120528 h 1412692"/>
              <a:gd name="connsiteX132" fmla="*/ 589593 w 868503"/>
              <a:gd name="connsiteY132" fmla="*/ 127589 h 1412692"/>
              <a:gd name="connsiteX133" fmla="*/ 568410 w 868503"/>
              <a:gd name="connsiteY133" fmla="*/ 134650 h 1412692"/>
              <a:gd name="connsiteX134" fmla="*/ 561349 w 868503"/>
              <a:gd name="connsiteY134" fmla="*/ 145242 h 1412692"/>
              <a:gd name="connsiteX135" fmla="*/ 561349 w 868503"/>
              <a:gd name="connsiteY135" fmla="*/ 177016 h 1412692"/>
              <a:gd name="connsiteX136" fmla="*/ 582532 w 868503"/>
              <a:gd name="connsiteY136" fmla="*/ 184077 h 1412692"/>
              <a:gd name="connsiteX137" fmla="*/ 628429 w 868503"/>
              <a:gd name="connsiteY137" fmla="*/ 191138 h 1412692"/>
              <a:gd name="connsiteX138" fmla="*/ 639020 w 868503"/>
              <a:gd name="connsiteY138" fmla="*/ 194669 h 1412692"/>
              <a:gd name="connsiteX139" fmla="*/ 649612 w 868503"/>
              <a:gd name="connsiteY139" fmla="*/ 201730 h 1412692"/>
              <a:gd name="connsiteX140" fmla="*/ 663734 w 868503"/>
              <a:gd name="connsiteY140" fmla="*/ 205260 h 1412692"/>
              <a:gd name="connsiteX141" fmla="*/ 695508 w 868503"/>
              <a:gd name="connsiteY141" fmla="*/ 215852 h 1412692"/>
              <a:gd name="connsiteX142" fmla="*/ 706100 w 868503"/>
              <a:gd name="connsiteY142" fmla="*/ 219382 h 1412692"/>
              <a:gd name="connsiteX143" fmla="*/ 730813 w 868503"/>
              <a:gd name="connsiteY143" fmla="*/ 226443 h 1412692"/>
              <a:gd name="connsiteX144" fmla="*/ 741405 w 868503"/>
              <a:gd name="connsiteY144" fmla="*/ 233504 h 1412692"/>
              <a:gd name="connsiteX145" fmla="*/ 744935 w 868503"/>
              <a:gd name="connsiteY145" fmla="*/ 244096 h 1412692"/>
              <a:gd name="connsiteX146" fmla="*/ 734344 w 868503"/>
              <a:gd name="connsiteY146" fmla="*/ 286462 h 1412692"/>
              <a:gd name="connsiteX147" fmla="*/ 723752 w 868503"/>
              <a:gd name="connsiteY147" fmla="*/ 289992 h 1412692"/>
              <a:gd name="connsiteX148" fmla="*/ 713161 w 868503"/>
              <a:gd name="connsiteY148" fmla="*/ 300584 h 1412692"/>
              <a:gd name="connsiteX149" fmla="*/ 702569 w 868503"/>
              <a:gd name="connsiteY149" fmla="*/ 304114 h 1412692"/>
              <a:gd name="connsiteX150" fmla="*/ 688447 w 868503"/>
              <a:gd name="connsiteY150" fmla="*/ 325297 h 1412692"/>
              <a:gd name="connsiteX151" fmla="*/ 684917 w 868503"/>
              <a:gd name="connsiteY151" fmla="*/ 335889 h 1412692"/>
              <a:gd name="connsiteX152" fmla="*/ 674325 w 868503"/>
              <a:gd name="connsiteY152" fmla="*/ 339419 h 1412692"/>
              <a:gd name="connsiteX153" fmla="*/ 656673 w 868503"/>
              <a:gd name="connsiteY153" fmla="*/ 350011 h 1412692"/>
              <a:gd name="connsiteX154" fmla="*/ 642551 w 868503"/>
              <a:gd name="connsiteY154" fmla="*/ 371194 h 1412692"/>
              <a:gd name="connsiteX155" fmla="*/ 635490 w 868503"/>
              <a:gd name="connsiteY155" fmla="*/ 392377 h 1412692"/>
              <a:gd name="connsiteX156" fmla="*/ 621368 w 868503"/>
              <a:gd name="connsiteY156" fmla="*/ 413560 h 1412692"/>
              <a:gd name="connsiteX157" fmla="*/ 614307 w 868503"/>
              <a:gd name="connsiteY157" fmla="*/ 434743 h 1412692"/>
              <a:gd name="connsiteX158" fmla="*/ 582532 w 868503"/>
              <a:gd name="connsiteY158" fmla="*/ 441804 h 1412692"/>
              <a:gd name="connsiteX159" fmla="*/ 571941 w 868503"/>
              <a:gd name="connsiteY159" fmla="*/ 445335 h 1412692"/>
              <a:gd name="connsiteX160" fmla="*/ 568410 w 868503"/>
              <a:gd name="connsiteY160" fmla="*/ 455926 h 1412692"/>
              <a:gd name="connsiteX161" fmla="*/ 582532 w 868503"/>
              <a:gd name="connsiteY161" fmla="*/ 477109 h 1412692"/>
              <a:gd name="connsiteX162" fmla="*/ 593124 w 868503"/>
              <a:gd name="connsiteY162" fmla="*/ 487701 h 1412692"/>
              <a:gd name="connsiteX163" fmla="*/ 617837 w 868503"/>
              <a:gd name="connsiteY163" fmla="*/ 512414 h 1412692"/>
              <a:gd name="connsiteX164" fmla="*/ 628429 w 868503"/>
              <a:gd name="connsiteY164" fmla="*/ 519475 h 1412692"/>
              <a:gd name="connsiteX165" fmla="*/ 649612 w 868503"/>
              <a:gd name="connsiteY165" fmla="*/ 561841 h 1412692"/>
              <a:gd name="connsiteX166" fmla="*/ 653142 w 868503"/>
              <a:gd name="connsiteY166" fmla="*/ 572433 h 1412692"/>
              <a:gd name="connsiteX167" fmla="*/ 656673 w 868503"/>
              <a:gd name="connsiteY167" fmla="*/ 583024 h 1412692"/>
              <a:gd name="connsiteX168" fmla="*/ 667264 w 868503"/>
              <a:gd name="connsiteY168" fmla="*/ 632451 h 1412692"/>
              <a:gd name="connsiteX169" fmla="*/ 670795 w 868503"/>
              <a:gd name="connsiteY169" fmla="*/ 643043 h 1412692"/>
              <a:gd name="connsiteX170" fmla="*/ 674325 w 868503"/>
              <a:gd name="connsiteY170" fmla="*/ 724244 h 1412692"/>
              <a:gd name="connsiteX171" fmla="*/ 684917 w 868503"/>
              <a:gd name="connsiteY171" fmla="*/ 731305 h 1412692"/>
              <a:gd name="connsiteX172" fmla="*/ 699039 w 868503"/>
              <a:gd name="connsiteY172" fmla="*/ 734836 h 1412692"/>
              <a:gd name="connsiteX173" fmla="*/ 709630 w 868503"/>
              <a:gd name="connsiteY173" fmla="*/ 738366 h 1412692"/>
              <a:gd name="connsiteX174" fmla="*/ 723752 w 868503"/>
              <a:gd name="connsiteY174" fmla="*/ 770141 h 1412692"/>
              <a:gd name="connsiteX175" fmla="*/ 727283 w 868503"/>
              <a:gd name="connsiteY175" fmla="*/ 780732 h 1412692"/>
              <a:gd name="connsiteX176" fmla="*/ 730813 w 868503"/>
              <a:gd name="connsiteY176" fmla="*/ 791324 h 1412692"/>
              <a:gd name="connsiteX177" fmla="*/ 741405 w 868503"/>
              <a:gd name="connsiteY177" fmla="*/ 812507 h 1412692"/>
              <a:gd name="connsiteX178" fmla="*/ 748466 w 868503"/>
              <a:gd name="connsiteY178" fmla="*/ 989032 h 1412692"/>
              <a:gd name="connsiteX179" fmla="*/ 737874 w 868503"/>
              <a:gd name="connsiteY179" fmla="*/ 1027867 h 1412692"/>
              <a:gd name="connsiteX180" fmla="*/ 727283 w 868503"/>
              <a:gd name="connsiteY180" fmla="*/ 1031398 h 1412692"/>
              <a:gd name="connsiteX181" fmla="*/ 727283 w 868503"/>
              <a:gd name="connsiteY181" fmla="*/ 1056111 h 1412692"/>
              <a:gd name="connsiteX182" fmla="*/ 730813 w 868503"/>
              <a:gd name="connsiteY182" fmla="*/ 1066703 h 1412692"/>
              <a:gd name="connsiteX183" fmla="*/ 741405 w 868503"/>
              <a:gd name="connsiteY183" fmla="*/ 1070233 h 1412692"/>
              <a:gd name="connsiteX184" fmla="*/ 769649 w 868503"/>
              <a:gd name="connsiteY184" fmla="*/ 1066703 h 1412692"/>
              <a:gd name="connsiteX185" fmla="*/ 776710 w 868503"/>
              <a:gd name="connsiteY185" fmla="*/ 1056111 h 1412692"/>
              <a:gd name="connsiteX186" fmla="*/ 812015 w 868503"/>
              <a:gd name="connsiteY186" fmla="*/ 1059642 h 1412692"/>
              <a:gd name="connsiteX187" fmla="*/ 833198 w 868503"/>
              <a:gd name="connsiteY187" fmla="*/ 1070233 h 1412692"/>
              <a:gd name="connsiteX188" fmla="*/ 843789 w 868503"/>
              <a:gd name="connsiteY188" fmla="*/ 1077294 h 1412692"/>
              <a:gd name="connsiteX189" fmla="*/ 857911 w 868503"/>
              <a:gd name="connsiteY189" fmla="*/ 1080825 h 1412692"/>
              <a:gd name="connsiteX190" fmla="*/ 868503 w 868503"/>
              <a:gd name="connsiteY190" fmla="*/ 1084355 h 1412692"/>
              <a:gd name="connsiteX191" fmla="*/ 864972 w 868503"/>
              <a:gd name="connsiteY191" fmla="*/ 1190270 h 1412692"/>
              <a:gd name="connsiteX192" fmla="*/ 836728 w 868503"/>
              <a:gd name="connsiteY192" fmla="*/ 1207923 h 1412692"/>
              <a:gd name="connsiteX193" fmla="*/ 826137 w 868503"/>
              <a:gd name="connsiteY193" fmla="*/ 1211453 h 1412692"/>
              <a:gd name="connsiteX194" fmla="*/ 804954 w 868503"/>
              <a:gd name="connsiteY194" fmla="*/ 1225575 h 1412692"/>
              <a:gd name="connsiteX195" fmla="*/ 794362 w 868503"/>
              <a:gd name="connsiteY195" fmla="*/ 1246758 h 1412692"/>
              <a:gd name="connsiteX196" fmla="*/ 773179 w 868503"/>
              <a:gd name="connsiteY196" fmla="*/ 1260881 h 1412692"/>
              <a:gd name="connsiteX197" fmla="*/ 762588 w 868503"/>
              <a:gd name="connsiteY197" fmla="*/ 1267942 h 1412692"/>
              <a:gd name="connsiteX198" fmla="*/ 751996 w 868503"/>
              <a:gd name="connsiteY198" fmla="*/ 1289125 h 1412692"/>
              <a:gd name="connsiteX199" fmla="*/ 748466 w 868503"/>
              <a:gd name="connsiteY199" fmla="*/ 1299716 h 1412692"/>
              <a:gd name="connsiteX200" fmla="*/ 751996 w 868503"/>
              <a:gd name="connsiteY200" fmla="*/ 1324430 h 1412692"/>
              <a:gd name="connsiteX201" fmla="*/ 762588 w 868503"/>
              <a:gd name="connsiteY201" fmla="*/ 1327960 h 1412692"/>
              <a:gd name="connsiteX202" fmla="*/ 780240 w 868503"/>
              <a:gd name="connsiteY202" fmla="*/ 1349143 h 1412692"/>
              <a:gd name="connsiteX203" fmla="*/ 776710 w 868503"/>
              <a:gd name="connsiteY203" fmla="*/ 1373857 h 1412692"/>
              <a:gd name="connsiteX204" fmla="*/ 748466 w 868503"/>
              <a:gd name="connsiteY204" fmla="*/ 1391509 h 1412692"/>
              <a:gd name="connsiteX205" fmla="*/ 699039 w 868503"/>
              <a:gd name="connsiteY205" fmla="*/ 1398570 h 1412692"/>
              <a:gd name="connsiteX206" fmla="*/ 667264 w 868503"/>
              <a:gd name="connsiteY206" fmla="*/ 1409162 h 1412692"/>
              <a:gd name="connsiteX207" fmla="*/ 656673 w 868503"/>
              <a:gd name="connsiteY207" fmla="*/ 1412692 h 1412692"/>
              <a:gd name="connsiteX208" fmla="*/ 624898 w 868503"/>
              <a:gd name="connsiteY208" fmla="*/ 1409162 h 1412692"/>
              <a:gd name="connsiteX209" fmla="*/ 603715 w 868503"/>
              <a:gd name="connsiteY209" fmla="*/ 1398570 h 1412692"/>
              <a:gd name="connsiteX210" fmla="*/ 593124 w 868503"/>
              <a:gd name="connsiteY210" fmla="*/ 1395040 h 1412692"/>
              <a:gd name="connsiteX211" fmla="*/ 586063 w 868503"/>
              <a:gd name="connsiteY211" fmla="*/ 1384448 h 1412692"/>
              <a:gd name="connsiteX212" fmla="*/ 571941 w 868503"/>
              <a:gd name="connsiteY212" fmla="*/ 1380918 h 1412692"/>
              <a:gd name="connsiteX213" fmla="*/ 497800 w 868503"/>
              <a:gd name="connsiteY213" fmla="*/ 1377387 h 1412692"/>
              <a:gd name="connsiteX214" fmla="*/ 483678 w 868503"/>
              <a:gd name="connsiteY214" fmla="*/ 1373857 h 1412692"/>
              <a:gd name="connsiteX215" fmla="*/ 473087 w 868503"/>
              <a:gd name="connsiteY215" fmla="*/ 1370326 h 1412692"/>
              <a:gd name="connsiteX216" fmla="*/ 437782 w 868503"/>
              <a:gd name="connsiteY216" fmla="*/ 1373857 h 1412692"/>
              <a:gd name="connsiteX217" fmla="*/ 427190 w 868503"/>
              <a:gd name="connsiteY217" fmla="*/ 1380918 h 1412692"/>
              <a:gd name="connsiteX218" fmla="*/ 384824 w 868503"/>
              <a:gd name="connsiteY218" fmla="*/ 1380918 h 1412692"/>
              <a:gd name="connsiteX219" fmla="*/ 363641 w 868503"/>
              <a:gd name="connsiteY219" fmla="*/ 1373857 h 1412692"/>
              <a:gd name="connsiteX220" fmla="*/ 353050 w 868503"/>
              <a:gd name="connsiteY220" fmla="*/ 1370326 h 1412692"/>
              <a:gd name="connsiteX221" fmla="*/ 331867 w 868503"/>
              <a:gd name="connsiteY221" fmla="*/ 1359735 h 1412692"/>
              <a:gd name="connsiteX222" fmla="*/ 328336 w 868503"/>
              <a:gd name="connsiteY222" fmla="*/ 1349143 h 1412692"/>
              <a:gd name="connsiteX223" fmla="*/ 317745 w 868503"/>
              <a:gd name="connsiteY223" fmla="*/ 1345613 h 1412692"/>
              <a:gd name="connsiteX224" fmla="*/ 285970 w 868503"/>
              <a:gd name="connsiteY224" fmla="*/ 1338552 h 1412692"/>
              <a:gd name="connsiteX225" fmla="*/ 261257 w 868503"/>
              <a:gd name="connsiteY225" fmla="*/ 1342082 h 1412692"/>
              <a:gd name="connsiteX226" fmla="*/ 250665 w 868503"/>
              <a:gd name="connsiteY226" fmla="*/ 1345613 h 1412692"/>
              <a:gd name="connsiteX227" fmla="*/ 236543 w 868503"/>
              <a:gd name="connsiteY227" fmla="*/ 1366796 h 1412692"/>
              <a:gd name="connsiteX228" fmla="*/ 233013 w 868503"/>
              <a:gd name="connsiteY228" fmla="*/ 1387979 h 1412692"/>
              <a:gd name="connsiteX229" fmla="*/ 211830 w 868503"/>
              <a:gd name="connsiteY229" fmla="*/ 1395040 h 1412692"/>
              <a:gd name="connsiteX230" fmla="*/ 176525 w 868503"/>
              <a:gd name="connsiteY230" fmla="*/ 1370326 h 1412692"/>
              <a:gd name="connsiteX231" fmla="*/ 176525 w 868503"/>
              <a:gd name="connsiteY231" fmla="*/ 1370326 h 1412692"/>
              <a:gd name="connsiteX232" fmla="*/ 134158 w 868503"/>
              <a:gd name="connsiteY232" fmla="*/ 1359735 h 1412692"/>
              <a:gd name="connsiteX233" fmla="*/ 88262 w 868503"/>
              <a:gd name="connsiteY233" fmla="*/ 1370326 h 1412692"/>
              <a:gd name="connsiteX234" fmla="*/ 77670 w 868503"/>
              <a:gd name="connsiteY234" fmla="*/ 1373857 h 1412692"/>
              <a:gd name="connsiteX235" fmla="*/ 67079 w 868503"/>
              <a:gd name="connsiteY235" fmla="*/ 1377387 h 1412692"/>
              <a:gd name="connsiteX236" fmla="*/ 56487 w 868503"/>
              <a:gd name="connsiteY236" fmla="*/ 1384448 h 1412692"/>
              <a:gd name="connsiteX237" fmla="*/ 49426 w 868503"/>
              <a:gd name="connsiteY237" fmla="*/ 1395040 h 1412692"/>
              <a:gd name="connsiteX238" fmla="*/ 28243 w 868503"/>
              <a:gd name="connsiteY238" fmla="*/ 1391509 h 1412692"/>
              <a:gd name="connsiteX239" fmla="*/ 17652 w 868503"/>
              <a:gd name="connsiteY239" fmla="*/ 1370326 h 1412692"/>
              <a:gd name="connsiteX240" fmla="*/ 7060 w 868503"/>
              <a:gd name="connsiteY240" fmla="*/ 1363265 h 1412692"/>
              <a:gd name="connsiteX241" fmla="*/ 3530 w 868503"/>
              <a:gd name="connsiteY241" fmla="*/ 1356204 h 1412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</a:cxnLst>
            <a:rect l="l" t="t" r="r" b="b"/>
            <a:pathLst>
              <a:path w="868503" h="1412692">
                <a:moveTo>
                  <a:pt x="3530" y="1356204"/>
                </a:moveTo>
                <a:cubicBezTo>
                  <a:pt x="7060" y="1354439"/>
                  <a:pt x="20476" y="1355661"/>
                  <a:pt x="28243" y="1352674"/>
                </a:cubicBezTo>
                <a:cubicBezTo>
                  <a:pt x="36164" y="1349628"/>
                  <a:pt x="41836" y="1342347"/>
                  <a:pt x="49426" y="1338552"/>
                </a:cubicBezTo>
                <a:lnTo>
                  <a:pt x="63548" y="1331491"/>
                </a:lnTo>
                <a:cubicBezTo>
                  <a:pt x="65902" y="1327960"/>
                  <a:pt x="67011" y="1323148"/>
                  <a:pt x="70609" y="1320899"/>
                </a:cubicBezTo>
                <a:cubicBezTo>
                  <a:pt x="80782" y="1314541"/>
                  <a:pt x="101571" y="1312208"/>
                  <a:pt x="112975" y="1310308"/>
                </a:cubicBezTo>
                <a:cubicBezTo>
                  <a:pt x="123591" y="1306769"/>
                  <a:pt x="125032" y="1307321"/>
                  <a:pt x="134158" y="1299716"/>
                </a:cubicBezTo>
                <a:cubicBezTo>
                  <a:pt x="137994" y="1296520"/>
                  <a:pt x="140596" y="1291895"/>
                  <a:pt x="144750" y="1289125"/>
                </a:cubicBezTo>
                <a:cubicBezTo>
                  <a:pt x="147846" y="1287061"/>
                  <a:pt x="152088" y="1287401"/>
                  <a:pt x="155341" y="1285594"/>
                </a:cubicBezTo>
                <a:cubicBezTo>
                  <a:pt x="162760" y="1281473"/>
                  <a:pt x="176525" y="1271472"/>
                  <a:pt x="176525" y="1271472"/>
                </a:cubicBezTo>
                <a:cubicBezTo>
                  <a:pt x="178879" y="1267942"/>
                  <a:pt x="181689" y="1264676"/>
                  <a:pt x="183586" y="1260881"/>
                </a:cubicBezTo>
                <a:cubicBezTo>
                  <a:pt x="190025" y="1248003"/>
                  <a:pt x="184538" y="1240239"/>
                  <a:pt x="201238" y="1229106"/>
                </a:cubicBezTo>
                <a:lnTo>
                  <a:pt x="211830" y="1222045"/>
                </a:lnTo>
                <a:cubicBezTo>
                  <a:pt x="247456" y="1226498"/>
                  <a:pt x="231076" y="1222575"/>
                  <a:pt x="261257" y="1232636"/>
                </a:cubicBezTo>
                <a:lnTo>
                  <a:pt x="271848" y="1236167"/>
                </a:lnTo>
                <a:cubicBezTo>
                  <a:pt x="274202" y="1239697"/>
                  <a:pt x="275596" y="1244107"/>
                  <a:pt x="278909" y="1246758"/>
                </a:cubicBezTo>
                <a:cubicBezTo>
                  <a:pt x="281815" y="1249083"/>
                  <a:pt x="286172" y="1248625"/>
                  <a:pt x="289501" y="1250289"/>
                </a:cubicBezTo>
                <a:cubicBezTo>
                  <a:pt x="293296" y="1252187"/>
                  <a:pt x="296562" y="1254996"/>
                  <a:pt x="300092" y="1257350"/>
                </a:cubicBezTo>
                <a:cubicBezTo>
                  <a:pt x="305976" y="1256173"/>
                  <a:pt x="313008" y="1257503"/>
                  <a:pt x="317745" y="1253819"/>
                </a:cubicBezTo>
                <a:cubicBezTo>
                  <a:pt x="324444" y="1248609"/>
                  <a:pt x="331867" y="1232636"/>
                  <a:pt x="331867" y="1232636"/>
                </a:cubicBezTo>
                <a:cubicBezTo>
                  <a:pt x="330690" y="1224398"/>
                  <a:pt x="331716" y="1215527"/>
                  <a:pt x="328336" y="1207923"/>
                </a:cubicBezTo>
                <a:cubicBezTo>
                  <a:pt x="326613" y="1204046"/>
                  <a:pt x="321894" y="1201751"/>
                  <a:pt x="317745" y="1200862"/>
                </a:cubicBezTo>
                <a:cubicBezTo>
                  <a:pt x="305035" y="1198138"/>
                  <a:pt x="291854" y="1198508"/>
                  <a:pt x="278909" y="1197331"/>
                </a:cubicBezTo>
                <a:cubicBezTo>
                  <a:pt x="262318" y="1180740"/>
                  <a:pt x="271087" y="1190893"/>
                  <a:pt x="254196" y="1165557"/>
                </a:cubicBezTo>
                <a:cubicBezTo>
                  <a:pt x="251842" y="1162026"/>
                  <a:pt x="251336" y="1155565"/>
                  <a:pt x="247135" y="1154965"/>
                </a:cubicBezTo>
                <a:lnTo>
                  <a:pt x="222421" y="1151435"/>
                </a:lnTo>
                <a:cubicBezTo>
                  <a:pt x="217714" y="1146728"/>
                  <a:pt x="213716" y="1141183"/>
                  <a:pt x="208299" y="1137313"/>
                </a:cubicBezTo>
                <a:cubicBezTo>
                  <a:pt x="205271" y="1135150"/>
                  <a:pt x="201397" y="1134274"/>
                  <a:pt x="197708" y="1133782"/>
                </a:cubicBezTo>
                <a:cubicBezTo>
                  <a:pt x="183661" y="1131909"/>
                  <a:pt x="169463" y="1131429"/>
                  <a:pt x="155341" y="1130252"/>
                </a:cubicBezTo>
                <a:cubicBezTo>
                  <a:pt x="151771" y="1124897"/>
                  <a:pt x="144750" y="1116378"/>
                  <a:pt x="144750" y="1109069"/>
                </a:cubicBezTo>
                <a:cubicBezTo>
                  <a:pt x="144750" y="1103068"/>
                  <a:pt x="144037" y="1095659"/>
                  <a:pt x="148280" y="1091416"/>
                </a:cubicBezTo>
                <a:cubicBezTo>
                  <a:pt x="153543" y="1086153"/>
                  <a:pt x="162403" y="1086709"/>
                  <a:pt x="169464" y="1084355"/>
                </a:cubicBezTo>
                <a:lnTo>
                  <a:pt x="190647" y="1077294"/>
                </a:lnTo>
                <a:cubicBezTo>
                  <a:pt x="194177" y="1076117"/>
                  <a:pt x="197628" y="1074667"/>
                  <a:pt x="201238" y="1073764"/>
                </a:cubicBezTo>
                <a:cubicBezTo>
                  <a:pt x="205945" y="1072587"/>
                  <a:pt x="210694" y="1071566"/>
                  <a:pt x="215360" y="1070233"/>
                </a:cubicBezTo>
                <a:cubicBezTo>
                  <a:pt x="218938" y="1069211"/>
                  <a:pt x="222362" y="1067682"/>
                  <a:pt x="225952" y="1066703"/>
                </a:cubicBezTo>
                <a:cubicBezTo>
                  <a:pt x="235315" y="1064150"/>
                  <a:pt x="254196" y="1059642"/>
                  <a:pt x="254196" y="1059642"/>
                </a:cubicBezTo>
                <a:cubicBezTo>
                  <a:pt x="256550" y="1056111"/>
                  <a:pt x="258064" y="1051844"/>
                  <a:pt x="261257" y="1049050"/>
                </a:cubicBezTo>
                <a:cubicBezTo>
                  <a:pt x="267644" y="1043462"/>
                  <a:pt x="282440" y="1034928"/>
                  <a:pt x="282440" y="1034928"/>
                </a:cubicBezTo>
                <a:cubicBezTo>
                  <a:pt x="284794" y="1031398"/>
                  <a:pt x="288472" y="1028453"/>
                  <a:pt x="289501" y="1024337"/>
                </a:cubicBezTo>
                <a:cubicBezTo>
                  <a:pt x="304913" y="962688"/>
                  <a:pt x="285863" y="994488"/>
                  <a:pt x="303623" y="967849"/>
                </a:cubicBezTo>
                <a:cubicBezTo>
                  <a:pt x="302446" y="964318"/>
                  <a:pt x="302417" y="960163"/>
                  <a:pt x="300092" y="957257"/>
                </a:cubicBezTo>
                <a:cubicBezTo>
                  <a:pt x="297441" y="953944"/>
                  <a:pt x="293296" y="952093"/>
                  <a:pt x="289501" y="950196"/>
                </a:cubicBezTo>
                <a:cubicBezTo>
                  <a:pt x="274262" y="942577"/>
                  <a:pt x="241760" y="943808"/>
                  <a:pt x="233013" y="943135"/>
                </a:cubicBezTo>
                <a:cubicBezTo>
                  <a:pt x="231030" y="937188"/>
                  <a:pt x="225579" y="927899"/>
                  <a:pt x="233013" y="921952"/>
                </a:cubicBezTo>
                <a:cubicBezTo>
                  <a:pt x="236802" y="918921"/>
                  <a:pt x="242377" y="919374"/>
                  <a:pt x="247135" y="918422"/>
                </a:cubicBezTo>
                <a:cubicBezTo>
                  <a:pt x="254154" y="917018"/>
                  <a:pt x="261299" y="916295"/>
                  <a:pt x="268318" y="914891"/>
                </a:cubicBezTo>
                <a:cubicBezTo>
                  <a:pt x="286733" y="911208"/>
                  <a:pt x="277313" y="912321"/>
                  <a:pt x="293031" y="907830"/>
                </a:cubicBezTo>
                <a:cubicBezTo>
                  <a:pt x="297696" y="906497"/>
                  <a:pt x="302505" y="905694"/>
                  <a:pt x="307153" y="904300"/>
                </a:cubicBezTo>
                <a:cubicBezTo>
                  <a:pt x="314282" y="902161"/>
                  <a:pt x="328336" y="897239"/>
                  <a:pt x="328336" y="897239"/>
                </a:cubicBezTo>
                <a:cubicBezTo>
                  <a:pt x="331867" y="894885"/>
                  <a:pt x="334902" y="891520"/>
                  <a:pt x="338928" y="890178"/>
                </a:cubicBezTo>
                <a:cubicBezTo>
                  <a:pt x="358365" y="883699"/>
                  <a:pt x="367726" y="887599"/>
                  <a:pt x="388355" y="890178"/>
                </a:cubicBezTo>
                <a:cubicBezTo>
                  <a:pt x="421869" y="901349"/>
                  <a:pt x="402126" y="897913"/>
                  <a:pt x="448373" y="893708"/>
                </a:cubicBezTo>
                <a:cubicBezTo>
                  <a:pt x="448930" y="885906"/>
                  <a:pt x="447411" y="849737"/>
                  <a:pt x="455434" y="833690"/>
                </a:cubicBezTo>
                <a:cubicBezTo>
                  <a:pt x="457332" y="829895"/>
                  <a:pt x="459182" y="825749"/>
                  <a:pt x="462495" y="823098"/>
                </a:cubicBezTo>
                <a:cubicBezTo>
                  <a:pt x="465401" y="820773"/>
                  <a:pt x="469556" y="820745"/>
                  <a:pt x="473087" y="819568"/>
                </a:cubicBezTo>
                <a:cubicBezTo>
                  <a:pt x="491506" y="807288"/>
                  <a:pt x="482911" y="817726"/>
                  <a:pt x="473087" y="805446"/>
                </a:cubicBezTo>
                <a:cubicBezTo>
                  <a:pt x="470762" y="802540"/>
                  <a:pt x="470733" y="798385"/>
                  <a:pt x="469556" y="794854"/>
                </a:cubicBezTo>
                <a:cubicBezTo>
                  <a:pt x="468379" y="785439"/>
                  <a:pt x="468014" y="775887"/>
                  <a:pt x="466026" y="766610"/>
                </a:cubicBezTo>
                <a:cubicBezTo>
                  <a:pt x="464467" y="759332"/>
                  <a:pt x="460770" y="752648"/>
                  <a:pt x="458965" y="745427"/>
                </a:cubicBezTo>
                <a:cubicBezTo>
                  <a:pt x="457788" y="740720"/>
                  <a:pt x="456828" y="735953"/>
                  <a:pt x="455434" y="731305"/>
                </a:cubicBezTo>
                <a:cubicBezTo>
                  <a:pt x="453295" y="724176"/>
                  <a:pt x="450727" y="717183"/>
                  <a:pt x="448373" y="710122"/>
                </a:cubicBezTo>
                <a:lnTo>
                  <a:pt x="444843" y="699531"/>
                </a:lnTo>
                <a:cubicBezTo>
                  <a:pt x="445326" y="692762"/>
                  <a:pt x="440071" y="651802"/>
                  <a:pt x="455434" y="639512"/>
                </a:cubicBezTo>
                <a:cubicBezTo>
                  <a:pt x="458340" y="637187"/>
                  <a:pt x="462495" y="637159"/>
                  <a:pt x="466026" y="635982"/>
                </a:cubicBezTo>
                <a:cubicBezTo>
                  <a:pt x="464849" y="632451"/>
                  <a:pt x="465127" y="628022"/>
                  <a:pt x="462495" y="625390"/>
                </a:cubicBezTo>
                <a:cubicBezTo>
                  <a:pt x="459864" y="622759"/>
                  <a:pt x="455602" y="621449"/>
                  <a:pt x="451904" y="621860"/>
                </a:cubicBezTo>
                <a:cubicBezTo>
                  <a:pt x="444507" y="622682"/>
                  <a:pt x="437782" y="626567"/>
                  <a:pt x="430721" y="628921"/>
                </a:cubicBezTo>
                <a:lnTo>
                  <a:pt x="420129" y="632451"/>
                </a:lnTo>
                <a:lnTo>
                  <a:pt x="409538" y="635982"/>
                </a:lnTo>
                <a:lnTo>
                  <a:pt x="398946" y="639512"/>
                </a:lnTo>
                <a:cubicBezTo>
                  <a:pt x="393062" y="638335"/>
                  <a:pt x="386912" y="638089"/>
                  <a:pt x="381294" y="635982"/>
                </a:cubicBezTo>
                <a:cubicBezTo>
                  <a:pt x="377321" y="634492"/>
                  <a:pt x="374766" y="630140"/>
                  <a:pt x="370702" y="628921"/>
                </a:cubicBezTo>
                <a:cubicBezTo>
                  <a:pt x="362732" y="626530"/>
                  <a:pt x="354227" y="626567"/>
                  <a:pt x="345989" y="625390"/>
                </a:cubicBezTo>
                <a:cubicBezTo>
                  <a:pt x="340105" y="623036"/>
                  <a:pt x="333900" y="621364"/>
                  <a:pt x="328336" y="618329"/>
                </a:cubicBezTo>
                <a:cubicBezTo>
                  <a:pt x="320886" y="614265"/>
                  <a:pt x="307153" y="604207"/>
                  <a:pt x="307153" y="604207"/>
                </a:cubicBezTo>
                <a:cubicBezTo>
                  <a:pt x="305976" y="600677"/>
                  <a:pt x="302446" y="597146"/>
                  <a:pt x="303623" y="593616"/>
                </a:cubicBezTo>
                <a:cubicBezTo>
                  <a:pt x="307448" y="582142"/>
                  <a:pt x="319280" y="581758"/>
                  <a:pt x="328336" y="579494"/>
                </a:cubicBezTo>
                <a:cubicBezTo>
                  <a:pt x="332270" y="567694"/>
                  <a:pt x="332440" y="568087"/>
                  <a:pt x="335397" y="554780"/>
                </a:cubicBezTo>
                <a:cubicBezTo>
                  <a:pt x="336699" y="548922"/>
                  <a:pt x="337473" y="542949"/>
                  <a:pt x="338928" y="537128"/>
                </a:cubicBezTo>
                <a:cubicBezTo>
                  <a:pt x="340527" y="530731"/>
                  <a:pt x="344124" y="520261"/>
                  <a:pt x="349519" y="515945"/>
                </a:cubicBezTo>
                <a:cubicBezTo>
                  <a:pt x="352425" y="513620"/>
                  <a:pt x="356580" y="513591"/>
                  <a:pt x="360111" y="512414"/>
                </a:cubicBezTo>
                <a:cubicBezTo>
                  <a:pt x="372767" y="474447"/>
                  <a:pt x="367667" y="498657"/>
                  <a:pt x="363641" y="438274"/>
                </a:cubicBezTo>
                <a:cubicBezTo>
                  <a:pt x="324855" y="447969"/>
                  <a:pt x="373344" y="433275"/>
                  <a:pt x="338928" y="452396"/>
                </a:cubicBezTo>
                <a:cubicBezTo>
                  <a:pt x="338918" y="452402"/>
                  <a:pt x="312454" y="461220"/>
                  <a:pt x="307153" y="462987"/>
                </a:cubicBezTo>
                <a:lnTo>
                  <a:pt x="285970" y="470048"/>
                </a:lnTo>
                <a:lnTo>
                  <a:pt x="275379" y="473579"/>
                </a:lnTo>
                <a:cubicBezTo>
                  <a:pt x="277733" y="470048"/>
                  <a:pt x="280542" y="466782"/>
                  <a:pt x="282440" y="462987"/>
                </a:cubicBezTo>
                <a:cubicBezTo>
                  <a:pt x="284104" y="459659"/>
                  <a:pt x="284163" y="455649"/>
                  <a:pt x="285970" y="452396"/>
                </a:cubicBezTo>
                <a:cubicBezTo>
                  <a:pt x="290091" y="444978"/>
                  <a:pt x="295385" y="438274"/>
                  <a:pt x="300092" y="431213"/>
                </a:cubicBezTo>
                <a:lnTo>
                  <a:pt x="307153" y="420621"/>
                </a:lnTo>
                <a:lnTo>
                  <a:pt x="314214" y="410030"/>
                </a:lnTo>
                <a:cubicBezTo>
                  <a:pt x="315391" y="400615"/>
                  <a:pt x="314221" y="390595"/>
                  <a:pt x="317745" y="381786"/>
                </a:cubicBezTo>
                <a:cubicBezTo>
                  <a:pt x="320454" y="375014"/>
                  <a:pt x="337851" y="372346"/>
                  <a:pt x="342458" y="371194"/>
                </a:cubicBezTo>
                <a:cubicBezTo>
                  <a:pt x="341281" y="367664"/>
                  <a:pt x="340592" y="363931"/>
                  <a:pt x="338928" y="360603"/>
                </a:cubicBezTo>
                <a:cubicBezTo>
                  <a:pt x="334944" y="352636"/>
                  <a:pt x="329967" y="346209"/>
                  <a:pt x="321275" y="342950"/>
                </a:cubicBezTo>
                <a:cubicBezTo>
                  <a:pt x="315657" y="340843"/>
                  <a:pt x="309444" y="340874"/>
                  <a:pt x="303623" y="339419"/>
                </a:cubicBezTo>
                <a:cubicBezTo>
                  <a:pt x="300013" y="338516"/>
                  <a:pt x="296562" y="337066"/>
                  <a:pt x="293031" y="335889"/>
                </a:cubicBezTo>
                <a:cubicBezTo>
                  <a:pt x="294208" y="320590"/>
                  <a:pt x="294169" y="305148"/>
                  <a:pt x="296562" y="289992"/>
                </a:cubicBezTo>
                <a:cubicBezTo>
                  <a:pt x="297723" y="282640"/>
                  <a:pt x="297430" y="272938"/>
                  <a:pt x="303623" y="268809"/>
                </a:cubicBezTo>
                <a:lnTo>
                  <a:pt x="324806" y="254687"/>
                </a:lnTo>
                <a:cubicBezTo>
                  <a:pt x="330690" y="237035"/>
                  <a:pt x="324806" y="245273"/>
                  <a:pt x="349519" y="237035"/>
                </a:cubicBezTo>
                <a:lnTo>
                  <a:pt x="360111" y="233504"/>
                </a:lnTo>
                <a:cubicBezTo>
                  <a:pt x="363641" y="229974"/>
                  <a:pt x="366866" y="226109"/>
                  <a:pt x="370702" y="222913"/>
                </a:cubicBezTo>
                <a:cubicBezTo>
                  <a:pt x="373962" y="220197"/>
                  <a:pt x="380128" y="219932"/>
                  <a:pt x="381294" y="215852"/>
                </a:cubicBezTo>
                <a:cubicBezTo>
                  <a:pt x="382943" y="210082"/>
                  <a:pt x="379218" y="204021"/>
                  <a:pt x="377763" y="198199"/>
                </a:cubicBezTo>
                <a:cubicBezTo>
                  <a:pt x="373326" y="180453"/>
                  <a:pt x="375801" y="194273"/>
                  <a:pt x="367172" y="177016"/>
                </a:cubicBezTo>
                <a:cubicBezTo>
                  <a:pt x="365508" y="173688"/>
                  <a:pt x="364818" y="169955"/>
                  <a:pt x="363641" y="166425"/>
                </a:cubicBezTo>
                <a:cubicBezTo>
                  <a:pt x="365995" y="162894"/>
                  <a:pt x="368804" y="159628"/>
                  <a:pt x="370702" y="155833"/>
                </a:cubicBezTo>
                <a:cubicBezTo>
                  <a:pt x="372366" y="152505"/>
                  <a:pt x="371602" y="147873"/>
                  <a:pt x="374233" y="145242"/>
                </a:cubicBezTo>
                <a:cubicBezTo>
                  <a:pt x="376864" y="142611"/>
                  <a:pt x="381496" y="143375"/>
                  <a:pt x="384824" y="141711"/>
                </a:cubicBezTo>
                <a:cubicBezTo>
                  <a:pt x="388619" y="139813"/>
                  <a:pt x="391885" y="137004"/>
                  <a:pt x="395416" y="134650"/>
                </a:cubicBezTo>
                <a:cubicBezTo>
                  <a:pt x="412307" y="109313"/>
                  <a:pt x="403537" y="119468"/>
                  <a:pt x="420129" y="102876"/>
                </a:cubicBezTo>
                <a:cubicBezTo>
                  <a:pt x="421306" y="99345"/>
                  <a:pt x="421596" y="95381"/>
                  <a:pt x="423660" y="92284"/>
                </a:cubicBezTo>
                <a:cubicBezTo>
                  <a:pt x="433598" y="77378"/>
                  <a:pt x="441407" y="81598"/>
                  <a:pt x="455434" y="67571"/>
                </a:cubicBezTo>
                <a:cubicBezTo>
                  <a:pt x="469747" y="53258"/>
                  <a:pt x="461560" y="59212"/>
                  <a:pt x="480148" y="49918"/>
                </a:cubicBezTo>
                <a:cubicBezTo>
                  <a:pt x="486970" y="29453"/>
                  <a:pt x="483166" y="30339"/>
                  <a:pt x="497800" y="18144"/>
                </a:cubicBezTo>
                <a:cubicBezTo>
                  <a:pt x="501060" y="15428"/>
                  <a:pt x="504861" y="13437"/>
                  <a:pt x="508392" y="11083"/>
                </a:cubicBezTo>
                <a:cubicBezTo>
                  <a:pt x="510746" y="7552"/>
                  <a:pt x="511373" y="1657"/>
                  <a:pt x="515453" y="491"/>
                </a:cubicBezTo>
                <a:cubicBezTo>
                  <a:pt x="517171" y="0"/>
                  <a:pt x="544015" y="6589"/>
                  <a:pt x="547227" y="7552"/>
                </a:cubicBezTo>
                <a:cubicBezTo>
                  <a:pt x="554356" y="9691"/>
                  <a:pt x="568410" y="14613"/>
                  <a:pt x="568410" y="14613"/>
                </a:cubicBezTo>
                <a:cubicBezTo>
                  <a:pt x="571941" y="16967"/>
                  <a:pt x="575207" y="19776"/>
                  <a:pt x="579002" y="21674"/>
                </a:cubicBezTo>
                <a:cubicBezTo>
                  <a:pt x="582330" y="23338"/>
                  <a:pt x="585880" y="24957"/>
                  <a:pt x="589593" y="25205"/>
                </a:cubicBezTo>
                <a:cubicBezTo>
                  <a:pt x="621319" y="27320"/>
                  <a:pt x="653142" y="27558"/>
                  <a:pt x="684917" y="28735"/>
                </a:cubicBezTo>
                <a:cubicBezTo>
                  <a:pt x="686094" y="32266"/>
                  <a:pt x="689059" y="35656"/>
                  <a:pt x="688447" y="39327"/>
                </a:cubicBezTo>
                <a:cubicBezTo>
                  <a:pt x="687749" y="43512"/>
                  <a:pt x="683109" y="46041"/>
                  <a:pt x="681386" y="49918"/>
                </a:cubicBezTo>
                <a:cubicBezTo>
                  <a:pt x="678363" y="56719"/>
                  <a:pt x="681386" y="68747"/>
                  <a:pt x="674325" y="71101"/>
                </a:cubicBezTo>
                <a:lnTo>
                  <a:pt x="653142" y="78162"/>
                </a:lnTo>
                <a:lnTo>
                  <a:pt x="642551" y="81693"/>
                </a:lnTo>
                <a:cubicBezTo>
                  <a:pt x="636346" y="100305"/>
                  <a:pt x="643120" y="85246"/>
                  <a:pt x="628429" y="102876"/>
                </a:cubicBezTo>
                <a:cubicBezTo>
                  <a:pt x="625713" y="106136"/>
                  <a:pt x="624966" y="111218"/>
                  <a:pt x="621368" y="113467"/>
                </a:cubicBezTo>
                <a:cubicBezTo>
                  <a:pt x="615056" y="117412"/>
                  <a:pt x="600185" y="120528"/>
                  <a:pt x="600185" y="120528"/>
                </a:cubicBezTo>
                <a:cubicBezTo>
                  <a:pt x="596654" y="122882"/>
                  <a:pt x="593471" y="125866"/>
                  <a:pt x="589593" y="127589"/>
                </a:cubicBezTo>
                <a:cubicBezTo>
                  <a:pt x="582792" y="130612"/>
                  <a:pt x="568410" y="134650"/>
                  <a:pt x="568410" y="134650"/>
                </a:cubicBezTo>
                <a:cubicBezTo>
                  <a:pt x="566056" y="138181"/>
                  <a:pt x="563247" y="141447"/>
                  <a:pt x="561349" y="145242"/>
                </a:cubicBezTo>
                <a:cubicBezTo>
                  <a:pt x="557040" y="153861"/>
                  <a:pt x="554352" y="169020"/>
                  <a:pt x="561349" y="177016"/>
                </a:cubicBezTo>
                <a:cubicBezTo>
                  <a:pt x="566250" y="182617"/>
                  <a:pt x="575471" y="181723"/>
                  <a:pt x="582532" y="184077"/>
                </a:cubicBezTo>
                <a:cubicBezTo>
                  <a:pt x="604346" y="191349"/>
                  <a:pt x="589415" y="187237"/>
                  <a:pt x="628429" y="191138"/>
                </a:cubicBezTo>
                <a:cubicBezTo>
                  <a:pt x="631959" y="192315"/>
                  <a:pt x="635692" y="193005"/>
                  <a:pt x="639020" y="194669"/>
                </a:cubicBezTo>
                <a:cubicBezTo>
                  <a:pt x="642815" y="196567"/>
                  <a:pt x="645712" y="200059"/>
                  <a:pt x="649612" y="201730"/>
                </a:cubicBezTo>
                <a:cubicBezTo>
                  <a:pt x="654072" y="203641"/>
                  <a:pt x="659086" y="203866"/>
                  <a:pt x="663734" y="205260"/>
                </a:cubicBezTo>
                <a:cubicBezTo>
                  <a:pt x="663801" y="205280"/>
                  <a:pt x="690179" y="214076"/>
                  <a:pt x="695508" y="215852"/>
                </a:cubicBezTo>
                <a:cubicBezTo>
                  <a:pt x="699039" y="217029"/>
                  <a:pt x="702490" y="218479"/>
                  <a:pt x="706100" y="219382"/>
                </a:cubicBezTo>
                <a:cubicBezTo>
                  <a:pt x="723832" y="223816"/>
                  <a:pt x="715619" y="221379"/>
                  <a:pt x="730813" y="226443"/>
                </a:cubicBezTo>
                <a:cubicBezTo>
                  <a:pt x="734344" y="228797"/>
                  <a:pt x="738754" y="230191"/>
                  <a:pt x="741405" y="233504"/>
                </a:cubicBezTo>
                <a:cubicBezTo>
                  <a:pt x="743730" y="236410"/>
                  <a:pt x="744935" y="240374"/>
                  <a:pt x="744935" y="244096"/>
                </a:cubicBezTo>
                <a:cubicBezTo>
                  <a:pt x="744935" y="254081"/>
                  <a:pt x="745724" y="277358"/>
                  <a:pt x="734344" y="286462"/>
                </a:cubicBezTo>
                <a:cubicBezTo>
                  <a:pt x="731438" y="288787"/>
                  <a:pt x="727283" y="288815"/>
                  <a:pt x="723752" y="289992"/>
                </a:cubicBezTo>
                <a:cubicBezTo>
                  <a:pt x="720222" y="293523"/>
                  <a:pt x="717315" y="297814"/>
                  <a:pt x="713161" y="300584"/>
                </a:cubicBezTo>
                <a:cubicBezTo>
                  <a:pt x="710064" y="302648"/>
                  <a:pt x="705201" y="301482"/>
                  <a:pt x="702569" y="304114"/>
                </a:cubicBezTo>
                <a:cubicBezTo>
                  <a:pt x="696568" y="310115"/>
                  <a:pt x="688447" y="325297"/>
                  <a:pt x="688447" y="325297"/>
                </a:cubicBezTo>
                <a:cubicBezTo>
                  <a:pt x="687270" y="328828"/>
                  <a:pt x="687549" y="333257"/>
                  <a:pt x="684917" y="335889"/>
                </a:cubicBezTo>
                <a:cubicBezTo>
                  <a:pt x="682285" y="338521"/>
                  <a:pt x="677516" y="337504"/>
                  <a:pt x="674325" y="339419"/>
                </a:cubicBezTo>
                <a:cubicBezTo>
                  <a:pt x="650092" y="353959"/>
                  <a:pt x="686677" y="340011"/>
                  <a:pt x="656673" y="350011"/>
                </a:cubicBezTo>
                <a:cubicBezTo>
                  <a:pt x="651966" y="357072"/>
                  <a:pt x="645235" y="363143"/>
                  <a:pt x="642551" y="371194"/>
                </a:cubicBezTo>
                <a:cubicBezTo>
                  <a:pt x="640197" y="378255"/>
                  <a:pt x="639619" y="386184"/>
                  <a:pt x="635490" y="392377"/>
                </a:cubicBezTo>
                <a:cubicBezTo>
                  <a:pt x="630783" y="399438"/>
                  <a:pt x="624052" y="405509"/>
                  <a:pt x="621368" y="413560"/>
                </a:cubicBezTo>
                <a:cubicBezTo>
                  <a:pt x="619014" y="420621"/>
                  <a:pt x="621605" y="433283"/>
                  <a:pt x="614307" y="434743"/>
                </a:cubicBezTo>
                <a:cubicBezTo>
                  <a:pt x="602187" y="437167"/>
                  <a:pt x="594155" y="438483"/>
                  <a:pt x="582532" y="441804"/>
                </a:cubicBezTo>
                <a:cubicBezTo>
                  <a:pt x="578954" y="442826"/>
                  <a:pt x="575471" y="444158"/>
                  <a:pt x="571941" y="445335"/>
                </a:cubicBezTo>
                <a:cubicBezTo>
                  <a:pt x="570764" y="448865"/>
                  <a:pt x="568410" y="452205"/>
                  <a:pt x="568410" y="455926"/>
                </a:cubicBezTo>
                <a:cubicBezTo>
                  <a:pt x="568410" y="473152"/>
                  <a:pt x="571891" y="468242"/>
                  <a:pt x="582532" y="477109"/>
                </a:cubicBezTo>
                <a:cubicBezTo>
                  <a:pt x="586368" y="480306"/>
                  <a:pt x="589593" y="484170"/>
                  <a:pt x="593124" y="487701"/>
                </a:cubicBezTo>
                <a:cubicBezTo>
                  <a:pt x="599337" y="506343"/>
                  <a:pt x="593558" y="496228"/>
                  <a:pt x="617837" y="512414"/>
                </a:cubicBezTo>
                <a:lnTo>
                  <a:pt x="628429" y="519475"/>
                </a:lnTo>
                <a:cubicBezTo>
                  <a:pt x="646678" y="546849"/>
                  <a:pt x="639869" y="532609"/>
                  <a:pt x="649612" y="561841"/>
                </a:cubicBezTo>
                <a:lnTo>
                  <a:pt x="653142" y="572433"/>
                </a:lnTo>
                <a:lnTo>
                  <a:pt x="656673" y="583024"/>
                </a:lnTo>
                <a:cubicBezTo>
                  <a:pt x="661126" y="618652"/>
                  <a:pt x="657203" y="602268"/>
                  <a:pt x="667264" y="632451"/>
                </a:cubicBezTo>
                <a:lnTo>
                  <a:pt x="670795" y="643043"/>
                </a:lnTo>
                <a:cubicBezTo>
                  <a:pt x="671972" y="670110"/>
                  <a:pt x="670045" y="697492"/>
                  <a:pt x="674325" y="724244"/>
                </a:cubicBezTo>
                <a:cubicBezTo>
                  <a:pt x="674995" y="728434"/>
                  <a:pt x="681017" y="729633"/>
                  <a:pt x="684917" y="731305"/>
                </a:cubicBezTo>
                <a:cubicBezTo>
                  <a:pt x="689377" y="733216"/>
                  <a:pt x="694373" y="733503"/>
                  <a:pt x="699039" y="734836"/>
                </a:cubicBezTo>
                <a:cubicBezTo>
                  <a:pt x="702617" y="735858"/>
                  <a:pt x="706100" y="737189"/>
                  <a:pt x="709630" y="738366"/>
                </a:cubicBezTo>
                <a:cubicBezTo>
                  <a:pt x="720820" y="755152"/>
                  <a:pt x="715348" y="744931"/>
                  <a:pt x="723752" y="770141"/>
                </a:cubicBezTo>
                <a:lnTo>
                  <a:pt x="727283" y="780732"/>
                </a:lnTo>
                <a:cubicBezTo>
                  <a:pt x="728460" y="784263"/>
                  <a:pt x="728749" y="788228"/>
                  <a:pt x="730813" y="791324"/>
                </a:cubicBezTo>
                <a:cubicBezTo>
                  <a:pt x="739938" y="805012"/>
                  <a:pt x="736532" y="797890"/>
                  <a:pt x="741405" y="812507"/>
                </a:cubicBezTo>
                <a:cubicBezTo>
                  <a:pt x="751480" y="883043"/>
                  <a:pt x="748466" y="854976"/>
                  <a:pt x="748466" y="989032"/>
                </a:cubicBezTo>
                <a:cubicBezTo>
                  <a:pt x="748466" y="998952"/>
                  <a:pt x="748384" y="1019459"/>
                  <a:pt x="737874" y="1027867"/>
                </a:cubicBezTo>
                <a:cubicBezTo>
                  <a:pt x="734968" y="1030192"/>
                  <a:pt x="730813" y="1030221"/>
                  <a:pt x="727283" y="1031398"/>
                </a:cubicBezTo>
                <a:cubicBezTo>
                  <a:pt x="722479" y="1045809"/>
                  <a:pt x="722509" y="1039401"/>
                  <a:pt x="727283" y="1056111"/>
                </a:cubicBezTo>
                <a:cubicBezTo>
                  <a:pt x="728305" y="1059689"/>
                  <a:pt x="728181" y="1064071"/>
                  <a:pt x="730813" y="1066703"/>
                </a:cubicBezTo>
                <a:cubicBezTo>
                  <a:pt x="733445" y="1069335"/>
                  <a:pt x="737874" y="1069056"/>
                  <a:pt x="741405" y="1070233"/>
                </a:cubicBezTo>
                <a:cubicBezTo>
                  <a:pt x="750820" y="1069056"/>
                  <a:pt x="760840" y="1070227"/>
                  <a:pt x="769649" y="1066703"/>
                </a:cubicBezTo>
                <a:cubicBezTo>
                  <a:pt x="773589" y="1065127"/>
                  <a:pt x="772524" y="1056809"/>
                  <a:pt x="776710" y="1056111"/>
                </a:cubicBezTo>
                <a:cubicBezTo>
                  <a:pt x="788376" y="1054167"/>
                  <a:pt x="800247" y="1058465"/>
                  <a:pt x="812015" y="1059642"/>
                </a:cubicBezTo>
                <a:cubicBezTo>
                  <a:pt x="842366" y="1079877"/>
                  <a:pt x="803965" y="1055617"/>
                  <a:pt x="833198" y="1070233"/>
                </a:cubicBezTo>
                <a:cubicBezTo>
                  <a:pt x="836993" y="1072130"/>
                  <a:pt x="839889" y="1075623"/>
                  <a:pt x="843789" y="1077294"/>
                </a:cubicBezTo>
                <a:cubicBezTo>
                  <a:pt x="848249" y="1079206"/>
                  <a:pt x="853245" y="1079492"/>
                  <a:pt x="857911" y="1080825"/>
                </a:cubicBezTo>
                <a:cubicBezTo>
                  <a:pt x="861489" y="1081847"/>
                  <a:pt x="864972" y="1083178"/>
                  <a:pt x="868503" y="1084355"/>
                </a:cubicBezTo>
                <a:cubicBezTo>
                  <a:pt x="867326" y="1119660"/>
                  <a:pt x="868170" y="1155090"/>
                  <a:pt x="864972" y="1190270"/>
                </a:cubicBezTo>
                <a:cubicBezTo>
                  <a:pt x="863748" y="1203733"/>
                  <a:pt x="844456" y="1205347"/>
                  <a:pt x="836728" y="1207923"/>
                </a:cubicBezTo>
                <a:lnTo>
                  <a:pt x="826137" y="1211453"/>
                </a:lnTo>
                <a:cubicBezTo>
                  <a:pt x="819076" y="1216160"/>
                  <a:pt x="807638" y="1217524"/>
                  <a:pt x="804954" y="1225575"/>
                </a:cubicBezTo>
                <a:cubicBezTo>
                  <a:pt x="802435" y="1233130"/>
                  <a:pt x="800804" y="1241122"/>
                  <a:pt x="794362" y="1246758"/>
                </a:cubicBezTo>
                <a:cubicBezTo>
                  <a:pt x="787975" y="1252346"/>
                  <a:pt x="780240" y="1256173"/>
                  <a:pt x="773179" y="1260881"/>
                </a:cubicBezTo>
                <a:lnTo>
                  <a:pt x="762588" y="1267942"/>
                </a:lnTo>
                <a:cubicBezTo>
                  <a:pt x="753711" y="1294569"/>
                  <a:pt x="765687" y="1261742"/>
                  <a:pt x="751996" y="1289125"/>
                </a:cubicBezTo>
                <a:cubicBezTo>
                  <a:pt x="750332" y="1292453"/>
                  <a:pt x="749643" y="1296186"/>
                  <a:pt x="748466" y="1299716"/>
                </a:cubicBezTo>
                <a:cubicBezTo>
                  <a:pt x="749643" y="1307954"/>
                  <a:pt x="748274" y="1316987"/>
                  <a:pt x="751996" y="1324430"/>
                </a:cubicBezTo>
                <a:cubicBezTo>
                  <a:pt x="753660" y="1327759"/>
                  <a:pt x="759491" y="1325896"/>
                  <a:pt x="762588" y="1327960"/>
                </a:cubicBezTo>
                <a:cubicBezTo>
                  <a:pt x="770741" y="1333395"/>
                  <a:pt x="775031" y="1341330"/>
                  <a:pt x="780240" y="1349143"/>
                </a:cubicBezTo>
                <a:cubicBezTo>
                  <a:pt x="779063" y="1357381"/>
                  <a:pt x="779101" y="1365886"/>
                  <a:pt x="776710" y="1373857"/>
                </a:cubicBezTo>
                <a:cubicBezTo>
                  <a:pt x="772359" y="1388361"/>
                  <a:pt x="761678" y="1387105"/>
                  <a:pt x="748466" y="1391509"/>
                </a:cubicBezTo>
                <a:cubicBezTo>
                  <a:pt x="725541" y="1399151"/>
                  <a:pt x="741587" y="1394702"/>
                  <a:pt x="699039" y="1398570"/>
                </a:cubicBezTo>
                <a:lnTo>
                  <a:pt x="667264" y="1409162"/>
                </a:lnTo>
                <a:lnTo>
                  <a:pt x="656673" y="1412692"/>
                </a:lnTo>
                <a:cubicBezTo>
                  <a:pt x="646081" y="1411515"/>
                  <a:pt x="635410" y="1410914"/>
                  <a:pt x="624898" y="1409162"/>
                </a:cubicBezTo>
                <a:cubicBezTo>
                  <a:pt x="611591" y="1406944"/>
                  <a:pt x="615911" y="1404668"/>
                  <a:pt x="603715" y="1398570"/>
                </a:cubicBezTo>
                <a:cubicBezTo>
                  <a:pt x="600387" y="1396906"/>
                  <a:pt x="596654" y="1396217"/>
                  <a:pt x="593124" y="1395040"/>
                </a:cubicBezTo>
                <a:cubicBezTo>
                  <a:pt x="590770" y="1391509"/>
                  <a:pt x="589594" y="1386802"/>
                  <a:pt x="586063" y="1384448"/>
                </a:cubicBezTo>
                <a:cubicBezTo>
                  <a:pt x="582026" y="1381757"/>
                  <a:pt x="576778" y="1381305"/>
                  <a:pt x="571941" y="1380918"/>
                </a:cubicBezTo>
                <a:cubicBezTo>
                  <a:pt x="547278" y="1378945"/>
                  <a:pt x="522514" y="1378564"/>
                  <a:pt x="497800" y="1377387"/>
                </a:cubicBezTo>
                <a:cubicBezTo>
                  <a:pt x="493093" y="1376210"/>
                  <a:pt x="488343" y="1375190"/>
                  <a:pt x="483678" y="1373857"/>
                </a:cubicBezTo>
                <a:cubicBezTo>
                  <a:pt x="480100" y="1372835"/>
                  <a:pt x="476808" y="1370326"/>
                  <a:pt x="473087" y="1370326"/>
                </a:cubicBezTo>
                <a:cubicBezTo>
                  <a:pt x="461260" y="1370326"/>
                  <a:pt x="449550" y="1372680"/>
                  <a:pt x="437782" y="1373857"/>
                </a:cubicBezTo>
                <a:cubicBezTo>
                  <a:pt x="434251" y="1376211"/>
                  <a:pt x="430985" y="1379020"/>
                  <a:pt x="427190" y="1380918"/>
                </a:cubicBezTo>
                <a:cubicBezTo>
                  <a:pt x="412135" y="1388445"/>
                  <a:pt x="404128" y="1383063"/>
                  <a:pt x="384824" y="1380918"/>
                </a:cubicBezTo>
                <a:lnTo>
                  <a:pt x="363641" y="1373857"/>
                </a:lnTo>
                <a:cubicBezTo>
                  <a:pt x="360111" y="1372680"/>
                  <a:pt x="356146" y="1372390"/>
                  <a:pt x="353050" y="1370326"/>
                </a:cubicBezTo>
                <a:cubicBezTo>
                  <a:pt x="339362" y="1361201"/>
                  <a:pt x="346484" y="1364607"/>
                  <a:pt x="331867" y="1359735"/>
                </a:cubicBezTo>
                <a:cubicBezTo>
                  <a:pt x="330690" y="1356204"/>
                  <a:pt x="330968" y="1351775"/>
                  <a:pt x="328336" y="1349143"/>
                </a:cubicBezTo>
                <a:cubicBezTo>
                  <a:pt x="325705" y="1346512"/>
                  <a:pt x="321378" y="1346420"/>
                  <a:pt x="317745" y="1345613"/>
                </a:cubicBezTo>
                <a:cubicBezTo>
                  <a:pt x="280461" y="1337328"/>
                  <a:pt x="309815" y="1346499"/>
                  <a:pt x="285970" y="1338552"/>
                </a:cubicBezTo>
                <a:cubicBezTo>
                  <a:pt x="277732" y="1339729"/>
                  <a:pt x="269417" y="1340450"/>
                  <a:pt x="261257" y="1342082"/>
                </a:cubicBezTo>
                <a:cubicBezTo>
                  <a:pt x="257608" y="1342812"/>
                  <a:pt x="253297" y="1342981"/>
                  <a:pt x="250665" y="1345613"/>
                </a:cubicBezTo>
                <a:cubicBezTo>
                  <a:pt x="244664" y="1351614"/>
                  <a:pt x="236543" y="1366796"/>
                  <a:pt x="236543" y="1366796"/>
                </a:cubicBezTo>
                <a:cubicBezTo>
                  <a:pt x="239484" y="1375617"/>
                  <a:pt x="244341" y="1380899"/>
                  <a:pt x="233013" y="1387979"/>
                </a:cubicBezTo>
                <a:cubicBezTo>
                  <a:pt x="226701" y="1391924"/>
                  <a:pt x="211830" y="1395040"/>
                  <a:pt x="211830" y="1395040"/>
                </a:cubicBezTo>
                <a:cubicBezTo>
                  <a:pt x="176201" y="1390586"/>
                  <a:pt x="186586" y="1400510"/>
                  <a:pt x="176525" y="1370326"/>
                </a:cubicBezTo>
                <a:lnTo>
                  <a:pt x="176525" y="1370326"/>
                </a:lnTo>
                <a:cubicBezTo>
                  <a:pt x="148550" y="1361001"/>
                  <a:pt x="162683" y="1364488"/>
                  <a:pt x="134158" y="1359735"/>
                </a:cubicBezTo>
                <a:cubicBezTo>
                  <a:pt x="102079" y="1364317"/>
                  <a:pt x="117338" y="1360634"/>
                  <a:pt x="88262" y="1370326"/>
                </a:cubicBezTo>
                <a:lnTo>
                  <a:pt x="77670" y="1373857"/>
                </a:lnTo>
                <a:lnTo>
                  <a:pt x="67079" y="1377387"/>
                </a:lnTo>
                <a:cubicBezTo>
                  <a:pt x="63548" y="1379741"/>
                  <a:pt x="59487" y="1381448"/>
                  <a:pt x="56487" y="1384448"/>
                </a:cubicBezTo>
                <a:cubicBezTo>
                  <a:pt x="53487" y="1387448"/>
                  <a:pt x="53543" y="1394011"/>
                  <a:pt x="49426" y="1395040"/>
                </a:cubicBezTo>
                <a:cubicBezTo>
                  <a:pt x="42481" y="1396776"/>
                  <a:pt x="35304" y="1392686"/>
                  <a:pt x="28243" y="1391509"/>
                </a:cubicBezTo>
                <a:cubicBezTo>
                  <a:pt x="25372" y="1382895"/>
                  <a:pt x="24496" y="1377170"/>
                  <a:pt x="17652" y="1370326"/>
                </a:cubicBezTo>
                <a:cubicBezTo>
                  <a:pt x="14652" y="1367326"/>
                  <a:pt x="10591" y="1365619"/>
                  <a:pt x="7060" y="1363265"/>
                </a:cubicBezTo>
                <a:cubicBezTo>
                  <a:pt x="25806" y="1355767"/>
                  <a:pt x="0" y="1357969"/>
                  <a:pt x="3530" y="1356204"/>
                </a:cubicBezTo>
                <a:close/>
              </a:path>
            </a:pathLst>
          </a:custGeom>
          <a:solidFill>
            <a:srgbClr val="00C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1" name="Title 1"/>
          <p:cNvSpPr txBox="1">
            <a:spLocks/>
          </p:cNvSpPr>
          <p:nvPr/>
        </p:nvSpPr>
        <p:spPr>
          <a:xfrm rot="4993952">
            <a:off x="2345796" y="2991909"/>
            <a:ext cx="1458384" cy="2921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ఇంగ్లాండ్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02" name="Freeform 101"/>
          <p:cNvSpPr/>
          <p:nvPr/>
        </p:nvSpPr>
        <p:spPr>
          <a:xfrm>
            <a:off x="2209800" y="2853267"/>
            <a:ext cx="611188" cy="582084"/>
          </a:xfrm>
          <a:custGeom>
            <a:avLst/>
            <a:gdLst>
              <a:gd name="connsiteX0" fmla="*/ 3531 w 610777"/>
              <a:gd name="connsiteY0" fmla="*/ 533105 h 582742"/>
              <a:gd name="connsiteX1" fmla="*/ 45897 w 610777"/>
              <a:gd name="connsiteY1" fmla="*/ 515453 h 582742"/>
              <a:gd name="connsiteX2" fmla="*/ 42366 w 610777"/>
              <a:gd name="connsiteY2" fmla="*/ 497800 h 582742"/>
              <a:gd name="connsiteX3" fmla="*/ 21183 w 610777"/>
              <a:gd name="connsiteY3" fmla="*/ 487209 h 582742"/>
              <a:gd name="connsiteX4" fmla="*/ 7061 w 610777"/>
              <a:gd name="connsiteY4" fmla="*/ 466026 h 582742"/>
              <a:gd name="connsiteX5" fmla="*/ 0 w 610777"/>
              <a:gd name="connsiteY5" fmla="*/ 444843 h 582742"/>
              <a:gd name="connsiteX6" fmla="*/ 3531 w 610777"/>
              <a:gd name="connsiteY6" fmla="*/ 427190 h 582742"/>
              <a:gd name="connsiteX7" fmla="*/ 74141 w 610777"/>
              <a:gd name="connsiteY7" fmla="*/ 413068 h 582742"/>
              <a:gd name="connsiteX8" fmla="*/ 81202 w 610777"/>
              <a:gd name="connsiteY8" fmla="*/ 402477 h 582742"/>
              <a:gd name="connsiteX9" fmla="*/ 112976 w 610777"/>
              <a:gd name="connsiteY9" fmla="*/ 395416 h 582742"/>
              <a:gd name="connsiteX10" fmla="*/ 109446 w 610777"/>
              <a:gd name="connsiteY10" fmla="*/ 360111 h 582742"/>
              <a:gd name="connsiteX11" fmla="*/ 123568 w 610777"/>
              <a:gd name="connsiteY11" fmla="*/ 353050 h 582742"/>
              <a:gd name="connsiteX12" fmla="*/ 134159 w 610777"/>
              <a:gd name="connsiteY12" fmla="*/ 349519 h 582742"/>
              <a:gd name="connsiteX13" fmla="*/ 144751 w 610777"/>
              <a:gd name="connsiteY13" fmla="*/ 324806 h 582742"/>
              <a:gd name="connsiteX14" fmla="*/ 155342 w 610777"/>
              <a:gd name="connsiteY14" fmla="*/ 321275 h 582742"/>
              <a:gd name="connsiteX15" fmla="*/ 162403 w 610777"/>
              <a:gd name="connsiteY15" fmla="*/ 310684 h 582742"/>
              <a:gd name="connsiteX16" fmla="*/ 165934 w 610777"/>
              <a:gd name="connsiteY16" fmla="*/ 296562 h 582742"/>
              <a:gd name="connsiteX17" fmla="*/ 176525 w 610777"/>
              <a:gd name="connsiteY17" fmla="*/ 285970 h 582742"/>
              <a:gd name="connsiteX18" fmla="*/ 172995 w 610777"/>
              <a:gd name="connsiteY18" fmla="*/ 264787 h 582742"/>
              <a:gd name="connsiteX19" fmla="*/ 169464 w 610777"/>
              <a:gd name="connsiteY19" fmla="*/ 254196 h 582742"/>
              <a:gd name="connsiteX20" fmla="*/ 141220 w 610777"/>
              <a:gd name="connsiteY20" fmla="*/ 247135 h 582742"/>
              <a:gd name="connsiteX21" fmla="*/ 120037 w 610777"/>
              <a:gd name="connsiteY21" fmla="*/ 240074 h 582742"/>
              <a:gd name="connsiteX22" fmla="*/ 116507 w 610777"/>
              <a:gd name="connsiteY22" fmla="*/ 225952 h 582742"/>
              <a:gd name="connsiteX23" fmla="*/ 134159 w 610777"/>
              <a:gd name="connsiteY23" fmla="*/ 204769 h 582742"/>
              <a:gd name="connsiteX24" fmla="*/ 144751 w 610777"/>
              <a:gd name="connsiteY24" fmla="*/ 197708 h 582742"/>
              <a:gd name="connsiteX25" fmla="*/ 151812 w 610777"/>
              <a:gd name="connsiteY25" fmla="*/ 116506 h 582742"/>
              <a:gd name="connsiteX26" fmla="*/ 158873 w 610777"/>
              <a:gd name="connsiteY26" fmla="*/ 105915 h 582742"/>
              <a:gd name="connsiteX27" fmla="*/ 180056 w 610777"/>
              <a:gd name="connsiteY27" fmla="*/ 98854 h 582742"/>
              <a:gd name="connsiteX28" fmla="*/ 222422 w 610777"/>
              <a:gd name="connsiteY28" fmla="*/ 102384 h 582742"/>
              <a:gd name="connsiteX29" fmla="*/ 247135 w 610777"/>
              <a:gd name="connsiteY29" fmla="*/ 109445 h 582742"/>
              <a:gd name="connsiteX30" fmla="*/ 268318 w 610777"/>
              <a:gd name="connsiteY30" fmla="*/ 123567 h 582742"/>
              <a:gd name="connsiteX31" fmla="*/ 278910 w 610777"/>
              <a:gd name="connsiteY31" fmla="*/ 130628 h 582742"/>
              <a:gd name="connsiteX32" fmla="*/ 300093 w 610777"/>
              <a:gd name="connsiteY32" fmla="*/ 137689 h 582742"/>
              <a:gd name="connsiteX33" fmla="*/ 335398 w 610777"/>
              <a:gd name="connsiteY33" fmla="*/ 134159 h 582742"/>
              <a:gd name="connsiteX34" fmla="*/ 345989 w 610777"/>
              <a:gd name="connsiteY34" fmla="*/ 127098 h 582742"/>
              <a:gd name="connsiteX35" fmla="*/ 356581 w 610777"/>
              <a:gd name="connsiteY35" fmla="*/ 123567 h 582742"/>
              <a:gd name="connsiteX36" fmla="*/ 367172 w 610777"/>
              <a:gd name="connsiteY36" fmla="*/ 112976 h 582742"/>
              <a:gd name="connsiteX37" fmla="*/ 349520 w 610777"/>
              <a:gd name="connsiteY37" fmla="*/ 95323 h 582742"/>
              <a:gd name="connsiteX38" fmla="*/ 338928 w 610777"/>
              <a:gd name="connsiteY38" fmla="*/ 84732 h 582742"/>
              <a:gd name="connsiteX39" fmla="*/ 338928 w 610777"/>
              <a:gd name="connsiteY39" fmla="*/ 56488 h 582742"/>
              <a:gd name="connsiteX40" fmla="*/ 342459 w 610777"/>
              <a:gd name="connsiteY40" fmla="*/ 45896 h 582742"/>
              <a:gd name="connsiteX41" fmla="*/ 384825 w 610777"/>
              <a:gd name="connsiteY41" fmla="*/ 24713 h 582742"/>
              <a:gd name="connsiteX42" fmla="*/ 406008 w 610777"/>
              <a:gd name="connsiteY42" fmla="*/ 17652 h 582742"/>
              <a:gd name="connsiteX43" fmla="*/ 416599 w 610777"/>
              <a:gd name="connsiteY43" fmla="*/ 14122 h 582742"/>
              <a:gd name="connsiteX44" fmla="*/ 444843 w 610777"/>
              <a:gd name="connsiteY44" fmla="*/ 7061 h 582742"/>
              <a:gd name="connsiteX45" fmla="*/ 466026 w 610777"/>
              <a:gd name="connsiteY45" fmla="*/ 0 h 582742"/>
              <a:gd name="connsiteX46" fmla="*/ 490740 w 610777"/>
              <a:gd name="connsiteY46" fmla="*/ 3530 h 582742"/>
              <a:gd name="connsiteX47" fmla="*/ 511923 w 610777"/>
              <a:gd name="connsiteY47" fmla="*/ 10591 h 582742"/>
              <a:gd name="connsiteX48" fmla="*/ 526045 w 610777"/>
              <a:gd name="connsiteY48" fmla="*/ 14122 h 582742"/>
              <a:gd name="connsiteX49" fmla="*/ 533106 w 610777"/>
              <a:gd name="connsiteY49" fmla="*/ 24713 h 582742"/>
              <a:gd name="connsiteX50" fmla="*/ 536637 w 610777"/>
              <a:gd name="connsiteY50" fmla="*/ 35305 h 582742"/>
              <a:gd name="connsiteX51" fmla="*/ 547228 w 610777"/>
              <a:gd name="connsiteY51" fmla="*/ 38835 h 582742"/>
              <a:gd name="connsiteX52" fmla="*/ 557820 w 610777"/>
              <a:gd name="connsiteY52" fmla="*/ 45896 h 582742"/>
              <a:gd name="connsiteX53" fmla="*/ 579003 w 610777"/>
              <a:gd name="connsiteY53" fmla="*/ 52957 h 582742"/>
              <a:gd name="connsiteX54" fmla="*/ 586064 w 610777"/>
              <a:gd name="connsiteY54" fmla="*/ 74140 h 582742"/>
              <a:gd name="connsiteX55" fmla="*/ 589594 w 610777"/>
              <a:gd name="connsiteY55" fmla="*/ 84732 h 582742"/>
              <a:gd name="connsiteX56" fmla="*/ 596655 w 610777"/>
              <a:gd name="connsiteY56" fmla="*/ 112976 h 582742"/>
              <a:gd name="connsiteX57" fmla="*/ 600186 w 610777"/>
              <a:gd name="connsiteY57" fmla="*/ 137689 h 582742"/>
              <a:gd name="connsiteX58" fmla="*/ 607247 w 610777"/>
              <a:gd name="connsiteY58" fmla="*/ 148281 h 582742"/>
              <a:gd name="connsiteX59" fmla="*/ 610777 w 610777"/>
              <a:gd name="connsiteY59" fmla="*/ 158872 h 582742"/>
              <a:gd name="connsiteX60" fmla="*/ 603716 w 610777"/>
              <a:gd name="connsiteY60" fmla="*/ 190647 h 582742"/>
              <a:gd name="connsiteX61" fmla="*/ 596655 w 610777"/>
              <a:gd name="connsiteY61" fmla="*/ 211830 h 582742"/>
              <a:gd name="connsiteX62" fmla="*/ 579003 w 610777"/>
              <a:gd name="connsiteY62" fmla="*/ 229482 h 582742"/>
              <a:gd name="connsiteX63" fmla="*/ 536637 w 610777"/>
              <a:gd name="connsiteY63" fmla="*/ 233013 h 582742"/>
              <a:gd name="connsiteX64" fmla="*/ 526045 w 610777"/>
              <a:gd name="connsiteY64" fmla="*/ 236543 h 582742"/>
              <a:gd name="connsiteX65" fmla="*/ 522514 w 610777"/>
              <a:gd name="connsiteY65" fmla="*/ 247135 h 582742"/>
              <a:gd name="connsiteX66" fmla="*/ 515453 w 610777"/>
              <a:gd name="connsiteY66" fmla="*/ 271848 h 582742"/>
              <a:gd name="connsiteX67" fmla="*/ 511923 w 610777"/>
              <a:gd name="connsiteY67" fmla="*/ 324806 h 582742"/>
              <a:gd name="connsiteX68" fmla="*/ 504862 w 610777"/>
              <a:gd name="connsiteY68" fmla="*/ 363641 h 582742"/>
              <a:gd name="connsiteX69" fmla="*/ 487209 w 610777"/>
              <a:gd name="connsiteY69" fmla="*/ 395416 h 582742"/>
              <a:gd name="connsiteX70" fmla="*/ 480148 w 610777"/>
              <a:gd name="connsiteY70" fmla="*/ 406007 h 582742"/>
              <a:gd name="connsiteX71" fmla="*/ 476618 w 610777"/>
              <a:gd name="connsiteY71" fmla="*/ 420129 h 582742"/>
              <a:gd name="connsiteX72" fmla="*/ 473087 w 610777"/>
              <a:gd name="connsiteY72" fmla="*/ 462495 h 582742"/>
              <a:gd name="connsiteX73" fmla="*/ 455435 w 610777"/>
              <a:gd name="connsiteY73" fmla="*/ 480148 h 582742"/>
              <a:gd name="connsiteX74" fmla="*/ 451904 w 610777"/>
              <a:gd name="connsiteY74" fmla="*/ 490739 h 582742"/>
              <a:gd name="connsiteX75" fmla="*/ 437782 w 610777"/>
              <a:gd name="connsiteY75" fmla="*/ 511922 h 582742"/>
              <a:gd name="connsiteX76" fmla="*/ 434252 w 610777"/>
              <a:gd name="connsiteY76" fmla="*/ 522514 h 582742"/>
              <a:gd name="connsiteX77" fmla="*/ 402477 w 610777"/>
              <a:gd name="connsiteY77" fmla="*/ 540166 h 582742"/>
              <a:gd name="connsiteX78" fmla="*/ 391886 w 610777"/>
              <a:gd name="connsiteY78" fmla="*/ 547227 h 582742"/>
              <a:gd name="connsiteX79" fmla="*/ 374233 w 610777"/>
              <a:gd name="connsiteY79" fmla="*/ 543697 h 582742"/>
              <a:gd name="connsiteX80" fmla="*/ 335398 w 610777"/>
              <a:gd name="connsiteY80" fmla="*/ 533105 h 582742"/>
              <a:gd name="connsiteX81" fmla="*/ 321276 w 610777"/>
              <a:gd name="connsiteY81" fmla="*/ 536636 h 582742"/>
              <a:gd name="connsiteX82" fmla="*/ 310684 w 610777"/>
              <a:gd name="connsiteY82" fmla="*/ 540166 h 582742"/>
              <a:gd name="connsiteX83" fmla="*/ 264788 w 610777"/>
              <a:gd name="connsiteY83" fmla="*/ 543697 h 582742"/>
              <a:gd name="connsiteX84" fmla="*/ 240074 w 610777"/>
              <a:gd name="connsiteY84" fmla="*/ 550758 h 582742"/>
              <a:gd name="connsiteX85" fmla="*/ 208300 w 610777"/>
              <a:gd name="connsiteY85" fmla="*/ 564880 h 582742"/>
              <a:gd name="connsiteX86" fmla="*/ 197708 w 610777"/>
              <a:gd name="connsiteY86" fmla="*/ 568410 h 582742"/>
              <a:gd name="connsiteX87" fmla="*/ 120037 w 610777"/>
              <a:gd name="connsiteY87" fmla="*/ 571941 h 582742"/>
              <a:gd name="connsiteX88" fmla="*/ 63549 w 610777"/>
              <a:gd name="connsiteY88" fmla="*/ 575471 h 582742"/>
              <a:gd name="connsiteX89" fmla="*/ 52958 w 610777"/>
              <a:gd name="connsiteY89" fmla="*/ 554288 h 582742"/>
              <a:gd name="connsiteX90" fmla="*/ 42366 w 610777"/>
              <a:gd name="connsiteY90" fmla="*/ 550758 h 582742"/>
              <a:gd name="connsiteX91" fmla="*/ 31775 w 610777"/>
              <a:gd name="connsiteY91" fmla="*/ 543697 h 582742"/>
              <a:gd name="connsiteX92" fmla="*/ 3531 w 610777"/>
              <a:gd name="connsiteY92" fmla="*/ 533105 h 582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10777" h="582742">
                <a:moveTo>
                  <a:pt x="3531" y="533105"/>
                </a:moveTo>
                <a:cubicBezTo>
                  <a:pt x="5885" y="528398"/>
                  <a:pt x="32179" y="536030"/>
                  <a:pt x="45897" y="515453"/>
                </a:cubicBezTo>
                <a:cubicBezTo>
                  <a:pt x="44720" y="509569"/>
                  <a:pt x="45343" y="503010"/>
                  <a:pt x="42366" y="497800"/>
                </a:cubicBezTo>
                <a:cubicBezTo>
                  <a:pt x="39145" y="492163"/>
                  <a:pt x="26620" y="489021"/>
                  <a:pt x="21183" y="487209"/>
                </a:cubicBezTo>
                <a:cubicBezTo>
                  <a:pt x="16476" y="480148"/>
                  <a:pt x="9745" y="474077"/>
                  <a:pt x="7061" y="466026"/>
                </a:cubicBezTo>
                <a:lnTo>
                  <a:pt x="0" y="444843"/>
                </a:lnTo>
                <a:cubicBezTo>
                  <a:pt x="1177" y="438959"/>
                  <a:pt x="2076" y="433012"/>
                  <a:pt x="3531" y="427190"/>
                </a:cubicBezTo>
                <a:cubicBezTo>
                  <a:pt x="11454" y="395498"/>
                  <a:pt x="19513" y="415944"/>
                  <a:pt x="74141" y="413068"/>
                </a:cubicBezTo>
                <a:cubicBezTo>
                  <a:pt x="76495" y="409538"/>
                  <a:pt x="77889" y="405128"/>
                  <a:pt x="81202" y="402477"/>
                </a:cubicBezTo>
                <a:cubicBezTo>
                  <a:pt x="85778" y="398816"/>
                  <a:pt x="112755" y="395453"/>
                  <a:pt x="112976" y="395416"/>
                </a:cubicBezTo>
                <a:cubicBezTo>
                  <a:pt x="109837" y="385998"/>
                  <a:pt x="100553" y="370783"/>
                  <a:pt x="109446" y="360111"/>
                </a:cubicBezTo>
                <a:cubicBezTo>
                  <a:pt x="112815" y="356068"/>
                  <a:pt x="118731" y="355123"/>
                  <a:pt x="123568" y="353050"/>
                </a:cubicBezTo>
                <a:cubicBezTo>
                  <a:pt x="126988" y="351584"/>
                  <a:pt x="130629" y="350696"/>
                  <a:pt x="134159" y="349519"/>
                </a:cubicBezTo>
                <a:cubicBezTo>
                  <a:pt x="136279" y="341039"/>
                  <a:pt x="137132" y="330901"/>
                  <a:pt x="144751" y="324806"/>
                </a:cubicBezTo>
                <a:cubicBezTo>
                  <a:pt x="147657" y="322481"/>
                  <a:pt x="151812" y="322452"/>
                  <a:pt x="155342" y="321275"/>
                </a:cubicBezTo>
                <a:cubicBezTo>
                  <a:pt x="157696" y="317745"/>
                  <a:pt x="160732" y="314584"/>
                  <a:pt x="162403" y="310684"/>
                </a:cubicBezTo>
                <a:cubicBezTo>
                  <a:pt x="164315" y="306224"/>
                  <a:pt x="163527" y="300775"/>
                  <a:pt x="165934" y="296562"/>
                </a:cubicBezTo>
                <a:cubicBezTo>
                  <a:pt x="168411" y="292227"/>
                  <a:pt x="172995" y="289501"/>
                  <a:pt x="176525" y="285970"/>
                </a:cubicBezTo>
                <a:cubicBezTo>
                  <a:pt x="175348" y="278909"/>
                  <a:pt x="174548" y="271775"/>
                  <a:pt x="172995" y="264787"/>
                </a:cubicBezTo>
                <a:cubicBezTo>
                  <a:pt x="172188" y="261154"/>
                  <a:pt x="172717" y="256003"/>
                  <a:pt x="169464" y="254196"/>
                </a:cubicBezTo>
                <a:cubicBezTo>
                  <a:pt x="160981" y="249483"/>
                  <a:pt x="150551" y="249801"/>
                  <a:pt x="141220" y="247135"/>
                </a:cubicBezTo>
                <a:cubicBezTo>
                  <a:pt x="134063" y="245090"/>
                  <a:pt x="120037" y="240074"/>
                  <a:pt x="120037" y="240074"/>
                </a:cubicBezTo>
                <a:cubicBezTo>
                  <a:pt x="118860" y="235367"/>
                  <a:pt x="116507" y="230804"/>
                  <a:pt x="116507" y="225952"/>
                </a:cubicBezTo>
                <a:cubicBezTo>
                  <a:pt x="116507" y="208255"/>
                  <a:pt x="120910" y="212340"/>
                  <a:pt x="134159" y="204769"/>
                </a:cubicBezTo>
                <a:cubicBezTo>
                  <a:pt x="137843" y="202664"/>
                  <a:pt x="141220" y="200062"/>
                  <a:pt x="144751" y="197708"/>
                </a:cubicBezTo>
                <a:cubicBezTo>
                  <a:pt x="157283" y="160104"/>
                  <a:pt x="138272" y="220308"/>
                  <a:pt x="151812" y="116506"/>
                </a:cubicBezTo>
                <a:cubicBezTo>
                  <a:pt x="152361" y="112299"/>
                  <a:pt x="155275" y="108164"/>
                  <a:pt x="158873" y="105915"/>
                </a:cubicBezTo>
                <a:cubicBezTo>
                  <a:pt x="165185" y="101970"/>
                  <a:pt x="180056" y="98854"/>
                  <a:pt x="180056" y="98854"/>
                </a:cubicBezTo>
                <a:cubicBezTo>
                  <a:pt x="194178" y="100031"/>
                  <a:pt x="208360" y="100626"/>
                  <a:pt x="222422" y="102384"/>
                </a:cubicBezTo>
                <a:cubicBezTo>
                  <a:pt x="229510" y="103270"/>
                  <a:pt x="240104" y="107101"/>
                  <a:pt x="247135" y="109445"/>
                </a:cubicBezTo>
                <a:lnTo>
                  <a:pt x="268318" y="123567"/>
                </a:lnTo>
                <a:cubicBezTo>
                  <a:pt x="271849" y="125921"/>
                  <a:pt x="274884" y="129286"/>
                  <a:pt x="278910" y="130628"/>
                </a:cubicBezTo>
                <a:lnTo>
                  <a:pt x="300093" y="137689"/>
                </a:lnTo>
                <a:cubicBezTo>
                  <a:pt x="311861" y="136512"/>
                  <a:pt x="323874" y="136818"/>
                  <a:pt x="335398" y="134159"/>
                </a:cubicBezTo>
                <a:cubicBezTo>
                  <a:pt x="339532" y="133205"/>
                  <a:pt x="342194" y="128996"/>
                  <a:pt x="345989" y="127098"/>
                </a:cubicBezTo>
                <a:cubicBezTo>
                  <a:pt x="349318" y="125434"/>
                  <a:pt x="353050" y="124744"/>
                  <a:pt x="356581" y="123567"/>
                </a:cubicBezTo>
                <a:cubicBezTo>
                  <a:pt x="360111" y="120037"/>
                  <a:pt x="365593" y="117712"/>
                  <a:pt x="367172" y="112976"/>
                </a:cubicBezTo>
                <a:cubicBezTo>
                  <a:pt x="371081" y="101249"/>
                  <a:pt x="354097" y="98592"/>
                  <a:pt x="349520" y="95323"/>
                </a:cubicBezTo>
                <a:cubicBezTo>
                  <a:pt x="345457" y="92421"/>
                  <a:pt x="342459" y="88262"/>
                  <a:pt x="338928" y="84732"/>
                </a:cubicBezTo>
                <a:cubicBezTo>
                  <a:pt x="333878" y="69580"/>
                  <a:pt x="334059" y="75962"/>
                  <a:pt x="338928" y="56488"/>
                </a:cubicBezTo>
                <a:cubicBezTo>
                  <a:pt x="339831" y="52877"/>
                  <a:pt x="339827" y="48528"/>
                  <a:pt x="342459" y="45896"/>
                </a:cubicBezTo>
                <a:cubicBezTo>
                  <a:pt x="356147" y="32208"/>
                  <a:pt x="367597" y="30456"/>
                  <a:pt x="384825" y="24713"/>
                </a:cubicBezTo>
                <a:lnTo>
                  <a:pt x="406008" y="17652"/>
                </a:lnTo>
                <a:cubicBezTo>
                  <a:pt x="409538" y="16475"/>
                  <a:pt x="412989" y="15025"/>
                  <a:pt x="416599" y="14122"/>
                </a:cubicBezTo>
                <a:cubicBezTo>
                  <a:pt x="426014" y="11768"/>
                  <a:pt x="435637" y="10130"/>
                  <a:pt x="444843" y="7061"/>
                </a:cubicBezTo>
                <a:lnTo>
                  <a:pt x="466026" y="0"/>
                </a:lnTo>
                <a:cubicBezTo>
                  <a:pt x="474264" y="1177"/>
                  <a:pt x="482631" y="1659"/>
                  <a:pt x="490740" y="3530"/>
                </a:cubicBezTo>
                <a:cubicBezTo>
                  <a:pt x="497992" y="5204"/>
                  <a:pt x="504702" y="8786"/>
                  <a:pt x="511923" y="10591"/>
                </a:cubicBezTo>
                <a:lnTo>
                  <a:pt x="526045" y="14122"/>
                </a:lnTo>
                <a:cubicBezTo>
                  <a:pt x="528399" y="17652"/>
                  <a:pt x="531208" y="20918"/>
                  <a:pt x="533106" y="24713"/>
                </a:cubicBezTo>
                <a:cubicBezTo>
                  <a:pt x="534770" y="28042"/>
                  <a:pt x="534005" y="32673"/>
                  <a:pt x="536637" y="35305"/>
                </a:cubicBezTo>
                <a:cubicBezTo>
                  <a:pt x="539268" y="37936"/>
                  <a:pt x="543698" y="37658"/>
                  <a:pt x="547228" y="38835"/>
                </a:cubicBezTo>
                <a:cubicBezTo>
                  <a:pt x="550759" y="41189"/>
                  <a:pt x="553942" y="44173"/>
                  <a:pt x="557820" y="45896"/>
                </a:cubicBezTo>
                <a:cubicBezTo>
                  <a:pt x="564621" y="48919"/>
                  <a:pt x="579003" y="52957"/>
                  <a:pt x="579003" y="52957"/>
                </a:cubicBezTo>
                <a:lnTo>
                  <a:pt x="586064" y="74140"/>
                </a:lnTo>
                <a:cubicBezTo>
                  <a:pt x="587241" y="77671"/>
                  <a:pt x="588864" y="81083"/>
                  <a:pt x="589594" y="84732"/>
                </a:cubicBezTo>
                <a:cubicBezTo>
                  <a:pt x="593855" y="106033"/>
                  <a:pt x="591228" y="96691"/>
                  <a:pt x="596655" y="112976"/>
                </a:cubicBezTo>
                <a:cubicBezTo>
                  <a:pt x="597832" y="121214"/>
                  <a:pt x="597795" y="129719"/>
                  <a:pt x="600186" y="137689"/>
                </a:cubicBezTo>
                <a:cubicBezTo>
                  <a:pt x="601405" y="141753"/>
                  <a:pt x="605349" y="144486"/>
                  <a:pt x="607247" y="148281"/>
                </a:cubicBezTo>
                <a:cubicBezTo>
                  <a:pt x="608911" y="151609"/>
                  <a:pt x="609600" y="155342"/>
                  <a:pt x="610777" y="158872"/>
                </a:cubicBezTo>
                <a:cubicBezTo>
                  <a:pt x="608759" y="168962"/>
                  <a:pt x="606710" y="180666"/>
                  <a:pt x="603716" y="190647"/>
                </a:cubicBezTo>
                <a:cubicBezTo>
                  <a:pt x="601577" y="197776"/>
                  <a:pt x="600784" y="205637"/>
                  <a:pt x="596655" y="211830"/>
                </a:cubicBezTo>
                <a:cubicBezTo>
                  <a:pt x="592310" y="218347"/>
                  <a:pt x="588055" y="227672"/>
                  <a:pt x="579003" y="229482"/>
                </a:cubicBezTo>
                <a:cubicBezTo>
                  <a:pt x="565107" y="232261"/>
                  <a:pt x="550759" y="231836"/>
                  <a:pt x="536637" y="233013"/>
                </a:cubicBezTo>
                <a:cubicBezTo>
                  <a:pt x="533106" y="234190"/>
                  <a:pt x="528677" y="233912"/>
                  <a:pt x="526045" y="236543"/>
                </a:cubicBezTo>
                <a:cubicBezTo>
                  <a:pt x="523413" y="239175"/>
                  <a:pt x="523536" y="243557"/>
                  <a:pt x="522514" y="247135"/>
                </a:cubicBezTo>
                <a:cubicBezTo>
                  <a:pt x="513650" y="278158"/>
                  <a:pt x="523917" y="246460"/>
                  <a:pt x="515453" y="271848"/>
                </a:cubicBezTo>
                <a:cubicBezTo>
                  <a:pt x="514276" y="289501"/>
                  <a:pt x="513600" y="307194"/>
                  <a:pt x="511923" y="324806"/>
                </a:cubicBezTo>
                <a:cubicBezTo>
                  <a:pt x="511440" y="329882"/>
                  <a:pt x="506414" y="357433"/>
                  <a:pt x="504862" y="363641"/>
                </a:cubicBezTo>
                <a:cubicBezTo>
                  <a:pt x="501134" y="378554"/>
                  <a:pt x="497725" y="379642"/>
                  <a:pt x="487209" y="395416"/>
                </a:cubicBezTo>
                <a:lnTo>
                  <a:pt x="480148" y="406007"/>
                </a:lnTo>
                <a:cubicBezTo>
                  <a:pt x="478971" y="410714"/>
                  <a:pt x="477220" y="415314"/>
                  <a:pt x="476618" y="420129"/>
                </a:cubicBezTo>
                <a:cubicBezTo>
                  <a:pt x="474860" y="434191"/>
                  <a:pt x="475866" y="448599"/>
                  <a:pt x="473087" y="462495"/>
                </a:cubicBezTo>
                <a:cubicBezTo>
                  <a:pt x="471276" y="471548"/>
                  <a:pt x="461953" y="475802"/>
                  <a:pt x="455435" y="480148"/>
                </a:cubicBezTo>
                <a:cubicBezTo>
                  <a:pt x="454258" y="483678"/>
                  <a:pt x="453711" y="487486"/>
                  <a:pt x="451904" y="490739"/>
                </a:cubicBezTo>
                <a:cubicBezTo>
                  <a:pt x="447783" y="498157"/>
                  <a:pt x="437782" y="511922"/>
                  <a:pt x="437782" y="511922"/>
                </a:cubicBezTo>
                <a:cubicBezTo>
                  <a:pt x="436605" y="515453"/>
                  <a:pt x="436884" y="519882"/>
                  <a:pt x="434252" y="522514"/>
                </a:cubicBezTo>
                <a:cubicBezTo>
                  <a:pt x="422112" y="534655"/>
                  <a:pt x="415796" y="535727"/>
                  <a:pt x="402477" y="540166"/>
                </a:cubicBezTo>
                <a:cubicBezTo>
                  <a:pt x="398947" y="542520"/>
                  <a:pt x="396096" y="546701"/>
                  <a:pt x="391886" y="547227"/>
                </a:cubicBezTo>
                <a:cubicBezTo>
                  <a:pt x="385932" y="547971"/>
                  <a:pt x="380022" y="545276"/>
                  <a:pt x="374233" y="543697"/>
                </a:cubicBezTo>
                <a:cubicBezTo>
                  <a:pt x="324939" y="530254"/>
                  <a:pt x="378422" y="541711"/>
                  <a:pt x="335398" y="533105"/>
                </a:cubicBezTo>
                <a:cubicBezTo>
                  <a:pt x="330691" y="534282"/>
                  <a:pt x="325942" y="535303"/>
                  <a:pt x="321276" y="536636"/>
                </a:cubicBezTo>
                <a:cubicBezTo>
                  <a:pt x="317698" y="537658"/>
                  <a:pt x="314377" y="539704"/>
                  <a:pt x="310684" y="540166"/>
                </a:cubicBezTo>
                <a:cubicBezTo>
                  <a:pt x="295459" y="542069"/>
                  <a:pt x="280087" y="542520"/>
                  <a:pt x="264788" y="543697"/>
                </a:cubicBezTo>
                <a:cubicBezTo>
                  <a:pt x="260259" y="544829"/>
                  <a:pt x="245142" y="548224"/>
                  <a:pt x="240074" y="550758"/>
                </a:cubicBezTo>
                <a:cubicBezTo>
                  <a:pt x="206512" y="567540"/>
                  <a:pt x="262940" y="546668"/>
                  <a:pt x="208300" y="564880"/>
                </a:cubicBezTo>
                <a:cubicBezTo>
                  <a:pt x="204769" y="566057"/>
                  <a:pt x="201426" y="568241"/>
                  <a:pt x="197708" y="568410"/>
                </a:cubicBezTo>
                <a:lnTo>
                  <a:pt x="120037" y="571941"/>
                </a:lnTo>
                <a:cubicBezTo>
                  <a:pt x="87634" y="582742"/>
                  <a:pt x="106260" y="579743"/>
                  <a:pt x="63549" y="575471"/>
                </a:cubicBezTo>
                <a:cubicBezTo>
                  <a:pt x="61224" y="568494"/>
                  <a:pt x="59180" y="559265"/>
                  <a:pt x="52958" y="554288"/>
                </a:cubicBezTo>
                <a:cubicBezTo>
                  <a:pt x="50052" y="551963"/>
                  <a:pt x="45897" y="551935"/>
                  <a:pt x="42366" y="550758"/>
                </a:cubicBezTo>
                <a:cubicBezTo>
                  <a:pt x="38836" y="548404"/>
                  <a:pt x="35570" y="545595"/>
                  <a:pt x="31775" y="543697"/>
                </a:cubicBezTo>
                <a:cubicBezTo>
                  <a:pt x="20247" y="537933"/>
                  <a:pt x="1177" y="537812"/>
                  <a:pt x="3531" y="533105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3" name="Title 1"/>
          <p:cNvSpPr txBox="1">
            <a:spLocks/>
          </p:cNvSpPr>
          <p:nvPr/>
        </p:nvSpPr>
        <p:spPr>
          <a:xfrm rot="19202069">
            <a:off x="2208213" y="3069171"/>
            <a:ext cx="717550" cy="17356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ఐర్లాండ్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04" name="Freeform 103"/>
          <p:cNvSpPr/>
          <p:nvPr/>
        </p:nvSpPr>
        <p:spPr>
          <a:xfrm>
            <a:off x="3508375" y="3782487"/>
            <a:ext cx="368300" cy="361949"/>
          </a:xfrm>
          <a:custGeom>
            <a:avLst/>
            <a:gdLst>
              <a:gd name="connsiteX0" fmla="*/ 968 w 367336"/>
              <a:gd name="connsiteY0" fmla="*/ 32525 h 363451"/>
              <a:gd name="connsiteX1" fmla="*/ 3871 w 367336"/>
              <a:gd name="connsiteY1" fmla="*/ 6400 h 363451"/>
              <a:gd name="connsiteX2" fmla="*/ 12580 w 367336"/>
              <a:gd name="connsiteY2" fmla="*/ 3497 h 363451"/>
              <a:gd name="connsiteX3" fmla="*/ 47414 w 367336"/>
              <a:gd name="connsiteY3" fmla="*/ 594 h 363451"/>
              <a:gd name="connsiteX4" fmla="*/ 111277 w 367336"/>
              <a:gd name="connsiteY4" fmla="*/ 3497 h 363451"/>
              <a:gd name="connsiteX5" fmla="*/ 128694 w 367336"/>
              <a:gd name="connsiteY5" fmla="*/ 9302 h 363451"/>
              <a:gd name="connsiteX6" fmla="*/ 137403 w 367336"/>
              <a:gd name="connsiteY6" fmla="*/ 12205 h 363451"/>
              <a:gd name="connsiteX7" fmla="*/ 146111 w 367336"/>
              <a:gd name="connsiteY7" fmla="*/ 18011 h 363451"/>
              <a:gd name="connsiteX8" fmla="*/ 183848 w 367336"/>
              <a:gd name="connsiteY8" fmla="*/ 12205 h 363451"/>
              <a:gd name="connsiteX9" fmla="*/ 186751 w 367336"/>
              <a:gd name="connsiteY9" fmla="*/ 3497 h 363451"/>
              <a:gd name="connsiteX10" fmla="*/ 244808 w 367336"/>
              <a:gd name="connsiteY10" fmla="*/ 12205 h 363451"/>
              <a:gd name="connsiteX11" fmla="*/ 253517 w 367336"/>
              <a:gd name="connsiteY11" fmla="*/ 15108 h 363451"/>
              <a:gd name="connsiteX12" fmla="*/ 262225 w 367336"/>
              <a:gd name="connsiteY12" fmla="*/ 18011 h 363451"/>
              <a:gd name="connsiteX13" fmla="*/ 279643 w 367336"/>
              <a:gd name="connsiteY13" fmla="*/ 29622 h 363451"/>
              <a:gd name="connsiteX14" fmla="*/ 305768 w 367336"/>
              <a:gd name="connsiteY14" fmla="*/ 44137 h 363451"/>
              <a:gd name="connsiteX15" fmla="*/ 314477 w 367336"/>
              <a:gd name="connsiteY15" fmla="*/ 52845 h 363451"/>
              <a:gd name="connsiteX16" fmla="*/ 326088 w 367336"/>
              <a:gd name="connsiteY16" fmla="*/ 55748 h 363451"/>
              <a:gd name="connsiteX17" fmla="*/ 334797 w 367336"/>
              <a:gd name="connsiteY17" fmla="*/ 61554 h 363451"/>
              <a:gd name="connsiteX18" fmla="*/ 340603 w 367336"/>
              <a:gd name="connsiteY18" fmla="*/ 70262 h 363451"/>
              <a:gd name="connsiteX19" fmla="*/ 346408 w 367336"/>
              <a:gd name="connsiteY19" fmla="*/ 166057 h 363451"/>
              <a:gd name="connsiteX20" fmla="*/ 343505 w 367336"/>
              <a:gd name="connsiteY20" fmla="*/ 212502 h 363451"/>
              <a:gd name="connsiteX21" fmla="*/ 343505 w 367336"/>
              <a:gd name="connsiteY21" fmla="*/ 264754 h 363451"/>
              <a:gd name="connsiteX22" fmla="*/ 349311 w 367336"/>
              <a:gd name="connsiteY22" fmla="*/ 282171 h 363451"/>
              <a:gd name="connsiteX23" fmla="*/ 355117 w 367336"/>
              <a:gd name="connsiteY23" fmla="*/ 302491 h 363451"/>
              <a:gd name="connsiteX24" fmla="*/ 360923 w 367336"/>
              <a:gd name="connsiteY24" fmla="*/ 319908 h 363451"/>
              <a:gd name="connsiteX25" fmla="*/ 349311 w 367336"/>
              <a:gd name="connsiteY25" fmla="*/ 360548 h 363451"/>
              <a:gd name="connsiteX26" fmla="*/ 337700 w 367336"/>
              <a:gd name="connsiteY26" fmla="*/ 363451 h 363451"/>
              <a:gd name="connsiteX27" fmla="*/ 297060 w 367336"/>
              <a:gd name="connsiteY27" fmla="*/ 357645 h 363451"/>
              <a:gd name="connsiteX28" fmla="*/ 288351 w 367336"/>
              <a:gd name="connsiteY28" fmla="*/ 351840 h 363451"/>
              <a:gd name="connsiteX29" fmla="*/ 273837 w 367336"/>
              <a:gd name="connsiteY29" fmla="*/ 340228 h 363451"/>
              <a:gd name="connsiteX30" fmla="*/ 247711 w 367336"/>
              <a:gd name="connsiteY30" fmla="*/ 325714 h 363451"/>
              <a:gd name="connsiteX31" fmla="*/ 230294 w 367336"/>
              <a:gd name="connsiteY31" fmla="*/ 314102 h 363451"/>
              <a:gd name="connsiteX32" fmla="*/ 221585 w 367336"/>
              <a:gd name="connsiteY32" fmla="*/ 308297 h 363451"/>
              <a:gd name="connsiteX33" fmla="*/ 212877 w 367336"/>
              <a:gd name="connsiteY33" fmla="*/ 299588 h 363451"/>
              <a:gd name="connsiteX34" fmla="*/ 207071 w 367336"/>
              <a:gd name="connsiteY34" fmla="*/ 290880 h 363451"/>
              <a:gd name="connsiteX35" fmla="*/ 198363 w 367336"/>
              <a:gd name="connsiteY35" fmla="*/ 287977 h 363451"/>
              <a:gd name="connsiteX36" fmla="*/ 189654 w 367336"/>
              <a:gd name="connsiteY36" fmla="*/ 282171 h 363451"/>
              <a:gd name="connsiteX37" fmla="*/ 178043 w 367336"/>
              <a:gd name="connsiteY37" fmla="*/ 270560 h 363451"/>
              <a:gd name="connsiteX38" fmla="*/ 166431 w 367336"/>
              <a:gd name="connsiteY38" fmla="*/ 253142 h 363451"/>
              <a:gd name="connsiteX39" fmla="*/ 157723 w 367336"/>
              <a:gd name="connsiteY39" fmla="*/ 244434 h 363451"/>
              <a:gd name="connsiteX40" fmla="*/ 149014 w 367336"/>
              <a:gd name="connsiteY40" fmla="*/ 227017 h 363451"/>
              <a:gd name="connsiteX41" fmla="*/ 143208 w 367336"/>
              <a:gd name="connsiteY41" fmla="*/ 218308 h 363451"/>
              <a:gd name="connsiteX42" fmla="*/ 140305 w 367336"/>
              <a:gd name="connsiteY42" fmla="*/ 209600 h 363451"/>
              <a:gd name="connsiteX43" fmla="*/ 125791 w 367336"/>
              <a:gd name="connsiteY43" fmla="*/ 195085 h 363451"/>
              <a:gd name="connsiteX44" fmla="*/ 108374 w 367336"/>
              <a:gd name="connsiteY44" fmla="*/ 189280 h 363451"/>
              <a:gd name="connsiteX45" fmla="*/ 90957 w 367336"/>
              <a:gd name="connsiteY45" fmla="*/ 177668 h 363451"/>
              <a:gd name="connsiteX46" fmla="*/ 76443 w 367336"/>
              <a:gd name="connsiteY46" fmla="*/ 160251 h 363451"/>
              <a:gd name="connsiteX47" fmla="*/ 70637 w 367336"/>
              <a:gd name="connsiteY47" fmla="*/ 142834 h 363451"/>
              <a:gd name="connsiteX48" fmla="*/ 67734 w 367336"/>
              <a:gd name="connsiteY48" fmla="*/ 134125 h 363451"/>
              <a:gd name="connsiteX49" fmla="*/ 59025 w 367336"/>
              <a:gd name="connsiteY49" fmla="*/ 128320 h 363451"/>
              <a:gd name="connsiteX50" fmla="*/ 53220 w 367336"/>
              <a:gd name="connsiteY50" fmla="*/ 119611 h 363451"/>
              <a:gd name="connsiteX51" fmla="*/ 44511 w 367336"/>
              <a:gd name="connsiteY51" fmla="*/ 116708 h 363451"/>
              <a:gd name="connsiteX52" fmla="*/ 27094 w 367336"/>
              <a:gd name="connsiteY52" fmla="*/ 108000 h 363451"/>
              <a:gd name="connsiteX53" fmla="*/ 18385 w 367336"/>
              <a:gd name="connsiteY53" fmla="*/ 102194 h 363451"/>
              <a:gd name="connsiteX54" fmla="*/ 12580 w 367336"/>
              <a:gd name="connsiteY54" fmla="*/ 84777 h 363451"/>
              <a:gd name="connsiteX55" fmla="*/ 9677 w 367336"/>
              <a:gd name="connsiteY55" fmla="*/ 49942 h 363451"/>
              <a:gd name="connsiteX56" fmla="*/ 968 w 367336"/>
              <a:gd name="connsiteY56" fmla="*/ 32525 h 363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367336" h="363451">
                <a:moveTo>
                  <a:pt x="968" y="32525"/>
                </a:moveTo>
                <a:cubicBezTo>
                  <a:pt x="0" y="25268"/>
                  <a:pt x="617" y="14535"/>
                  <a:pt x="3871" y="6400"/>
                </a:cubicBezTo>
                <a:cubicBezTo>
                  <a:pt x="5008" y="3559"/>
                  <a:pt x="9547" y="3901"/>
                  <a:pt x="12580" y="3497"/>
                </a:cubicBezTo>
                <a:cubicBezTo>
                  <a:pt x="24129" y="1957"/>
                  <a:pt x="35803" y="1562"/>
                  <a:pt x="47414" y="594"/>
                </a:cubicBezTo>
                <a:cubicBezTo>
                  <a:pt x="68702" y="1562"/>
                  <a:pt x="90089" y="1227"/>
                  <a:pt x="111277" y="3497"/>
                </a:cubicBezTo>
                <a:cubicBezTo>
                  <a:pt x="117362" y="4149"/>
                  <a:pt x="122888" y="7367"/>
                  <a:pt x="128694" y="9302"/>
                </a:cubicBezTo>
                <a:lnTo>
                  <a:pt x="137403" y="12205"/>
                </a:lnTo>
                <a:cubicBezTo>
                  <a:pt x="140306" y="14140"/>
                  <a:pt x="142633" y="17743"/>
                  <a:pt x="146111" y="18011"/>
                </a:cubicBezTo>
                <a:cubicBezTo>
                  <a:pt x="164354" y="19414"/>
                  <a:pt x="170266" y="16733"/>
                  <a:pt x="183848" y="12205"/>
                </a:cubicBezTo>
                <a:cubicBezTo>
                  <a:pt x="184816" y="9302"/>
                  <a:pt x="183718" y="3901"/>
                  <a:pt x="186751" y="3497"/>
                </a:cubicBezTo>
                <a:cubicBezTo>
                  <a:pt x="212983" y="0"/>
                  <a:pt x="223749" y="5186"/>
                  <a:pt x="244808" y="12205"/>
                </a:cubicBezTo>
                <a:lnTo>
                  <a:pt x="253517" y="15108"/>
                </a:lnTo>
                <a:lnTo>
                  <a:pt x="262225" y="18011"/>
                </a:lnTo>
                <a:cubicBezTo>
                  <a:pt x="281556" y="37342"/>
                  <a:pt x="260735" y="19118"/>
                  <a:pt x="279643" y="29622"/>
                </a:cubicBezTo>
                <a:cubicBezTo>
                  <a:pt x="309595" y="46261"/>
                  <a:pt x="286060" y="37567"/>
                  <a:pt x="305768" y="44137"/>
                </a:cubicBezTo>
                <a:cubicBezTo>
                  <a:pt x="308671" y="47040"/>
                  <a:pt x="310913" y="50808"/>
                  <a:pt x="314477" y="52845"/>
                </a:cubicBezTo>
                <a:cubicBezTo>
                  <a:pt x="317941" y="54824"/>
                  <a:pt x="322421" y="54176"/>
                  <a:pt x="326088" y="55748"/>
                </a:cubicBezTo>
                <a:cubicBezTo>
                  <a:pt x="329295" y="57122"/>
                  <a:pt x="331894" y="59619"/>
                  <a:pt x="334797" y="61554"/>
                </a:cubicBezTo>
                <a:cubicBezTo>
                  <a:pt x="336732" y="64457"/>
                  <a:pt x="340287" y="66788"/>
                  <a:pt x="340603" y="70262"/>
                </a:cubicBezTo>
                <a:cubicBezTo>
                  <a:pt x="350744" y="181817"/>
                  <a:pt x="333568" y="127538"/>
                  <a:pt x="346408" y="166057"/>
                </a:cubicBezTo>
                <a:cubicBezTo>
                  <a:pt x="345440" y="181539"/>
                  <a:pt x="345048" y="197067"/>
                  <a:pt x="343505" y="212502"/>
                </a:cubicBezTo>
                <a:cubicBezTo>
                  <a:pt x="339952" y="248036"/>
                  <a:pt x="331326" y="183554"/>
                  <a:pt x="343505" y="264754"/>
                </a:cubicBezTo>
                <a:cubicBezTo>
                  <a:pt x="344413" y="270806"/>
                  <a:pt x="347376" y="276365"/>
                  <a:pt x="349311" y="282171"/>
                </a:cubicBezTo>
                <a:cubicBezTo>
                  <a:pt x="359067" y="311438"/>
                  <a:pt x="344182" y="266043"/>
                  <a:pt x="355117" y="302491"/>
                </a:cubicBezTo>
                <a:cubicBezTo>
                  <a:pt x="356876" y="308353"/>
                  <a:pt x="360923" y="319908"/>
                  <a:pt x="360923" y="319908"/>
                </a:cubicBezTo>
                <a:cubicBezTo>
                  <a:pt x="358995" y="343045"/>
                  <a:pt x="367336" y="352823"/>
                  <a:pt x="349311" y="360548"/>
                </a:cubicBezTo>
                <a:cubicBezTo>
                  <a:pt x="345644" y="362120"/>
                  <a:pt x="341570" y="362483"/>
                  <a:pt x="337700" y="363451"/>
                </a:cubicBezTo>
                <a:cubicBezTo>
                  <a:pt x="329534" y="362709"/>
                  <a:pt x="308231" y="363230"/>
                  <a:pt x="297060" y="357645"/>
                </a:cubicBezTo>
                <a:cubicBezTo>
                  <a:pt x="293939" y="356085"/>
                  <a:pt x="291254" y="353775"/>
                  <a:pt x="288351" y="351840"/>
                </a:cubicBezTo>
                <a:cubicBezTo>
                  <a:pt x="277624" y="335749"/>
                  <a:pt x="288682" y="348475"/>
                  <a:pt x="273837" y="340228"/>
                </a:cubicBezTo>
                <a:cubicBezTo>
                  <a:pt x="243895" y="323593"/>
                  <a:pt x="267416" y="332282"/>
                  <a:pt x="247711" y="325714"/>
                </a:cubicBezTo>
                <a:lnTo>
                  <a:pt x="230294" y="314102"/>
                </a:lnTo>
                <a:cubicBezTo>
                  <a:pt x="227391" y="312167"/>
                  <a:pt x="224052" y="310764"/>
                  <a:pt x="221585" y="308297"/>
                </a:cubicBezTo>
                <a:cubicBezTo>
                  <a:pt x="218682" y="305394"/>
                  <a:pt x="215505" y="302742"/>
                  <a:pt x="212877" y="299588"/>
                </a:cubicBezTo>
                <a:cubicBezTo>
                  <a:pt x="210644" y="296908"/>
                  <a:pt x="209795" y="293059"/>
                  <a:pt x="207071" y="290880"/>
                </a:cubicBezTo>
                <a:cubicBezTo>
                  <a:pt x="204682" y="288969"/>
                  <a:pt x="201100" y="289345"/>
                  <a:pt x="198363" y="287977"/>
                </a:cubicBezTo>
                <a:cubicBezTo>
                  <a:pt x="195242" y="286417"/>
                  <a:pt x="192557" y="284106"/>
                  <a:pt x="189654" y="282171"/>
                </a:cubicBezTo>
                <a:cubicBezTo>
                  <a:pt x="181912" y="258945"/>
                  <a:pt x="193525" y="286042"/>
                  <a:pt x="178043" y="270560"/>
                </a:cubicBezTo>
                <a:cubicBezTo>
                  <a:pt x="173109" y="265626"/>
                  <a:pt x="171365" y="258076"/>
                  <a:pt x="166431" y="253142"/>
                </a:cubicBezTo>
                <a:cubicBezTo>
                  <a:pt x="163528" y="250239"/>
                  <a:pt x="160351" y="247588"/>
                  <a:pt x="157723" y="244434"/>
                </a:cubicBezTo>
                <a:cubicBezTo>
                  <a:pt x="147324" y="231955"/>
                  <a:pt x="155560" y="240109"/>
                  <a:pt x="149014" y="227017"/>
                </a:cubicBezTo>
                <a:cubicBezTo>
                  <a:pt x="147454" y="223896"/>
                  <a:pt x="144768" y="221429"/>
                  <a:pt x="143208" y="218308"/>
                </a:cubicBezTo>
                <a:cubicBezTo>
                  <a:pt x="141840" y="215571"/>
                  <a:pt x="141673" y="212337"/>
                  <a:pt x="140305" y="209600"/>
                </a:cubicBezTo>
                <a:cubicBezTo>
                  <a:pt x="136711" y="202411"/>
                  <a:pt x="133257" y="198403"/>
                  <a:pt x="125791" y="195085"/>
                </a:cubicBezTo>
                <a:cubicBezTo>
                  <a:pt x="120199" y="192600"/>
                  <a:pt x="108374" y="189280"/>
                  <a:pt x="108374" y="189280"/>
                </a:cubicBezTo>
                <a:cubicBezTo>
                  <a:pt x="102568" y="185409"/>
                  <a:pt x="94828" y="183474"/>
                  <a:pt x="90957" y="177668"/>
                </a:cubicBezTo>
                <a:cubicBezTo>
                  <a:pt x="82874" y="165544"/>
                  <a:pt x="87618" y="171427"/>
                  <a:pt x="76443" y="160251"/>
                </a:cubicBezTo>
                <a:lnTo>
                  <a:pt x="70637" y="142834"/>
                </a:lnTo>
                <a:cubicBezTo>
                  <a:pt x="69669" y="139931"/>
                  <a:pt x="70280" y="135822"/>
                  <a:pt x="67734" y="134125"/>
                </a:cubicBezTo>
                <a:lnTo>
                  <a:pt x="59025" y="128320"/>
                </a:lnTo>
                <a:cubicBezTo>
                  <a:pt x="57090" y="125417"/>
                  <a:pt x="55944" y="121791"/>
                  <a:pt x="53220" y="119611"/>
                </a:cubicBezTo>
                <a:cubicBezTo>
                  <a:pt x="50831" y="117699"/>
                  <a:pt x="47248" y="118077"/>
                  <a:pt x="44511" y="116708"/>
                </a:cubicBezTo>
                <a:cubicBezTo>
                  <a:pt x="22010" y="105457"/>
                  <a:pt x="48978" y="115292"/>
                  <a:pt x="27094" y="108000"/>
                </a:cubicBezTo>
                <a:cubicBezTo>
                  <a:pt x="24191" y="106065"/>
                  <a:pt x="20234" y="105153"/>
                  <a:pt x="18385" y="102194"/>
                </a:cubicBezTo>
                <a:cubicBezTo>
                  <a:pt x="15142" y="97005"/>
                  <a:pt x="12580" y="84777"/>
                  <a:pt x="12580" y="84777"/>
                </a:cubicBezTo>
                <a:cubicBezTo>
                  <a:pt x="11612" y="73165"/>
                  <a:pt x="14347" y="60617"/>
                  <a:pt x="9677" y="49942"/>
                </a:cubicBezTo>
                <a:cubicBezTo>
                  <a:pt x="6880" y="43550"/>
                  <a:pt x="1936" y="39782"/>
                  <a:pt x="968" y="32525"/>
                </a:cubicBezTo>
                <a:close/>
              </a:path>
            </a:pathLst>
          </a:custGeom>
          <a:solidFill>
            <a:srgbClr val="FF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5" name="Title 1"/>
          <p:cNvSpPr txBox="1">
            <a:spLocks/>
          </p:cNvSpPr>
          <p:nvPr/>
        </p:nvSpPr>
        <p:spPr>
          <a:xfrm rot="15844027">
            <a:off x="2863589" y="3125523"/>
            <a:ext cx="1303867" cy="217488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00" dirty="0" err="1">
                <a:latin typeface="Ramabhadra" pitchFamily="2" charset="0"/>
                <a:ea typeface="+mj-ea"/>
                <a:cs typeface="Ramabhadra" pitchFamily="2" charset="0"/>
              </a:rPr>
              <a:t>బెల్జియం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08" name="Freeform 107"/>
          <p:cNvSpPr/>
          <p:nvPr/>
        </p:nvSpPr>
        <p:spPr>
          <a:xfrm>
            <a:off x="3589339" y="3490388"/>
            <a:ext cx="442912" cy="410633"/>
          </a:xfrm>
          <a:custGeom>
            <a:avLst/>
            <a:gdLst>
              <a:gd name="connsiteX0" fmla="*/ 20868 w 442442"/>
              <a:gd name="connsiteY0" fmla="*/ 273133 h 409699"/>
              <a:gd name="connsiteX1" fmla="*/ 26805 w 442442"/>
              <a:gd name="connsiteY1" fmla="*/ 249382 h 409699"/>
              <a:gd name="connsiteX2" fmla="*/ 56494 w 442442"/>
              <a:gd name="connsiteY2" fmla="*/ 255320 h 409699"/>
              <a:gd name="connsiteX3" fmla="*/ 74307 w 442442"/>
              <a:gd name="connsiteY3" fmla="*/ 249382 h 409699"/>
              <a:gd name="connsiteX4" fmla="*/ 80244 w 442442"/>
              <a:gd name="connsiteY4" fmla="*/ 184068 h 409699"/>
              <a:gd name="connsiteX5" fmla="*/ 92120 w 442442"/>
              <a:gd name="connsiteY5" fmla="*/ 172193 h 409699"/>
              <a:gd name="connsiteX6" fmla="*/ 127746 w 442442"/>
              <a:gd name="connsiteY6" fmla="*/ 142504 h 409699"/>
              <a:gd name="connsiteX7" fmla="*/ 139621 w 442442"/>
              <a:gd name="connsiteY7" fmla="*/ 100941 h 409699"/>
              <a:gd name="connsiteX8" fmla="*/ 157434 w 442442"/>
              <a:gd name="connsiteY8" fmla="*/ 71252 h 409699"/>
              <a:gd name="connsiteX9" fmla="*/ 175247 w 442442"/>
              <a:gd name="connsiteY9" fmla="*/ 65315 h 409699"/>
              <a:gd name="connsiteX10" fmla="*/ 222748 w 442442"/>
              <a:gd name="connsiteY10" fmla="*/ 35626 h 409699"/>
              <a:gd name="connsiteX11" fmla="*/ 258374 w 442442"/>
              <a:gd name="connsiteY11" fmla="*/ 23751 h 409699"/>
              <a:gd name="connsiteX12" fmla="*/ 270250 w 442442"/>
              <a:gd name="connsiteY12" fmla="*/ 11876 h 409699"/>
              <a:gd name="connsiteX13" fmla="*/ 305875 w 442442"/>
              <a:gd name="connsiteY13" fmla="*/ 0 h 409699"/>
              <a:gd name="connsiteX14" fmla="*/ 406816 w 442442"/>
              <a:gd name="connsiteY14" fmla="*/ 5938 h 409699"/>
              <a:gd name="connsiteX15" fmla="*/ 430566 w 442442"/>
              <a:gd name="connsiteY15" fmla="*/ 11876 h 409699"/>
              <a:gd name="connsiteX16" fmla="*/ 442442 w 442442"/>
              <a:gd name="connsiteY16" fmla="*/ 23751 h 409699"/>
              <a:gd name="connsiteX17" fmla="*/ 418691 w 442442"/>
              <a:gd name="connsiteY17" fmla="*/ 47502 h 409699"/>
              <a:gd name="connsiteX18" fmla="*/ 406816 w 442442"/>
              <a:gd name="connsiteY18" fmla="*/ 65315 h 409699"/>
              <a:gd name="connsiteX19" fmla="*/ 400878 w 442442"/>
              <a:gd name="connsiteY19" fmla="*/ 83128 h 409699"/>
              <a:gd name="connsiteX20" fmla="*/ 383065 w 442442"/>
              <a:gd name="connsiteY20" fmla="*/ 95003 h 409699"/>
              <a:gd name="connsiteX21" fmla="*/ 377127 w 442442"/>
              <a:gd name="connsiteY21" fmla="*/ 112816 h 409699"/>
              <a:gd name="connsiteX22" fmla="*/ 389003 w 442442"/>
              <a:gd name="connsiteY22" fmla="*/ 160317 h 409699"/>
              <a:gd name="connsiteX23" fmla="*/ 365252 w 442442"/>
              <a:gd name="connsiteY23" fmla="*/ 219694 h 409699"/>
              <a:gd name="connsiteX24" fmla="*/ 329626 w 442442"/>
              <a:gd name="connsiteY24" fmla="*/ 231569 h 409699"/>
              <a:gd name="connsiteX25" fmla="*/ 317751 w 442442"/>
              <a:gd name="connsiteY25" fmla="*/ 243445 h 409699"/>
              <a:gd name="connsiteX26" fmla="*/ 299938 w 442442"/>
              <a:gd name="connsiteY26" fmla="*/ 249382 h 409699"/>
              <a:gd name="connsiteX27" fmla="*/ 288063 w 442442"/>
              <a:gd name="connsiteY27" fmla="*/ 267195 h 409699"/>
              <a:gd name="connsiteX28" fmla="*/ 282125 w 442442"/>
              <a:gd name="connsiteY28" fmla="*/ 374073 h 409699"/>
              <a:gd name="connsiteX29" fmla="*/ 270250 w 442442"/>
              <a:gd name="connsiteY29" fmla="*/ 409699 h 409699"/>
              <a:gd name="connsiteX30" fmla="*/ 252437 w 442442"/>
              <a:gd name="connsiteY30" fmla="*/ 380011 h 409699"/>
              <a:gd name="connsiteX31" fmla="*/ 246499 w 442442"/>
              <a:gd name="connsiteY31" fmla="*/ 344385 h 409699"/>
              <a:gd name="connsiteX32" fmla="*/ 210873 w 442442"/>
              <a:gd name="connsiteY32" fmla="*/ 332510 h 409699"/>
              <a:gd name="connsiteX33" fmla="*/ 157434 w 442442"/>
              <a:gd name="connsiteY33" fmla="*/ 320634 h 409699"/>
              <a:gd name="connsiteX34" fmla="*/ 121808 w 442442"/>
              <a:gd name="connsiteY34" fmla="*/ 308759 h 409699"/>
              <a:gd name="connsiteX35" fmla="*/ 20868 w 442442"/>
              <a:gd name="connsiteY35" fmla="*/ 308759 h 409699"/>
              <a:gd name="connsiteX36" fmla="*/ 3055 w 442442"/>
              <a:gd name="connsiteY36" fmla="*/ 296884 h 409699"/>
              <a:gd name="connsiteX37" fmla="*/ 20868 w 442442"/>
              <a:gd name="connsiteY37" fmla="*/ 273133 h 40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442442" h="409699">
                <a:moveTo>
                  <a:pt x="20868" y="273133"/>
                </a:moveTo>
                <a:cubicBezTo>
                  <a:pt x="24826" y="265216"/>
                  <a:pt x="19506" y="253032"/>
                  <a:pt x="26805" y="249382"/>
                </a:cubicBezTo>
                <a:cubicBezTo>
                  <a:pt x="35832" y="244869"/>
                  <a:pt x="46402" y="255320"/>
                  <a:pt x="56494" y="255320"/>
                </a:cubicBezTo>
                <a:cubicBezTo>
                  <a:pt x="62753" y="255320"/>
                  <a:pt x="68369" y="251361"/>
                  <a:pt x="74307" y="249382"/>
                </a:cubicBezTo>
                <a:cubicBezTo>
                  <a:pt x="76286" y="227611"/>
                  <a:pt x="75328" y="205369"/>
                  <a:pt x="80244" y="184068"/>
                </a:cubicBezTo>
                <a:cubicBezTo>
                  <a:pt x="81503" y="178613"/>
                  <a:pt x="87749" y="175690"/>
                  <a:pt x="92120" y="172193"/>
                </a:cubicBezTo>
                <a:cubicBezTo>
                  <a:pt x="133447" y="139132"/>
                  <a:pt x="85440" y="184810"/>
                  <a:pt x="127746" y="142504"/>
                </a:cubicBezTo>
                <a:cubicBezTo>
                  <a:pt x="141988" y="99774"/>
                  <a:pt x="124701" y="153156"/>
                  <a:pt x="139621" y="100941"/>
                </a:cubicBezTo>
                <a:cubicBezTo>
                  <a:pt x="143486" y="87414"/>
                  <a:pt x="144571" y="78970"/>
                  <a:pt x="157434" y="71252"/>
                </a:cubicBezTo>
                <a:cubicBezTo>
                  <a:pt x="162801" y="68032"/>
                  <a:pt x="169309" y="67294"/>
                  <a:pt x="175247" y="65315"/>
                </a:cubicBezTo>
                <a:cubicBezTo>
                  <a:pt x="208159" y="32403"/>
                  <a:pt x="185665" y="46751"/>
                  <a:pt x="222748" y="35626"/>
                </a:cubicBezTo>
                <a:cubicBezTo>
                  <a:pt x="234738" y="32029"/>
                  <a:pt x="258374" y="23751"/>
                  <a:pt x="258374" y="23751"/>
                </a:cubicBezTo>
                <a:cubicBezTo>
                  <a:pt x="262333" y="19793"/>
                  <a:pt x="265243" y="14380"/>
                  <a:pt x="270250" y="11876"/>
                </a:cubicBezTo>
                <a:cubicBezTo>
                  <a:pt x="281446" y="6278"/>
                  <a:pt x="305875" y="0"/>
                  <a:pt x="305875" y="0"/>
                </a:cubicBezTo>
                <a:cubicBezTo>
                  <a:pt x="339522" y="1979"/>
                  <a:pt x="373263" y="2742"/>
                  <a:pt x="406816" y="5938"/>
                </a:cubicBezTo>
                <a:cubicBezTo>
                  <a:pt x="414940" y="6712"/>
                  <a:pt x="423267" y="8227"/>
                  <a:pt x="430566" y="11876"/>
                </a:cubicBezTo>
                <a:cubicBezTo>
                  <a:pt x="435573" y="14380"/>
                  <a:pt x="438483" y="19793"/>
                  <a:pt x="442442" y="23751"/>
                </a:cubicBezTo>
                <a:cubicBezTo>
                  <a:pt x="434525" y="31668"/>
                  <a:pt x="424901" y="38186"/>
                  <a:pt x="418691" y="47502"/>
                </a:cubicBezTo>
                <a:cubicBezTo>
                  <a:pt x="414733" y="53440"/>
                  <a:pt x="410007" y="58932"/>
                  <a:pt x="406816" y="65315"/>
                </a:cubicBezTo>
                <a:cubicBezTo>
                  <a:pt x="404017" y="70913"/>
                  <a:pt x="404788" y="78241"/>
                  <a:pt x="400878" y="83128"/>
                </a:cubicBezTo>
                <a:cubicBezTo>
                  <a:pt x="396420" y="88700"/>
                  <a:pt x="389003" y="91045"/>
                  <a:pt x="383065" y="95003"/>
                </a:cubicBezTo>
                <a:cubicBezTo>
                  <a:pt x="381086" y="100941"/>
                  <a:pt x="377127" y="106557"/>
                  <a:pt x="377127" y="112816"/>
                </a:cubicBezTo>
                <a:cubicBezTo>
                  <a:pt x="377127" y="127146"/>
                  <a:pt x="384317" y="146261"/>
                  <a:pt x="389003" y="160317"/>
                </a:cubicBezTo>
                <a:cubicBezTo>
                  <a:pt x="385063" y="187898"/>
                  <a:pt x="391050" y="205362"/>
                  <a:pt x="365252" y="219694"/>
                </a:cubicBezTo>
                <a:cubicBezTo>
                  <a:pt x="354310" y="225773"/>
                  <a:pt x="329626" y="231569"/>
                  <a:pt x="329626" y="231569"/>
                </a:cubicBezTo>
                <a:cubicBezTo>
                  <a:pt x="325668" y="235528"/>
                  <a:pt x="322551" y="240565"/>
                  <a:pt x="317751" y="243445"/>
                </a:cubicBezTo>
                <a:cubicBezTo>
                  <a:pt x="312384" y="246665"/>
                  <a:pt x="304825" y="245472"/>
                  <a:pt x="299938" y="249382"/>
                </a:cubicBezTo>
                <a:cubicBezTo>
                  <a:pt x="294366" y="253840"/>
                  <a:pt x="292021" y="261257"/>
                  <a:pt x="288063" y="267195"/>
                </a:cubicBezTo>
                <a:cubicBezTo>
                  <a:pt x="286084" y="302821"/>
                  <a:pt x="286551" y="338668"/>
                  <a:pt x="282125" y="374073"/>
                </a:cubicBezTo>
                <a:cubicBezTo>
                  <a:pt x="280572" y="386494"/>
                  <a:pt x="270250" y="409699"/>
                  <a:pt x="270250" y="409699"/>
                </a:cubicBezTo>
                <a:cubicBezTo>
                  <a:pt x="256902" y="396352"/>
                  <a:pt x="256842" y="399833"/>
                  <a:pt x="252437" y="380011"/>
                </a:cubicBezTo>
                <a:cubicBezTo>
                  <a:pt x="249825" y="368259"/>
                  <a:pt x="254427" y="353445"/>
                  <a:pt x="246499" y="344385"/>
                </a:cubicBezTo>
                <a:cubicBezTo>
                  <a:pt x="238256" y="334965"/>
                  <a:pt x="222748" y="336468"/>
                  <a:pt x="210873" y="332510"/>
                </a:cubicBezTo>
                <a:cubicBezTo>
                  <a:pt x="159904" y="315520"/>
                  <a:pt x="241041" y="341536"/>
                  <a:pt x="157434" y="320634"/>
                </a:cubicBezTo>
                <a:cubicBezTo>
                  <a:pt x="145290" y="317598"/>
                  <a:pt x="121808" y="308759"/>
                  <a:pt x="121808" y="308759"/>
                </a:cubicBezTo>
                <a:cubicBezTo>
                  <a:pt x="78604" y="314931"/>
                  <a:pt x="68516" y="319755"/>
                  <a:pt x="20868" y="308759"/>
                </a:cubicBezTo>
                <a:cubicBezTo>
                  <a:pt x="13915" y="307154"/>
                  <a:pt x="6727" y="303003"/>
                  <a:pt x="3055" y="296884"/>
                </a:cubicBezTo>
                <a:cubicBezTo>
                  <a:pt x="0" y="291793"/>
                  <a:pt x="16910" y="281050"/>
                  <a:pt x="20868" y="273133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9" name="Title 1"/>
          <p:cNvSpPr txBox="1">
            <a:spLocks/>
          </p:cNvSpPr>
          <p:nvPr/>
        </p:nvSpPr>
        <p:spPr>
          <a:xfrm rot="15974858">
            <a:off x="3062288" y="2796117"/>
            <a:ext cx="1447800" cy="2159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00" dirty="0" err="1">
                <a:latin typeface="Ramabhadra" pitchFamily="2" charset="0"/>
                <a:ea typeface="+mj-ea"/>
                <a:cs typeface="Ramabhadra" pitchFamily="2" charset="0"/>
              </a:rPr>
              <a:t>నెదర్లాండ్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12" name="Freeform 111"/>
          <p:cNvSpPr/>
          <p:nvPr/>
        </p:nvSpPr>
        <p:spPr>
          <a:xfrm>
            <a:off x="3849694" y="3223688"/>
            <a:ext cx="981075" cy="1327149"/>
          </a:xfrm>
          <a:custGeom>
            <a:avLst/>
            <a:gdLst>
              <a:gd name="connsiteX0" fmla="*/ 148863 w 982156"/>
              <a:gd name="connsiteY0" fmla="*/ 255401 h 1325164"/>
              <a:gd name="connsiteX1" fmla="*/ 155000 w 982156"/>
              <a:gd name="connsiteY1" fmla="*/ 236990 h 1325164"/>
              <a:gd name="connsiteX2" fmla="*/ 164205 w 982156"/>
              <a:gd name="connsiteY2" fmla="*/ 230853 h 1325164"/>
              <a:gd name="connsiteX3" fmla="*/ 182616 w 982156"/>
              <a:gd name="connsiteY3" fmla="*/ 221648 h 1325164"/>
              <a:gd name="connsiteX4" fmla="*/ 225574 w 982156"/>
              <a:gd name="connsiteY4" fmla="*/ 224716 h 1325164"/>
              <a:gd name="connsiteX5" fmla="*/ 237848 w 982156"/>
              <a:gd name="connsiteY5" fmla="*/ 240058 h 1325164"/>
              <a:gd name="connsiteX6" fmla="*/ 240916 w 982156"/>
              <a:gd name="connsiteY6" fmla="*/ 252332 h 1325164"/>
              <a:gd name="connsiteX7" fmla="*/ 250122 w 982156"/>
              <a:gd name="connsiteY7" fmla="*/ 255401 h 1325164"/>
              <a:gd name="connsiteX8" fmla="*/ 268532 w 982156"/>
              <a:gd name="connsiteY8" fmla="*/ 270743 h 1325164"/>
              <a:gd name="connsiteX9" fmla="*/ 277738 w 982156"/>
              <a:gd name="connsiteY9" fmla="*/ 273811 h 1325164"/>
              <a:gd name="connsiteX10" fmla="*/ 283875 w 982156"/>
              <a:gd name="connsiteY10" fmla="*/ 264606 h 1325164"/>
              <a:gd name="connsiteX11" fmla="*/ 293080 w 982156"/>
              <a:gd name="connsiteY11" fmla="*/ 261537 h 1325164"/>
              <a:gd name="connsiteX12" fmla="*/ 302285 w 982156"/>
              <a:gd name="connsiteY12" fmla="*/ 255401 h 1325164"/>
              <a:gd name="connsiteX13" fmla="*/ 323765 w 982156"/>
              <a:gd name="connsiteY13" fmla="*/ 227784 h 1325164"/>
              <a:gd name="connsiteX14" fmla="*/ 326833 w 982156"/>
              <a:gd name="connsiteY14" fmla="*/ 218579 h 1325164"/>
              <a:gd name="connsiteX15" fmla="*/ 345244 w 982156"/>
              <a:gd name="connsiteY15" fmla="*/ 209374 h 1325164"/>
              <a:gd name="connsiteX16" fmla="*/ 348312 w 982156"/>
              <a:gd name="connsiteY16" fmla="*/ 200168 h 1325164"/>
              <a:gd name="connsiteX17" fmla="*/ 342175 w 982156"/>
              <a:gd name="connsiteY17" fmla="*/ 160278 h 1325164"/>
              <a:gd name="connsiteX18" fmla="*/ 345244 w 982156"/>
              <a:gd name="connsiteY18" fmla="*/ 129594 h 1325164"/>
              <a:gd name="connsiteX19" fmla="*/ 348312 w 982156"/>
              <a:gd name="connsiteY19" fmla="*/ 120388 h 1325164"/>
              <a:gd name="connsiteX20" fmla="*/ 357518 w 982156"/>
              <a:gd name="connsiteY20" fmla="*/ 117320 h 1325164"/>
              <a:gd name="connsiteX21" fmla="*/ 351381 w 982156"/>
              <a:gd name="connsiteY21" fmla="*/ 98909 h 1325164"/>
              <a:gd name="connsiteX22" fmla="*/ 342175 w 982156"/>
              <a:gd name="connsiteY22" fmla="*/ 95841 h 1325164"/>
              <a:gd name="connsiteX23" fmla="*/ 336038 w 982156"/>
              <a:gd name="connsiteY23" fmla="*/ 77430 h 1325164"/>
              <a:gd name="connsiteX24" fmla="*/ 342175 w 982156"/>
              <a:gd name="connsiteY24" fmla="*/ 37540 h 1325164"/>
              <a:gd name="connsiteX25" fmla="*/ 348312 w 982156"/>
              <a:gd name="connsiteY25" fmla="*/ 28335 h 1325164"/>
              <a:gd name="connsiteX26" fmla="*/ 354449 w 982156"/>
              <a:gd name="connsiteY26" fmla="*/ 6856 h 1325164"/>
              <a:gd name="connsiteX27" fmla="*/ 366723 w 982156"/>
              <a:gd name="connsiteY27" fmla="*/ 719 h 1325164"/>
              <a:gd name="connsiteX28" fmla="*/ 452640 w 982156"/>
              <a:gd name="connsiteY28" fmla="*/ 3787 h 1325164"/>
              <a:gd name="connsiteX29" fmla="*/ 458777 w 982156"/>
              <a:gd name="connsiteY29" fmla="*/ 12992 h 1325164"/>
              <a:gd name="connsiteX30" fmla="*/ 471051 w 982156"/>
              <a:gd name="connsiteY30" fmla="*/ 40609 h 1325164"/>
              <a:gd name="connsiteX31" fmla="*/ 480256 w 982156"/>
              <a:gd name="connsiteY31" fmla="*/ 43677 h 1325164"/>
              <a:gd name="connsiteX32" fmla="*/ 489461 w 982156"/>
              <a:gd name="connsiteY32" fmla="*/ 49814 h 1325164"/>
              <a:gd name="connsiteX33" fmla="*/ 477187 w 982156"/>
              <a:gd name="connsiteY33" fmla="*/ 65156 h 1325164"/>
              <a:gd name="connsiteX34" fmla="*/ 471051 w 982156"/>
              <a:gd name="connsiteY34" fmla="*/ 74362 h 1325164"/>
              <a:gd name="connsiteX35" fmla="*/ 474119 w 982156"/>
              <a:gd name="connsiteY35" fmla="*/ 117320 h 1325164"/>
              <a:gd name="connsiteX36" fmla="*/ 489461 w 982156"/>
              <a:gd name="connsiteY36" fmla="*/ 132662 h 1325164"/>
              <a:gd name="connsiteX37" fmla="*/ 498667 w 982156"/>
              <a:gd name="connsiteY37" fmla="*/ 135731 h 1325164"/>
              <a:gd name="connsiteX38" fmla="*/ 517077 w 982156"/>
              <a:gd name="connsiteY38" fmla="*/ 144936 h 1325164"/>
              <a:gd name="connsiteX39" fmla="*/ 526283 w 982156"/>
              <a:gd name="connsiteY39" fmla="*/ 151073 h 1325164"/>
              <a:gd name="connsiteX40" fmla="*/ 560036 w 982156"/>
              <a:gd name="connsiteY40" fmla="*/ 151073 h 1325164"/>
              <a:gd name="connsiteX41" fmla="*/ 581515 w 982156"/>
              <a:gd name="connsiteY41" fmla="*/ 151073 h 1325164"/>
              <a:gd name="connsiteX42" fmla="*/ 578447 w 982156"/>
              <a:gd name="connsiteY42" fmla="*/ 175621 h 1325164"/>
              <a:gd name="connsiteX43" fmla="*/ 560036 w 982156"/>
              <a:gd name="connsiteY43" fmla="*/ 184826 h 1325164"/>
              <a:gd name="connsiteX44" fmla="*/ 553899 w 982156"/>
              <a:gd name="connsiteY44" fmla="*/ 194031 h 1325164"/>
              <a:gd name="connsiteX45" fmla="*/ 535488 w 982156"/>
              <a:gd name="connsiteY45" fmla="*/ 200168 h 1325164"/>
              <a:gd name="connsiteX46" fmla="*/ 572310 w 982156"/>
              <a:gd name="connsiteY46" fmla="*/ 218579 h 1325164"/>
              <a:gd name="connsiteX47" fmla="*/ 581515 w 982156"/>
              <a:gd name="connsiteY47" fmla="*/ 221648 h 1325164"/>
              <a:gd name="connsiteX48" fmla="*/ 615268 w 982156"/>
              <a:gd name="connsiteY48" fmla="*/ 215511 h 1325164"/>
              <a:gd name="connsiteX49" fmla="*/ 624473 w 982156"/>
              <a:gd name="connsiteY49" fmla="*/ 209374 h 1325164"/>
              <a:gd name="connsiteX50" fmla="*/ 639816 w 982156"/>
              <a:gd name="connsiteY50" fmla="*/ 197100 h 1325164"/>
              <a:gd name="connsiteX51" fmla="*/ 649021 w 982156"/>
              <a:gd name="connsiteY51" fmla="*/ 190963 h 1325164"/>
              <a:gd name="connsiteX52" fmla="*/ 667432 w 982156"/>
              <a:gd name="connsiteY52" fmla="*/ 184826 h 1325164"/>
              <a:gd name="connsiteX53" fmla="*/ 685843 w 982156"/>
              <a:gd name="connsiteY53" fmla="*/ 172552 h 1325164"/>
              <a:gd name="connsiteX54" fmla="*/ 695048 w 982156"/>
              <a:gd name="connsiteY54" fmla="*/ 166415 h 1325164"/>
              <a:gd name="connsiteX55" fmla="*/ 704253 w 982156"/>
              <a:gd name="connsiteY55" fmla="*/ 163347 h 1325164"/>
              <a:gd name="connsiteX56" fmla="*/ 713459 w 982156"/>
              <a:gd name="connsiteY56" fmla="*/ 157210 h 1325164"/>
              <a:gd name="connsiteX57" fmla="*/ 747212 w 982156"/>
              <a:gd name="connsiteY57" fmla="*/ 157210 h 1325164"/>
              <a:gd name="connsiteX58" fmla="*/ 756417 w 982156"/>
              <a:gd name="connsiteY58" fmla="*/ 160278 h 1325164"/>
              <a:gd name="connsiteX59" fmla="*/ 774828 w 982156"/>
              <a:gd name="connsiteY59" fmla="*/ 151073 h 1325164"/>
              <a:gd name="connsiteX60" fmla="*/ 793238 w 982156"/>
              <a:gd name="connsiteY60" fmla="*/ 132662 h 1325164"/>
              <a:gd name="connsiteX61" fmla="*/ 802444 w 982156"/>
              <a:gd name="connsiteY61" fmla="*/ 129594 h 1325164"/>
              <a:gd name="connsiteX62" fmla="*/ 823923 w 982156"/>
              <a:gd name="connsiteY62" fmla="*/ 132662 h 1325164"/>
              <a:gd name="connsiteX63" fmla="*/ 830060 w 982156"/>
              <a:gd name="connsiteY63" fmla="*/ 151073 h 1325164"/>
              <a:gd name="connsiteX64" fmla="*/ 826992 w 982156"/>
              <a:gd name="connsiteY64" fmla="*/ 160278 h 1325164"/>
              <a:gd name="connsiteX65" fmla="*/ 814718 w 982156"/>
              <a:gd name="connsiteY65" fmla="*/ 163347 h 1325164"/>
              <a:gd name="connsiteX66" fmla="*/ 796307 w 982156"/>
              <a:gd name="connsiteY66" fmla="*/ 166415 h 1325164"/>
              <a:gd name="connsiteX67" fmla="*/ 787102 w 982156"/>
              <a:gd name="connsiteY67" fmla="*/ 172552 h 1325164"/>
              <a:gd name="connsiteX68" fmla="*/ 780965 w 982156"/>
              <a:gd name="connsiteY68" fmla="*/ 181758 h 1325164"/>
              <a:gd name="connsiteX69" fmla="*/ 784033 w 982156"/>
              <a:gd name="connsiteY69" fmla="*/ 190963 h 1325164"/>
              <a:gd name="connsiteX70" fmla="*/ 811649 w 982156"/>
              <a:gd name="connsiteY70" fmla="*/ 206305 h 1325164"/>
              <a:gd name="connsiteX71" fmla="*/ 820855 w 982156"/>
              <a:gd name="connsiteY71" fmla="*/ 215511 h 1325164"/>
              <a:gd name="connsiteX72" fmla="*/ 823923 w 982156"/>
              <a:gd name="connsiteY72" fmla="*/ 224716 h 1325164"/>
              <a:gd name="connsiteX73" fmla="*/ 830060 w 982156"/>
              <a:gd name="connsiteY73" fmla="*/ 233921 h 1325164"/>
              <a:gd name="connsiteX74" fmla="*/ 833128 w 982156"/>
              <a:gd name="connsiteY74" fmla="*/ 252332 h 1325164"/>
              <a:gd name="connsiteX75" fmla="*/ 860745 w 982156"/>
              <a:gd name="connsiteY75" fmla="*/ 261537 h 1325164"/>
              <a:gd name="connsiteX76" fmla="*/ 869950 w 982156"/>
              <a:gd name="connsiteY76" fmla="*/ 264606 h 1325164"/>
              <a:gd name="connsiteX77" fmla="*/ 879155 w 982156"/>
              <a:gd name="connsiteY77" fmla="*/ 267674 h 1325164"/>
              <a:gd name="connsiteX78" fmla="*/ 888361 w 982156"/>
              <a:gd name="connsiteY78" fmla="*/ 286085 h 1325164"/>
              <a:gd name="connsiteX79" fmla="*/ 894498 w 982156"/>
              <a:gd name="connsiteY79" fmla="*/ 295290 h 1325164"/>
              <a:gd name="connsiteX80" fmla="*/ 900634 w 982156"/>
              <a:gd name="connsiteY80" fmla="*/ 313701 h 1325164"/>
              <a:gd name="connsiteX81" fmla="*/ 888361 w 982156"/>
              <a:gd name="connsiteY81" fmla="*/ 387344 h 1325164"/>
              <a:gd name="connsiteX82" fmla="*/ 879155 w 982156"/>
              <a:gd name="connsiteY82" fmla="*/ 390413 h 1325164"/>
              <a:gd name="connsiteX83" fmla="*/ 873018 w 982156"/>
              <a:gd name="connsiteY83" fmla="*/ 399618 h 1325164"/>
              <a:gd name="connsiteX84" fmla="*/ 873018 w 982156"/>
              <a:gd name="connsiteY84" fmla="*/ 430303 h 1325164"/>
              <a:gd name="connsiteX85" fmla="*/ 891429 w 982156"/>
              <a:gd name="connsiteY85" fmla="*/ 442576 h 1325164"/>
              <a:gd name="connsiteX86" fmla="*/ 894498 w 982156"/>
              <a:gd name="connsiteY86" fmla="*/ 451782 h 1325164"/>
              <a:gd name="connsiteX87" fmla="*/ 912908 w 982156"/>
              <a:gd name="connsiteY87" fmla="*/ 464056 h 1325164"/>
              <a:gd name="connsiteX88" fmla="*/ 919045 w 982156"/>
              <a:gd name="connsiteY88" fmla="*/ 516219 h 1325164"/>
              <a:gd name="connsiteX89" fmla="*/ 922114 w 982156"/>
              <a:gd name="connsiteY89" fmla="*/ 534630 h 1325164"/>
              <a:gd name="connsiteX90" fmla="*/ 925182 w 982156"/>
              <a:gd name="connsiteY90" fmla="*/ 559178 h 1325164"/>
              <a:gd name="connsiteX91" fmla="*/ 934387 w 982156"/>
              <a:gd name="connsiteY91" fmla="*/ 595999 h 1325164"/>
              <a:gd name="connsiteX92" fmla="*/ 937456 w 982156"/>
              <a:gd name="connsiteY92" fmla="*/ 605205 h 1325164"/>
              <a:gd name="connsiteX93" fmla="*/ 940524 w 982156"/>
              <a:gd name="connsiteY93" fmla="*/ 614410 h 1325164"/>
              <a:gd name="connsiteX94" fmla="*/ 906771 w 982156"/>
              <a:gd name="connsiteY94" fmla="*/ 746354 h 1325164"/>
              <a:gd name="connsiteX95" fmla="*/ 897566 w 982156"/>
              <a:gd name="connsiteY95" fmla="*/ 743285 h 1325164"/>
              <a:gd name="connsiteX96" fmla="*/ 888361 w 982156"/>
              <a:gd name="connsiteY96" fmla="*/ 724874 h 1325164"/>
              <a:gd name="connsiteX97" fmla="*/ 863813 w 982156"/>
              <a:gd name="connsiteY97" fmla="*/ 731011 h 1325164"/>
              <a:gd name="connsiteX98" fmla="*/ 845402 w 982156"/>
              <a:gd name="connsiteY98" fmla="*/ 743285 h 1325164"/>
              <a:gd name="connsiteX99" fmla="*/ 826992 w 982156"/>
              <a:gd name="connsiteY99" fmla="*/ 752490 h 1325164"/>
              <a:gd name="connsiteX100" fmla="*/ 811649 w 982156"/>
              <a:gd name="connsiteY100" fmla="*/ 764764 h 1325164"/>
              <a:gd name="connsiteX101" fmla="*/ 793238 w 982156"/>
              <a:gd name="connsiteY101" fmla="*/ 777038 h 1325164"/>
              <a:gd name="connsiteX102" fmla="*/ 774828 w 982156"/>
              <a:gd name="connsiteY102" fmla="*/ 789312 h 1325164"/>
              <a:gd name="connsiteX103" fmla="*/ 759485 w 982156"/>
              <a:gd name="connsiteY103" fmla="*/ 792380 h 1325164"/>
              <a:gd name="connsiteX104" fmla="*/ 741075 w 982156"/>
              <a:gd name="connsiteY104" fmla="*/ 798517 h 1325164"/>
              <a:gd name="connsiteX105" fmla="*/ 719596 w 982156"/>
              <a:gd name="connsiteY105" fmla="*/ 801586 h 1325164"/>
              <a:gd name="connsiteX106" fmla="*/ 688911 w 982156"/>
              <a:gd name="connsiteY106" fmla="*/ 810791 h 1325164"/>
              <a:gd name="connsiteX107" fmla="*/ 679706 w 982156"/>
              <a:gd name="connsiteY107" fmla="*/ 813860 h 1325164"/>
              <a:gd name="connsiteX108" fmla="*/ 655158 w 982156"/>
              <a:gd name="connsiteY108" fmla="*/ 819997 h 1325164"/>
              <a:gd name="connsiteX109" fmla="*/ 630610 w 982156"/>
              <a:gd name="connsiteY109" fmla="*/ 826133 h 1325164"/>
              <a:gd name="connsiteX110" fmla="*/ 621405 w 982156"/>
              <a:gd name="connsiteY110" fmla="*/ 832270 h 1325164"/>
              <a:gd name="connsiteX111" fmla="*/ 636747 w 982156"/>
              <a:gd name="connsiteY111" fmla="*/ 847613 h 1325164"/>
              <a:gd name="connsiteX112" fmla="*/ 642884 w 982156"/>
              <a:gd name="connsiteY112" fmla="*/ 856818 h 1325164"/>
              <a:gd name="connsiteX113" fmla="*/ 658226 w 982156"/>
              <a:gd name="connsiteY113" fmla="*/ 872160 h 1325164"/>
              <a:gd name="connsiteX114" fmla="*/ 673569 w 982156"/>
              <a:gd name="connsiteY114" fmla="*/ 896708 h 1325164"/>
              <a:gd name="connsiteX115" fmla="*/ 685843 w 982156"/>
              <a:gd name="connsiteY115" fmla="*/ 924324 h 1325164"/>
              <a:gd name="connsiteX116" fmla="*/ 691979 w 982156"/>
              <a:gd name="connsiteY116" fmla="*/ 942735 h 1325164"/>
              <a:gd name="connsiteX117" fmla="*/ 701185 w 982156"/>
              <a:gd name="connsiteY117" fmla="*/ 973419 h 1325164"/>
              <a:gd name="connsiteX118" fmla="*/ 713459 w 982156"/>
              <a:gd name="connsiteY118" fmla="*/ 988762 h 1325164"/>
              <a:gd name="connsiteX119" fmla="*/ 722664 w 982156"/>
              <a:gd name="connsiteY119" fmla="*/ 1007172 h 1325164"/>
              <a:gd name="connsiteX120" fmla="*/ 731869 w 982156"/>
              <a:gd name="connsiteY120" fmla="*/ 1013309 h 1325164"/>
              <a:gd name="connsiteX121" fmla="*/ 741075 w 982156"/>
              <a:gd name="connsiteY121" fmla="*/ 1022515 h 1325164"/>
              <a:gd name="connsiteX122" fmla="*/ 750280 w 982156"/>
              <a:gd name="connsiteY122" fmla="*/ 1050131 h 1325164"/>
              <a:gd name="connsiteX123" fmla="*/ 753349 w 982156"/>
              <a:gd name="connsiteY123" fmla="*/ 1059336 h 1325164"/>
              <a:gd name="connsiteX124" fmla="*/ 762554 w 982156"/>
              <a:gd name="connsiteY124" fmla="*/ 1068541 h 1325164"/>
              <a:gd name="connsiteX125" fmla="*/ 790170 w 982156"/>
              <a:gd name="connsiteY125" fmla="*/ 1080815 h 1325164"/>
              <a:gd name="connsiteX126" fmla="*/ 799375 w 982156"/>
              <a:gd name="connsiteY126" fmla="*/ 1083884 h 1325164"/>
              <a:gd name="connsiteX127" fmla="*/ 805512 w 982156"/>
              <a:gd name="connsiteY127" fmla="*/ 1093089 h 1325164"/>
              <a:gd name="connsiteX128" fmla="*/ 811649 w 982156"/>
              <a:gd name="connsiteY128" fmla="*/ 1111500 h 1325164"/>
              <a:gd name="connsiteX129" fmla="*/ 808581 w 982156"/>
              <a:gd name="connsiteY129" fmla="*/ 1136048 h 1325164"/>
              <a:gd name="connsiteX130" fmla="*/ 799375 w 982156"/>
              <a:gd name="connsiteY130" fmla="*/ 1139116 h 1325164"/>
              <a:gd name="connsiteX131" fmla="*/ 780965 w 982156"/>
              <a:gd name="connsiteY131" fmla="*/ 1151390 h 1325164"/>
              <a:gd name="connsiteX132" fmla="*/ 771759 w 982156"/>
              <a:gd name="connsiteY132" fmla="*/ 1169801 h 1325164"/>
              <a:gd name="connsiteX133" fmla="*/ 762554 w 982156"/>
              <a:gd name="connsiteY133" fmla="*/ 1172869 h 1325164"/>
              <a:gd name="connsiteX134" fmla="*/ 744143 w 982156"/>
              <a:gd name="connsiteY134" fmla="*/ 1182074 h 1325164"/>
              <a:gd name="connsiteX135" fmla="*/ 734938 w 982156"/>
              <a:gd name="connsiteY135" fmla="*/ 1188211 h 1325164"/>
              <a:gd name="connsiteX136" fmla="*/ 728801 w 982156"/>
              <a:gd name="connsiteY136" fmla="*/ 1206622 h 1325164"/>
              <a:gd name="connsiteX137" fmla="*/ 725732 w 982156"/>
              <a:gd name="connsiteY137" fmla="*/ 1215827 h 1325164"/>
              <a:gd name="connsiteX138" fmla="*/ 728801 w 982156"/>
              <a:gd name="connsiteY138" fmla="*/ 1228101 h 1325164"/>
              <a:gd name="connsiteX139" fmla="*/ 734938 w 982156"/>
              <a:gd name="connsiteY139" fmla="*/ 1246512 h 1325164"/>
              <a:gd name="connsiteX140" fmla="*/ 731869 w 982156"/>
              <a:gd name="connsiteY140" fmla="*/ 1307881 h 1325164"/>
              <a:gd name="connsiteX141" fmla="*/ 719596 w 982156"/>
              <a:gd name="connsiteY141" fmla="*/ 1289470 h 1325164"/>
              <a:gd name="connsiteX142" fmla="*/ 701185 w 982156"/>
              <a:gd name="connsiteY142" fmla="*/ 1283333 h 1325164"/>
              <a:gd name="connsiteX143" fmla="*/ 667432 w 982156"/>
              <a:gd name="connsiteY143" fmla="*/ 1277197 h 1325164"/>
              <a:gd name="connsiteX144" fmla="*/ 658226 w 982156"/>
              <a:gd name="connsiteY144" fmla="*/ 1271060 h 1325164"/>
              <a:gd name="connsiteX145" fmla="*/ 639816 w 982156"/>
              <a:gd name="connsiteY145" fmla="*/ 1264923 h 1325164"/>
              <a:gd name="connsiteX146" fmla="*/ 609131 w 982156"/>
              <a:gd name="connsiteY146" fmla="*/ 1267991 h 1325164"/>
              <a:gd name="connsiteX147" fmla="*/ 599926 w 982156"/>
              <a:gd name="connsiteY147" fmla="*/ 1271060 h 1325164"/>
              <a:gd name="connsiteX148" fmla="*/ 581515 w 982156"/>
              <a:gd name="connsiteY148" fmla="*/ 1289470 h 1325164"/>
              <a:gd name="connsiteX149" fmla="*/ 569241 w 982156"/>
              <a:gd name="connsiteY149" fmla="*/ 1292539 h 1325164"/>
              <a:gd name="connsiteX150" fmla="*/ 560036 w 982156"/>
              <a:gd name="connsiteY150" fmla="*/ 1295607 h 1325164"/>
              <a:gd name="connsiteX151" fmla="*/ 544694 w 982156"/>
              <a:gd name="connsiteY151" fmla="*/ 1298676 h 1325164"/>
              <a:gd name="connsiteX152" fmla="*/ 523214 w 982156"/>
              <a:gd name="connsiteY152" fmla="*/ 1304813 h 1325164"/>
              <a:gd name="connsiteX153" fmla="*/ 507872 w 982156"/>
              <a:gd name="connsiteY153" fmla="*/ 1292539 h 1325164"/>
              <a:gd name="connsiteX154" fmla="*/ 486393 w 982156"/>
              <a:gd name="connsiteY154" fmla="*/ 1280265 h 1325164"/>
              <a:gd name="connsiteX155" fmla="*/ 455708 w 982156"/>
              <a:gd name="connsiteY155" fmla="*/ 1283333 h 1325164"/>
              <a:gd name="connsiteX156" fmla="*/ 434229 w 982156"/>
              <a:gd name="connsiteY156" fmla="*/ 1310950 h 1325164"/>
              <a:gd name="connsiteX157" fmla="*/ 415818 w 982156"/>
              <a:gd name="connsiteY157" fmla="*/ 1323223 h 1325164"/>
              <a:gd name="connsiteX158" fmla="*/ 403545 w 982156"/>
              <a:gd name="connsiteY158" fmla="*/ 1320155 h 1325164"/>
              <a:gd name="connsiteX159" fmla="*/ 394339 w 982156"/>
              <a:gd name="connsiteY159" fmla="*/ 1323223 h 1325164"/>
              <a:gd name="connsiteX160" fmla="*/ 391271 w 982156"/>
              <a:gd name="connsiteY160" fmla="*/ 1310950 h 1325164"/>
              <a:gd name="connsiteX161" fmla="*/ 388202 w 982156"/>
              <a:gd name="connsiteY161" fmla="*/ 1295607 h 1325164"/>
              <a:gd name="connsiteX162" fmla="*/ 385134 w 982156"/>
              <a:gd name="connsiteY162" fmla="*/ 1286402 h 1325164"/>
              <a:gd name="connsiteX163" fmla="*/ 372860 w 982156"/>
              <a:gd name="connsiteY163" fmla="*/ 1283333 h 1325164"/>
              <a:gd name="connsiteX164" fmla="*/ 363655 w 982156"/>
              <a:gd name="connsiteY164" fmla="*/ 1280265 h 1325164"/>
              <a:gd name="connsiteX165" fmla="*/ 354449 w 982156"/>
              <a:gd name="connsiteY165" fmla="*/ 1274128 h 1325164"/>
              <a:gd name="connsiteX166" fmla="*/ 305354 w 982156"/>
              <a:gd name="connsiteY166" fmla="*/ 1267991 h 1325164"/>
              <a:gd name="connsiteX167" fmla="*/ 286943 w 982156"/>
              <a:gd name="connsiteY167" fmla="*/ 1258786 h 1325164"/>
              <a:gd name="connsiteX168" fmla="*/ 274669 w 982156"/>
              <a:gd name="connsiteY168" fmla="*/ 1255717 h 1325164"/>
              <a:gd name="connsiteX169" fmla="*/ 84425 w 982156"/>
              <a:gd name="connsiteY169" fmla="*/ 1246512 h 1325164"/>
              <a:gd name="connsiteX170" fmla="*/ 90562 w 982156"/>
              <a:gd name="connsiteY170" fmla="*/ 1194348 h 1325164"/>
              <a:gd name="connsiteX171" fmla="*/ 93630 w 982156"/>
              <a:gd name="connsiteY171" fmla="*/ 1185143 h 1325164"/>
              <a:gd name="connsiteX172" fmla="*/ 99767 w 982156"/>
              <a:gd name="connsiteY172" fmla="*/ 1175937 h 1325164"/>
              <a:gd name="connsiteX173" fmla="*/ 105904 w 982156"/>
              <a:gd name="connsiteY173" fmla="*/ 1157527 h 1325164"/>
              <a:gd name="connsiteX174" fmla="*/ 108973 w 982156"/>
              <a:gd name="connsiteY174" fmla="*/ 1148321 h 1325164"/>
              <a:gd name="connsiteX175" fmla="*/ 112041 w 982156"/>
              <a:gd name="connsiteY175" fmla="*/ 1139116 h 1325164"/>
              <a:gd name="connsiteX176" fmla="*/ 130452 w 982156"/>
              <a:gd name="connsiteY176" fmla="*/ 1129911 h 1325164"/>
              <a:gd name="connsiteX177" fmla="*/ 136589 w 982156"/>
              <a:gd name="connsiteY177" fmla="*/ 1120705 h 1325164"/>
              <a:gd name="connsiteX178" fmla="*/ 139657 w 982156"/>
              <a:gd name="connsiteY178" fmla="*/ 1068541 h 1325164"/>
              <a:gd name="connsiteX179" fmla="*/ 158068 w 982156"/>
              <a:gd name="connsiteY179" fmla="*/ 1062405 h 1325164"/>
              <a:gd name="connsiteX180" fmla="*/ 167273 w 982156"/>
              <a:gd name="connsiteY180" fmla="*/ 1056268 h 1325164"/>
              <a:gd name="connsiteX181" fmla="*/ 170342 w 982156"/>
              <a:gd name="connsiteY181" fmla="*/ 1043994 h 1325164"/>
              <a:gd name="connsiteX182" fmla="*/ 158068 w 982156"/>
              <a:gd name="connsiteY182" fmla="*/ 1010241 h 1325164"/>
              <a:gd name="connsiteX183" fmla="*/ 118178 w 982156"/>
              <a:gd name="connsiteY183" fmla="*/ 1004104 h 1325164"/>
              <a:gd name="connsiteX184" fmla="*/ 99767 w 982156"/>
              <a:gd name="connsiteY184" fmla="*/ 997967 h 1325164"/>
              <a:gd name="connsiteX185" fmla="*/ 66014 w 982156"/>
              <a:gd name="connsiteY185" fmla="*/ 982625 h 1325164"/>
              <a:gd name="connsiteX186" fmla="*/ 47604 w 982156"/>
              <a:gd name="connsiteY186" fmla="*/ 970351 h 1325164"/>
              <a:gd name="connsiteX187" fmla="*/ 35330 w 982156"/>
              <a:gd name="connsiteY187" fmla="*/ 951940 h 1325164"/>
              <a:gd name="connsiteX188" fmla="*/ 26124 w 982156"/>
              <a:gd name="connsiteY188" fmla="*/ 921256 h 1325164"/>
              <a:gd name="connsiteX189" fmla="*/ 23056 w 982156"/>
              <a:gd name="connsiteY189" fmla="*/ 912050 h 1325164"/>
              <a:gd name="connsiteX190" fmla="*/ 19987 w 982156"/>
              <a:gd name="connsiteY190" fmla="*/ 869092 h 1325164"/>
              <a:gd name="connsiteX191" fmla="*/ 16919 w 982156"/>
              <a:gd name="connsiteY191" fmla="*/ 856818 h 1325164"/>
              <a:gd name="connsiteX192" fmla="*/ 10782 w 982156"/>
              <a:gd name="connsiteY192" fmla="*/ 816928 h 1325164"/>
              <a:gd name="connsiteX193" fmla="*/ 7714 w 982156"/>
              <a:gd name="connsiteY193" fmla="*/ 783175 h 1325164"/>
              <a:gd name="connsiteX194" fmla="*/ 1577 w 982156"/>
              <a:gd name="connsiteY194" fmla="*/ 761696 h 1325164"/>
              <a:gd name="connsiteX195" fmla="*/ 10782 w 982156"/>
              <a:gd name="connsiteY195" fmla="*/ 672711 h 1325164"/>
              <a:gd name="connsiteX196" fmla="*/ 16919 w 982156"/>
              <a:gd name="connsiteY196" fmla="*/ 660437 h 1325164"/>
              <a:gd name="connsiteX197" fmla="*/ 23056 w 982156"/>
              <a:gd name="connsiteY197" fmla="*/ 651231 h 1325164"/>
              <a:gd name="connsiteX198" fmla="*/ 26124 w 982156"/>
              <a:gd name="connsiteY198" fmla="*/ 602136 h 1325164"/>
              <a:gd name="connsiteX199" fmla="*/ 32261 w 982156"/>
              <a:gd name="connsiteY199" fmla="*/ 580657 h 1325164"/>
              <a:gd name="connsiteX200" fmla="*/ 29193 w 982156"/>
              <a:gd name="connsiteY200" fmla="*/ 553041 h 1325164"/>
              <a:gd name="connsiteX201" fmla="*/ 29193 w 982156"/>
              <a:gd name="connsiteY201" fmla="*/ 522356 h 1325164"/>
              <a:gd name="connsiteX202" fmla="*/ 66014 w 982156"/>
              <a:gd name="connsiteY202" fmla="*/ 503945 h 1325164"/>
              <a:gd name="connsiteX203" fmla="*/ 87494 w 982156"/>
              <a:gd name="connsiteY203" fmla="*/ 494740 h 1325164"/>
              <a:gd name="connsiteX204" fmla="*/ 105904 w 982156"/>
              <a:gd name="connsiteY204" fmla="*/ 482466 h 1325164"/>
              <a:gd name="connsiteX205" fmla="*/ 115110 w 982156"/>
              <a:gd name="connsiteY205" fmla="*/ 476329 h 1325164"/>
              <a:gd name="connsiteX206" fmla="*/ 130452 w 982156"/>
              <a:gd name="connsiteY206" fmla="*/ 448713 h 1325164"/>
              <a:gd name="connsiteX207" fmla="*/ 115110 w 982156"/>
              <a:gd name="connsiteY207" fmla="*/ 427234 h 1325164"/>
              <a:gd name="connsiteX208" fmla="*/ 112041 w 982156"/>
              <a:gd name="connsiteY208" fmla="*/ 418029 h 1325164"/>
              <a:gd name="connsiteX209" fmla="*/ 105904 w 982156"/>
              <a:gd name="connsiteY209" fmla="*/ 408823 h 1325164"/>
              <a:gd name="connsiteX210" fmla="*/ 108973 w 982156"/>
              <a:gd name="connsiteY210" fmla="*/ 378139 h 1325164"/>
              <a:gd name="connsiteX211" fmla="*/ 115110 w 982156"/>
              <a:gd name="connsiteY211" fmla="*/ 359728 h 1325164"/>
              <a:gd name="connsiteX212" fmla="*/ 142726 w 982156"/>
              <a:gd name="connsiteY212" fmla="*/ 344386 h 1325164"/>
              <a:gd name="connsiteX213" fmla="*/ 151931 w 982156"/>
              <a:gd name="connsiteY213" fmla="*/ 338249 h 1325164"/>
              <a:gd name="connsiteX214" fmla="*/ 155000 w 982156"/>
              <a:gd name="connsiteY214" fmla="*/ 329043 h 1325164"/>
              <a:gd name="connsiteX215" fmla="*/ 161136 w 982156"/>
              <a:gd name="connsiteY215" fmla="*/ 319838 h 1325164"/>
              <a:gd name="connsiteX216" fmla="*/ 170342 w 982156"/>
              <a:gd name="connsiteY216" fmla="*/ 301427 h 1325164"/>
              <a:gd name="connsiteX217" fmla="*/ 179547 w 982156"/>
              <a:gd name="connsiteY217" fmla="*/ 295290 h 1325164"/>
              <a:gd name="connsiteX218" fmla="*/ 176479 w 982156"/>
              <a:gd name="connsiteY218" fmla="*/ 279948 h 1325164"/>
              <a:gd name="connsiteX219" fmla="*/ 158068 w 982156"/>
              <a:gd name="connsiteY219" fmla="*/ 270743 h 1325164"/>
              <a:gd name="connsiteX220" fmla="*/ 148863 w 982156"/>
              <a:gd name="connsiteY220" fmla="*/ 255401 h 1325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</a:cxnLst>
            <a:rect l="l" t="t" r="r" b="b"/>
            <a:pathLst>
              <a:path w="982156" h="1325164">
                <a:moveTo>
                  <a:pt x="148863" y="255401"/>
                </a:moveTo>
                <a:cubicBezTo>
                  <a:pt x="148352" y="249775"/>
                  <a:pt x="149618" y="240578"/>
                  <a:pt x="155000" y="236990"/>
                </a:cubicBezTo>
                <a:cubicBezTo>
                  <a:pt x="158068" y="234944"/>
                  <a:pt x="160907" y="232502"/>
                  <a:pt x="164205" y="230853"/>
                </a:cubicBezTo>
                <a:cubicBezTo>
                  <a:pt x="189626" y="218141"/>
                  <a:pt x="156218" y="239243"/>
                  <a:pt x="182616" y="221648"/>
                </a:cubicBezTo>
                <a:cubicBezTo>
                  <a:pt x="196935" y="222671"/>
                  <a:pt x="211437" y="222221"/>
                  <a:pt x="225574" y="224716"/>
                </a:cubicBezTo>
                <a:cubicBezTo>
                  <a:pt x="234988" y="226377"/>
                  <a:pt x="235790" y="232854"/>
                  <a:pt x="237848" y="240058"/>
                </a:cubicBezTo>
                <a:cubicBezTo>
                  <a:pt x="239007" y="244113"/>
                  <a:pt x="238282" y="249039"/>
                  <a:pt x="240916" y="252332"/>
                </a:cubicBezTo>
                <a:cubicBezTo>
                  <a:pt x="242937" y="254858"/>
                  <a:pt x="247229" y="253954"/>
                  <a:pt x="250122" y="255401"/>
                </a:cubicBezTo>
                <a:cubicBezTo>
                  <a:pt x="270206" y="265443"/>
                  <a:pt x="248166" y="257166"/>
                  <a:pt x="268532" y="270743"/>
                </a:cubicBezTo>
                <a:cubicBezTo>
                  <a:pt x="271223" y="272537"/>
                  <a:pt x="274669" y="272788"/>
                  <a:pt x="277738" y="273811"/>
                </a:cubicBezTo>
                <a:cubicBezTo>
                  <a:pt x="279784" y="270743"/>
                  <a:pt x="280995" y="266910"/>
                  <a:pt x="283875" y="264606"/>
                </a:cubicBezTo>
                <a:cubicBezTo>
                  <a:pt x="286401" y="262585"/>
                  <a:pt x="290187" y="262983"/>
                  <a:pt x="293080" y="261537"/>
                </a:cubicBezTo>
                <a:cubicBezTo>
                  <a:pt x="296378" y="259888"/>
                  <a:pt x="299217" y="257446"/>
                  <a:pt x="302285" y="255401"/>
                </a:cubicBezTo>
                <a:cubicBezTo>
                  <a:pt x="316966" y="233379"/>
                  <a:pt x="309344" y="242205"/>
                  <a:pt x="323765" y="227784"/>
                </a:cubicBezTo>
                <a:cubicBezTo>
                  <a:pt x="324788" y="224716"/>
                  <a:pt x="324813" y="221105"/>
                  <a:pt x="326833" y="218579"/>
                </a:cubicBezTo>
                <a:cubicBezTo>
                  <a:pt x="331160" y="213170"/>
                  <a:pt x="339179" y="211395"/>
                  <a:pt x="345244" y="209374"/>
                </a:cubicBezTo>
                <a:cubicBezTo>
                  <a:pt x="346267" y="206305"/>
                  <a:pt x="348312" y="203403"/>
                  <a:pt x="348312" y="200168"/>
                </a:cubicBezTo>
                <a:cubicBezTo>
                  <a:pt x="348312" y="176434"/>
                  <a:pt x="347428" y="176036"/>
                  <a:pt x="342175" y="160278"/>
                </a:cubicBezTo>
                <a:cubicBezTo>
                  <a:pt x="343198" y="150050"/>
                  <a:pt x="343681" y="139754"/>
                  <a:pt x="345244" y="129594"/>
                </a:cubicBezTo>
                <a:cubicBezTo>
                  <a:pt x="345736" y="126397"/>
                  <a:pt x="346025" y="122675"/>
                  <a:pt x="348312" y="120388"/>
                </a:cubicBezTo>
                <a:cubicBezTo>
                  <a:pt x="350599" y="118101"/>
                  <a:pt x="354449" y="118343"/>
                  <a:pt x="357518" y="117320"/>
                </a:cubicBezTo>
                <a:cubicBezTo>
                  <a:pt x="355472" y="111183"/>
                  <a:pt x="355141" y="104173"/>
                  <a:pt x="351381" y="98909"/>
                </a:cubicBezTo>
                <a:cubicBezTo>
                  <a:pt x="349501" y="96277"/>
                  <a:pt x="344055" y="98473"/>
                  <a:pt x="342175" y="95841"/>
                </a:cubicBezTo>
                <a:cubicBezTo>
                  <a:pt x="338415" y="90577"/>
                  <a:pt x="336038" y="77430"/>
                  <a:pt x="336038" y="77430"/>
                </a:cubicBezTo>
                <a:cubicBezTo>
                  <a:pt x="336917" y="68638"/>
                  <a:pt x="336647" y="48596"/>
                  <a:pt x="342175" y="37540"/>
                </a:cubicBezTo>
                <a:cubicBezTo>
                  <a:pt x="343824" y="34242"/>
                  <a:pt x="346266" y="31403"/>
                  <a:pt x="348312" y="28335"/>
                </a:cubicBezTo>
                <a:cubicBezTo>
                  <a:pt x="348338" y="28231"/>
                  <a:pt x="352983" y="8322"/>
                  <a:pt x="354449" y="6856"/>
                </a:cubicBezTo>
                <a:cubicBezTo>
                  <a:pt x="357683" y="3622"/>
                  <a:pt x="362632" y="2765"/>
                  <a:pt x="366723" y="719"/>
                </a:cubicBezTo>
                <a:cubicBezTo>
                  <a:pt x="395362" y="1742"/>
                  <a:pt x="424234" y="0"/>
                  <a:pt x="452640" y="3787"/>
                </a:cubicBezTo>
                <a:cubicBezTo>
                  <a:pt x="456295" y="4274"/>
                  <a:pt x="457279" y="9622"/>
                  <a:pt x="458777" y="12992"/>
                </a:cubicBezTo>
                <a:cubicBezTo>
                  <a:pt x="461622" y="19393"/>
                  <a:pt x="463867" y="34862"/>
                  <a:pt x="471051" y="40609"/>
                </a:cubicBezTo>
                <a:cubicBezTo>
                  <a:pt x="473577" y="42629"/>
                  <a:pt x="477188" y="42654"/>
                  <a:pt x="480256" y="43677"/>
                </a:cubicBezTo>
                <a:cubicBezTo>
                  <a:pt x="483324" y="45723"/>
                  <a:pt x="488091" y="46390"/>
                  <a:pt x="489461" y="49814"/>
                </a:cubicBezTo>
                <a:cubicBezTo>
                  <a:pt x="492581" y="57615"/>
                  <a:pt x="480698" y="62816"/>
                  <a:pt x="477187" y="65156"/>
                </a:cubicBezTo>
                <a:cubicBezTo>
                  <a:pt x="475142" y="68225"/>
                  <a:pt x="471268" y="70681"/>
                  <a:pt x="471051" y="74362"/>
                </a:cubicBezTo>
                <a:cubicBezTo>
                  <a:pt x="470208" y="88693"/>
                  <a:pt x="471624" y="103183"/>
                  <a:pt x="474119" y="117320"/>
                </a:cubicBezTo>
                <a:cubicBezTo>
                  <a:pt x="475307" y="124050"/>
                  <a:pt x="484183" y="130023"/>
                  <a:pt x="489461" y="132662"/>
                </a:cubicBezTo>
                <a:cubicBezTo>
                  <a:pt x="492354" y="134109"/>
                  <a:pt x="495774" y="134284"/>
                  <a:pt x="498667" y="135731"/>
                </a:cubicBezTo>
                <a:cubicBezTo>
                  <a:pt x="522455" y="147626"/>
                  <a:pt x="493944" y="137226"/>
                  <a:pt x="517077" y="144936"/>
                </a:cubicBezTo>
                <a:cubicBezTo>
                  <a:pt x="520146" y="146982"/>
                  <a:pt x="522984" y="149424"/>
                  <a:pt x="526283" y="151073"/>
                </a:cubicBezTo>
                <a:cubicBezTo>
                  <a:pt x="538770" y="157316"/>
                  <a:pt x="543858" y="153095"/>
                  <a:pt x="560036" y="151073"/>
                </a:cubicBezTo>
                <a:cubicBezTo>
                  <a:pt x="563491" y="149922"/>
                  <a:pt x="578818" y="142983"/>
                  <a:pt x="581515" y="151073"/>
                </a:cubicBezTo>
                <a:cubicBezTo>
                  <a:pt x="584123" y="158896"/>
                  <a:pt x="581510" y="167964"/>
                  <a:pt x="578447" y="175621"/>
                </a:cubicBezTo>
                <a:cubicBezTo>
                  <a:pt x="576617" y="180197"/>
                  <a:pt x="563912" y="183534"/>
                  <a:pt x="560036" y="184826"/>
                </a:cubicBezTo>
                <a:cubicBezTo>
                  <a:pt x="557990" y="187894"/>
                  <a:pt x="557026" y="192077"/>
                  <a:pt x="553899" y="194031"/>
                </a:cubicBezTo>
                <a:cubicBezTo>
                  <a:pt x="548413" y="197459"/>
                  <a:pt x="535488" y="200168"/>
                  <a:pt x="535488" y="200168"/>
                </a:cubicBezTo>
                <a:cubicBezTo>
                  <a:pt x="559284" y="216032"/>
                  <a:pt x="546900" y="210108"/>
                  <a:pt x="572310" y="218579"/>
                </a:cubicBezTo>
                <a:lnTo>
                  <a:pt x="581515" y="221648"/>
                </a:lnTo>
                <a:cubicBezTo>
                  <a:pt x="589971" y="220591"/>
                  <a:pt x="605810" y="220240"/>
                  <a:pt x="615268" y="215511"/>
                </a:cubicBezTo>
                <a:cubicBezTo>
                  <a:pt x="618566" y="213862"/>
                  <a:pt x="621405" y="211420"/>
                  <a:pt x="624473" y="209374"/>
                </a:cubicBezTo>
                <a:cubicBezTo>
                  <a:pt x="634819" y="193854"/>
                  <a:pt x="624993" y="204511"/>
                  <a:pt x="639816" y="197100"/>
                </a:cubicBezTo>
                <a:cubicBezTo>
                  <a:pt x="643114" y="195451"/>
                  <a:pt x="645651" y="192461"/>
                  <a:pt x="649021" y="190963"/>
                </a:cubicBezTo>
                <a:cubicBezTo>
                  <a:pt x="654932" y="188336"/>
                  <a:pt x="667432" y="184826"/>
                  <a:pt x="667432" y="184826"/>
                </a:cubicBezTo>
                <a:lnTo>
                  <a:pt x="685843" y="172552"/>
                </a:lnTo>
                <a:cubicBezTo>
                  <a:pt x="688911" y="170506"/>
                  <a:pt x="691549" y="167581"/>
                  <a:pt x="695048" y="166415"/>
                </a:cubicBezTo>
                <a:lnTo>
                  <a:pt x="704253" y="163347"/>
                </a:lnTo>
                <a:cubicBezTo>
                  <a:pt x="707322" y="161301"/>
                  <a:pt x="710160" y="158859"/>
                  <a:pt x="713459" y="157210"/>
                </a:cubicBezTo>
                <a:cubicBezTo>
                  <a:pt x="725948" y="150965"/>
                  <a:pt x="731028" y="155187"/>
                  <a:pt x="747212" y="157210"/>
                </a:cubicBezTo>
                <a:cubicBezTo>
                  <a:pt x="750280" y="158233"/>
                  <a:pt x="753183" y="160278"/>
                  <a:pt x="756417" y="160278"/>
                </a:cubicBezTo>
                <a:cubicBezTo>
                  <a:pt x="761749" y="160278"/>
                  <a:pt x="771337" y="154176"/>
                  <a:pt x="774828" y="151073"/>
                </a:cubicBezTo>
                <a:cubicBezTo>
                  <a:pt x="781315" y="145307"/>
                  <a:pt x="785004" y="135406"/>
                  <a:pt x="793238" y="132662"/>
                </a:cubicBezTo>
                <a:lnTo>
                  <a:pt x="802444" y="129594"/>
                </a:lnTo>
                <a:cubicBezTo>
                  <a:pt x="809604" y="130617"/>
                  <a:pt x="818214" y="128222"/>
                  <a:pt x="823923" y="132662"/>
                </a:cubicBezTo>
                <a:cubicBezTo>
                  <a:pt x="829029" y="136634"/>
                  <a:pt x="830060" y="151073"/>
                  <a:pt x="830060" y="151073"/>
                </a:cubicBezTo>
                <a:cubicBezTo>
                  <a:pt x="829037" y="154141"/>
                  <a:pt x="829518" y="158258"/>
                  <a:pt x="826992" y="160278"/>
                </a:cubicBezTo>
                <a:cubicBezTo>
                  <a:pt x="823699" y="162913"/>
                  <a:pt x="818853" y="162520"/>
                  <a:pt x="814718" y="163347"/>
                </a:cubicBezTo>
                <a:cubicBezTo>
                  <a:pt x="808617" y="164567"/>
                  <a:pt x="802444" y="165392"/>
                  <a:pt x="796307" y="166415"/>
                </a:cubicBezTo>
                <a:cubicBezTo>
                  <a:pt x="793239" y="168461"/>
                  <a:pt x="789710" y="169944"/>
                  <a:pt x="787102" y="172552"/>
                </a:cubicBezTo>
                <a:cubicBezTo>
                  <a:pt x="784494" y="175160"/>
                  <a:pt x="781571" y="178120"/>
                  <a:pt x="780965" y="181758"/>
                </a:cubicBezTo>
                <a:cubicBezTo>
                  <a:pt x="780433" y="184948"/>
                  <a:pt x="781746" y="188676"/>
                  <a:pt x="784033" y="190963"/>
                </a:cubicBezTo>
                <a:cubicBezTo>
                  <a:pt x="794585" y="201515"/>
                  <a:pt x="800073" y="202447"/>
                  <a:pt x="811649" y="206305"/>
                </a:cubicBezTo>
                <a:cubicBezTo>
                  <a:pt x="814718" y="209374"/>
                  <a:pt x="818448" y="211900"/>
                  <a:pt x="820855" y="215511"/>
                </a:cubicBezTo>
                <a:cubicBezTo>
                  <a:pt x="822649" y="218202"/>
                  <a:pt x="822477" y="221823"/>
                  <a:pt x="823923" y="224716"/>
                </a:cubicBezTo>
                <a:cubicBezTo>
                  <a:pt x="825572" y="228014"/>
                  <a:pt x="828014" y="230853"/>
                  <a:pt x="830060" y="233921"/>
                </a:cubicBezTo>
                <a:cubicBezTo>
                  <a:pt x="831083" y="240058"/>
                  <a:pt x="829031" y="247650"/>
                  <a:pt x="833128" y="252332"/>
                </a:cubicBezTo>
                <a:cubicBezTo>
                  <a:pt x="833131" y="252335"/>
                  <a:pt x="856141" y="260002"/>
                  <a:pt x="860745" y="261537"/>
                </a:cubicBezTo>
                <a:lnTo>
                  <a:pt x="869950" y="264606"/>
                </a:lnTo>
                <a:lnTo>
                  <a:pt x="879155" y="267674"/>
                </a:lnTo>
                <a:cubicBezTo>
                  <a:pt x="896747" y="294063"/>
                  <a:pt x="875653" y="260672"/>
                  <a:pt x="888361" y="286085"/>
                </a:cubicBezTo>
                <a:cubicBezTo>
                  <a:pt x="890010" y="289383"/>
                  <a:pt x="892452" y="292222"/>
                  <a:pt x="894498" y="295290"/>
                </a:cubicBezTo>
                <a:cubicBezTo>
                  <a:pt x="896543" y="301427"/>
                  <a:pt x="900942" y="307239"/>
                  <a:pt x="900634" y="313701"/>
                </a:cubicBezTo>
                <a:cubicBezTo>
                  <a:pt x="899342" y="340829"/>
                  <a:pt x="912371" y="371337"/>
                  <a:pt x="888361" y="387344"/>
                </a:cubicBezTo>
                <a:cubicBezTo>
                  <a:pt x="885670" y="389138"/>
                  <a:pt x="882224" y="389390"/>
                  <a:pt x="879155" y="390413"/>
                </a:cubicBezTo>
                <a:cubicBezTo>
                  <a:pt x="877109" y="393481"/>
                  <a:pt x="874667" y="396320"/>
                  <a:pt x="873018" y="399618"/>
                </a:cubicBezTo>
                <a:cubicBezTo>
                  <a:pt x="868560" y="408534"/>
                  <a:pt x="867487" y="421611"/>
                  <a:pt x="873018" y="430303"/>
                </a:cubicBezTo>
                <a:cubicBezTo>
                  <a:pt x="876978" y="436526"/>
                  <a:pt x="891429" y="442576"/>
                  <a:pt x="891429" y="442576"/>
                </a:cubicBezTo>
                <a:cubicBezTo>
                  <a:pt x="892452" y="445645"/>
                  <a:pt x="892704" y="449091"/>
                  <a:pt x="894498" y="451782"/>
                </a:cubicBezTo>
                <a:cubicBezTo>
                  <a:pt x="901065" y="461632"/>
                  <a:pt x="903258" y="460839"/>
                  <a:pt x="912908" y="464056"/>
                </a:cubicBezTo>
                <a:cubicBezTo>
                  <a:pt x="920942" y="488154"/>
                  <a:pt x="913861" y="464379"/>
                  <a:pt x="919045" y="516219"/>
                </a:cubicBezTo>
                <a:cubicBezTo>
                  <a:pt x="919664" y="522410"/>
                  <a:pt x="921234" y="528471"/>
                  <a:pt x="922114" y="534630"/>
                </a:cubicBezTo>
                <a:cubicBezTo>
                  <a:pt x="923280" y="542793"/>
                  <a:pt x="924016" y="551015"/>
                  <a:pt x="925182" y="559178"/>
                </a:cubicBezTo>
                <a:cubicBezTo>
                  <a:pt x="928280" y="580862"/>
                  <a:pt x="927360" y="574917"/>
                  <a:pt x="934387" y="595999"/>
                </a:cubicBezTo>
                <a:lnTo>
                  <a:pt x="937456" y="605205"/>
                </a:lnTo>
                <a:lnTo>
                  <a:pt x="940524" y="614410"/>
                </a:lnTo>
                <a:cubicBezTo>
                  <a:pt x="937626" y="741957"/>
                  <a:pt x="982156" y="757952"/>
                  <a:pt x="906771" y="746354"/>
                </a:cubicBezTo>
                <a:cubicBezTo>
                  <a:pt x="903574" y="745862"/>
                  <a:pt x="900634" y="744308"/>
                  <a:pt x="897566" y="743285"/>
                </a:cubicBezTo>
                <a:cubicBezTo>
                  <a:pt x="896443" y="739916"/>
                  <a:pt x="892744" y="726126"/>
                  <a:pt x="888361" y="724874"/>
                </a:cubicBezTo>
                <a:cubicBezTo>
                  <a:pt x="884375" y="723735"/>
                  <a:pt x="868957" y="729297"/>
                  <a:pt x="863813" y="731011"/>
                </a:cubicBezTo>
                <a:cubicBezTo>
                  <a:pt x="857676" y="735102"/>
                  <a:pt x="852399" y="740952"/>
                  <a:pt x="845402" y="743285"/>
                </a:cubicBezTo>
                <a:cubicBezTo>
                  <a:pt x="832699" y="747520"/>
                  <a:pt x="838888" y="744560"/>
                  <a:pt x="826992" y="752490"/>
                </a:cubicBezTo>
                <a:cubicBezTo>
                  <a:pt x="813266" y="773080"/>
                  <a:pt x="829436" y="752906"/>
                  <a:pt x="811649" y="764764"/>
                </a:cubicBezTo>
                <a:cubicBezTo>
                  <a:pt x="788664" y="780088"/>
                  <a:pt x="815128" y="769743"/>
                  <a:pt x="793238" y="777038"/>
                </a:cubicBezTo>
                <a:cubicBezTo>
                  <a:pt x="787101" y="781129"/>
                  <a:pt x="782060" y="787866"/>
                  <a:pt x="774828" y="789312"/>
                </a:cubicBezTo>
                <a:cubicBezTo>
                  <a:pt x="769714" y="790335"/>
                  <a:pt x="764517" y="791008"/>
                  <a:pt x="759485" y="792380"/>
                </a:cubicBezTo>
                <a:cubicBezTo>
                  <a:pt x="753244" y="794082"/>
                  <a:pt x="747479" y="797602"/>
                  <a:pt x="741075" y="798517"/>
                </a:cubicBezTo>
                <a:cubicBezTo>
                  <a:pt x="733915" y="799540"/>
                  <a:pt x="726712" y="800292"/>
                  <a:pt x="719596" y="801586"/>
                </a:cubicBezTo>
                <a:cubicBezTo>
                  <a:pt x="709389" y="803442"/>
                  <a:pt x="698525" y="807586"/>
                  <a:pt x="688911" y="810791"/>
                </a:cubicBezTo>
                <a:cubicBezTo>
                  <a:pt x="685843" y="811814"/>
                  <a:pt x="682844" y="813076"/>
                  <a:pt x="679706" y="813860"/>
                </a:cubicBezTo>
                <a:cubicBezTo>
                  <a:pt x="671523" y="815906"/>
                  <a:pt x="663429" y="818343"/>
                  <a:pt x="655158" y="819997"/>
                </a:cubicBezTo>
                <a:cubicBezTo>
                  <a:pt x="636644" y="823699"/>
                  <a:pt x="644764" y="821416"/>
                  <a:pt x="630610" y="826133"/>
                </a:cubicBezTo>
                <a:cubicBezTo>
                  <a:pt x="627542" y="828179"/>
                  <a:pt x="622128" y="828654"/>
                  <a:pt x="621405" y="832270"/>
                </a:cubicBezTo>
                <a:cubicBezTo>
                  <a:pt x="620202" y="838287"/>
                  <a:pt x="633858" y="845687"/>
                  <a:pt x="636747" y="847613"/>
                </a:cubicBezTo>
                <a:cubicBezTo>
                  <a:pt x="638793" y="850681"/>
                  <a:pt x="640276" y="854210"/>
                  <a:pt x="642884" y="856818"/>
                </a:cubicBezTo>
                <a:cubicBezTo>
                  <a:pt x="653522" y="867455"/>
                  <a:pt x="651681" y="857432"/>
                  <a:pt x="658226" y="872160"/>
                </a:cubicBezTo>
                <a:cubicBezTo>
                  <a:pt x="668988" y="896375"/>
                  <a:pt x="657009" y="885668"/>
                  <a:pt x="673569" y="896708"/>
                </a:cubicBezTo>
                <a:cubicBezTo>
                  <a:pt x="680872" y="918617"/>
                  <a:pt x="676118" y="909737"/>
                  <a:pt x="685843" y="924324"/>
                </a:cubicBezTo>
                <a:cubicBezTo>
                  <a:pt x="687888" y="930461"/>
                  <a:pt x="691064" y="936331"/>
                  <a:pt x="691979" y="942735"/>
                </a:cubicBezTo>
                <a:cubicBezTo>
                  <a:pt x="695570" y="967865"/>
                  <a:pt x="691036" y="958196"/>
                  <a:pt x="701185" y="973419"/>
                </a:cubicBezTo>
                <a:cubicBezTo>
                  <a:pt x="708896" y="996557"/>
                  <a:pt x="697597" y="968936"/>
                  <a:pt x="713459" y="988762"/>
                </a:cubicBezTo>
                <a:cubicBezTo>
                  <a:pt x="733431" y="1013726"/>
                  <a:pt x="696789" y="981297"/>
                  <a:pt x="722664" y="1007172"/>
                </a:cubicBezTo>
                <a:cubicBezTo>
                  <a:pt x="725272" y="1009780"/>
                  <a:pt x="729036" y="1010948"/>
                  <a:pt x="731869" y="1013309"/>
                </a:cubicBezTo>
                <a:cubicBezTo>
                  <a:pt x="735203" y="1016087"/>
                  <a:pt x="738006" y="1019446"/>
                  <a:pt x="741075" y="1022515"/>
                </a:cubicBezTo>
                <a:lnTo>
                  <a:pt x="750280" y="1050131"/>
                </a:lnTo>
                <a:cubicBezTo>
                  <a:pt x="751303" y="1053199"/>
                  <a:pt x="751062" y="1057049"/>
                  <a:pt x="753349" y="1059336"/>
                </a:cubicBezTo>
                <a:cubicBezTo>
                  <a:pt x="756417" y="1062404"/>
                  <a:pt x="759221" y="1065763"/>
                  <a:pt x="762554" y="1068541"/>
                </a:cubicBezTo>
                <a:cubicBezTo>
                  <a:pt x="772280" y="1076646"/>
                  <a:pt x="776788" y="1076354"/>
                  <a:pt x="790170" y="1080815"/>
                </a:cubicBezTo>
                <a:lnTo>
                  <a:pt x="799375" y="1083884"/>
                </a:lnTo>
                <a:cubicBezTo>
                  <a:pt x="801421" y="1086952"/>
                  <a:pt x="804014" y="1089719"/>
                  <a:pt x="805512" y="1093089"/>
                </a:cubicBezTo>
                <a:cubicBezTo>
                  <a:pt x="808139" y="1099000"/>
                  <a:pt x="811649" y="1111500"/>
                  <a:pt x="811649" y="1111500"/>
                </a:cubicBezTo>
                <a:cubicBezTo>
                  <a:pt x="810626" y="1119683"/>
                  <a:pt x="811930" y="1128512"/>
                  <a:pt x="808581" y="1136048"/>
                </a:cubicBezTo>
                <a:cubicBezTo>
                  <a:pt x="807267" y="1139004"/>
                  <a:pt x="802066" y="1137322"/>
                  <a:pt x="799375" y="1139116"/>
                </a:cubicBezTo>
                <a:cubicBezTo>
                  <a:pt x="776385" y="1154442"/>
                  <a:pt x="802857" y="1144091"/>
                  <a:pt x="780965" y="1151390"/>
                </a:cubicBezTo>
                <a:cubicBezTo>
                  <a:pt x="778943" y="1157453"/>
                  <a:pt x="777166" y="1165476"/>
                  <a:pt x="771759" y="1169801"/>
                </a:cubicBezTo>
                <a:cubicBezTo>
                  <a:pt x="769233" y="1171821"/>
                  <a:pt x="765622" y="1171846"/>
                  <a:pt x="762554" y="1172869"/>
                </a:cubicBezTo>
                <a:cubicBezTo>
                  <a:pt x="736175" y="1190456"/>
                  <a:pt x="769551" y="1169371"/>
                  <a:pt x="744143" y="1182074"/>
                </a:cubicBezTo>
                <a:cubicBezTo>
                  <a:pt x="740845" y="1183723"/>
                  <a:pt x="738006" y="1186165"/>
                  <a:pt x="734938" y="1188211"/>
                </a:cubicBezTo>
                <a:lnTo>
                  <a:pt x="728801" y="1206622"/>
                </a:lnTo>
                <a:lnTo>
                  <a:pt x="725732" y="1215827"/>
                </a:lnTo>
                <a:cubicBezTo>
                  <a:pt x="726755" y="1219918"/>
                  <a:pt x="727589" y="1224062"/>
                  <a:pt x="728801" y="1228101"/>
                </a:cubicBezTo>
                <a:cubicBezTo>
                  <a:pt x="730660" y="1234297"/>
                  <a:pt x="734938" y="1246512"/>
                  <a:pt x="734938" y="1246512"/>
                </a:cubicBezTo>
                <a:cubicBezTo>
                  <a:pt x="733915" y="1266968"/>
                  <a:pt x="738758" y="1288592"/>
                  <a:pt x="731869" y="1307881"/>
                </a:cubicBezTo>
                <a:cubicBezTo>
                  <a:pt x="729388" y="1314827"/>
                  <a:pt x="726593" y="1291802"/>
                  <a:pt x="719596" y="1289470"/>
                </a:cubicBezTo>
                <a:cubicBezTo>
                  <a:pt x="713459" y="1287424"/>
                  <a:pt x="707589" y="1284248"/>
                  <a:pt x="701185" y="1283333"/>
                </a:cubicBezTo>
                <a:cubicBezTo>
                  <a:pt x="675531" y="1279669"/>
                  <a:pt x="686722" y="1282019"/>
                  <a:pt x="667432" y="1277197"/>
                </a:cubicBezTo>
                <a:cubicBezTo>
                  <a:pt x="664363" y="1275151"/>
                  <a:pt x="661596" y="1272558"/>
                  <a:pt x="658226" y="1271060"/>
                </a:cubicBezTo>
                <a:cubicBezTo>
                  <a:pt x="652315" y="1268433"/>
                  <a:pt x="639816" y="1264923"/>
                  <a:pt x="639816" y="1264923"/>
                </a:cubicBezTo>
                <a:cubicBezTo>
                  <a:pt x="629588" y="1265946"/>
                  <a:pt x="619291" y="1266428"/>
                  <a:pt x="609131" y="1267991"/>
                </a:cubicBezTo>
                <a:cubicBezTo>
                  <a:pt x="605934" y="1268483"/>
                  <a:pt x="602479" y="1269074"/>
                  <a:pt x="599926" y="1271060"/>
                </a:cubicBezTo>
                <a:cubicBezTo>
                  <a:pt x="593075" y="1276388"/>
                  <a:pt x="589935" y="1287365"/>
                  <a:pt x="581515" y="1289470"/>
                </a:cubicBezTo>
                <a:cubicBezTo>
                  <a:pt x="577424" y="1290493"/>
                  <a:pt x="573296" y="1291380"/>
                  <a:pt x="569241" y="1292539"/>
                </a:cubicBezTo>
                <a:cubicBezTo>
                  <a:pt x="566131" y="1293428"/>
                  <a:pt x="563174" y="1294823"/>
                  <a:pt x="560036" y="1295607"/>
                </a:cubicBezTo>
                <a:cubicBezTo>
                  <a:pt x="554976" y="1296872"/>
                  <a:pt x="549785" y="1297545"/>
                  <a:pt x="544694" y="1298676"/>
                </a:cubicBezTo>
                <a:cubicBezTo>
                  <a:pt x="533128" y="1301246"/>
                  <a:pt x="533471" y="1301394"/>
                  <a:pt x="523214" y="1304813"/>
                </a:cubicBezTo>
                <a:cubicBezTo>
                  <a:pt x="505294" y="1298838"/>
                  <a:pt x="521751" y="1306418"/>
                  <a:pt x="507872" y="1292539"/>
                </a:cubicBezTo>
                <a:cubicBezTo>
                  <a:pt x="503534" y="1288201"/>
                  <a:pt x="491207" y="1282672"/>
                  <a:pt x="486393" y="1280265"/>
                </a:cubicBezTo>
                <a:cubicBezTo>
                  <a:pt x="476165" y="1281288"/>
                  <a:pt x="465533" y="1280310"/>
                  <a:pt x="455708" y="1283333"/>
                </a:cubicBezTo>
                <a:cubicBezTo>
                  <a:pt x="449051" y="1285381"/>
                  <a:pt x="435716" y="1309959"/>
                  <a:pt x="434229" y="1310950"/>
                </a:cubicBezTo>
                <a:lnTo>
                  <a:pt x="415818" y="1323223"/>
                </a:lnTo>
                <a:cubicBezTo>
                  <a:pt x="411727" y="1322200"/>
                  <a:pt x="407762" y="1320155"/>
                  <a:pt x="403545" y="1320155"/>
                </a:cubicBezTo>
                <a:cubicBezTo>
                  <a:pt x="400310" y="1320155"/>
                  <a:pt x="396927" y="1325164"/>
                  <a:pt x="394339" y="1323223"/>
                </a:cubicBezTo>
                <a:cubicBezTo>
                  <a:pt x="390965" y="1320693"/>
                  <a:pt x="392186" y="1315066"/>
                  <a:pt x="391271" y="1310950"/>
                </a:cubicBezTo>
                <a:cubicBezTo>
                  <a:pt x="390140" y="1305859"/>
                  <a:pt x="389467" y="1300667"/>
                  <a:pt x="388202" y="1295607"/>
                </a:cubicBezTo>
                <a:cubicBezTo>
                  <a:pt x="387418" y="1292469"/>
                  <a:pt x="387660" y="1288422"/>
                  <a:pt x="385134" y="1286402"/>
                </a:cubicBezTo>
                <a:cubicBezTo>
                  <a:pt x="381841" y="1283767"/>
                  <a:pt x="376915" y="1284492"/>
                  <a:pt x="372860" y="1283333"/>
                </a:cubicBezTo>
                <a:cubicBezTo>
                  <a:pt x="369750" y="1282444"/>
                  <a:pt x="366723" y="1281288"/>
                  <a:pt x="363655" y="1280265"/>
                </a:cubicBezTo>
                <a:cubicBezTo>
                  <a:pt x="360586" y="1278219"/>
                  <a:pt x="357748" y="1275777"/>
                  <a:pt x="354449" y="1274128"/>
                </a:cubicBezTo>
                <a:cubicBezTo>
                  <a:pt x="341204" y="1267506"/>
                  <a:pt x="312961" y="1268576"/>
                  <a:pt x="305354" y="1267991"/>
                </a:cubicBezTo>
                <a:cubicBezTo>
                  <a:pt x="266586" y="1255070"/>
                  <a:pt x="328561" y="1276623"/>
                  <a:pt x="286943" y="1258786"/>
                </a:cubicBezTo>
                <a:cubicBezTo>
                  <a:pt x="283067" y="1257125"/>
                  <a:pt x="278708" y="1256929"/>
                  <a:pt x="274669" y="1255717"/>
                </a:cubicBezTo>
                <a:cubicBezTo>
                  <a:pt x="193319" y="1231310"/>
                  <a:pt x="338826" y="1251054"/>
                  <a:pt x="84425" y="1246512"/>
                </a:cubicBezTo>
                <a:cubicBezTo>
                  <a:pt x="86768" y="1216059"/>
                  <a:pt x="84592" y="1215246"/>
                  <a:pt x="90562" y="1194348"/>
                </a:cubicBezTo>
                <a:cubicBezTo>
                  <a:pt x="91450" y="1191238"/>
                  <a:pt x="92184" y="1188036"/>
                  <a:pt x="93630" y="1185143"/>
                </a:cubicBezTo>
                <a:cubicBezTo>
                  <a:pt x="95279" y="1181844"/>
                  <a:pt x="98269" y="1179307"/>
                  <a:pt x="99767" y="1175937"/>
                </a:cubicBezTo>
                <a:cubicBezTo>
                  <a:pt x="102394" y="1170026"/>
                  <a:pt x="103858" y="1163664"/>
                  <a:pt x="105904" y="1157527"/>
                </a:cubicBezTo>
                <a:lnTo>
                  <a:pt x="108973" y="1148321"/>
                </a:lnTo>
                <a:cubicBezTo>
                  <a:pt x="109996" y="1145253"/>
                  <a:pt x="109350" y="1140910"/>
                  <a:pt x="112041" y="1139116"/>
                </a:cubicBezTo>
                <a:cubicBezTo>
                  <a:pt x="123938" y="1131185"/>
                  <a:pt x="117748" y="1134145"/>
                  <a:pt x="130452" y="1129911"/>
                </a:cubicBezTo>
                <a:cubicBezTo>
                  <a:pt x="132498" y="1126842"/>
                  <a:pt x="136042" y="1124352"/>
                  <a:pt x="136589" y="1120705"/>
                </a:cubicBezTo>
                <a:cubicBezTo>
                  <a:pt x="139173" y="1103480"/>
                  <a:pt x="133635" y="1084885"/>
                  <a:pt x="139657" y="1068541"/>
                </a:cubicBezTo>
                <a:cubicBezTo>
                  <a:pt x="141893" y="1062471"/>
                  <a:pt x="158068" y="1062405"/>
                  <a:pt x="158068" y="1062405"/>
                </a:cubicBezTo>
                <a:cubicBezTo>
                  <a:pt x="161136" y="1060359"/>
                  <a:pt x="165227" y="1059336"/>
                  <a:pt x="167273" y="1056268"/>
                </a:cubicBezTo>
                <a:cubicBezTo>
                  <a:pt x="169612" y="1052759"/>
                  <a:pt x="170342" y="1048211"/>
                  <a:pt x="170342" y="1043994"/>
                </a:cubicBezTo>
                <a:cubicBezTo>
                  <a:pt x="170342" y="1021529"/>
                  <a:pt x="173595" y="1018005"/>
                  <a:pt x="158068" y="1010241"/>
                </a:cubicBezTo>
                <a:cubicBezTo>
                  <a:pt x="147008" y="1004710"/>
                  <a:pt x="126986" y="1004985"/>
                  <a:pt x="118178" y="1004104"/>
                </a:cubicBezTo>
                <a:cubicBezTo>
                  <a:pt x="112041" y="1002058"/>
                  <a:pt x="105553" y="1000860"/>
                  <a:pt x="99767" y="997967"/>
                </a:cubicBezTo>
                <a:cubicBezTo>
                  <a:pt x="72327" y="984246"/>
                  <a:pt x="83899" y="988585"/>
                  <a:pt x="66014" y="982625"/>
                </a:cubicBezTo>
                <a:cubicBezTo>
                  <a:pt x="59877" y="978534"/>
                  <a:pt x="51695" y="976488"/>
                  <a:pt x="47604" y="970351"/>
                </a:cubicBezTo>
                <a:lnTo>
                  <a:pt x="35330" y="951940"/>
                </a:lnTo>
                <a:cubicBezTo>
                  <a:pt x="30691" y="933385"/>
                  <a:pt x="33597" y="943675"/>
                  <a:pt x="26124" y="921256"/>
                </a:cubicBezTo>
                <a:lnTo>
                  <a:pt x="23056" y="912050"/>
                </a:lnTo>
                <a:cubicBezTo>
                  <a:pt x="22033" y="897731"/>
                  <a:pt x="21572" y="883360"/>
                  <a:pt x="19987" y="869092"/>
                </a:cubicBezTo>
                <a:cubicBezTo>
                  <a:pt x="19521" y="864901"/>
                  <a:pt x="17515" y="860993"/>
                  <a:pt x="16919" y="856818"/>
                </a:cubicBezTo>
                <a:cubicBezTo>
                  <a:pt x="10988" y="815291"/>
                  <a:pt x="17902" y="838283"/>
                  <a:pt x="10782" y="816928"/>
                </a:cubicBezTo>
                <a:cubicBezTo>
                  <a:pt x="9759" y="805677"/>
                  <a:pt x="9207" y="794373"/>
                  <a:pt x="7714" y="783175"/>
                </a:cubicBezTo>
                <a:cubicBezTo>
                  <a:pt x="6858" y="776758"/>
                  <a:pt x="3679" y="768004"/>
                  <a:pt x="1577" y="761696"/>
                </a:cubicBezTo>
                <a:cubicBezTo>
                  <a:pt x="2032" y="755786"/>
                  <a:pt x="0" y="697871"/>
                  <a:pt x="10782" y="672711"/>
                </a:cubicBezTo>
                <a:cubicBezTo>
                  <a:pt x="12584" y="668507"/>
                  <a:pt x="14650" y="664409"/>
                  <a:pt x="16919" y="660437"/>
                </a:cubicBezTo>
                <a:cubicBezTo>
                  <a:pt x="18749" y="657235"/>
                  <a:pt x="21010" y="654300"/>
                  <a:pt x="23056" y="651231"/>
                </a:cubicBezTo>
                <a:cubicBezTo>
                  <a:pt x="24079" y="634866"/>
                  <a:pt x="24492" y="618452"/>
                  <a:pt x="26124" y="602136"/>
                </a:cubicBezTo>
                <a:cubicBezTo>
                  <a:pt x="26674" y="596636"/>
                  <a:pt x="30393" y="586262"/>
                  <a:pt x="32261" y="580657"/>
                </a:cubicBezTo>
                <a:cubicBezTo>
                  <a:pt x="31238" y="571452"/>
                  <a:pt x="30716" y="562177"/>
                  <a:pt x="29193" y="553041"/>
                </a:cubicBezTo>
                <a:cubicBezTo>
                  <a:pt x="27090" y="540422"/>
                  <a:pt x="18393" y="539327"/>
                  <a:pt x="29193" y="522356"/>
                </a:cubicBezTo>
                <a:cubicBezTo>
                  <a:pt x="39864" y="505588"/>
                  <a:pt x="52115" y="513209"/>
                  <a:pt x="66014" y="503945"/>
                </a:cubicBezTo>
                <a:cubicBezTo>
                  <a:pt x="78729" y="495470"/>
                  <a:pt x="71642" y="498704"/>
                  <a:pt x="87494" y="494740"/>
                </a:cubicBezTo>
                <a:lnTo>
                  <a:pt x="105904" y="482466"/>
                </a:lnTo>
                <a:lnTo>
                  <a:pt x="115110" y="476329"/>
                </a:lnTo>
                <a:cubicBezTo>
                  <a:pt x="129177" y="455228"/>
                  <a:pt x="125050" y="464916"/>
                  <a:pt x="130452" y="448713"/>
                </a:cubicBezTo>
                <a:cubicBezTo>
                  <a:pt x="123292" y="427235"/>
                  <a:pt x="130452" y="432349"/>
                  <a:pt x="115110" y="427234"/>
                </a:cubicBezTo>
                <a:cubicBezTo>
                  <a:pt x="114087" y="424166"/>
                  <a:pt x="113488" y="420922"/>
                  <a:pt x="112041" y="418029"/>
                </a:cubicBezTo>
                <a:cubicBezTo>
                  <a:pt x="110392" y="414730"/>
                  <a:pt x="106187" y="412500"/>
                  <a:pt x="105904" y="408823"/>
                </a:cubicBezTo>
                <a:cubicBezTo>
                  <a:pt x="105116" y="398574"/>
                  <a:pt x="107079" y="388242"/>
                  <a:pt x="108973" y="378139"/>
                </a:cubicBezTo>
                <a:cubicBezTo>
                  <a:pt x="110165" y="371781"/>
                  <a:pt x="109728" y="363316"/>
                  <a:pt x="115110" y="359728"/>
                </a:cubicBezTo>
                <a:cubicBezTo>
                  <a:pt x="136211" y="345660"/>
                  <a:pt x="126523" y="349786"/>
                  <a:pt x="142726" y="344386"/>
                </a:cubicBezTo>
                <a:cubicBezTo>
                  <a:pt x="145794" y="342340"/>
                  <a:pt x="149627" y="341129"/>
                  <a:pt x="151931" y="338249"/>
                </a:cubicBezTo>
                <a:cubicBezTo>
                  <a:pt x="153952" y="335723"/>
                  <a:pt x="153553" y="331936"/>
                  <a:pt x="155000" y="329043"/>
                </a:cubicBezTo>
                <a:cubicBezTo>
                  <a:pt x="156649" y="325745"/>
                  <a:pt x="159487" y="323136"/>
                  <a:pt x="161136" y="319838"/>
                </a:cubicBezTo>
                <a:cubicBezTo>
                  <a:pt x="166126" y="309857"/>
                  <a:pt x="161550" y="310219"/>
                  <a:pt x="170342" y="301427"/>
                </a:cubicBezTo>
                <a:cubicBezTo>
                  <a:pt x="172950" y="298819"/>
                  <a:pt x="176479" y="297336"/>
                  <a:pt x="179547" y="295290"/>
                </a:cubicBezTo>
                <a:cubicBezTo>
                  <a:pt x="178524" y="290176"/>
                  <a:pt x="179067" y="284476"/>
                  <a:pt x="176479" y="279948"/>
                </a:cubicBezTo>
                <a:cubicBezTo>
                  <a:pt x="173680" y="275049"/>
                  <a:pt x="162793" y="272318"/>
                  <a:pt x="158068" y="270743"/>
                </a:cubicBezTo>
                <a:cubicBezTo>
                  <a:pt x="154543" y="260165"/>
                  <a:pt x="149374" y="261027"/>
                  <a:pt x="148863" y="255401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3" name="Title 1"/>
          <p:cNvSpPr txBox="1">
            <a:spLocks/>
          </p:cNvSpPr>
          <p:nvPr/>
        </p:nvSpPr>
        <p:spPr>
          <a:xfrm>
            <a:off x="3929069" y="3714751"/>
            <a:ext cx="1000125" cy="3810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జర్మనీ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15" name="Freeform 114"/>
          <p:cNvSpPr/>
          <p:nvPr/>
        </p:nvSpPr>
        <p:spPr>
          <a:xfrm>
            <a:off x="4138618" y="2802471"/>
            <a:ext cx="301625" cy="433917"/>
          </a:xfrm>
          <a:custGeom>
            <a:avLst/>
            <a:gdLst>
              <a:gd name="connsiteX0" fmla="*/ 61535 w 300487"/>
              <a:gd name="connsiteY0" fmla="*/ 422362 h 434635"/>
              <a:gd name="connsiteX1" fmla="*/ 55398 w 300487"/>
              <a:gd name="connsiteY1" fmla="*/ 376335 h 434635"/>
              <a:gd name="connsiteX2" fmla="*/ 49261 w 300487"/>
              <a:gd name="connsiteY2" fmla="*/ 367129 h 434635"/>
              <a:gd name="connsiteX3" fmla="*/ 33919 w 300487"/>
              <a:gd name="connsiteY3" fmla="*/ 364061 h 434635"/>
              <a:gd name="connsiteX4" fmla="*/ 24713 w 300487"/>
              <a:gd name="connsiteY4" fmla="*/ 357924 h 434635"/>
              <a:gd name="connsiteX5" fmla="*/ 15508 w 300487"/>
              <a:gd name="connsiteY5" fmla="*/ 333376 h 434635"/>
              <a:gd name="connsiteX6" fmla="*/ 12439 w 300487"/>
              <a:gd name="connsiteY6" fmla="*/ 290418 h 434635"/>
              <a:gd name="connsiteX7" fmla="*/ 12439 w 300487"/>
              <a:gd name="connsiteY7" fmla="*/ 256665 h 434635"/>
              <a:gd name="connsiteX8" fmla="*/ 21645 w 300487"/>
              <a:gd name="connsiteY8" fmla="*/ 250528 h 434635"/>
              <a:gd name="connsiteX9" fmla="*/ 30850 w 300487"/>
              <a:gd name="connsiteY9" fmla="*/ 183022 h 434635"/>
              <a:gd name="connsiteX10" fmla="*/ 36987 w 300487"/>
              <a:gd name="connsiteY10" fmla="*/ 161543 h 434635"/>
              <a:gd name="connsiteX11" fmla="*/ 86082 w 300487"/>
              <a:gd name="connsiteY11" fmla="*/ 161543 h 434635"/>
              <a:gd name="connsiteX12" fmla="*/ 83014 w 300487"/>
              <a:gd name="connsiteY12" fmla="*/ 149269 h 434635"/>
              <a:gd name="connsiteX13" fmla="*/ 64603 w 300487"/>
              <a:gd name="connsiteY13" fmla="*/ 136995 h 434635"/>
              <a:gd name="connsiteX14" fmla="*/ 61535 w 300487"/>
              <a:gd name="connsiteY14" fmla="*/ 127790 h 434635"/>
              <a:gd name="connsiteX15" fmla="*/ 64603 w 300487"/>
              <a:gd name="connsiteY15" fmla="*/ 115516 h 434635"/>
              <a:gd name="connsiteX16" fmla="*/ 73809 w 300487"/>
              <a:gd name="connsiteY16" fmla="*/ 112448 h 434635"/>
              <a:gd name="connsiteX17" fmla="*/ 92219 w 300487"/>
              <a:gd name="connsiteY17" fmla="*/ 109379 h 434635"/>
              <a:gd name="connsiteX18" fmla="*/ 95288 w 300487"/>
              <a:gd name="connsiteY18" fmla="*/ 100174 h 434635"/>
              <a:gd name="connsiteX19" fmla="*/ 98356 w 300487"/>
              <a:gd name="connsiteY19" fmla="*/ 78695 h 434635"/>
              <a:gd name="connsiteX20" fmla="*/ 110630 w 300487"/>
              <a:gd name="connsiteY20" fmla="*/ 75626 h 434635"/>
              <a:gd name="connsiteX21" fmla="*/ 168931 w 300487"/>
              <a:gd name="connsiteY21" fmla="*/ 72558 h 434635"/>
              <a:gd name="connsiteX22" fmla="*/ 178136 w 300487"/>
              <a:gd name="connsiteY22" fmla="*/ 69489 h 434635"/>
              <a:gd name="connsiteX23" fmla="*/ 205752 w 300487"/>
              <a:gd name="connsiteY23" fmla="*/ 48010 h 434635"/>
              <a:gd name="connsiteX24" fmla="*/ 227231 w 300487"/>
              <a:gd name="connsiteY24" fmla="*/ 23462 h 434635"/>
              <a:gd name="connsiteX25" fmla="*/ 236437 w 300487"/>
              <a:gd name="connsiteY25" fmla="*/ 20394 h 434635"/>
              <a:gd name="connsiteX26" fmla="*/ 257916 w 300487"/>
              <a:gd name="connsiteY26" fmla="*/ 8120 h 434635"/>
              <a:gd name="connsiteX27" fmla="*/ 267121 w 300487"/>
              <a:gd name="connsiteY27" fmla="*/ 5052 h 434635"/>
              <a:gd name="connsiteX28" fmla="*/ 297806 w 300487"/>
              <a:gd name="connsiteY28" fmla="*/ 17325 h 434635"/>
              <a:gd name="connsiteX29" fmla="*/ 294737 w 300487"/>
              <a:gd name="connsiteY29" fmla="*/ 35736 h 434635"/>
              <a:gd name="connsiteX30" fmla="*/ 288601 w 300487"/>
              <a:gd name="connsiteY30" fmla="*/ 54147 h 434635"/>
              <a:gd name="connsiteX31" fmla="*/ 285532 w 300487"/>
              <a:gd name="connsiteY31" fmla="*/ 87900 h 434635"/>
              <a:gd name="connsiteX32" fmla="*/ 279395 w 300487"/>
              <a:gd name="connsiteY32" fmla="*/ 106311 h 434635"/>
              <a:gd name="connsiteX33" fmla="*/ 276327 w 300487"/>
              <a:gd name="connsiteY33" fmla="*/ 115516 h 434635"/>
              <a:gd name="connsiteX34" fmla="*/ 248711 w 300487"/>
              <a:gd name="connsiteY34" fmla="*/ 136995 h 434635"/>
              <a:gd name="connsiteX35" fmla="*/ 239505 w 300487"/>
              <a:gd name="connsiteY35" fmla="*/ 140064 h 434635"/>
              <a:gd name="connsiteX36" fmla="*/ 236437 w 300487"/>
              <a:gd name="connsiteY36" fmla="*/ 149269 h 434635"/>
              <a:gd name="connsiteX37" fmla="*/ 242574 w 300487"/>
              <a:gd name="connsiteY37" fmla="*/ 167680 h 434635"/>
              <a:gd name="connsiteX38" fmla="*/ 245642 w 300487"/>
              <a:gd name="connsiteY38" fmla="*/ 176885 h 434635"/>
              <a:gd name="connsiteX39" fmla="*/ 248711 w 300487"/>
              <a:gd name="connsiteY39" fmla="*/ 192227 h 434635"/>
              <a:gd name="connsiteX40" fmla="*/ 257916 w 300487"/>
              <a:gd name="connsiteY40" fmla="*/ 195296 h 434635"/>
              <a:gd name="connsiteX41" fmla="*/ 285532 w 300487"/>
              <a:gd name="connsiteY41" fmla="*/ 216775 h 434635"/>
              <a:gd name="connsiteX42" fmla="*/ 288601 w 300487"/>
              <a:gd name="connsiteY42" fmla="*/ 225980 h 434635"/>
              <a:gd name="connsiteX43" fmla="*/ 291669 w 300487"/>
              <a:gd name="connsiteY43" fmla="*/ 253597 h 434635"/>
              <a:gd name="connsiteX44" fmla="*/ 282464 w 300487"/>
              <a:gd name="connsiteY44" fmla="*/ 262802 h 434635"/>
              <a:gd name="connsiteX45" fmla="*/ 264053 w 300487"/>
              <a:gd name="connsiteY45" fmla="*/ 268939 h 434635"/>
              <a:gd name="connsiteX46" fmla="*/ 251779 w 300487"/>
              <a:gd name="connsiteY46" fmla="*/ 265870 h 434635"/>
              <a:gd name="connsiteX47" fmla="*/ 248711 w 300487"/>
              <a:gd name="connsiteY47" fmla="*/ 256665 h 434635"/>
              <a:gd name="connsiteX48" fmla="*/ 239505 w 300487"/>
              <a:gd name="connsiteY48" fmla="*/ 253597 h 434635"/>
              <a:gd name="connsiteX49" fmla="*/ 230300 w 300487"/>
              <a:gd name="connsiteY49" fmla="*/ 256665 h 434635"/>
              <a:gd name="connsiteX50" fmla="*/ 218026 w 300487"/>
              <a:gd name="connsiteY50" fmla="*/ 275076 h 434635"/>
              <a:gd name="connsiteX51" fmla="*/ 208821 w 300487"/>
              <a:gd name="connsiteY51" fmla="*/ 314966 h 434635"/>
              <a:gd name="connsiteX52" fmla="*/ 190410 w 300487"/>
              <a:gd name="connsiteY52" fmla="*/ 327240 h 434635"/>
              <a:gd name="connsiteX53" fmla="*/ 171999 w 300487"/>
              <a:gd name="connsiteY53" fmla="*/ 354856 h 434635"/>
              <a:gd name="connsiteX54" fmla="*/ 165862 w 300487"/>
              <a:gd name="connsiteY54" fmla="*/ 364061 h 434635"/>
              <a:gd name="connsiteX55" fmla="*/ 156657 w 300487"/>
              <a:gd name="connsiteY55" fmla="*/ 391677 h 434635"/>
              <a:gd name="connsiteX56" fmla="*/ 153588 w 300487"/>
              <a:gd name="connsiteY56" fmla="*/ 400882 h 434635"/>
              <a:gd name="connsiteX57" fmla="*/ 147452 w 300487"/>
              <a:gd name="connsiteY57" fmla="*/ 431567 h 434635"/>
              <a:gd name="connsiteX58" fmla="*/ 73809 w 300487"/>
              <a:gd name="connsiteY58" fmla="*/ 434635 h 434635"/>
              <a:gd name="connsiteX59" fmla="*/ 61535 w 300487"/>
              <a:gd name="connsiteY59" fmla="*/ 422362 h 434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300487" h="434635">
                <a:moveTo>
                  <a:pt x="61535" y="422362"/>
                </a:moveTo>
                <a:cubicBezTo>
                  <a:pt x="61364" y="420994"/>
                  <a:pt x="56304" y="379354"/>
                  <a:pt x="55398" y="376335"/>
                </a:cubicBezTo>
                <a:cubicBezTo>
                  <a:pt x="54338" y="372803"/>
                  <a:pt x="52463" y="368959"/>
                  <a:pt x="49261" y="367129"/>
                </a:cubicBezTo>
                <a:cubicBezTo>
                  <a:pt x="44733" y="364541"/>
                  <a:pt x="39033" y="365084"/>
                  <a:pt x="33919" y="364061"/>
                </a:cubicBezTo>
                <a:cubicBezTo>
                  <a:pt x="30850" y="362015"/>
                  <a:pt x="27321" y="360532"/>
                  <a:pt x="24713" y="357924"/>
                </a:cubicBezTo>
                <a:cubicBezTo>
                  <a:pt x="16811" y="350023"/>
                  <a:pt x="17703" y="344354"/>
                  <a:pt x="15508" y="333376"/>
                </a:cubicBezTo>
                <a:cubicBezTo>
                  <a:pt x="14485" y="319057"/>
                  <a:pt x="14116" y="304675"/>
                  <a:pt x="12439" y="290418"/>
                </a:cubicBezTo>
                <a:cubicBezTo>
                  <a:pt x="10282" y="272080"/>
                  <a:pt x="0" y="287762"/>
                  <a:pt x="12439" y="256665"/>
                </a:cubicBezTo>
                <a:cubicBezTo>
                  <a:pt x="13809" y="253241"/>
                  <a:pt x="18576" y="252574"/>
                  <a:pt x="21645" y="250528"/>
                </a:cubicBezTo>
                <a:cubicBezTo>
                  <a:pt x="39041" y="224436"/>
                  <a:pt x="25141" y="248676"/>
                  <a:pt x="30850" y="183022"/>
                </a:cubicBezTo>
                <a:cubicBezTo>
                  <a:pt x="31303" y="177813"/>
                  <a:pt x="35193" y="166924"/>
                  <a:pt x="36987" y="161543"/>
                </a:cubicBezTo>
                <a:cubicBezTo>
                  <a:pt x="38125" y="161657"/>
                  <a:pt x="79162" y="168463"/>
                  <a:pt x="86082" y="161543"/>
                </a:cubicBezTo>
                <a:cubicBezTo>
                  <a:pt x="89064" y="158561"/>
                  <a:pt x="85791" y="152443"/>
                  <a:pt x="83014" y="149269"/>
                </a:cubicBezTo>
                <a:cubicBezTo>
                  <a:pt x="78157" y="143718"/>
                  <a:pt x="64603" y="136995"/>
                  <a:pt x="64603" y="136995"/>
                </a:cubicBezTo>
                <a:cubicBezTo>
                  <a:pt x="63580" y="133927"/>
                  <a:pt x="61535" y="131024"/>
                  <a:pt x="61535" y="127790"/>
                </a:cubicBezTo>
                <a:cubicBezTo>
                  <a:pt x="61535" y="123573"/>
                  <a:pt x="61968" y="118809"/>
                  <a:pt x="64603" y="115516"/>
                </a:cubicBezTo>
                <a:cubicBezTo>
                  <a:pt x="66624" y="112990"/>
                  <a:pt x="70651" y="113150"/>
                  <a:pt x="73809" y="112448"/>
                </a:cubicBezTo>
                <a:cubicBezTo>
                  <a:pt x="79882" y="111098"/>
                  <a:pt x="86082" y="110402"/>
                  <a:pt x="92219" y="109379"/>
                </a:cubicBezTo>
                <a:cubicBezTo>
                  <a:pt x="93242" y="106311"/>
                  <a:pt x="94654" y="103346"/>
                  <a:pt x="95288" y="100174"/>
                </a:cubicBezTo>
                <a:cubicBezTo>
                  <a:pt x="96706" y="93082"/>
                  <a:pt x="94523" y="84828"/>
                  <a:pt x="98356" y="78695"/>
                </a:cubicBezTo>
                <a:cubicBezTo>
                  <a:pt x="100591" y="75119"/>
                  <a:pt x="106429" y="75991"/>
                  <a:pt x="110630" y="75626"/>
                </a:cubicBezTo>
                <a:cubicBezTo>
                  <a:pt x="130017" y="73940"/>
                  <a:pt x="149497" y="73581"/>
                  <a:pt x="168931" y="72558"/>
                </a:cubicBezTo>
                <a:cubicBezTo>
                  <a:pt x="171999" y="71535"/>
                  <a:pt x="175309" y="71060"/>
                  <a:pt x="178136" y="69489"/>
                </a:cubicBezTo>
                <a:cubicBezTo>
                  <a:pt x="187215" y="64445"/>
                  <a:pt x="198946" y="56761"/>
                  <a:pt x="205752" y="48010"/>
                </a:cubicBezTo>
                <a:cubicBezTo>
                  <a:pt x="217466" y="32950"/>
                  <a:pt x="213192" y="30481"/>
                  <a:pt x="227231" y="23462"/>
                </a:cubicBezTo>
                <a:cubicBezTo>
                  <a:pt x="230124" y="22016"/>
                  <a:pt x="233368" y="21417"/>
                  <a:pt x="236437" y="20394"/>
                </a:cubicBezTo>
                <a:cubicBezTo>
                  <a:pt x="245682" y="14231"/>
                  <a:pt x="247015" y="12792"/>
                  <a:pt x="257916" y="8120"/>
                </a:cubicBezTo>
                <a:cubicBezTo>
                  <a:pt x="260889" y="6846"/>
                  <a:pt x="264053" y="6075"/>
                  <a:pt x="267121" y="5052"/>
                </a:cubicBezTo>
                <a:cubicBezTo>
                  <a:pt x="280774" y="6569"/>
                  <a:pt x="297806" y="0"/>
                  <a:pt x="297806" y="17325"/>
                </a:cubicBezTo>
                <a:cubicBezTo>
                  <a:pt x="297806" y="23547"/>
                  <a:pt x="296246" y="29700"/>
                  <a:pt x="294737" y="35736"/>
                </a:cubicBezTo>
                <a:cubicBezTo>
                  <a:pt x="293168" y="42012"/>
                  <a:pt x="288601" y="54147"/>
                  <a:pt x="288601" y="54147"/>
                </a:cubicBezTo>
                <a:cubicBezTo>
                  <a:pt x="287578" y="65398"/>
                  <a:pt x="287495" y="76775"/>
                  <a:pt x="285532" y="87900"/>
                </a:cubicBezTo>
                <a:cubicBezTo>
                  <a:pt x="284408" y="94271"/>
                  <a:pt x="281441" y="100174"/>
                  <a:pt x="279395" y="106311"/>
                </a:cubicBezTo>
                <a:cubicBezTo>
                  <a:pt x="278372" y="109379"/>
                  <a:pt x="278614" y="113229"/>
                  <a:pt x="276327" y="115516"/>
                </a:cubicBezTo>
                <a:cubicBezTo>
                  <a:pt x="268385" y="123457"/>
                  <a:pt x="259719" y="133325"/>
                  <a:pt x="248711" y="136995"/>
                </a:cubicBezTo>
                <a:lnTo>
                  <a:pt x="239505" y="140064"/>
                </a:lnTo>
                <a:cubicBezTo>
                  <a:pt x="238482" y="143132"/>
                  <a:pt x="236080" y="146055"/>
                  <a:pt x="236437" y="149269"/>
                </a:cubicBezTo>
                <a:cubicBezTo>
                  <a:pt x="237152" y="155698"/>
                  <a:pt x="240528" y="161543"/>
                  <a:pt x="242574" y="167680"/>
                </a:cubicBezTo>
                <a:cubicBezTo>
                  <a:pt x="243597" y="170748"/>
                  <a:pt x="245008" y="173714"/>
                  <a:pt x="245642" y="176885"/>
                </a:cubicBezTo>
                <a:cubicBezTo>
                  <a:pt x="246665" y="181999"/>
                  <a:pt x="245818" y="187888"/>
                  <a:pt x="248711" y="192227"/>
                </a:cubicBezTo>
                <a:cubicBezTo>
                  <a:pt x="250505" y="194918"/>
                  <a:pt x="255089" y="193725"/>
                  <a:pt x="257916" y="195296"/>
                </a:cubicBezTo>
                <a:cubicBezTo>
                  <a:pt x="274433" y="204473"/>
                  <a:pt x="274350" y="205593"/>
                  <a:pt x="285532" y="216775"/>
                </a:cubicBezTo>
                <a:cubicBezTo>
                  <a:pt x="286555" y="219843"/>
                  <a:pt x="287155" y="223087"/>
                  <a:pt x="288601" y="225980"/>
                </a:cubicBezTo>
                <a:cubicBezTo>
                  <a:pt x="295138" y="239055"/>
                  <a:pt x="300487" y="233754"/>
                  <a:pt x="291669" y="253597"/>
                </a:cubicBezTo>
                <a:cubicBezTo>
                  <a:pt x="289907" y="257562"/>
                  <a:pt x="286257" y="260695"/>
                  <a:pt x="282464" y="262802"/>
                </a:cubicBezTo>
                <a:cubicBezTo>
                  <a:pt x="276809" y="265944"/>
                  <a:pt x="264053" y="268939"/>
                  <a:pt x="264053" y="268939"/>
                </a:cubicBezTo>
                <a:cubicBezTo>
                  <a:pt x="259962" y="267916"/>
                  <a:pt x="255072" y="268505"/>
                  <a:pt x="251779" y="265870"/>
                </a:cubicBezTo>
                <a:cubicBezTo>
                  <a:pt x="249253" y="263850"/>
                  <a:pt x="250998" y="258952"/>
                  <a:pt x="248711" y="256665"/>
                </a:cubicBezTo>
                <a:cubicBezTo>
                  <a:pt x="246424" y="254378"/>
                  <a:pt x="242574" y="254620"/>
                  <a:pt x="239505" y="253597"/>
                </a:cubicBezTo>
                <a:cubicBezTo>
                  <a:pt x="236437" y="254620"/>
                  <a:pt x="232587" y="254378"/>
                  <a:pt x="230300" y="256665"/>
                </a:cubicBezTo>
                <a:cubicBezTo>
                  <a:pt x="225085" y="261880"/>
                  <a:pt x="218026" y="275076"/>
                  <a:pt x="218026" y="275076"/>
                </a:cubicBezTo>
                <a:cubicBezTo>
                  <a:pt x="216851" y="286828"/>
                  <a:pt x="219849" y="305317"/>
                  <a:pt x="208821" y="314966"/>
                </a:cubicBezTo>
                <a:cubicBezTo>
                  <a:pt x="203270" y="319823"/>
                  <a:pt x="190410" y="327240"/>
                  <a:pt x="190410" y="327240"/>
                </a:cubicBezTo>
                <a:lnTo>
                  <a:pt x="171999" y="354856"/>
                </a:lnTo>
                <a:lnTo>
                  <a:pt x="165862" y="364061"/>
                </a:lnTo>
                <a:lnTo>
                  <a:pt x="156657" y="391677"/>
                </a:lnTo>
                <a:cubicBezTo>
                  <a:pt x="155634" y="394745"/>
                  <a:pt x="154222" y="397710"/>
                  <a:pt x="153588" y="400882"/>
                </a:cubicBezTo>
                <a:cubicBezTo>
                  <a:pt x="151543" y="411110"/>
                  <a:pt x="157874" y="431133"/>
                  <a:pt x="147452" y="431567"/>
                </a:cubicBezTo>
                <a:lnTo>
                  <a:pt x="73809" y="434635"/>
                </a:lnTo>
                <a:lnTo>
                  <a:pt x="61535" y="422362"/>
                </a:ln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6" name="Freeform 115"/>
          <p:cNvSpPr/>
          <p:nvPr/>
        </p:nvSpPr>
        <p:spPr>
          <a:xfrm>
            <a:off x="4713294" y="3306238"/>
            <a:ext cx="1055687" cy="969433"/>
          </a:xfrm>
          <a:custGeom>
            <a:avLst/>
            <a:gdLst>
              <a:gd name="connsiteX0" fmla="*/ 33379 w 1055175"/>
              <a:gd name="connsiteY0" fmla="*/ 204921 h 969539"/>
              <a:gd name="connsiteX1" fmla="*/ 39516 w 1055175"/>
              <a:gd name="connsiteY1" fmla="*/ 171168 h 969539"/>
              <a:gd name="connsiteX2" fmla="*/ 42584 w 1055175"/>
              <a:gd name="connsiteY2" fmla="*/ 158894 h 969539"/>
              <a:gd name="connsiteX3" fmla="*/ 51790 w 1055175"/>
              <a:gd name="connsiteY3" fmla="*/ 152757 h 969539"/>
              <a:gd name="connsiteX4" fmla="*/ 70200 w 1055175"/>
              <a:gd name="connsiteY4" fmla="*/ 146620 h 969539"/>
              <a:gd name="connsiteX5" fmla="*/ 79406 w 1055175"/>
              <a:gd name="connsiteY5" fmla="*/ 137415 h 969539"/>
              <a:gd name="connsiteX6" fmla="*/ 91680 w 1055175"/>
              <a:gd name="connsiteY6" fmla="*/ 134347 h 969539"/>
              <a:gd name="connsiteX7" fmla="*/ 110090 w 1055175"/>
              <a:gd name="connsiteY7" fmla="*/ 128210 h 969539"/>
              <a:gd name="connsiteX8" fmla="*/ 119296 w 1055175"/>
              <a:gd name="connsiteY8" fmla="*/ 125141 h 969539"/>
              <a:gd name="connsiteX9" fmla="*/ 128501 w 1055175"/>
              <a:gd name="connsiteY9" fmla="*/ 115936 h 969539"/>
              <a:gd name="connsiteX10" fmla="*/ 137707 w 1055175"/>
              <a:gd name="connsiteY10" fmla="*/ 112867 h 969539"/>
              <a:gd name="connsiteX11" fmla="*/ 192939 w 1055175"/>
              <a:gd name="connsiteY11" fmla="*/ 109799 h 969539"/>
              <a:gd name="connsiteX12" fmla="*/ 223623 w 1055175"/>
              <a:gd name="connsiteY12" fmla="*/ 100594 h 969539"/>
              <a:gd name="connsiteX13" fmla="*/ 232829 w 1055175"/>
              <a:gd name="connsiteY13" fmla="*/ 94457 h 969539"/>
              <a:gd name="connsiteX14" fmla="*/ 242034 w 1055175"/>
              <a:gd name="connsiteY14" fmla="*/ 91388 h 969539"/>
              <a:gd name="connsiteX15" fmla="*/ 248171 w 1055175"/>
              <a:gd name="connsiteY15" fmla="*/ 82183 h 969539"/>
              <a:gd name="connsiteX16" fmla="*/ 257376 w 1055175"/>
              <a:gd name="connsiteY16" fmla="*/ 79114 h 969539"/>
              <a:gd name="connsiteX17" fmla="*/ 266582 w 1055175"/>
              <a:gd name="connsiteY17" fmla="*/ 72977 h 969539"/>
              <a:gd name="connsiteX18" fmla="*/ 272719 w 1055175"/>
              <a:gd name="connsiteY18" fmla="*/ 63772 h 969539"/>
              <a:gd name="connsiteX19" fmla="*/ 297266 w 1055175"/>
              <a:gd name="connsiteY19" fmla="*/ 57635 h 969539"/>
              <a:gd name="connsiteX20" fmla="*/ 303403 w 1055175"/>
              <a:gd name="connsiteY20" fmla="*/ 48430 h 969539"/>
              <a:gd name="connsiteX21" fmla="*/ 309540 w 1055175"/>
              <a:gd name="connsiteY21" fmla="*/ 30019 h 969539"/>
              <a:gd name="connsiteX22" fmla="*/ 331019 w 1055175"/>
              <a:gd name="connsiteY22" fmla="*/ 17745 h 969539"/>
              <a:gd name="connsiteX23" fmla="*/ 349430 w 1055175"/>
              <a:gd name="connsiteY23" fmla="*/ 11608 h 969539"/>
              <a:gd name="connsiteX24" fmla="*/ 377046 w 1055175"/>
              <a:gd name="connsiteY24" fmla="*/ 8540 h 969539"/>
              <a:gd name="connsiteX25" fmla="*/ 395457 w 1055175"/>
              <a:gd name="connsiteY25" fmla="*/ 2403 h 969539"/>
              <a:gd name="connsiteX26" fmla="*/ 426141 w 1055175"/>
              <a:gd name="connsiteY26" fmla="*/ 11608 h 969539"/>
              <a:gd name="connsiteX27" fmla="*/ 444552 w 1055175"/>
              <a:gd name="connsiteY27" fmla="*/ 17745 h 969539"/>
              <a:gd name="connsiteX28" fmla="*/ 453758 w 1055175"/>
              <a:gd name="connsiteY28" fmla="*/ 23882 h 969539"/>
              <a:gd name="connsiteX29" fmla="*/ 456826 w 1055175"/>
              <a:gd name="connsiteY29" fmla="*/ 33088 h 969539"/>
              <a:gd name="connsiteX30" fmla="*/ 462963 w 1055175"/>
              <a:gd name="connsiteY30" fmla="*/ 82183 h 969539"/>
              <a:gd name="connsiteX31" fmla="*/ 469100 w 1055175"/>
              <a:gd name="connsiteY31" fmla="*/ 91388 h 969539"/>
              <a:gd name="connsiteX32" fmla="*/ 487511 w 1055175"/>
              <a:gd name="connsiteY32" fmla="*/ 97525 h 969539"/>
              <a:gd name="connsiteX33" fmla="*/ 496716 w 1055175"/>
              <a:gd name="connsiteY33" fmla="*/ 91388 h 969539"/>
              <a:gd name="connsiteX34" fmla="*/ 515127 w 1055175"/>
              <a:gd name="connsiteY34" fmla="*/ 72977 h 969539"/>
              <a:gd name="connsiteX35" fmla="*/ 524332 w 1055175"/>
              <a:gd name="connsiteY35" fmla="*/ 66841 h 969539"/>
              <a:gd name="connsiteX36" fmla="*/ 539674 w 1055175"/>
              <a:gd name="connsiteY36" fmla="*/ 48430 h 969539"/>
              <a:gd name="connsiteX37" fmla="*/ 551948 w 1055175"/>
              <a:gd name="connsiteY37" fmla="*/ 45361 h 969539"/>
              <a:gd name="connsiteX38" fmla="*/ 585701 w 1055175"/>
              <a:gd name="connsiteY38" fmla="*/ 48430 h 969539"/>
              <a:gd name="connsiteX39" fmla="*/ 594907 w 1055175"/>
              <a:gd name="connsiteY39" fmla="*/ 51498 h 969539"/>
              <a:gd name="connsiteX40" fmla="*/ 613317 w 1055175"/>
              <a:gd name="connsiteY40" fmla="*/ 63772 h 969539"/>
              <a:gd name="connsiteX41" fmla="*/ 665481 w 1055175"/>
              <a:gd name="connsiteY41" fmla="*/ 66841 h 969539"/>
              <a:gd name="connsiteX42" fmla="*/ 686960 w 1055175"/>
              <a:gd name="connsiteY42" fmla="*/ 69909 h 969539"/>
              <a:gd name="connsiteX43" fmla="*/ 711508 w 1055175"/>
              <a:gd name="connsiteY43" fmla="*/ 66841 h 969539"/>
              <a:gd name="connsiteX44" fmla="*/ 720713 w 1055175"/>
              <a:gd name="connsiteY44" fmla="*/ 63772 h 969539"/>
              <a:gd name="connsiteX45" fmla="*/ 732987 w 1055175"/>
              <a:gd name="connsiteY45" fmla="*/ 60704 h 969539"/>
              <a:gd name="connsiteX46" fmla="*/ 766740 w 1055175"/>
              <a:gd name="connsiteY46" fmla="*/ 63772 h 969539"/>
              <a:gd name="connsiteX47" fmla="*/ 782082 w 1055175"/>
              <a:gd name="connsiteY47" fmla="*/ 60704 h 969539"/>
              <a:gd name="connsiteX48" fmla="*/ 904821 w 1055175"/>
              <a:gd name="connsiteY48" fmla="*/ 63772 h 969539"/>
              <a:gd name="connsiteX49" fmla="*/ 914026 w 1055175"/>
              <a:gd name="connsiteY49" fmla="*/ 69909 h 969539"/>
              <a:gd name="connsiteX50" fmla="*/ 923231 w 1055175"/>
              <a:gd name="connsiteY50" fmla="*/ 72977 h 969539"/>
              <a:gd name="connsiteX51" fmla="*/ 941642 w 1055175"/>
              <a:gd name="connsiteY51" fmla="*/ 85251 h 969539"/>
              <a:gd name="connsiteX52" fmla="*/ 960053 w 1055175"/>
              <a:gd name="connsiteY52" fmla="*/ 97525 h 969539"/>
              <a:gd name="connsiteX53" fmla="*/ 963121 w 1055175"/>
              <a:gd name="connsiteY53" fmla="*/ 106730 h 969539"/>
              <a:gd name="connsiteX54" fmla="*/ 969258 w 1055175"/>
              <a:gd name="connsiteY54" fmla="*/ 137415 h 969539"/>
              <a:gd name="connsiteX55" fmla="*/ 972327 w 1055175"/>
              <a:gd name="connsiteY55" fmla="*/ 146620 h 969539"/>
              <a:gd name="connsiteX56" fmla="*/ 987669 w 1055175"/>
              <a:gd name="connsiteY56" fmla="*/ 165031 h 969539"/>
              <a:gd name="connsiteX57" fmla="*/ 993806 w 1055175"/>
              <a:gd name="connsiteY57" fmla="*/ 189579 h 969539"/>
              <a:gd name="connsiteX58" fmla="*/ 996874 w 1055175"/>
              <a:gd name="connsiteY58" fmla="*/ 201853 h 969539"/>
              <a:gd name="connsiteX59" fmla="*/ 999943 w 1055175"/>
              <a:gd name="connsiteY59" fmla="*/ 211058 h 969539"/>
              <a:gd name="connsiteX60" fmla="*/ 1003011 w 1055175"/>
              <a:gd name="connsiteY60" fmla="*/ 223332 h 969539"/>
              <a:gd name="connsiteX61" fmla="*/ 1009148 w 1055175"/>
              <a:gd name="connsiteY61" fmla="*/ 247879 h 969539"/>
              <a:gd name="connsiteX62" fmla="*/ 1021422 w 1055175"/>
              <a:gd name="connsiteY62" fmla="*/ 269359 h 969539"/>
              <a:gd name="connsiteX63" fmla="*/ 1018354 w 1055175"/>
              <a:gd name="connsiteY63" fmla="*/ 296975 h 969539"/>
              <a:gd name="connsiteX64" fmla="*/ 1015285 w 1055175"/>
              <a:gd name="connsiteY64" fmla="*/ 306180 h 969539"/>
              <a:gd name="connsiteX65" fmla="*/ 1006080 w 1055175"/>
              <a:gd name="connsiteY65" fmla="*/ 361412 h 969539"/>
              <a:gd name="connsiteX66" fmla="*/ 1003011 w 1055175"/>
              <a:gd name="connsiteY66" fmla="*/ 370618 h 969539"/>
              <a:gd name="connsiteX67" fmla="*/ 993806 w 1055175"/>
              <a:gd name="connsiteY67" fmla="*/ 389028 h 969539"/>
              <a:gd name="connsiteX68" fmla="*/ 984600 w 1055175"/>
              <a:gd name="connsiteY68" fmla="*/ 392097 h 969539"/>
              <a:gd name="connsiteX69" fmla="*/ 978464 w 1055175"/>
              <a:gd name="connsiteY69" fmla="*/ 410508 h 969539"/>
              <a:gd name="connsiteX70" fmla="*/ 987669 w 1055175"/>
              <a:gd name="connsiteY70" fmla="*/ 444261 h 969539"/>
              <a:gd name="connsiteX71" fmla="*/ 984600 w 1055175"/>
              <a:gd name="connsiteY71" fmla="*/ 471877 h 969539"/>
              <a:gd name="connsiteX72" fmla="*/ 981532 w 1055175"/>
              <a:gd name="connsiteY72" fmla="*/ 484151 h 969539"/>
              <a:gd name="connsiteX73" fmla="*/ 984600 w 1055175"/>
              <a:gd name="connsiteY73" fmla="*/ 517904 h 969539"/>
              <a:gd name="connsiteX74" fmla="*/ 993806 w 1055175"/>
              <a:gd name="connsiteY74" fmla="*/ 566999 h 969539"/>
              <a:gd name="connsiteX75" fmla="*/ 999943 w 1055175"/>
              <a:gd name="connsiteY75" fmla="*/ 585410 h 969539"/>
              <a:gd name="connsiteX76" fmla="*/ 1003011 w 1055175"/>
              <a:gd name="connsiteY76" fmla="*/ 594615 h 969539"/>
              <a:gd name="connsiteX77" fmla="*/ 1012217 w 1055175"/>
              <a:gd name="connsiteY77" fmla="*/ 603820 h 969539"/>
              <a:gd name="connsiteX78" fmla="*/ 1015285 w 1055175"/>
              <a:gd name="connsiteY78" fmla="*/ 613026 h 969539"/>
              <a:gd name="connsiteX79" fmla="*/ 1033696 w 1055175"/>
              <a:gd name="connsiteY79" fmla="*/ 622231 h 969539"/>
              <a:gd name="connsiteX80" fmla="*/ 1042901 w 1055175"/>
              <a:gd name="connsiteY80" fmla="*/ 631437 h 969539"/>
              <a:gd name="connsiteX81" fmla="*/ 1045970 w 1055175"/>
              <a:gd name="connsiteY81" fmla="*/ 640642 h 969539"/>
              <a:gd name="connsiteX82" fmla="*/ 1049038 w 1055175"/>
              <a:gd name="connsiteY82" fmla="*/ 680532 h 969539"/>
              <a:gd name="connsiteX83" fmla="*/ 1055175 w 1055175"/>
              <a:gd name="connsiteY83" fmla="*/ 698943 h 969539"/>
              <a:gd name="connsiteX84" fmla="*/ 1036764 w 1055175"/>
              <a:gd name="connsiteY84" fmla="*/ 705079 h 969539"/>
              <a:gd name="connsiteX85" fmla="*/ 1027559 w 1055175"/>
              <a:gd name="connsiteY85" fmla="*/ 708148 h 969539"/>
              <a:gd name="connsiteX86" fmla="*/ 1018354 w 1055175"/>
              <a:gd name="connsiteY86" fmla="*/ 717353 h 969539"/>
              <a:gd name="connsiteX87" fmla="*/ 1009148 w 1055175"/>
              <a:gd name="connsiteY87" fmla="*/ 723490 h 969539"/>
              <a:gd name="connsiteX88" fmla="*/ 1003011 w 1055175"/>
              <a:gd name="connsiteY88" fmla="*/ 735764 h 969539"/>
              <a:gd name="connsiteX89" fmla="*/ 990737 w 1055175"/>
              <a:gd name="connsiteY89" fmla="*/ 754175 h 969539"/>
              <a:gd name="connsiteX90" fmla="*/ 984600 w 1055175"/>
              <a:gd name="connsiteY90" fmla="*/ 763380 h 969539"/>
              <a:gd name="connsiteX91" fmla="*/ 981532 w 1055175"/>
              <a:gd name="connsiteY91" fmla="*/ 772586 h 969539"/>
              <a:gd name="connsiteX92" fmla="*/ 969258 w 1055175"/>
              <a:gd name="connsiteY92" fmla="*/ 790996 h 969539"/>
              <a:gd name="connsiteX93" fmla="*/ 956984 w 1055175"/>
              <a:gd name="connsiteY93" fmla="*/ 809407 h 969539"/>
              <a:gd name="connsiteX94" fmla="*/ 950847 w 1055175"/>
              <a:gd name="connsiteY94" fmla="*/ 818612 h 969539"/>
              <a:gd name="connsiteX95" fmla="*/ 944711 w 1055175"/>
              <a:gd name="connsiteY95" fmla="*/ 827818 h 969539"/>
              <a:gd name="connsiteX96" fmla="*/ 926300 w 1055175"/>
              <a:gd name="connsiteY96" fmla="*/ 846228 h 969539"/>
              <a:gd name="connsiteX97" fmla="*/ 914026 w 1055175"/>
              <a:gd name="connsiteY97" fmla="*/ 873845 h 969539"/>
              <a:gd name="connsiteX98" fmla="*/ 910958 w 1055175"/>
              <a:gd name="connsiteY98" fmla="*/ 883050 h 969539"/>
              <a:gd name="connsiteX99" fmla="*/ 907889 w 1055175"/>
              <a:gd name="connsiteY99" fmla="*/ 965898 h 969539"/>
              <a:gd name="connsiteX100" fmla="*/ 898684 w 1055175"/>
              <a:gd name="connsiteY100" fmla="*/ 959761 h 969539"/>
              <a:gd name="connsiteX101" fmla="*/ 895615 w 1055175"/>
              <a:gd name="connsiteY101" fmla="*/ 950556 h 969539"/>
              <a:gd name="connsiteX102" fmla="*/ 877205 w 1055175"/>
              <a:gd name="connsiteY102" fmla="*/ 935214 h 969539"/>
              <a:gd name="connsiteX103" fmla="*/ 867999 w 1055175"/>
              <a:gd name="connsiteY103" fmla="*/ 926008 h 969539"/>
              <a:gd name="connsiteX104" fmla="*/ 849588 w 1055175"/>
              <a:gd name="connsiteY104" fmla="*/ 919871 h 969539"/>
              <a:gd name="connsiteX105" fmla="*/ 821972 w 1055175"/>
              <a:gd name="connsiteY105" fmla="*/ 907598 h 969539"/>
              <a:gd name="connsiteX106" fmla="*/ 803562 w 1055175"/>
              <a:gd name="connsiteY106" fmla="*/ 901461 h 969539"/>
              <a:gd name="connsiteX107" fmla="*/ 794356 w 1055175"/>
              <a:gd name="connsiteY107" fmla="*/ 898392 h 969539"/>
              <a:gd name="connsiteX108" fmla="*/ 779014 w 1055175"/>
              <a:gd name="connsiteY108" fmla="*/ 901461 h 969539"/>
              <a:gd name="connsiteX109" fmla="*/ 748329 w 1055175"/>
              <a:gd name="connsiteY109" fmla="*/ 895324 h 969539"/>
              <a:gd name="connsiteX110" fmla="*/ 739124 w 1055175"/>
              <a:gd name="connsiteY110" fmla="*/ 889187 h 969539"/>
              <a:gd name="connsiteX111" fmla="*/ 729919 w 1055175"/>
              <a:gd name="connsiteY111" fmla="*/ 886118 h 969539"/>
              <a:gd name="connsiteX112" fmla="*/ 668549 w 1055175"/>
              <a:gd name="connsiteY112" fmla="*/ 879981 h 969539"/>
              <a:gd name="connsiteX113" fmla="*/ 631728 w 1055175"/>
              <a:gd name="connsiteY113" fmla="*/ 889187 h 969539"/>
              <a:gd name="connsiteX114" fmla="*/ 622523 w 1055175"/>
              <a:gd name="connsiteY114" fmla="*/ 895324 h 969539"/>
              <a:gd name="connsiteX115" fmla="*/ 616386 w 1055175"/>
              <a:gd name="connsiteY115" fmla="*/ 904529 h 969539"/>
              <a:gd name="connsiteX116" fmla="*/ 607180 w 1055175"/>
              <a:gd name="connsiteY116" fmla="*/ 910666 h 969539"/>
              <a:gd name="connsiteX117" fmla="*/ 597975 w 1055175"/>
              <a:gd name="connsiteY117" fmla="*/ 919871 h 969539"/>
              <a:gd name="connsiteX118" fmla="*/ 585701 w 1055175"/>
              <a:gd name="connsiteY118" fmla="*/ 895324 h 969539"/>
              <a:gd name="connsiteX119" fmla="*/ 579564 w 1055175"/>
              <a:gd name="connsiteY119" fmla="*/ 873845 h 969539"/>
              <a:gd name="connsiteX120" fmla="*/ 570359 w 1055175"/>
              <a:gd name="connsiteY120" fmla="*/ 870776 h 969539"/>
              <a:gd name="connsiteX121" fmla="*/ 555017 w 1055175"/>
              <a:gd name="connsiteY121" fmla="*/ 873845 h 969539"/>
              <a:gd name="connsiteX122" fmla="*/ 536606 w 1055175"/>
              <a:gd name="connsiteY122" fmla="*/ 879981 h 969539"/>
              <a:gd name="connsiteX123" fmla="*/ 518195 w 1055175"/>
              <a:gd name="connsiteY123" fmla="*/ 889187 h 969539"/>
              <a:gd name="connsiteX124" fmla="*/ 502853 w 1055175"/>
              <a:gd name="connsiteY124" fmla="*/ 886118 h 969539"/>
              <a:gd name="connsiteX125" fmla="*/ 481374 w 1055175"/>
              <a:gd name="connsiteY125" fmla="*/ 861571 h 969539"/>
              <a:gd name="connsiteX126" fmla="*/ 478305 w 1055175"/>
              <a:gd name="connsiteY126" fmla="*/ 852365 h 969539"/>
              <a:gd name="connsiteX127" fmla="*/ 450689 w 1055175"/>
              <a:gd name="connsiteY127" fmla="*/ 843160 h 969539"/>
              <a:gd name="connsiteX128" fmla="*/ 441484 w 1055175"/>
              <a:gd name="connsiteY128" fmla="*/ 840092 h 969539"/>
              <a:gd name="connsiteX129" fmla="*/ 423073 w 1055175"/>
              <a:gd name="connsiteY129" fmla="*/ 827818 h 969539"/>
              <a:gd name="connsiteX130" fmla="*/ 413868 w 1055175"/>
              <a:gd name="connsiteY130" fmla="*/ 824749 h 969539"/>
              <a:gd name="connsiteX131" fmla="*/ 395457 w 1055175"/>
              <a:gd name="connsiteY131" fmla="*/ 815544 h 969539"/>
              <a:gd name="connsiteX132" fmla="*/ 386251 w 1055175"/>
              <a:gd name="connsiteY132" fmla="*/ 809407 h 969539"/>
              <a:gd name="connsiteX133" fmla="*/ 377046 w 1055175"/>
              <a:gd name="connsiteY133" fmla="*/ 806339 h 969539"/>
              <a:gd name="connsiteX134" fmla="*/ 364772 w 1055175"/>
              <a:gd name="connsiteY134" fmla="*/ 787928 h 969539"/>
              <a:gd name="connsiteX135" fmla="*/ 346362 w 1055175"/>
              <a:gd name="connsiteY135" fmla="*/ 751106 h 969539"/>
              <a:gd name="connsiteX136" fmla="*/ 337156 w 1055175"/>
              <a:gd name="connsiteY136" fmla="*/ 744969 h 969539"/>
              <a:gd name="connsiteX137" fmla="*/ 312609 w 1055175"/>
              <a:gd name="connsiteY137" fmla="*/ 748038 h 969539"/>
              <a:gd name="connsiteX138" fmla="*/ 300335 w 1055175"/>
              <a:gd name="connsiteY138" fmla="*/ 775654 h 969539"/>
              <a:gd name="connsiteX139" fmla="*/ 297266 w 1055175"/>
              <a:gd name="connsiteY139" fmla="*/ 784859 h 969539"/>
              <a:gd name="connsiteX140" fmla="*/ 294198 w 1055175"/>
              <a:gd name="connsiteY140" fmla="*/ 794065 h 969539"/>
              <a:gd name="connsiteX141" fmla="*/ 284992 w 1055175"/>
              <a:gd name="connsiteY141" fmla="*/ 800202 h 969539"/>
              <a:gd name="connsiteX142" fmla="*/ 275787 w 1055175"/>
              <a:gd name="connsiteY142" fmla="*/ 803270 h 969539"/>
              <a:gd name="connsiteX143" fmla="*/ 263513 w 1055175"/>
              <a:gd name="connsiteY143" fmla="*/ 800202 h 969539"/>
              <a:gd name="connsiteX144" fmla="*/ 257376 w 1055175"/>
              <a:gd name="connsiteY144" fmla="*/ 781791 h 969539"/>
              <a:gd name="connsiteX145" fmla="*/ 251239 w 1055175"/>
              <a:gd name="connsiteY145" fmla="*/ 772586 h 969539"/>
              <a:gd name="connsiteX146" fmla="*/ 245103 w 1055175"/>
              <a:gd name="connsiteY146" fmla="*/ 754175 h 969539"/>
              <a:gd name="connsiteX147" fmla="*/ 242034 w 1055175"/>
              <a:gd name="connsiteY147" fmla="*/ 744969 h 969539"/>
              <a:gd name="connsiteX148" fmla="*/ 226692 w 1055175"/>
              <a:gd name="connsiteY148" fmla="*/ 717353 h 969539"/>
              <a:gd name="connsiteX149" fmla="*/ 202144 w 1055175"/>
              <a:gd name="connsiteY149" fmla="*/ 714285 h 969539"/>
              <a:gd name="connsiteX150" fmla="*/ 183733 w 1055175"/>
              <a:gd name="connsiteY150" fmla="*/ 708148 h 969539"/>
              <a:gd name="connsiteX151" fmla="*/ 174528 w 1055175"/>
              <a:gd name="connsiteY151" fmla="*/ 705079 h 969539"/>
              <a:gd name="connsiteX152" fmla="*/ 156117 w 1055175"/>
              <a:gd name="connsiteY152" fmla="*/ 702011 h 969539"/>
              <a:gd name="connsiteX153" fmla="*/ 137707 w 1055175"/>
              <a:gd name="connsiteY153" fmla="*/ 695874 h 969539"/>
              <a:gd name="connsiteX154" fmla="*/ 119296 w 1055175"/>
              <a:gd name="connsiteY154" fmla="*/ 683600 h 969539"/>
              <a:gd name="connsiteX155" fmla="*/ 113159 w 1055175"/>
              <a:gd name="connsiteY155" fmla="*/ 674395 h 969539"/>
              <a:gd name="connsiteX156" fmla="*/ 91680 w 1055175"/>
              <a:gd name="connsiteY156" fmla="*/ 665190 h 969539"/>
              <a:gd name="connsiteX157" fmla="*/ 82474 w 1055175"/>
              <a:gd name="connsiteY157" fmla="*/ 662121 h 969539"/>
              <a:gd name="connsiteX158" fmla="*/ 79406 w 1055175"/>
              <a:gd name="connsiteY158" fmla="*/ 628368 h 969539"/>
              <a:gd name="connsiteX159" fmla="*/ 76337 w 1055175"/>
              <a:gd name="connsiteY159" fmla="*/ 619163 h 969539"/>
              <a:gd name="connsiteX160" fmla="*/ 73269 w 1055175"/>
              <a:gd name="connsiteY160" fmla="*/ 545520 h 969539"/>
              <a:gd name="connsiteX161" fmla="*/ 70200 w 1055175"/>
              <a:gd name="connsiteY161" fmla="*/ 499493 h 969539"/>
              <a:gd name="connsiteX162" fmla="*/ 64064 w 1055175"/>
              <a:gd name="connsiteY162" fmla="*/ 481082 h 969539"/>
              <a:gd name="connsiteX163" fmla="*/ 60995 w 1055175"/>
              <a:gd name="connsiteY163" fmla="*/ 471877 h 969539"/>
              <a:gd name="connsiteX164" fmla="*/ 57927 w 1055175"/>
              <a:gd name="connsiteY164" fmla="*/ 416645 h 969539"/>
              <a:gd name="connsiteX165" fmla="*/ 54858 w 1055175"/>
              <a:gd name="connsiteY165" fmla="*/ 407439 h 969539"/>
              <a:gd name="connsiteX166" fmla="*/ 51790 w 1055175"/>
              <a:gd name="connsiteY166" fmla="*/ 392097 h 969539"/>
              <a:gd name="connsiteX167" fmla="*/ 42584 w 1055175"/>
              <a:gd name="connsiteY167" fmla="*/ 373686 h 969539"/>
              <a:gd name="connsiteX168" fmla="*/ 33379 w 1055175"/>
              <a:gd name="connsiteY168" fmla="*/ 370618 h 969539"/>
              <a:gd name="connsiteX169" fmla="*/ 14968 w 1055175"/>
              <a:gd name="connsiteY169" fmla="*/ 358344 h 969539"/>
              <a:gd name="connsiteX170" fmla="*/ 11900 w 1055175"/>
              <a:gd name="connsiteY170" fmla="*/ 349139 h 969539"/>
              <a:gd name="connsiteX171" fmla="*/ 2694 w 1055175"/>
              <a:gd name="connsiteY171" fmla="*/ 330728 h 969539"/>
              <a:gd name="connsiteX172" fmla="*/ 8831 w 1055175"/>
              <a:gd name="connsiteY172" fmla="*/ 309249 h 969539"/>
              <a:gd name="connsiteX173" fmla="*/ 18037 w 1055175"/>
              <a:gd name="connsiteY173" fmla="*/ 306180 h 969539"/>
              <a:gd name="connsiteX174" fmla="*/ 27242 w 1055175"/>
              <a:gd name="connsiteY174" fmla="*/ 300043 h 969539"/>
              <a:gd name="connsiteX175" fmla="*/ 30311 w 1055175"/>
              <a:gd name="connsiteY175" fmla="*/ 287769 h 969539"/>
              <a:gd name="connsiteX176" fmla="*/ 33379 w 1055175"/>
              <a:gd name="connsiteY176" fmla="*/ 278564 h 969539"/>
              <a:gd name="connsiteX177" fmla="*/ 27242 w 1055175"/>
              <a:gd name="connsiteY177" fmla="*/ 201853 h 969539"/>
              <a:gd name="connsiteX178" fmla="*/ 33379 w 1055175"/>
              <a:gd name="connsiteY178" fmla="*/ 204921 h 969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</a:cxnLst>
            <a:rect l="l" t="t" r="r" b="b"/>
            <a:pathLst>
              <a:path w="1055175" h="969539">
                <a:moveTo>
                  <a:pt x="33379" y="204921"/>
                </a:moveTo>
                <a:cubicBezTo>
                  <a:pt x="35425" y="199807"/>
                  <a:pt x="32186" y="211481"/>
                  <a:pt x="39516" y="171168"/>
                </a:cubicBezTo>
                <a:cubicBezTo>
                  <a:pt x="40270" y="167019"/>
                  <a:pt x="40245" y="162403"/>
                  <a:pt x="42584" y="158894"/>
                </a:cubicBezTo>
                <a:cubicBezTo>
                  <a:pt x="44630" y="155825"/>
                  <a:pt x="48420" y="154255"/>
                  <a:pt x="51790" y="152757"/>
                </a:cubicBezTo>
                <a:cubicBezTo>
                  <a:pt x="57701" y="150130"/>
                  <a:pt x="70200" y="146620"/>
                  <a:pt x="70200" y="146620"/>
                </a:cubicBezTo>
                <a:cubicBezTo>
                  <a:pt x="73269" y="143552"/>
                  <a:pt x="75638" y="139568"/>
                  <a:pt x="79406" y="137415"/>
                </a:cubicBezTo>
                <a:cubicBezTo>
                  <a:pt x="83068" y="135323"/>
                  <a:pt x="87641" y="135559"/>
                  <a:pt x="91680" y="134347"/>
                </a:cubicBezTo>
                <a:cubicBezTo>
                  <a:pt x="97876" y="132488"/>
                  <a:pt x="103953" y="130256"/>
                  <a:pt x="110090" y="128210"/>
                </a:cubicBezTo>
                <a:lnTo>
                  <a:pt x="119296" y="125141"/>
                </a:lnTo>
                <a:cubicBezTo>
                  <a:pt x="122364" y="122073"/>
                  <a:pt x="124891" y="118343"/>
                  <a:pt x="128501" y="115936"/>
                </a:cubicBezTo>
                <a:cubicBezTo>
                  <a:pt x="131192" y="114142"/>
                  <a:pt x="134487" y="113174"/>
                  <a:pt x="137707" y="112867"/>
                </a:cubicBezTo>
                <a:cubicBezTo>
                  <a:pt x="156063" y="111119"/>
                  <a:pt x="174528" y="110822"/>
                  <a:pt x="192939" y="109799"/>
                </a:cubicBezTo>
                <a:cubicBezTo>
                  <a:pt x="215350" y="102328"/>
                  <a:pt x="205073" y="105231"/>
                  <a:pt x="223623" y="100594"/>
                </a:cubicBezTo>
                <a:cubicBezTo>
                  <a:pt x="226692" y="98548"/>
                  <a:pt x="229530" y="96106"/>
                  <a:pt x="232829" y="94457"/>
                </a:cubicBezTo>
                <a:cubicBezTo>
                  <a:pt x="235722" y="93010"/>
                  <a:pt x="239508" y="93409"/>
                  <a:pt x="242034" y="91388"/>
                </a:cubicBezTo>
                <a:cubicBezTo>
                  <a:pt x="244914" y="89084"/>
                  <a:pt x="245291" y="84487"/>
                  <a:pt x="248171" y="82183"/>
                </a:cubicBezTo>
                <a:cubicBezTo>
                  <a:pt x="250697" y="80162"/>
                  <a:pt x="254483" y="80561"/>
                  <a:pt x="257376" y="79114"/>
                </a:cubicBezTo>
                <a:cubicBezTo>
                  <a:pt x="260675" y="77465"/>
                  <a:pt x="263513" y="75023"/>
                  <a:pt x="266582" y="72977"/>
                </a:cubicBezTo>
                <a:cubicBezTo>
                  <a:pt x="268628" y="69909"/>
                  <a:pt x="269421" y="65421"/>
                  <a:pt x="272719" y="63772"/>
                </a:cubicBezTo>
                <a:cubicBezTo>
                  <a:pt x="280263" y="60000"/>
                  <a:pt x="297266" y="57635"/>
                  <a:pt x="297266" y="57635"/>
                </a:cubicBezTo>
                <a:cubicBezTo>
                  <a:pt x="299312" y="54567"/>
                  <a:pt x="301905" y="51800"/>
                  <a:pt x="303403" y="48430"/>
                </a:cubicBezTo>
                <a:cubicBezTo>
                  <a:pt x="306030" y="42519"/>
                  <a:pt x="304158" y="33607"/>
                  <a:pt x="309540" y="30019"/>
                </a:cubicBezTo>
                <a:cubicBezTo>
                  <a:pt x="317844" y="24483"/>
                  <a:pt x="321285" y="21638"/>
                  <a:pt x="331019" y="17745"/>
                </a:cubicBezTo>
                <a:cubicBezTo>
                  <a:pt x="337025" y="15342"/>
                  <a:pt x="343001" y="12322"/>
                  <a:pt x="349430" y="11608"/>
                </a:cubicBezTo>
                <a:lnTo>
                  <a:pt x="377046" y="8540"/>
                </a:lnTo>
                <a:cubicBezTo>
                  <a:pt x="383183" y="6494"/>
                  <a:pt x="389451" y="0"/>
                  <a:pt x="395457" y="2403"/>
                </a:cubicBezTo>
                <a:cubicBezTo>
                  <a:pt x="428160" y="15485"/>
                  <a:pt x="393545" y="2718"/>
                  <a:pt x="426141" y="11608"/>
                </a:cubicBezTo>
                <a:cubicBezTo>
                  <a:pt x="432382" y="13310"/>
                  <a:pt x="444552" y="17745"/>
                  <a:pt x="444552" y="17745"/>
                </a:cubicBezTo>
                <a:cubicBezTo>
                  <a:pt x="447621" y="19791"/>
                  <a:pt x="451454" y="21002"/>
                  <a:pt x="453758" y="23882"/>
                </a:cubicBezTo>
                <a:cubicBezTo>
                  <a:pt x="455779" y="26408"/>
                  <a:pt x="456425" y="29878"/>
                  <a:pt x="456826" y="33088"/>
                </a:cubicBezTo>
                <a:cubicBezTo>
                  <a:pt x="457901" y="41686"/>
                  <a:pt x="456220" y="68698"/>
                  <a:pt x="462963" y="82183"/>
                </a:cubicBezTo>
                <a:cubicBezTo>
                  <a:pt x="464612" y="85481"/>
                  <a:pt x="465973" y="89434"/>
                  <a:pt x="469100" y="91388"/>
                </a:cubicBezTo>
                <a:cubicBezTo>
                  <a:pt x="474586" y="94816"/>
                  <a:pt x="487511" y="97525"/>
                  <a:pt x="487511" y="97525"/>
                </a:cubicBezTo>
                <a:cubicBezTo>
                  <a:pt x="490579" y="95479"/>
                  <a:pt x="493960" y="93838"/>
                  <a:pt x="496716" y="91388"/>
                </a:cubicBezTo>
                <a:cubicBezTo>
                  <a:pt x="503203" y="85622"/>
                  <a:pt x="507905" y="77791"/>
                  <a:pt x="515127" y="72977"/>
                </a:cubicBezTo>
                <a:lnTo>
                  <a:pt x="524332" y="66841"/>
                </a:lnTo>
                <a:cubicBezTo>
                  <a:pt x="528243" y="60975"/>
                  <a:pt x="533313" y="52065"/>
                  <a:pt x="539674" y="48430"/>
                </a:cubicBezTo>
                <a:cubicBezTo>
                  <a:pt x="543336" y="46338"/>
                  <a:pt x="547857" y="46384"/>
                  <a:pt x="551948" y="45361"/>
                </a:cubicBezTo>
                <a:cubicBezTo>
                  <a:pt x="563199" y="46384"/>
                  <a:pt x="574517" y="46832"/>
                  <a:pt x="585701" y="48430"/>
                </a:cubicBezTo>
                <a:cubicBezTo>
                  <a:pt x="588903" y="48887"/>
                  <a:pt x="592216" y="49704"/>
                  <a:pt x="594907" y="51498"/>
                </a:cubicBezTo>
                <a:cubicBezTo>
                  <a:pt x="605802" y="58761"/>
                  <a:pt x="600440" y="62484"/>
                  <a:pt x="613317" y="63772"/>
                </a:cubicBezTo>
                <a:cubicBezTo>
                  <a:pt x="630649" y="65505"/>
                  <a:pt x="648093" y="65818"/>
                  <a:pt x="665481" y="66841"/>
                </a:cubicBezTo>
                <a:cubicBezTo>
                  <a:pt x="672641" y="67864"/>
                  <a:pt x="679728" y="69909"/>
                  <a:pt x="686960" y="69909"/>
                </a:cubicBezTo>
                <a:cubicBezTo>
                  <a:pt x="695206" y="69909"/>
                  <a:pt x="703395" y="68316"/>
                  <a:pt x="711508" y="66841"/>
                </a:cubicBezTo>
                <a:cubicBezTo>
                  <a:pt x="714690" y="66262"/>
                  <a:pt x="717603" y="64661"/>
                  <a:pt x="720713" y="63772"/>
                </a:cubicBezTo>
                <a:cubicBezTo>
                  <a:pt x="724768" y="62613"/>
                  <a:pt x="728896" y="61727"/>
                  <a:pt x="732987" y="60704"/>
                </a:cubicBezTo>
                <a:cubicBezTo>
                  <a:pt x="744238" y="61727"/>
                  <a:pt x="755443" y="63772"/>
                  <a:pt x="766740" y="63772"/>
                </a:cubicBezTo>
                <a:cubicBezTo>
                  <a:pt x="771955" y="63772"/>
                  <a:pt x="776867" y="60704"/>
                  <a:pt x="782082" y="60704"/>
                </a:cubicBezTo>
                <a:cubicBezTo>
                  <a:pt x="823008" y="60704"/>
                  <a:pt x="863908" y="62749"/>
                  <a:pt x="904821" y="63772"/>
                </a:cubicBezTo>
                <a:cubicBezTo>
                  <a:pt x="907889" y="65818"/>
                  <a:pt x="910728" y="68260"/>
                  <a:pt x="914026" y="69909"/>
                </a:cubicBezTo>
                <a:cubicBezTo>
                  <a:pt x="916919" y="71355"/>
                  <a:pt x="920705" y="70957"/>
                  <a:pt x="923231" y="72977"/>
                </a:cubicBezTo>
                <a:cubicBezTo>
                  <a:pt x="942495" y="88388"/>
                  <a:pt x="913455" y="78205"/>
                  <a:pt x="941642" y="85251"/>
                </a:cubicBezTo>
                <a:cubicBezTo>
                  <a:pt x="947779" y="89342"/>
                  <a:pt x="957721" y="90528"/>
                  <a:pt x="960053" y="97525"/>
                </a:cubicBezTo>
                <a:cubicBezTo>
                  <a:pt x="961076" y="100593"/>
                  <a:pt x="962394" y="103579"/>
                  <a:pt x="963121" y="106730"/>
                </a:cubicBezTo>
                <a:cubicBezTo>
                  <a:pt x="965466" y="116894"/>
                  <a:pt x="965959" y="127520"/>
                  <a:pt x="969258" y="137415"/>
                </a:cubicBezTo>
                <a:cubicBezTo>
                  <a:pt x="970281" y="140483"/>
                  <a:pt x="970880" y="143727"/>
                  <a:pt x="972327" y="146620"/>
                </a:cubicBezTo>
                <a:cubicBezTo>
                  <a:pt x="976600" y="155166"/>
                  <a:pt x="980881" y="158243"/>
                  <a:pt x="987669" y="165031"/>
                </a:cubicBezTo>
                <a:lnTo>
                  <a:pt x="993806" y="189579"/>
                </a:lnTo>
                <a:cubicBezTo>
                  <a:pt x="994829" y="193670"/>
                  <a:pt x="995540" y="197852"/>
                  <a:pt x="996874" y="201853"/>
                </a:cubicBezTo>
                <a:cubicBezTo>
                  <a:pt x="997897" y="204921"/>
                  <a:pt x="999054" y="207948"/>
                  <a:pt x="999943" y="211058"/>
                </a:cubicBezTo>
                <a:cubicBezTo>
                  <a:pt x="1001102" y="215113"/>
                  <a:pt x="1002096" y="219215"/>
                  <a:pt x="1003011" y="223332"/>
                </a:cubicBezTo>
                <a:cubicBezTo>
                  <a:pt x="1005226" y="233300"/>
                  <a:pt x="1005354" y="239026"/>
                  <a:pt x="1009148" y="247879"/>
                </a:cubicBezTo>
                <a:cubicBezTo>
                  <a:pt x="1013819" y="258779"/>
                  <a:pt x="1015259" y="260115"/>
                  <a:pt x="1021422" y="269359"/>
                </a:cubicBezTo>
                <a:cubicBezTo>
                  <a:pt x="1026535" y="284700"/>
                  <a:pt x="1025513" y="275497"/>
                  <a:pt x="1018354" y="296975"/>
                </a:cubicBezTo>
                <a:lnTo>
                  <a:pt x="1015285" y="306180"/>
                </a:lnTo>
                <a:cubicBezTo>
                  <a:pt x="1011680" y="349447"/>
                  <a:pt x="1016112" y="331318"/>
                  <a:pt x="1006080" y="361412"/>
                </a:cubicBezTo>
                <a:lnTo>
                  <a:pt x="1003011" y="370618"/>
                </a:lnTo>
                <a:cubicBezTo>
                  <a:pt x="1000989" y="376683"/>
                  <a:pt x="999215" y="384701"/>
                  <a:pt x="993806" y="389028"/>
                </a:cubicBezTo>
                <a:cubicBezTo>
                  <a:pt x="991280" y="391049"/>
                  <a:pt x="987669" y="391074"/>
                  <a:pt x="984600" y="392097"/>
                </a:cubicBezTo>
                <a:cubicBezTo>
                  <a:pt x="982555" y="398234"/>
                  <a:pt x="976895" y="404232"/>
                  <a:pt x="978464" y="410508"/>
                </a:cubicBezTo>
                <a:cubicBezTo>
                  <a:pt x="985384" y="438193"/>
                  <a:pt x="981933" y="427054"/>
                  <a:pt x="987669" y="444261"/>
                </a:cubicBezTo>
                <a:cubicBezTo>
                  <a:pt x="986646" y="453466"/>
                  <a:pt x="986008" y="462723"/>
                  <a:pt x="984600" y="471877"/>
                </a:cubicBezTo>
                <a:cubicBezTo>
                  <a:pt x="983959" y="476045"/>
                  <a:pt x="981532" y="479934"/>
                  <a:pt x="981532" y="484151"/>
                </a:cubicBezTo>
                <a:cubicBezTo>
                  <a:pt x="981532" y="495448"/>
                  <a:pt x="983662" y="506646"/>
                  <a:pt x="984600" y="517904"/>
                </a:cubicBezTo>
                <a:cubicBezTo>
                  <a:pt x="988270" y="561949"/>
                  <a:pt x="980183" y="546566"/>
                  <a:pt x="993806" y="566999"/>
                </a:cubicBezTo>
                <a:lnTo>
                  <a:pt x="999943" y="585410"/>
                </a:lnTo>
                <a:cubicBezTo>
                  <a:pt x="1000966" y="588478"/>
                  <a:pt x="1000724" y="592328"/>
                  <a:pt x="1003011" y="594615"/>
                </a:cubicBezTo>
                <a:lnTo>
                  <a:pt x="1012217" y="603820"/>
                </a:lnTo>
                <a:cubicBezTo>
                  <a:pt x="1013240" y="606889"/>
                  <a:pt x="1013265" y="610500"/>
                  <a:pt x="1015285" y="613026"/>
                </a:cubicBezTo>
                <a:cubicBezTo>
                  <a:pt x="1019611" y="618435"/>
                  <a:pt x="1027631" y="620210"/>
                  <a:pt x="1033696" y="622231"/>
                </a:cubicBezTo>
                <a:cubicBezTo>
                  <a:pt x="1036764" y="625300"/>
                  <a:pt x="1040494" y="627826"/>
                  <a:pt x="1042901" y="631437"/>
                </a:cubicBezTo>
                <a:cubicBezTo>
                  <a:pt x="1044695" y="634128"/>
                  <a:pt x="1045569" y="637433"/>
                  <a:pt x="1045970" y="640642"/>
                </a:cubicBezTo>
                <a:cubicBezTo>
                  <a:pt x="1047624" y="653875"/>
                  <a:pt x="1046958" y="667359"/>
                  <a:pt x="1049038" y="680532"/>
                </a:cubicBezTo>
                <a:cubicBezTo>
                  <a:pt x="1050047" y="686922"/>
                  <a:pt x="1055175" y="698943"/>
                  <a:pt x="1055175" y="698943"/>
                </a:cubicBezTo>
                <a:lnTo>
                  <a:pt x="1036764" y="705079"/>
                </a:lnTo>
                <a:lnTo>
                  <a:pt x="1027559" y="708148"/>
                </a:lnTo>
                <a:cubicBezTo>
                  <a:pt x="1024491" y="711216"/>
                  <a:pt x="1021688" y="714575"/>
                  <a:pt x="1018354" y="717353"/>
                </a:cubicBezTo>
                <a:cubicBezTo>
                  <a:pt x="1015521" y="719714"/>
                  <a:pt x="1011509" y="720657"/>
                  <a:pt x="1009148" y="723490"/>
                </a:cubicBezTo>
                <a:cubicBezTo>
                  <a:pt x="1006220" y="727004"/>
                  <a:pt x="1005364" y="731842"/>
                  <a:pt x="1003011" y="735764"/>
                </a:cubicBezTo>
                <a:cubicBezTo>
                  <a:pt x="999216" y="742089"/>
                  <a:pt x="994828" y="748038"/>
                  <a:pt x="990737" y="754175"/>
                </a:cubicBezTo>
                <a:lnTo>
                  <a:pt x="984600" y="763380"/>
                </a:lnTo>
                <a:cubicBezTo>
                  <a:pt x="983577" y="766449"/>
                  <a:pt x="983103" y="769758"/>
                  <a:pt x="981532" y="772586"/>
                </a:cubicBezTo>
                <a:cubicBezTo>
                  <a:pt x="977950" y="779033"/>
                  <a:pt x="973349" y="784859"/>
                  <a:pt x="969258" y="790996"/>
                </a:cubicBezTo>
                <a:lnTo>
                  <a:pt x="956984" y="809407"/>
                </a:lnTo>
                <a:lnTo>
                  <a:pt x="950847" y="818612"/>
                </a:lnTo>
                <a:cubicBezTo>
                  <a:pt x="948801" y="821681"/>
                  <a:pt x="947319" y="825210"/>
                  <a:pt x="944711" y="827818"/>
                </a:cubicBezTo>
                <a:cubicBezTo>
                  <a:pt x="938574" y="833955"/>
                  <a:pt x="931114" y="839007"/>
                  <a:pt x="926300" y="846228"/>
                </a:cubicBezTo>
                <a:cubicBezTo>
                  <a:pt x="916575" y="860816"/>
                  <a:pt x="921329" y="851936"/>
                  <a:pt x="914026" y="873845"/>
                </a:cubicBezTo>
                <a:lnTo>
                  <a:pt x="910958" y="883050"/>
                </a:lnTo>
                <a:cubicBezTo>
                  <a:pt x="909935" y="910666"/>
                  <a:pt x="912255" y="938610"/>
                  <a:pt x="907889" y="965898"/>
                </a:cubicBezTo>
                <a:cubicBezTo>
                  <a:pt x="907306" y="969539"/>
                  <a:pt x="900988" y="962641"/>
                  <a:pt x="898684" y="959761"/>
                </a:cubicBezTo>
                <a:cubicBezTo>
                  <a:pt x="896663" y="957235"/>
                  <a:pt x="897409" y="953247"/>
                  <a:pt x="895615" y="950556"/>
                </a:cubicBezTo>
                <a:cubicBezTo>
                  <a:pt x="888892" y="940471"/>
                  <a:pt x="885695" y="942290"/>
                  <a:pt x="877205" y="935214"/>
                </a:cubicBezTo>
                <a:cubicBezTo>
                  <a:pt x="873871" y="932436"/>
                  <a:pt x="871793" y="928116"/>
                  <a:pt x="867999" y="926008"/>
                </a:cubicBezTo>
                <a:cubicBezTo>
                  <a:pt x="862344" y="922866"/>
                  <a:pt x="854971" y="923459"/>
                  <a:pt x="849588" y="919871"/>
                </a:cubicBezTo>
                <a:cubicBezTo>
                  <a:pt x="834999" y="910146"/>
                  <a:pt x="843883" y="914902"/>
                  <a:pt x="821972" y="907598"/>
                </a:cubicBezTo>
                <a:lnTo>
                  <a:pt x="803562" y="901461"/>
                </a:lnTo>
                <a:lnTo>
                  <a:pt x="794356" y="898392"/>
                </a:lnTo>
                <a:cubicBezTo>
                  <a:pt x="789242" y="899415"/>
                  <a:pt x="784229" y="901461"/>
                  <a:pt x="779014" y="901461"/>
                </a:cubicBezTo>
                <a:cubicBezTo>
                  <a:pt x="764915" y="901461"/>
                  <a:pt x="759664" y="899101"/>
                  <a:pt x="748329" y="895324"/>
                </a:cubicBezTo>
                <a:cubicBezTo>
                  <a:pt x="745261" y="893278"/>
                  <a:pt x="742422" y="890836"/>
                  <a:pt x="739124" y="889187"/>
                </a:cubicBezTo>
                <a:cubicBezTo>
                  <a:pt x="736231" y="887740"/>
                  <a:pt x="733126" y="886536"/>
                  <a:pt x="729919" y="886118"/>
                </a:cubicBezTo>
                <a:cubicBezTo>
                  <a:pt x="709533" y="883459"/>
                  <a:pt x="689006" y="882027"/>
                  <a:pt x="668549" y="879981"/>
                </a:cubicBezTo>
                <a:cubicBezTo>
                  <a:pt x="659348" y="881515"/>
                  <a:pt x="639831" y="883785"/>
                  <a:pt x="631728" y="889187"/>
                </a:cubicBezTo>
                <a:lnTo>
                  <a:pt x="622523" y="895324"/>
                </a:lnTo>
                <a:cubicBezTo>
                  <a:pt x="620477" y="898392"/>
                  <a:pt x="618994" y="901921"/>
                  <a:pt x="616386" y="904529"/>
                </a:cubicBezTo>
                <a:cubicBezTo>
                  <a:pt x="613778" y="907137"/>
                  <a:pt x="610013" y="908305"/>
                  <a:pt x="607180" y="910666"/>
                </a:cubicBezTo>
                <a:cubicBezTo>
                  <a:pt x="603846" y="913444"/>
                  <a:pt x="601043" y="916803"/>
                  <a:pt x="597975" y="919871"/>
                </a:cubicBezTo>
                <a:cubicBezTo>
                  <a:pt x="590480" y="882394"/>
                  <a:pt x="601570" y="923094"/>
                  <a:pt x="585701" y="895324"/>
                </a:cubicBezTo>
                <a:cubicBezTo>
                  <a:pt x="585592" y="895133"/>
                  <a:pt x="581096" y="875377"/>
                  <a:pt x="579564" y="873845"/>
                </a:cubicBezTo>
                <a:cubicBezTo>
                  <a:pt x="577277" y="871558"/>
                  <a:pt x="573427" y="871799"/>
                  <a:pt x="570359" y="870776"/>
                </a:cubicBezTo>
                <a:cubicBezTo>
                  <a:pt x="565245" y="871799"/>
                  <a:pt x="560049" y="872473"/>
                  <a:pt x="555017" y="873845"/>
                </a:cubicBezTo>
                <a:cubicBezTo>
                  <a:pt x="548776" y="875547"/>
                  <a:pt x="536606" y="879981"/>
                  <a:pt x="536606" y="879981"/>
                </a:cubicBezTo>
                <a:cubicBezTo>
                  <a:pt x="531953" y="883083"/>
                  <a:pt x="524545" y="889187"/>
                  <a:pt x="518195" y="889187"/>
                </a:cubicBezTo>
                <a:cubicBezTo>
                  <a:pt x="512980" y="889187"/>
                  <a:pt x="507967" y="887141"/>
                  <a:pt x="502853" y="886118"/>
                </a:cubicBezTo>
                <a:cubicBezTo>
                  <a:pt x="492113" y="878958"/>
                  <a:pt x="486489" y="876914"/>
                  <a:pt x="481374" y="861571"/>
                </a:cubicBezTo>
                <a:cubicBezTo>
                  <a:pt x="480351" y="858502"/>
                  <a:pt x="480937" y="854245"/>
                  <a:pt x="478305" y="852365"/>
                </a:cubicBezTo>
                <a:cubicBezTo>
                  <a:pt x="478303" y="852364"/>
                  <a:pt x="455293" y="844695"/>
                  <a:pt x="450689" y="843160"/>
                </a:cubicBezTo>
                <a:lnTo>
                  <a:pt x="441484" y="840092"/>
                </a:lnTo>
                <a:cubicBezTo>
                  <a:pt x="435347" y="836001"/>
                  <a:pt x="430070" y="830151"/>
                  <a:pt x="423073" y="827818"/>
                </a:cubicBezTo>
                <a:cubicBezTo>
                  <a:pt x="420005" y="826795"/>
                  <a:pt x="416761" y="826196"/>
                  <a:pt x="413868" y="824749"/>
                </a:cubicBezTo>
                <a:cubicBezTo>
                  <a:pt x="390083" y="812856"/>
                  <a:pt x="418586" y="823253"/>
                  <a:pt x="395457" y="815544"/>
                </a:cubicBezTo>
                <a:cubicBezTo>
                  <a:pt x="392388" y="813498"/>
                  <a:pt x="389550" y="811056"/>
                  <a:pt x="386251" y="809407"/>
                </a:cubicBezTo>
                <a:cubicBezTo>
                  <a:pt x="383358" y="807961"/>
                  <a:pt x="379333" y="808626"/>
                  <a:pt x="377046" y="806339"/>
                </a:cubicBezTo>
                <a:cubicBezTo>
                  <a:pt x="371831" y="801124"/>
                  <a:pt x="364772" y="787928"/>
                  <a:pt x="364772" y="787928"/>
                </a:cubicBezTo>
                <a:cubicBezTo>
                  <a:pt x="361272" y="777428"/>
                  <a:pt x="356557" y="757903"/>
                  <a:pt x="346362" y="751106"/>
                </a:cubicBezTo>
                <a:lnTo>
                  <a:pt x="337156" y="744969"/>
                </a:lnTo>
                <a:cubicBezTo>
                  <a:pt x="328974" y="745992"/>
                  <a:pt x="320265" y="744975"/>
                  <a:pt x="312609" y="748038"/>
                </a:cubicBezTo>
                <a:cubicBezTo>
                  <a:pt x="306998" y="750283"/>
                  <a:pt x="300421" y="775396"/>
                  <a:pt x="300335" y="775654"/>
                </a:cubicBezTo>
                <a:lnTo>
                  <a:pt x="297266" y="784859"/>
                </a:lnTo>
                <a:cubicBezTo>
                  <a:pt x="296243" y="787928"/>
                  <a:pt x="296889" y="792271"/>
                  <a:pt x="294198" y="794065"/>
                </a:cubicBezTo>
                <a:cubicBezTo>
                  <a:pt x="291129" y="796111"/>
                  <a:pt x="288291" y="798553"/>
                  <a:pt x="284992" y="800202"/>
                </a:cubicBezTo>
                <a:cubicBezTo>
                  <a:pt x="282099" y="801648"/>
                  <a:pt x="278855" y="802247"/>
                  <a:pt x="275787" y="803270"/>
                </a:cubicBezTo>
                <a:cubicBezTo>
                  <a:pt x="271696" y="802247"/>
                  <a:pt x="266258" y="803404"/>
                  <a:pt x="263513" y="800202"/>
                </a:cubicBezTo>
                <a:cubicBezTo>
                  <a:pt x="259303" y="795290"/>
                  <a:pt x="260964" y="787173"/>
                  <a:pt x="257376" y="781791"/>
                </a:cubicBezTo>
                <a:lnTo>
                  <a:pt x="251239" y="772586"/>
                </a:lnTo>
                <a:lnTo>
                  <a:pt x="245103" y="754175"/>
                </a:lnTo>
                <a:lnTo>
                  <a:pt x="242034" y="744969"/>
                </a:lnTo>
                <a:cubicBezTo>
                  <a:pt x="239584" y="737618"/>
                  <a:pt x="234033" y="718271"/>
                  <a:pt x="226692" y="717353"/>
                </a:cubicBezTo>
                <a:lnTo>
                  <a:pt x="202144" y="714285"/>
                </a:lnTo>
                <a:lnTo>
                  <a:pt x="183733" y="708148"/>
                </a:lnTo>
                <a:cubicBezTo>
                  <a:pt x="180665" y="707125"/>
                  <a:pt x="177718" y="705611"/>
                  <a:pt x="174528" y="705079"/>
                </a:cubicBezTo>
                <a:lnTo>
                  <a:pt x="156117" y="702011"/>
                </a:lnTo>
                <a:cubicBezTo>
                  <a:pt x="149980" y="699965"/>
                  <a:pt x="143089" y="699462"/>
                  <a:pt x="137707" y="695874"/>
                </a:cubicBezTo>
                <a:lnTo>
                  <a:pt x="119296" y="683600"/>
                </a:lnTo>
                <a:cubicBezTo>
                  <a:pt x="117250" y="680532"/>
                  <a:pt x="115767" y="677003"/>
                  <a:pt x="113159" y="674395"/>
                </a:cubicBezTo>
                <a:cubicBezTo>
                  <a:pt x="105684" y="666920"/>
                  <a:pt x="101541" y="668007"/>
                  <a:pt x="91680" y="665190"/>
                </a:cubicBezTo>
                <a:cubicBezTo>
                  <a:pt x="88570" y="664301"/>
                  <a:pt x="85543" y="663144"/>
                  <a:pt x="82474" y="662121"/>
                </a:cubicBezTo>
                <a:cubicBezTo>
                  <a:pt x="81451" y="650870"/>
                  <a:pt x="81004" y="639552"/>
                  <a:pt x="79406" y="628368"/>
                </a:cubicBezTo>
                <a:cubicBezTo>
                  <a:pt x="78949" y="625166"/>
                  <a:pt x="76576" y="622389"/>
                  <a:pt x="76337" y="619163"/>
                </a:cubicBezTo>
                <a:cubicBezTo>
                  <a:pt x="74522" y="594661"/>
                  <a:pt x="74527" y="570057"/>
                  <a:pt x="73269" y="545520"/>
                </a:cubicBezTo>
                <a:cubicBezTo>
                  <a:pt x="72481" y="530164"/>
                  <a:pt x="72374" y="514715"/>
                  <a:pt x="70200" y="499493"/>
                </a:cubicBezTo>
                <a:cubicBezTo>
                  <a:pt x="69285" y="493089"/>
                  <a:pt x="66110" y="487219"/>
                  <a:pt x="64064" y="481082"/>
                </a:cubicBezTo>
                <a:lnTo>
                  <a:pt x="60995" y="471877"/>
                </a:lnTo>
                <a:cubicBezTo>
                  <a:pt x="59972" y="453466"/>
                  <a:pt x="59675" y="435001"/>
                  <a:pt x="57927" y="416645"/>
                </a:cubicBezTo>
                <a:cubicBezTo>
                  <a:pt x="57620" y="413425"/>
                  <a:pt x="55643" y="410577"/>
                  <a:pt x="54858" y="407439"/>
                </a:cubicBezTo>
                <a:cubicBezTo>
                  <a:pt x="53593" y="402379"/>
                  <a:pt x="53055" y="397157"/>
                  <a:pt x="51790" y="392097"/>
                </a:cubicBezTo>
                <a:cubicBezTo>
                  <a:pt x="50401" y="386539"/>
                  <a:pt x="47270" y="377435"/>
                  <a:pt x="42584" y="373686"/>
                </a:cubicBezTo>
                <a:cubicBezTo>
                  <a:pt x="40058" y="371666"/>
                  <a:pt x="36447" y="371641"/>
                  <a:pt x="33379" y="370618"/>
                </a:cubicBezTo>
                <a:cubicBezTo>
                  <a:pt x="27242" y="366527"/>
                  <a:pt x="17300" y="365341"/>
                  <a:pt x="14968" y="358344"/>
                </a:cubicBezTo>
                <a:cubicBezTo>
                  <a:pt x="13945" y="355276"/>
                  <a:pt x="13346" y="352032"/>
                  <a:pt x="11900" y="349139"/>
                </a:cubicBezTo>
                <a:cubicBezTo>
                  <a:pt x="0" y="325338"/>
                  <a:pt x="10410" y="353871"/>
                  <a:pt x="2694" y="330728"/>
                </a:cubicBezTo>
                <a:cubicBezTo>
                  <a:pt x="2720" y="330624"/>
                  <a:pt x="7365" y="310715"/>
                  <a:pt x="8831" y="309249"/>
                </a:cubicBezTo>
                <a:cubicBezTo>
                  <a:pt x="11118" y="306962"/>
                  <a:pt x="15144" y="307627"/>
                  <a:pt x="18037" y="306180"/>
                </a:cubicBezTo>
                <a:cubicBezTo>
                  <a:pt x="21335" y="304531"/>
                  <a:pt x="24174" y="302089"/>
                  <a:pt x="27242" y="300043"/>
                </a:cubicBezTo>
                <a:cubicBezTo>
                  <a:pt x="28265" y="295952"/>
                  <a:pt x="29152" y="291824"/>
                  <a:pt x="30311" y="287769"/>
                </a:cubicBezTo>
                <a:cubicBezTo>
                  <a:pt x="31200" y="284659"/>
                  <a:pt x="33379" y="281798"/>
                  <a:pt x="33379" y="278564"/>
                </a:cubicBezTo>
                <a:cubicBezTo>
                  <a:pt x="33379" y="261935"/>
                  <a:pt x="34887" y="224786"/>
                  <a:pt x="27242" y="201853"/>
                </a:cubicBezTo>
                <a:cubicBezTo>
                  <a:pt x="26519" y="199683"/>
                  <a:pt x="31333" y="210035"/>
                  <a:pt x="33379" y="204921"/>
                </a:cubicBez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7" name="Title 1"/>
          <p:cNvSpPr txBox="1">
            <a:spLocks/>
          </p:cNvSpPr>
          <p:nvPr/>
        </p:nvSpPr>
        <p:spPr>
          <a:xfrm>
            <a:off x="4787901" y="3524251"/>
            <a:ext cx="863600" cy="1905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6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పోలండ్</a:t>
            </a:r>
            <a:endParaRPr lang="en-IN" sz="1600" dirty="0">
              <a:solidFill>
                <a:srgbClr val="FFFF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19" name="Freeform 118"/>
          <p:cNvSpPr/>
          <p:nvPr/>
        </p:nvSpPr>
        <p:spPr>
          <a:xfrm>
            <a:off x="5273676" y="3230038"/>
            <a:ext cx="330200" cy="156633"/>
          </a:xfrm>
          <a:custGeom>
            <a:avLst/>
            <a:gdLst>
              <a:gd name="connsiteX0" fmla="*/ 329696 w 330207"/>
              <a:gd name="connsiteY0" fmla="*/ 132179 h 154859"/>
              <a:gd name="connsiteX1" fmla="*/ 323559 w 330207"/>
              <a:gd name="connsiteY1" fmla="*/ 122974 h 154859"/>
              <a:gd name="connsiteX2" fmla="*/ 320491 w 330207"/>
              <a:gd name="connsiteY2" fmla="*/ 113768 h 154859"/>
              <a:gd name="connsiteX3" fmla="*/ 317423 w 330207"/>
              <a:gd name="connsiteY3" fmla="*/ 49331 h 154859"/>
              <a:gd name="connsiteX4" fmla="*/ 311286 w 330207"/>
              <a:gd name="connsiteY4" fmla="*/ 40125 h 154859"/>
              <a:gd name="connsiteX5" fmla="*/ 305149 w 330207"/>
              <a:gd name="connsiteY5" fmla="*/ 27852 h 154859"/>
              <a:gd name="connsiteX6" fmla="*/ 246848 w 330207"/>
              <a:gd name="connsiteY6" fmla="*/ 27852 h 154859"/>
              <a:gd name="connsiteX7" fmla="*/ 237643 w 330207"/>
              <a:gd name="connsiteY7" fmla="*/ 21715 h 154859"/>
              <a:gd name="connsiteX8" fmla="*/ 228437 w 330207"/>
              <a:gd name="connsiteY8" fmla="*/ 18646 h 154859"/>
              <a:gd name="connsiteX9" fmla="*/ 222300 w 330207"/>
              <a:gd name="connsiteY9" fmla="*/ 9441 h 154859"/>
              <a:gd name="connsiteX10" fmla="*/ 203890 w 330207"/>
              <a:gd name="connsiteY10" fmla="*/ 236 h 154859"/>
              <a:gd name="connsiteX11" fmla="*/ 170137 w 330207"/>
              <a:gd name="connsiteY11" fmla="*/ 9441 h 154859"/>
              <a:gd name="connsiteX12" fmla="*/ 164000 w 330207"/>
              <a:gd name="connsiteY12" fmla="*/ 27852 h 154859"/>
              <a:gd name="connsiteX13" fmla="*/ 160931 w 330207"/>
              <a:gd name="connsiteY13" fmla="*/ 37057 h 154859"/>
              <a:gd name="connsiteX14" fmla="*/ 139452 w 330207"/>
              <a:gd name="connsiteY14" fmla="*/ 61605 h 154859"/>
              <a:gd name="connsiteX15" fmla="*/ 130247 w 330207"/>
              <a:gd name="connsiteY15" fmla="*/ 55468 h 154859"/>
              <a:gd name="connsiteX16" fmla="*/ 127178 w 330207"/>
              <a:gd name="connsiteY16" fmla="*/ 43194 h 154859"/>
              <a:gd name="connsiteX17" fmla="*/ 124110 w 330207"/>
              <a:gd name="connsiteY17" fmla="*/ 33989 h 154859"/>
              <a:gd name="connsiteX18" fmla="*/ 124110 w 330207"/>
              <a:gd name="connsiteY18" fmla="*/ 12509 h 154859"/>
              <a:gd name="connsiteX19" fmla="*/ 108767 w 330207"/>
              <a:gd name="connsiteY19" fmla="*/ 15578 h 154859"/>
              <a:gd name="connsiteX20" fmla="*/ 90357 w 330207"/>
              <a:gd name="connsiteY20" fmla="*/ 30920 h 154859"/>
              <a:gd name="connsiteX21" fmla="*/ 84220 w 330207"/>
              <a:gd name="connsiteY21" fmla="*/ 40125 h 154859"/>
              <a:gd name="connsiteX22" fmla="*/ 62741 w 330207"/>
              <a:gd name="connsiteY22" fmla="*/ 49331 h 154859"/>
              <a:gd name="connsiteX23" fmla="*/ 44330 w 330207"/>
              <a:gd name="connsiteY23" fmla="*/ 61605 h 154859"/>
              <a:gd name="connsiteX24" fmla="*/ 35125 w 330207"/>
              <a:gd name="connsiteY24" fmla="*/ 67742 h 154859"/>
              <a:gd name="connsiteX25" fmla="*/ 7508 w 330207"/>
              <a:gd name="connsiteY25" fmla="*/ 86152 h 154859"/>
              <a:gd name="connsiteX26" fmla="*/ 1372 w 330207"/>
              <a:gd name="connsiteY26" fmla="*/ 95358 h 154859"/>
              <a:gd name="connsiteX27" fmla="*/ 4440 w 330207"/>
              <a:gd name="connsiteY27" fmla="*/ 116837 h 154859"/>
              <a:gd name="connsiteX28" fmla="*/ 22851 w 330207"/>
              <a:gd name="connsiteY28" fmla="*/ 122974 h 154859"/>
              <a:gd name="connsiteX29" fmla="*/ 32056 w 330207"/>
              <a:gd name="connsiteY29" fmla="*/ 126042 h 154859"/>
              <a:gd name="connsiteX30" fmla="*/ 41261 w 330207"/>
              <a:gd name="connsiteY30" fmla="*/ 132179 h 154859"/>
              <a:gd name="connsiteX31" fmla="*/ 59672 w 330207"/>
              <a:gd name="connsiteY31" fmla="*/ 138316 h 154859"/>
              <a:gd name="connsiteX32" fmla="*/ 68878 w 330207"/>
              <a:gd name="connsiteY32" fmla="*/ 141385 h 154859"/>
              <a:gd name="connsiteX33" fmla="*/ 78083 w 330207"/>
              <a:gd name="connsiteY33" fmla="*/ 147521 h 154859"/>
              <a:gd name="connsiteX34" fmla="*/ 111836 w 330207"/>
              <a:gd name="connsiteY34" fmla="*/ 141385 h 154859"/>
              <a:gd name="connsiteX35" fmla="*/ 213095 w 330207"/>
              <a:gd name="connsiteY35" fmla="*/ 144453 h 154859"/>
              <a:gd name="connsiteX36" fmla="*/ 228437 w 330207"/>
              <a:gd name="connsiteY36" fmla="*/ 141385 h 154859"/>
              <a:gd name="connsiteX37" fmla="*/ 268327 w 330207"/>
              <a:gd name="connsiteY37" fmla="*/ 147521 h 154859"/>
              <a:gd name="connsiteX38" fmla="*/ 323559 w 330207"/>
              <a:gd name="connsiteY38" fmla="*/ 135248 h 154859"/>
              <a:gd name="connsiteX39" fmla="*/ 326628 w 330207"/>
              <a:gd name="connsiteY39" fmla="*/ 126042 h 154859"/>
              <a:gd name="connsiteX40" fmla="*/ 329696 w 330207"/>
              <a:gd name="connsiteY40" fmla="*/ 132179 h 154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30207" h="154859">
                <a:moveTo>
                  <a:pt x="329696" y="132179"/>
                </a:moveTo>
                <a:cubicBezTo>
                  <a:pt x="329185" y="131668"/>
                  <a:pt x="325208" y="126272"/>
                  <a:pt x="323559" y="122974"/>
                </a:cubicBezTo>
                <a:cubicBezTo>
                  <a:pt x="322113" y="120081"/>
                  <a:pt x="320760" y="116991"/>
                  <a:pt x="320491" y="113768"/>
                </a:cubicBezTo>
                <a:cubicBezTo>
                  <a:pt x="318706" y="92339"/>
                  <a:pt x="320090" y="70668"/>
                  <a:pt x="317423" y="49331"/>
                </a:cubicBezTo>
                <a:cubicBezTo>
                  <a:pt x="316966" y="45671"/>
                  <a:pt x="313116" y="43327"/>
                  <a:pt x="311286" y="40125"/>
                </a:cubicBezTo>
                <a:cubicBezTo>
                  <a:pt x="309017" y="36154"/>
                  <a:pt x="307195" y="31943"/>
                  <a:pt x="305149" y="27852"/>
                </a:cubicBezTo>
                <a:cubicBezTo>
                  <a:pt x="280298" y="31993"/>
                  <a:pt x="278548" y="33796"/>
                  <a:pt x="246848" y="27852"/>
                </a:cubicBezTo>
                <a:cubicBezTo>
                  <a:pt x="243223" y="27172"/>
                  <a:pt x="240941" y="23364"/>
                  <a:pt x="237643" y="21715"/>
                </a:cubicBezTo>
                <a:cubicBezTo>
                  <a:pt x="234750" y="20268"/>
                  <a:pt x="231506" y="19669"/>
                  <a:pt x="228437" y="18646"/>
                </a:cubicBezTo>
                <a:cubicBezTo>
                  <a:pt x="226391" y="15578"/>
                  <a:pt x="224908" y="12049"/>
                  <a:pt x="222300" y="9441"/>
                </a:cubicBezTo>
                <a:cubicBezTo>
                  <a:pt x="216351" y="3492"/>
                  <a:pt x="211378" y="2732"/>
                  <a:pt x="203890" y="236"/>
                </a:cubicBezTo>
                <a:cubicBezTo>
                  <a:pt x="198415" y="920"/>
                  <a:pt x="176037" y="0"/>
                  <a:pt x="170137" y="9441"/>
                </a:cubicBezTo>
                <a:cubicBezTo>
                  <a:pt x="166709" y="14927"/>
                  <a:pt x="166046" y="21715"/>
                  <a:pt x="164000" y="27852"/>
                </a:cubicBezTo>
                <a:cubicBezTo>
                  <a:pt x="162977" y="30920"/>
                  <a:pt x="162725" y="34366"/>
                  <a:pt x="160931" y="37057"/>
                </a:cubicBezTo>
                <a:cubicBezTo>
                  <a:pt x="146611" y="58536"/>
                  <a:pt x="154794" y="51377"/>
                  <a:pt x="139452" y="61605"/>
                </a:cubicBezTo>
                <a:cubicBezTo>
                  <a:pt x="136384" y="59559"/>
                  <a:pt x="132293" y="58536"/>
                  <a:pt x="130247" y="55468"/>
                </a:cubicBezTo>
                <a:cubicBezTo>
                  <a:pt x="127908" y="51959"/>
                  <a:pt x="128337" y="47249"/>
                  <a:pt x="127178" y="43194"/>
                </a:cubicBezTo>
                <a:cubicBezTo>
                  <a:pt x="126289" y="40084"/>
                  <a:pt x="125133" y="37057"/>
                  <a:pt x="124110" y="33989"/>
                </a:cubicBezTo>
                <a:cubicBezTo>
                  <a:pt x="124431" y="32706"/>
                  <a:pt x="131220" y="14879"/>
                  <a:pt x="124110" y="12509"/>
                </a:cubicBezTo>
                <a:cubicBezTo>
                  <a:pt x="119162" y="10860"/>
                  <a:pt x="113881" y="14555"/>
                  <a:pt x="108767" y="15578"/>
                </a:cubicBezTo>
                <a:cubicBezTo>
                  <a:pt x="99716" y="21612"/>
                  <a:pt x="97740" y="22061"/>
                  <a:pt x="90357" y="30920"/>
                </a:cubicBezTo>
                <a:cubicBezTo>
                  <a:pt x="87996" y="33753"/>
                  <a:pt x="87053" y="37764"/>
                  <a:pt x="84220" y="40125"/>
                </a:cubicBezTo>
                <a:cubicBezTo>
                  <a:pt x="71931" y="50365"/>
                  <a:pt x="74250" y="42937"/>
                  <a:pt x="62741" y="49331"/>
                </a:cubicBezTo>
                <a:cubicBezTo>
                  <a:pt x="56294" y="52913"/>
                  <a:pt x="50467" y="57514"/>
                  <a:pt x="44330" y="61605"/>
                </a:cubicBezTo>
                <a:cubicBezTo>
                  <a:pt x="41262" y="63651"/>
                  <a:pt x="38423" y="66093"/>
                  <a:pt x="35125" y="67742"/>
                </a:cubicBezTo>
                <a:cubicBezTo>
                  <a:pt x="22280" y="74165"/>
                  <a:pt x="18854" y="74806"/>
                  <a:pt x="7508" y="86152"/>
                </a:cubicBezTo>
                <a:cubicBezTo>
                  <a:pt x="4900" y="88760"/>
                  <a:pt x="3417" y="92289"/>
                  <a:pt x="1372" y="95358"/>
                </a:cubicBezTo>
                <a:cubicBezTo>
                  <a:pt x="2395" y="102518"/>
                  <a:pt x="0" y="111128"/>
                  <a:pt x="4440" y="116837"/>
                </a:cubicBezTo>
                <a:cubicBezTo>
                  <a:pt x="8412" y="121943"/>
                  <a:pt x="16714" y="120928"/>
                  <a:pt x="22851" y="122974"/>
                </a:cubicBezTo>
                <a:lnTo>
                  <a:pt x="32056" y="126042"/>
                </a:lnTo>
                <a:cubicBezTo>
                  <a:pt x="35124" y="128088"/>
                  <a:pt x="37891" y="130681"/>
                  <a:pt x="41261" y="132179"/>
                </a:cubicBezTo>
                <a:cubicBezTo>
                  <a:pt x="47172" y="134806"/>
                  <a:pt x="53535" y="136270"/>
                  <a:pt x="59672" y="138316"/>
                </a:cubicBezTo>
                <a:cubicBezTo>
                  <a:pt x="62741" y="139339"/>
                  <a:pt x="66186" y="139591"/>
                  <a:pt x="68878" y="141385"/>
                </a:cubicBezTo>
                <a:lnTo>
                  <a:pt x="78083" y="147521"/>
                </a:lnTo>
                <a:cubicBezTo>
                  <a:pt x="83072" y="146523"/>
                  <a:pt x="107909" y="141385"/>
                  <a:pt x="111836" y="141385"/>
                </a:cubicBezTo>
                <a:cubicBezTo>
                  <a:pt x="145604" y="141385"/>
                  <a:pt x="179342" y="143430"/>
                  <a:pt x="213095" y="144453"/>
                </a:cubicBezTo>
                <a:cubicBezTo>
                  <a:pt x="218209" y="143430"/>
                  <a:pt x="223222" y="141385"/>
                  <a:pt x="228437" y="141385"/>
                </a:cubicBezTo>
                <a:cubicBezTo>
                  <a:pt x="252170" y="141385"/>
                  <a:pt x="252570" y="142269"/>
                  <a:pt x="268327" y="147521"/>
                </a:cubicBezTo>
                <a:cubicBezTo>
                  <a:pt x="293865" y="145819"/>
                  <a:pt x="310485" y="154859"/>
                  <a:pt x="323559" y="135248"/>
                </a:cubicBezTo>
                <a:cubicBezTo>
                  <a:pt x="325353" y="132557"/>
                  <a:pt x="325427" y="129045"/>
                  <a:pt x="326628" y="126042"/>
                </a:cubicBezTo>
                <a:cubicBezTo>
                  <a:pt x="327477" y="123919"/>
                  <a:pt x="330207" y="132690"/>
                  <a:pt x="329696" y="132179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0" name="Freeform 119"/>
          <p:cNvSpPr/>
          <p:nvPr/>
        </p:nvSpPr>
        <p:spPr>
          <a:xfrm>
            <a:off x="5394325" y="3003557"/>
            <a:ext cx="539750" cy="436033"/>
          </a:xfrm>
          <a:custGeom>
            <a:avLst/>
            <a:gdLst>
              <a:gd name="connsiteX0" fmla="*/ 13059 w 540834"/>
              <a:gd name="connsiteY0" fmla="*/ 239339 h 434699"/>
              <a:gd name="connsiteX1" fmla="*/ 19196 w 540834"/>
              <a:gd name="connsiteY1" fmla="*/ 230134 h 434699"/>
              <a:gd name="connsiteX2" fmla="*/ 37607 w 540834"/>
              <a:gd name="connsiteY2" fmla="*/ 223997 h 434699"/>
              <a:gd name="connsiteX3" fmla="*/ 46812 w 540834"/>
              <a:gd name="connsiteY3" fmla="*/ 217860 h 434699"/>
              <a:gd name="connsiteX4" fmla="*/ 37607 w 540834"/>
              <a:gd name="connsiteY4" fmla="*/ 174902 h 434699"/>
              <a:gd name="connsiteX5" fmla="*/ 28401 w 540834"/>
              <a:gd name="connsiteY5" fmla="*/ 168765 h 434699"/>
              <a:gd name="connsiteX6" fmla="*/ 22265 w 540834"/>
              <a:gd name="connsiteY6" fmla="*/ 159560 h 434699"/>
              <a:gd name="connsiteX7" fmla="*/ 16128 w 540834"/>
              <a:gd name="connsiteY7" fmla="*/ 110464 h 434699"/>
              <a:gd name="connsiteX8" fmla="*/ 13059 w 540834"/>
              <a:gd name="connsiteY8" fmla="*/ 101259 h 434699"/>
              <a:gd name="connsiteX9" fmla="*/ 9991 w 540834"/>
              <a:gd name="connsiteY9" fmla="*/ 88985 h 434699"/>
              <a:gd name="connsiteX10" fmla="*/ 13059 w 540834"/>
              <a:gd name="connsiteY10" fmla="*/ 49095 h 434699"/>
              <a:gd name="connsiteX11" fmla="*/ 22265 w 540834"/>
              <a:gd name="connsiteY11" fmla="*/ 46027 h 434699"/>
              <a:gd name="connsiteX12" fmla="*/ 49881 w 540834"/>
              <a:gd name="connsiteY12" fmla="*/ 42958 h 434699"/>
              <a:gd name="connsiteX13" fmla="*/ 68291 w 540834"/>
              <a:gd name="connsiteY13" fmla="*/ 36821 h 434699"/>
              <a:gd name="connsiteX14" fmla="*/ 86702 w 540834"/>
              <a:gd name="connsiteY14" fmla="*/ 27616 h 434699"/>
              <a:gd name="connsiteX15" fmla="*/ 123524 w 540834"/>
              <a:gd name="connsiteY15" fmla="*/ 24547 h 434699"/>
              <a:gd name="connsiteX16" fmla="*/ 135797 w 540834"/>
              <a:gd name="connsiteY16" fmla="*/ 21479 h 434699"/>
              <a:gd name="connsiteX17" fmla="*/ 154208 w 540834"/>
              <a:gd name="connsiteY17" fmla="*/ 18411 h 434699"/>
              <a:gd name="connsiteX18" fmla="*/ 163413 w 540834"/>
              <a:gd name="connsiteY18" fmla="*/ 15342 h 434699"/>
              <a:gd name="connsiteX19" fmla="*/ 212509 w 540834"/>
              <a:gd name="connsiteY19" fmla="*/ 12274 h 434699"/>
              <a:gd name="connsiteX20" fmla="*/ 240125 w 540834"/>
              <a:gd name="connsiteY20" fmla="*/ 3068 h 434699"/>
              <a:gd name="connsiteX21" fmla="*/ 249330 w 540834"/>
              <a:gd name="connsiteY21" fmla="*/ 0 h 434699"/>
              <a:gd name="connsiteX22" fmla="*/ 276946 w 540834"/>
              <a:gd name="connsiteY22" fmla="*/ 6137 h 434699"/>
              <a:gd name="connsiteX23" fmla="*/ 304562 w 540834"/>
              <a:gd name="connsiteY23" fmla="*/ 18411 h 434699"/>
              <a:gd name="connsiteX24" fmla="*/ 362863 w 540834"/>
              <a:gd name="connsiteY24" fmla="*/ 21479 h 434699"/>
              <a:gd name="connsiteX25" fmla="*/ 408890 w 540834"/>
              <a:gd name="connsiteY25" fmla="*/ 36821 h 434699"/>
              <a:gd name="connsiteX26" fmla="*/ 427301 w 540834"/>
              <a:gd name="connsiteY26" fmla="*/ 42958 h 434699"/>
              <a:gd name="connsiteX27" fmla="*/ 436506 w 540834"/>
              <a:gd name="connsiteY27" fmla="*/ 46027 h 434699"/>
              <a:gd name="connsiteX28" fmla="*/ 439575 w 540834"/>
              <a:gd name="connsiteY28" fmla="*/ 55232 h 434699"/>
              <a:gd name="connsiteX29" fmla="*/ 470259 w 540834"/>
              <a:gd name="connsiteY29" fmla="*/ 85917 h 434699"/>
              <a:gd name="connsiteX30" fmla="*/ 491738 w 540834"/>
              <a:gd name="connsiteY30" fmla="*/ 98190 h 434699"/>
              <a:gd name="connsiteX31" fmla="*/ 500944 w 540834"/>
              <a:gd name="connsiteY31" fmla="*/ 104327 h 434699"/>
              <a:gd name="connsiteX32" fmla="*/ 519354 w 540834"/>
              <a:gd name="connsiteY32" fmla="*/ 110464 h 434699"/>
              <a:gd name="connsiteX33" fmla="*/ 525491 w 540834"/>
              <a:gd name="connsiteY33" fmla="*/ 128875 h 434699"/>
              <a:gd name="connsiteX34" fmla="*/ 531628 w 540834"/>
              <a:gd name="connsiteY34" fmla="*/ 138080 h 434699"/>
              <a:gd name="connsiteX35" fmla="*/ 537765 w 540834"/>
              <a:gd name="connsiteY35" fmla="*/ 159560 h 434699"/>
              <a:gd name="connsiteX36" fmla="*/ 540834 w 540834"/>
              <a:gd name="connsiteY36" fmla="*/ 168765 h 434699"/>
              <a:gd name="connsiteX37" fmla="*/ 534697 w 540834"/>
              <a:gd name="connsiteY37" fmla="*/ 196381 h 434699"/>
              <a:gd name="connsiteX38" fmla="*/ 528560 w 540834"/>
              <a:gd name="connsiteY38" fmla="*/ 205586 h 434699"/>
              <a:gd name="connsiteX39" fmla="*/ 525491 w 540834"/>
              <a:gd name="connsiteY39" fmla="*/ 214792 h 434699"/>
              <a:gd name="connsiteX40" fmla="*/ 497875 w 540834"/>
              <a:gd name="connsiteY40" fmla="*/ 223997 h 434699"/>
              <a:gd name="connsiteX41" fmla="*/ 488670 w 540834"/>
              <a:gd name="connsiteY41" fmla="*/ 227066 h 434699"/>
              <a:gd name="connsiteX42" fmla="*/ 482533 w 540834"/>
              <a:gd name="connsiteY42" fmla="*/ 236271 h 434699"/>
              <a:gd name="connsiteX43" fmla="*/ 473328 w 540834"/>
              <a:gd name="connsiteY43" fmla="*/ 239339 h 434699"/>
              <a:gd name="connsiteX44" fmla="*/ 464122 w 540834"/>
              <a:gd name="connsiteY44" fmla="*/ 245476 h 434699"/>
              <a:gd name="connsiteX45" fmla="*/ 451848 w 540834"/>
              <a:gd name="connsiteY45" fmla="*/ 263887 h 434699"/>
              <a:gd name="connsiteX46" fmla="*/ 442643 w 540834"/>
              <a:gd name="connsiteY46" fmla="*/ 282298 h 434699"/>
              <a:gd name="connsiteX47" fmla="*/ 424232 w 540834"/>
              <a:gd name="connsiteY47" fmla="*/ 337530 h 434699"/>
              <a:gd name="connsiteX48" fmla="*/ 411958 w 540834"/>
              <a:gd name="connsiteY48" fmla="*/ 352872 h 434699"/>
              <a:gd name="connsiteX49" fmla="*/ 375137 w 540834"/>
              <a:gd name="connsiteY49" fmla="*/ 355941 h 434699"/>
              <a:gd name="connsiteX50" fmla="*/ 356726 w 540834"/>
              <a:gd name="connsiteY50" fmla="*/ 362078 h 434699"/>
              <a:gd name="connsiteX51" fmla="*/ 344452 w 540834"/>
              <a:gd name="connsiteY51" fmla="*/ 380488 h 434699"/>
              <a:gd name="connsiteX52" fmla="*/ 322973 w 540834"/>
              <a:gd name="connsiteY52" fmla="*/ 405036 h 434699"/>
              <a:gd name="connsiteX53" fmla="*/ 313768 w 540834"/>
              <a:gd name="connsiteY53" fmla="*/ 408104 h 434699"/>
              <a:gd name="connsiteX54" fmla="*/ 304562 w 540834"/>
              <a:gd name="connsiteY54" fmla="*/ 414241 h 434699"/>
              <a:gd name="connsiteX55" fmla="*/ 289220 w 540834"/>
              <a:gd name="connsiteY55" fmla="*/ 429584 h 434699"/>
              <a:gd name="connsiteX56" fmla="*/ 283083 w 540834"/>
              <a:gd name="connsiteY56" fmla="*/ 411173 h 434699"/>
              <a:gd name="connsiteX57" fmla="*/ 280015 w 540834"/>
              <a:gd name="connsiteY57" fmla="*/ 401968 h 434699"/>
              <a:gd name="connsiteX58" fmla="*/ 270809 w 540834"/>
              <a:gd name="connsiteY58" fmla="*/ 398899 h 434699"/>
              <a:gd name="connsiteX59" fmla="*/ 264673 w 540834"/>
              <a:gd name="connsiteY59" fmla="*/ 389694 h 434699"/>
              <a:gd name="connsiteX60" fmla="*/ 252399 w 540834"/>
              <a:gd name="connsiteY60" fmla="*/ 386625 h 434699"/>
              <a:gd name="connsiteX61" fmla="*/ 233988 w 540834"/>
              <a:gd name="connsiteY61" fmla="*/ 380488 h 434699"/>
              <a:gd name="connsiteX62" fmla="*/ 215577 w 540834"/>
              <a:gd name="connsiteY62" fmla="*/ 368215 h 434699"/>
              <a:gd name="connsiteX63" fmla="*/ 203303 w 540834"/>
              <a:gd name="connsiteY63" fmla="*/ 349804 h 434699"/>
              <a:gd name="connsiteX64" fmla="*/ 200235 w 540834"/>
              <a:gd name="connsiteY64" fmla="*/ 340598 h 434699"/>
              <a:gd name="connsiteX65" fmla="*/ 197167 w 540834"/>
              <a:gd name="connsiteY65" fmla="*/ 279229 h 434699"/>
              <a:gd name="connsiteX66" fmla="*/ 187961 w 540834"/>
              <a:gd name="connsiteY66" fmla="*/ 270024 h 434699"/>
              <a:gd name="connsiteX67" fmla="*/ 169550 w 540834"/>
              <a:gd name="connsiteY67" fmla="*/ 263887 h 434699"/>
              <a:gd name="connsiteX68" fmla="*/ 123524 w 540834"/>
              <a:gd name="connsiteY68" fmla="*/ 257750 h 434699"/>
              <a:gd name="connsiteX69" fmla="*/ 117387 w 540834"/>
              <a:gd name="connsiteY69" fmla="*/ 248545 h 434699"/>
              <a:gd name="connsiteX70" fmla="*/ 89771 w 540834"/>
              <a:gd name="connsiteY70" fmla="*/ 233202 h 434699"/>
              <a:gd name="connsiteX71" fmla="*/ 59086 w 540834"/>
              <a:gd name="connsiteY71" fmla="*/ 236271 h 434699"/>
              <a:gd name="connsiteX72" fmla="*/ 49881 w 540834"/>
              <a:gd name="connsiteY72" fmla="*/ 245476 h 434699"/>
              <a:gd name="connsiteX73" fmla="*/ 40675 w 540834"/>
              <a:gd name="connsiteY73" fmla="*/ 263887 h 434699"/>
              <a:gd name="connsiteX74" fmla="*/ 25333 w 540834"/>
              <a:gd name="connsiteY74" fmla="*/ 282298 h 434699"/>
              <a:gd name="connsiteX75" fmla="*/ 16128 w 540834"/>
              <a:gd name="connsiteY75" fmla="*/ 285366 h 434699"/>
              <a:gd name="connsiteX76" fmla="*/ 3854 w 540834"/>
              <a:gd name="connsiteY76" fmla="*/ 282298 h 434699"/>
              <a:gd name="connsiteX77" fmla="*/ 785 w 540834"/>
              <a:gd name="connsiteY77" fmla="*/ 273092 h 434699"/>
              <a:gd name="connsiteX78" fmla="*/ 13059 w 540834"/>
              <a:gd name="connsiteY78" fmla="*/ 239339 h 434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</a:cxnLst>
            <a:rect l="l" t="t" r="r" b="b"/>
            <a:pathLst>
              <a:path w="540834" h="434699">
                <a:moveTo>
                  <a:pt x="13059" y="239339"/>
                </a:moveTo>
                <a:cubicBezTo>
                  <a:pt x="16127" y="232180"/>
                  <a:pt x="16069" y="232088"/>
                  <a:pt x="19196" y="230134"/>
                </a:cubicBezTo>
                <a:cubicBezTo>
                  <a:pt x="24682" y="226706"/>
                  <a:pt x="32225" y="227585"/>
                  <a:pt x="37607" y="223997"/>
                </a:cubicBezTo>
                <a:lnTo>
                  <a:pt x="46812" y="217860"/>
                </a:lnTo>
                <a:cubicBezTo>
                  <a:pt x="45310" y="201333"/>
                  <a:pt x="49391" y="186685"/>
                  <a:pt x="37607" y="174902"/>
                </a:cubicBezTo>
                <a:cubicBezTo>
                  <a:pt x="34999" y="172294"/>
                  <a:pt x="31470" y="170811"/>
                  <a:pt x="28401" y="168765"/>
                </a:cubicBezTo>
                <a:cubicBezTo>
                  <a:pt x="26356" y="165697"/>
                  <a:pt x="23914" y="162858"/>
                  <a:pt x="22265" y="159560"/>
                </a:cubicBezTo>
                <a:cubicBezTo>
                  <a:pt x="15522" y="146073"/>
                  <a:pt x="17204" y="119070"/>
                  <a:pt x="16128" y="110464"/>
                </a:cubicBezTo>
                <a:cubicBezTo>
                  <a:pt x="15727" y="107255"/>
                  <a:pt x="13948" y="104369"/>
                  <a:pt x="13059" y="101259"/>
                </a:cubicBezTo>
                <a:cubicBezTo>
                  <a:pt x="11900" y="97204"/>
                  <a:pt x="11014" y="93076"/>
                  <a:pt x="9991" y="88985"/>
                </a:cubicBezTo>
                <a:cubicBezTo>
                  <a:pt x="11014" y="75688"/>
                  <a:pt x="9395" y="61918"/>
                  <a:pt x="13059" y="49095"/>
                </a:cubicBezTo>
                <a:cubicBezTo>
                  <a:pt x="13948" y="45985"/>
                  <a:pt x="19074" y="46559"/>
                  <a:pt x="22265" y="46027"/>
                </a:cubicBezTo>
                <a:cubicBezTo>
                  <a:pt x="31401" y="44504"/>
                  <a:pt x="40676" y="43981"/>
                  <a:pt x="49881" y="42958"/>
                </a:cubicBezTo>
                <a:cubicBezTo>
                  <a:pt x="56018" y="40912"/>
                  <a:pt x="62909" y="40409"/>
                  <a:pt x="68291" y="36821"/>
                </a:cubicBezTo>
                <a:cubicBezTo>
                  <a:pt x="74756" y="32511"/>
                  <a:pt x="78762" y="28675"/>
                  <a:pt x="86702" y="27616"/>
                </a:cubicBezTo>
                <a:cubicBezTo>
                  <a:pt x="98911" y="25988"/>
                  <a:pt x="111250" y="25570"/>
                  <a:pt x="123524" y="24547"/>
                </a:cubicBezTo>
                <a:cubicBezTo>
                  <a:pt x="127615" y="23524"/>
                  <a:pt x="131662" y="22306"/>
                  <a:pt x="135797" y="21479"/>
                </a:cubicBezTo>
                <a:cubicBezTo>
                  <a:pt x="141898" y="20259"/>
                  <a:pt x="148135" y="19761"/>
                  <a:pt x="154208" y="18411"/>
                </a:cubicBezTo>
                <a:cubicBezTo>
                  <a:pt x="157365" y="17709"/>
                  <a:pt x="160196" y="15681"/>
                  <a:pt x="163413" y="15342"/>
                </a:cubicBezTo>
                <a:cubicBezTo>
                  <a:pt x="179720" y="13625"/>
                  <a:pt x="196144" y="13297"/>
                  <a:pt x="212509" y="12274"/>
                </a:cubicBezTo>
                <a:lnTo>
                  <a:pt x="240125" y="3068"/>
                </a:lnTo>
                <a:lnTo>
                  <a:pt x="249330" y="0"/>
                </a:lnTo>
                <a:cubicBezTo>
                  <a:pt x="256408" y="1179"/>
                  <a:pt x="269389" y="2358"/>
                  <a:pt x="276946" y="6137"/>
                </a:cubicBezTo>
                <a:cubicBezTo>
                  <a:pt x="289129" y="12229"/>
                  <a:pt x="286872" y="17480"/>
                  <a:pt x="304562" y="18411"/>
                </a:cubicBezTo>
                <a:lnTo>
                  <a:pt x="362863" y="21479"/>
                </a:lnTo>
                <a:lnTo>
                  <a:pt x="408890" y="36821"/>
                </a:lnTo>
                <a:lnTo>
                  <a:pt x="427301" y="42958"/>
                </a:lnTo>
                <a:lnTo>
                  <a:pt x="436506" y="46027"/>
                </a:lnTo>
                <a:cubicBezTo>
                  <a:pt x="437529" y="49095"/>
                  <a:pt x="438004" y="52405"/>
                  <a:pt x="439575" y="55232"/>
                </a:cubicBezTo>
                <a:cubicBezTo>
                  <a:pt x="453213" y="79780"/>
                  <a:pt x="448438" y="69552"/>
                  <a:pt x="470259" y="85917"/>
                </a:cubicBezTo>
                <a:cubicBezTo>
                  <a:pt x="485120" y="97062"/>
                  <a:pt x="477681" y="93505"/>
                  <a:pt x="491738" y="98190"/>
                </a:cubicBezTo>
                <a:cubicBezTo>
                  <a:pt x="494807" y="100236"/>
                  <a:pt x="497574" y="102829"/>
                  <a:pt x="500944" y="104327"/>
                </a:cubicBezTo>
                <a:cubicBezTo>
                  <a:pt x="506855" y="106954"/>
                  <a:pt x="519354" y="110464"/>
                  <a:pt x="519354" y="110464"/>
                </a:cubicBezTo>
                <a:cubicBezTo>
                  <a:pt x="521400" y="116601"/>
                  <a:pt x="521903" y="123493"/>
                  <a:pt x="525491" y="128875"/>
                </a:cubicBezTo>
                <a:cubicBezTo>
                  <a:pt x="527537" y="131943"/>
                  <a:pt x="529979" y="134782"/>
                  <a:pt x="531628" y="138080"/>
                </a:cubicBezTo>
                <a:cubicBezTo>
                  <a:pt x="534083" y="142989"/>
                  <a:pt x="536452" y="154966"/>
                  <a:pt x="537765" y="159560"/>
                </a:cubicBezTo>
                <a:cubicBezTo>
                  <a:pt x="538654" y="162670"/>
                  <a:pt x="539811" y="165697"/>
                  <a:pt x="540834" y="168765"/>
                </a:cubicBezTo>
                <a:cubicBezTo>
                  <a:pt x="539656" y="175831"/>
                  <a:pt x="538473" y="188830"/>
                  <a:pt x="534697" y="196381"/>
                </a:cubicBezTo>
                <a:cubicBezTo>
                  <a:pt x="533048" y="199679"/>
                  <a:pt x="530209" y="202288"/>
                  <a:pt x="528560" y="205586"/>
                </a:cubicBezTo>
                <a:cubicBezTo>
                  <a:pt x="527113" y="208479"/>
                  <a:pt x="528123" y="212912"/>
                  <a:pt x="525491" y="214792"/>
                </a:cubicBezTo>
                <a:cubicBezTo>
                  <a:pt x="525484" y="214797"/>
                  <a:pt x="502481" y="222462"/>
                  <a:pt x="497875" y="223997"/>
                </a:cubicBezTo>
                <a:lnTo>
                  <a:pt x="488670" y="227066"/>
                </a:lnTo>
                <a:cubicBezTo>
                  <a:pt x="486624" y="230134"/>
                  <a:pt x="485413" y="233967"/>
                  <a:pt x="482533" y="236271"/>
                </a:cubicBezTo>
                <a:cubicBezTo>
                  <a:pt x="480007" y="238291"/>
                  <a:pt x="476221" y="237893"/>
                  <a:pt x="473328" y="239339"/>
                </a:cubicBezTo>
                <a:cubicBezTo>
                  <a:pt x="470029" y="240988"/>
                  <a:pt x="467191" y="243430"/>
                  <a:pt x="464122" y="245476"/>
                </a:cubicBezTo>
                <a:cubicBezTo>
                  <a:pt x="460031" y="251613"/>
                  <a:pt x="454180" y="256890"/>
                  <a:pt x="451848" y="263887"/>
                </a:cubicBezTo>
                <a:cubicBezTo>
                  <a:pt x="447614" y="276591"/>
                  <a:pt x="450574" y="270401"/>
                  <a:pt x="442643" y="282298"/>
                </a:cubicBezTo>
                <a:lnTo>
                  <a:pt x="424232" y="337530"/>
                </a:lnTo>
                <a:cubicBezTo>
                  <a:pt x="421736" y="345018"/>
                  <a:pt x="421873" y="350889"/>
                  <a:pt x="411958" y="352872"/>
                </a:cubicBezTo>
                <a:cubicBezTo>
                  <a:pt x="399881" y="355288"/>
                  <a:pt x="387411" y="354918"/>
                  <a:pt x="375137" y="355941"/>
                </a:cubicBezTo>
                <a:cubicBezTo>
                  <a:pt x="369000" y="357987"/>
                  <a:pt x="358771" y="355941"/>
                  <a:pt x="356726" y="362078"/>
                </a:cubicBezTo>
                <a:cubicBezTo>
                  <a:pt x="350858" y="379684"/>
                  <a:pt x="357861" y="363248"/>
                  <a:pt x="344452" y="380488"/>
                </a:cubicBezTo>
                <a:cubicBezTo>
                  <a:pt x="332734" y="395554"/>
                  <a:pt x="337015" y="398015"/>
                  <a:pt x="322973" y="405036"/>
                </a:cubicBezTo>
                <a:cubicBezTo>
                  <a:pt x="320080" y="406482"/>
                  <a:pt x="316836" y="407081"/>
                  <a:pt x="313768" y="408104"/>
                </a:cubicBezTo>
                <a:cubicBezTo>
                  <a:pt x="310699" y="410150"/>
                  <a:pt x="307170" y="411633"/>
                  <a:pt x="304562" y="414241"/>
                </a:cubicBezTo>
                <a:cubicBezTo>
                  <a:pt x="284106" y="434699"/>
                  <a:pt x="313770" y="413218"/>
                  <a:pt x="289220" y="429584"/>
                </a:cubicBezTo>
                <a:lnTo>
                  <a:pt x="283083" y="411173"/>
                </a:lnTo>
                <a:cubicBezTo>
                  <a:pt x="282060" y="408105"/>
                  <a:pt x="283083" y="402991"/>
                  <a:pt x="280015" y="401968"/>
                </a:cubicBezTo>
                <a:lnTo>
                  <a:pt x="270809" y="398899"/>
                </a:lnTo>
                <a:cubicBezTo>
                  <a:pt x="268764" y="395831"/>
                  <a:pt x="267741" y="391740"/>
                  <a:pt x="264673" y="389694"/>
                </a:cubicBezTo>
                <a:cubicBezTo>
                  <a:pt x="261164" y="387355"/>
                  <a:pt x="256438" y="387837"/>
                  <a:pt x="252399" y="386625"/>
                </a:cubicBezTo>
                <a:cubicBezTo>
                  <a:pt x="246203" y="384766"/>
                  <a:pt x="239371" y="384076"/>
                  <a:pt x="233988" y="380488"/>
                </a:cubicBezTo>
                <a:lnTo>
                  <a:pt x="215577" y="368215"/>
                </a:lnTo>
                <a:cubicBezTo>
                  <a:pt x="208282" y="346325"/>
                  <a:pt x="218627" y="372789"/>
                  <a:pt x="203303" y="349804"/>
                </a:cubicBezTo>
                <a:cubicBezTo>
                  <a:pt x="201509" y="347113"/>
                  <a:pt x="201258" y="343667"/>
                  <a:pt x="200235" y="340598"/>
                </a:cubicBezTo>
                <a:cubicBezTo>
                  <a:pt x="199212" y="320142"/>
                  <a:pt x="200676" y="299408"/>
                  <a:pt x="197167" y="279229"/>
                </a:cubicBezTo>
                <a:cubicBezTo>
                  <a:pt x="196423" y="274954"/>
                  <a:pt x="191754" y="272131"/>
                  <a:pt x="187961" y="270024"/>
                </a:cubicBezTo>
                <a:cubicBezTo>
                  <a:pt x="182306" y="266883"/>
                  <a:pt x="175687" y="265933"/>
                  <a:pt x="169550" y="263887"/>
                </a:cubicBezTo>
                <a:cubicBezTo>
                  <a:pt x="148663" y="256925"/>
                  <a:pt x="163560" y="261087"/>
                  <a:pt x="123524" y="257750"/>
                </a:cubicBezTo>
                <a:cubicBezTo>
                  <a:pt x="121478" y="254682"/>
                  <a:pt x="120162" y="250973"/>
                  <a:pt x="117387" y="248545"/>
                </a:cubicBezTo>
                <a:cubicBezTo>
                  <a:pt x="104402" y="237183"/>
                  <a:pt x="102414" y="237417"/>
                  <a:pt x="89771" y="233202"/>
                </a:cubicBezTo>
                <a:cubicBezTo>
                  <a:pt x="79543" y="234225"/>
                  <a:pt x="68911" y="233248"/>
                  <a:pt x="59086" y="236271"/>
                </a:cubicBezTo>
                <a:cubicBezTo>
                  <a:pt x="54939" y="237547"/>
                  <a:pt x="52659" y="242142"/>
                  <a:pt x="49881" y="245476"/>
                </a:cubicBezTo>
                <a:cubicBezTo>
                  <a:pt x="38889" y="258667"/>
                  <a:pt x="47595" y="250049"/>
                  <a:pt x="40675" y="263887"/>
                </a:cubicBezTo>
                <a:cubicBezTo>
                  <a:pt x="37845" y="269546"/>
                  <a:pt x="30421" y="278906"/>
                  <a:pt x="25333" y="282298"/>
                </a:cubicBezTo>
                <a:cubicBezTo>
                  <a:pt x="22642" y="284092"/>
                  <a:pt x="19196" y="284343"/>
                  <a:pt x="16128" y="285366"/>
                </a:cubicBezTo>
                <a:cubicBezTo>
                  <a:pt x="12037" y="284343"/>
                  <a:pt x="7147" y="284932"/>
                  <a:pt x="3854" y="282298"/>
                </a:cubicBezTo>
                <a:cubicBezTo>
                  <a:pt x="1328" y="280277"/>
                  <a:pt x="1033" y="276317"/>
                  <a:pt x="785" y="273092"/>
                </a:cubicBezTo>
                <a:cubicBezTo>
                  <a:pt x="0" y="262894"/>
                  <a:pt x="9991" y="246498"/>
                  <a:pt x="13059" y="239339"/>
                </a:cubicBezTo>
                <a:close/>
              </a:path>
            </a:pathLst>
          </a:custGeom>
          <a:solidFill>
            <a:srgbClr val="00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1" name="TextBox 94"/>
          <p:cNvSpPr txBox="1">
            <a:spLocks noChangeArrowheads="1"/>
          </p:cNvSpPr>
          <p:nvPr/>
        </p:nvSpPr>
        <p:spPr bwMode="auto">
          <a:xfrm>
            <a:off x="5364164" y="3048000"/>
            <a:ext cx="6477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900">
                <a:solidFill>
                  <a:srgbClr val="FFFF00"/>
                </a:solidFill>
                <a:latin typeface="Ramabhadra" pitchFamily="2" charset="0"/>
                <a:cs typeface="Ramabhadra" pitchFamily="2" charset="0"/>
              </a:rPr>
              <a:t>లిథువేనియా</a:t>
            </a:r>
          </a:p>
        </p:txBody>
      </p:sp>
      <p:sp>
        <p:nvSpPr>
          <p:cNvPr id="122" name="Freeform 121"/>
          <p:cNvSpPr/>
          <p:nvPr/>
        </p:nvSpPr>
        <p:spPr>
          <a:xfrm>
            <a:off x="5402268" y="2766487"/>
            <a:ext cx="668337" cy="368300"/>
          </a:xfrm>
          <a:custGeom>
            <a:avLst/>
            <a:gdLst>
              <a:gd name="connsiteX0" fmla="*/ 823 w 667481"/>
              <a:gd name="connsiteY0" fmla="*/ 281206 h 368584"/>
              <a:gd name="connsiteX1" fmla="*/ 3891 w 667481"/>
              <a:gd name="connsiteY1" fmla="*/ 204495 h 368584"/>
              <a:gd name="connsiteX2" fmla="*/ 13097 w 667481"/>
              <a:gd name="connsiteY2" fmla="*/ 201426 h 368584"/>
              <a:gd name="connsiteX3" fmla="*/ 31507 w 667481"/>
              <a:gd name="connsiteY3" fmla="*/ 189152 h 368584"/>
              <a:gd name="connsiteX4" fmla="*/ 37644 w 667481"/>
              <a:gd name="connsiteY4" fmla="*/ 167673 h 368584"/>
              <a:gd name="connsiteX5" fmla="*/ 43781 w 667481"/>
              <a:gd name="connsiteY5" fmla="*/ 149263 h 368584"/>
              <a:gd name="connsiteX6" fmla="*/ 49918 w 667481"/>
              <a:gd name="connsiteY6" fmla="*/ 130852 h 368584"/>
              <a:gd name="connsiteX7" fmla="*/ 52986 w 667481"/>
              <a:gd name="connsiteY7" fmla="*/ 121646 h 368584"/>
              <a:gd name="connsiteX8" fmla="*/ 62192 w 667481"/>
              <a:gd name="connsiteY8" fmla="*/ 103236 h 368584"/>
              <a:gd name="connsiteX9" fmla="*/ 80603 w 667481"/>
              <a:gd name="connsiteY9" fmla="*/ 90962 h 368584"/>
              <a:gd name="connsiteX10" fmla="*/ 89808 w 667481"/>
              <a:gd name="connsiteY10" fmla="*/ 84825 h 368584"/>
              <a:gd name="connsiteX11" fmla="*/ 99013 w 667481"/>
              <a:gd name="connsiteY11" fmla="*/ 78688 h 368584"/>
              <a:gd name="connsiteX12" fmla="*/ 108219 w 667481"/>
              <a:gd name="connsiteY12" fmla="*/ 75620 h 368584"/>
              <a:gd name="connsiteX13" fmla="*/ 151177 w 667481"/>
              <a:gd name="connsiteY13" fmla="*/ 78688 h 368584"/>
              <a:gd name="connsiteX14" fmla="*/ 160382 w 667481"/>
              <a:gd name="connsiteY14" fmla="*/ 84825 h 368584"/>
              <a:gd name="connsiteX15" fmla="*/ 169588 w 667481"/>
              <a:gd name="connsiteY15" fmla="*/ 87893 h 368584"/>
              <a:gd name="connsiteX16" fmla="*/ 178793 w 667481"/>
              <a:gd name="connsiteY16" fmla="*/ 97099 h 368584"/>
              <a:gd name="connsiteX17" fmla="*/ 184930 w 667481"/>
              <a:gd name="connsiteY17" fmla="*/ 115510 h 368584"/>
              <a:gd name="connsiteX18" fmla="*/ 187999 w 667481"/>
              <a:gd name="connsiteY18" fmla="*/ 124715 h 368584"/>
              <a:gd name="connsiteX19" fmla="*/ 197204 w 667481"/>
              <a:gd name="connsiteY19" fmla="*/ 143126 h 368584"/>
              <a:gd name="connsiteX20" fmla="*/ 215615 w 667481"/>
              <a:gd name="connsiteY20" fmla="*/ 152331 h 368584"/>
              <a:gd name="connsiteX21" fmla="*/ 243231 w 667481"/>
              <a:gd name="connsiteY21" fmla="*/ 167673 h 368584"/>
              <a:gd name="connsiteX22" fmla="*/ 276984 w 667481"/>
              <a:gd name="connsiteY22" fmla="*/ 161536 h 368584"/>
              <a:gd name="connsiteX23" fmla="*/ 283121 w 667481"/>
              <a:gd name="connsiteY23" fmla="*/ 143126 h 368584"/>
              <a:gd name="connsiteX24" fmla="*/ 295394 w 667481"/>
              <a:gd name="connsiteY24" fmla="*/ 127783 h 368584"/>
              <a:gd name="connsiteX25" fmla="*/ 301531 w 667481"/>
              <a:gd name="connsiteY25" fmla="*/ 109373 h 368584"/>
              <a:gd name="connsiteX26" fmla="*/ 295394 w 667481"/>
              <a:gd name="connsiteY26" fmla="*/ 72551 h 368584"/>
              <a:gd name="connsiteX27" fmla="*/ 298463 w 667481"/>
              <a:gd name="connsiteY27" fmla="*/ 11182 h 368584"/>
              <a:gd name="connsiteX28" fmla="*/ 301531 w 667481"/>
              <a:gd name="connsiteY28" fmla="*/ 1977 h 368584"/>
              <a:gd name="connsiteX29" fmla="*/ 393585 w 667481"/>
              <a:gd name="connsiteY29" fmla="*/ 5045 h 368584"/>
              <a:gd name="connsiteX30" fmla="*/ 439612 w 667481"/>
              <a:gd name="connsiteY30" fmla="*/ 20387 h 368584"/>
              <a:gd name="connsiteX31" fmla="*/ 458023 w 667481"/>
              <a:gd name="connsiteY31" fmla="*/ 26524 h 368584"/>
              <a:gd name="connsiteX32" fmla="*/ 470297 w 667481"/>
              <a:gd name="connsiteY32" fmla="*/ 29593 h 368584"/>
              <a:gd name="connsiteX33" fmla="*/ 479502 w 667481"/>
              <a:gd name="connsiteY33" fmla="*/ 32661 h 368584"/>
              <a:gd name="connsiteX34" fmla="*/ 491776 w 667481"/>
              <a:gd name="connsiteY34" fmla="*/ 35730 h 368584"/>
              <a:gd name="connsiteX35" fmla="*/ 510186 w 667481"/>
              <a:gd name="connsiteY35" fmla="*/ 41867 h 368584"/>
              <a:gd name="connsiteX36" fmla="*/ 565419 w 667481"/>
              <a:gd name="connsiteY36" fmla="*/ 44935 h 368584"/>
              <a:gd name="connsiteX37" fmla="*/ 574624 w 667481"/>
              <a:gd name="connsiteY37" fmla="*/ 51072 h 368584"/>
              <a:gd name="connsiteX38" fmla="*/ 577692 w 667481"/>
              <a:gd name="connsiteY38" fmla="*/ 63346 h 368584"/>
              <a:gd name="connsiteX39" fmla="*/ 580761 w 667481"/>
              <a:gd name="connsiteY39" fmla="*/ 72551 h 368584"/>
              <a:gd name="connsiteX40" fmla="*/ 586898 w 667481"/>
              <a:gd name="connsiteY40" fmla="*/ 94030 h 368584"/>
              <a:gd name="connsiteX41" fmla="*/ 589966 w 667481"/>
              <a:gd name="connsiteY41" fmla="*/ 136989 h 368584"/>
              <a:gd name="connsiteX42" fmla="*/ 593035 w 667481"/>
              <a:gd name="connsiteY42" fmla="*/ 146194 h 368584"/>
              <a:gd name="connsiteX43" fmla="*/ 611445 w 667481"/>
              <a:gd name="connsiteY43" fmla="*/ 152331 h 368584"/>
              <a:gd name="connsiteX44" fmla="*/ 635993 w 667481"/>
              <a:gd name="connsiteY44" fmla="*/ 158468 h 368584"/>
              <a:gd name="connsiteX45" fmla="*/ 648267 w 667481"/>
              <a:gd name="connsiteY45" fmla="*/ 173810 h 368584"/>
              <a:gd name="connsiteX46" fmla="*/ 660541 w 667481"/>
              <a:gd name="connsiteY46" fmla="*/ 192221 h 368584"/>
              <a:gd name="connsiteX47" fmla="*/ 666678 w 667481"/>
              <a:gd name="connsiteY47" fmla="*/ 210632 h 368584"/>
              <a:gd name="connsiteX48" fmla="*/ 663609 w 667481"/>
              <a:gd name="connsiteY48" fmla="*/ 235179 h 368584"/>
              <a:gd name="connsiteX49" fmla="*/ 651335 w 667481"/>
              <a:gd name="connsiteY49" fmla="*/ 253590 h 368584"/>
              <a:gd name="connsiteX50" fmla="*/ 639062 w 667481"/>
              <a:gd name="connsiteY50" fmla="*/ 272001 h 368584"/>
              <a:gd name="connsiteX51" fmla="*/ 611445 w 667481"/>
              <a:gd name="connsiteY51" fmla="*/ 293480 h 368584"/>
              <a:gd name="connsiteX52" fmla="*/ 602240 w 667481"/>
              <a:gd name="connsiteY52" fmla="*/ 299617 h 368584"/>
              <a:gd name="connsiteX53" fmla="*/ 586898 w 667481"/>
              <a:gd name="connsiteY53" fmla="*/ 311891 h 368584"/>
              <a:gd name="connsiteX54" fmla="*/ 580761 w 667481"/>
              <a:gd name="connsiteY54" fmla="*/ 321096 h 368584"/>
              <a:gd name="connsiteX55" fmla="*/ 562350 w 667481"/>
              <a:gd name="connsiteY55" fmla="*/ 333370 h 368584"/>
              <a:gd name="connsiteX56" fmla="*/ 562350 w 667481"/>
              <a:gd name="connsiteY56" fmla="*/ 333370 h 368584"/>
              <a:gd name="connsiteX57" fmla="*/ 550076 w 667481"/>
              <a:gd name="connsiteY57" fmla="*/ 339507 h 368584"/>
              <a:gd name="connsiteX58" fmla="*/ 531666 w 667481"/>
              <a:gd name="connsiteY58" fmla="*/ 351781 h 368584"/>
              <a:gd name="connsiteX59" fmla="*/ 516323 w 667481"/>
              <a:gd name="connsiteY59" fmla="*/ 367123 h 368584"/>
              <a:gd name="connsiteX60" fmla="*/ 513255 w 667481"/>
              <a:gd name="connsiteY60" fmla="*/ 357918 h 368584"/>
              <a:gd name="connsiteX61" fmla="*/ 504050 w 667481"/>
              <a:gd name="connsiteY61" fmla="*/ 348712 h 368584"/>
              <a:gd name="connsiteX62" fmla="*/ 485639 w 667481"/>
              <a:gd name="connsiteY62" fmla="*/ 336438 h 368584"/>
              <a:gd name="connsiteX63" fmla="*/ 482570 w 667481"/>
              <a:gd name="connsiteY63" fmla="*/ 327233 h 368584"/>
              <a:gd name="connsiteX64" fmla="*/ 461091 w 667481"/>
              <a:gd name="connsiteY64" fmla="*/ 302685 h 368584"/>
              <a:gd name="connsiteX65" fmla="*/ 442680 w 667481"/>
              <a:gd name="connsiteY65" fmla="*/ 296548 h 368584"/>
              <a:gd name="connsiteX66" fmla="*/ 433475 w 667481"/>
              <a:gd name="connsiteY66" fmla="*/ 293480 h 368584"/>
              <a:gd name="connsiteX67" fmla="*/ 405859 w 667481"/>
              <a:gd name="connsiteY67" fmla="*/ 278138 h 368584"/>
              <a:gd name="connsiteX68" fmla="*/ 387448 w 667481"/>
              <a:gd name="connsiteY68" fmla="*/ 265864 h 368584"/>
              <a:gd name="connsiteX69" fmla="*/ 356764 w 667481"/>
              <a:gd name="connsiteY69" fmla="*/ 259727 h 368584"/>
              <a:gd name="connsiteX70" fmla="*/ 341421 w 667481"/>
              <a:gd name="connsiteY70" fmla="*/ 256659 h 368584"/>
              <a:gd name="connsiteX71" fmla="*/ 292326 w 667481"/>
              <a:gd name="connsiteY71" fmla="*/ 253590 h 368584"/>
              <a:gd name="connsiteX72" fmla="*/ 264710 w 667481"/>
              <a:gd name="connsiteY72" fmla="*/ 244385 h 368584"/>
              <a:gd name="connsiteX73" fmla="*/ 255505 w 667481"/>
              <a:gd name="connsiteY73" fmla="*/ 241316 h 368584"/>
              <a:gd name="connsiteX74" fmla="*/ 212546 w 667481"/>
              <a:gd name="connsiteY74" fmla="*/ 244385 h 368584"/>
              <a:gd name="connsiteX75" fmla="*/ 194135 w 667481"/>
              <a:gd name="connsiteY75" fmla="*/ 256659 h 368584"/>
              <a:gd name="connsiteX76" fmla="*/ 184930 w 667481"/>
              <a:gd name="connsiteY76" fmla="*/ 262795 h 368584"/>
              <a:gd name="connsiteX77" fmla="*/ 95945 w 667481"/>
              <a:gd name="connsiteY77" fmla="*/ 265864 h 368584"/>
              <a:gd name="connsiteX78" fmla="*/ 77534 w 667481"/>
              <a:gd name="connsiteY78" fmla="*/ 272001 h 368584"/>
              <a:gd name="connsiteX79" fmla="*/ 68329 w 667481"/>
              <a:gd name="connsiteY79" fmla="*/ 275069 h 368584"/>
              <a:gd name="connsiteX80" fmla="*/ 56055 w 667481"/>
              <a:gd name="connsiteY80" fmla="*/ 278138 h 368584"/>
              <a:gd name="connsiteX81" fmla="*/ 37644 w 667481"/>
              <a:gd name="connsiteY81" fmla="*/ 284275 h 368584"/>
              <a:gd name="connsiteX82" fmla="*/ 823 w 667481"/>
              <a:gd name="connsiteY82" fmla="*/ 281206 h 368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667481" h="368584">
                <a:moveTo>
                  <a:pt x="823" y="281206"/>
                </a:moveTo>
                <a:cubicBezTo>
                  <a:pt x="1846" y="255636"/>
                  <a:pt x="0" y="229788"/>
                  <a:pt x="3891" y="204495"/>
                </a:cubicBezTo>
                <a:cubicBezTo>
                  <a:pt x="4383" y="201298"/>
                  <a:pt x="10269" y="202997"/>
                  <a:pt x="13097" y="201426"/>
                </a:cubicBezTo>
                <a:cubicBezTo>
                  <a:pt x="19544" y="197844"/>
                  <a:pt x="31507" y="189152"/>
                  <a:pt x="31507" y="189152"/>
                </a:cubicBezTo>
                <a:cubicBezTo>
                  <a:pt x="41811" y="158246"/>
                  <a:pt x="26097" y="206164"/>
                  <a:pt x="37644" y="167673"/>
                </a:cubicBezTo>
                <a:cubicBezTo>
                  <a:pt x="39503" y="161477"/>
                  <a:pt x="41735" y="155400"/>
                  <a:pt x="43781" y="149263"/>
                </a:cubicBezTo>
                <a:lnTo>
                  <a:pt x="49918" y="130852"/>
                </a:lnTo>
                <a:lnTo>
                  <a:pt x="52986" y="121646"/>
                </a:lnTo>
                <a:cubicBezTo>
                  <a:pt x="55174" y="115081"/>
                  <a:pt x="56595" y="108133"/>
                  <a:pt x="62192" y="103236"/>
                </a:cubicBezTo>
                <a:cubicBezTo>
                  <a:pt x="67743" y="98379"/>
                  <a:pt x="74466" y="95053"/>
                  <a:pt x="80603" y="90962"/>
                </a:cubicBezTo>
                <a:lnTo>
                  <a:pt x="89808" y="84825"/>
                </a:lnTo>
                <a:cubicBezTo>
                  <a:pt x="92876" y="82779"/>
                  <a:pt x="95514" y="79854"/>
                  <a:pt x="99013" y="78688"/>
                </a:cubicBezTo>
                <a:lnTo>
                  <a:pt x="108219" y="75620"/>
                </a:lnTo>
                <a:cubicBezTo>
                  <a:pt x="122538" y="76643"/>
                  <a:pt x="137040" y="76193"/>
                  <a:pt x="151177" y="78688"/>
                </a:cubicBezTo>
                <a:cubicBezTo>
                  <a:pt x="154809" y="79329"/>
                  <a:pt x="157084" y="83176"/>
                  <a:pt x="160382" y="84825"/>
                </a:cubicBezTo>
                <a:cubicBezTo>
                  <a:pt x="163275" y="86271"/>
                  <a:pt x="166519" y="86870"/>
                  <a:pt x="169588" y="87893"/>
                </a:cubicBezTo>
                <a:cubicBezTo>
                  <a:pt x="172656" y="90962"/>
                  <a:pt x="176686" y="93306"/>
                  <a:pt x="178793" y="97099"/>
                </a:cubicBezTo>
                <a:cubicBezTo>
                  <a:pt x="181934" y="102754"/>
                  <a:pt x="182884" y="109373"/>
                  <a:pt x="184930" y="115510"/>
                </a:cubicBezTo>
                <a:lnTo>
                  <a:pt x="187999" y="124715"/>
                </a:lnTo>
                <a:cubicBezTo>
                  <a:pt x="190495" y="132203"/>
                  <a:pt x="191255" y="137176"/>
                  <a:pt x="197204" y="143126"/>
                </a:cubicBezTo>
                <a:cubicBezTo>
                  <a:pt x="203153" y="149075"/>
                  <a:pt x="208127" y="149836"/>
                  <a:pt x="215615" y="152331"/>
                </a:cubicBezTo>
                <a:cubicBezTo>
                  <a:pt x="236716" y="166399"/>
                  <a:pt x="227028" y="162273"/>
                  <a:pt x="243231" y="167673"/>
                </a:cubicBezTo>
                <a:cubicBezTo>
                  <a:pt x="254482" y="165627"/>
                  <a:pt x="267245" y="167529"/>
                  <a:pt x="276984" y="161536"/>
                </a:cubicBezTo>
                <a:cubicBezTo>
                  <a:pt x="282493" y="158146"/>
                  <a:pt x="281075" y="149263"/>
                  <a:pt x="283121" y="143126"/>
                </a:cubicBezTo>
                <a:cubicBezTo>
                  <a:pt x="287356" y="130421"/>
                  <a:pt x="283497" y="135715"/>
                  <a:pt x="295394" y="127783"/>
                </a:cubicBezTo>
                <a:cubicBezTo>
                  <a:pt x="297440" y="121646"/>
                  <a:pt x="302333" y="115792"/>
                  <a:pt x="301531" y="109373"/>
                </a:cubicBezTo>
                <a:cubicBezTo>
                  <a:pt x="297940" y="80640"/>
                  <a:pt x="300463" y="92825"/>
                  <a:pt x="295394" y="72551"/>
                </a:cubicBezTo>
                <a:cubicBezTo>
                  <a:pt x="296417" y="52095"/>
                  <a:pt x="296689" y="31587"/>
                  <a:pt x="298463" y="11182"/>
                </a:cubicBezTo>
                <a:cubicBezTo>
                  <a:pt x="298743" y="7960"/>
                  <a:pt x="298303" y="2185"/>
                  <a:pt x="301531" y="1977"/>
                </a:cubicBezTo>
                <a:cubicBezTo>
                  <a:pt x="332169" y="0"/>
                  <a:pt x="362900" y="4022"/>
                  <a:pt x="393585" y="5045"/>
                </a:cubicBezTo>
                <a:lnTo>
                  <a:pt x="439612" y="20387"/>
                </a:lnTo>
                <a:lnTo>
                  <a:pt x="458023" y="26524"/>
                </a:lnTo>
                <a:cubicBezTo>
                  <a:pt x="462114" y="27547"/>
                  <a:pt x="466242" y="28434"/>
                  <a:pt x="470297" y="29593"/>
                </a:cubicBezTo>
                <a:cubicBezTo>
                  <a:pt x="473407" y="30482"/>
                  <a:pt x="476392" y="31772"/>
                  <a:pt x="479502" y="32661"/>
                </a:cubicBezTo>
                <a:cubicBezTo>
                  <a:pt x="483557" y="33820"/>
                  <a:pt x="487737" y="34518"/>
                  <a:pt x="491776" y="35730"/>
                </a:cubicBezTo>
                <a:cubicBezTo>
                  <a:pt x="497972" y="37589"/>
                  <a:pt x="503727" y="41508"/>
                  <a:pt x="510186" y="41867"/>
                </a:cubicBezTo>
                <a:lnTo>
                  <a:pt x="565419" y="44935"/>
                </a:lnTo>
                <a:cubicBezTo>
                  <a:pt x="568487" y="46981"/>
                  <a:pt x="572579" y="48004"/>
                  <a:pt x="574624" y="51072"/>
                </a:cubicBezTo>
                <a:cubicBezTo>
                  <a:pt x="576963" y="54581"/>
                  <a:pt x="576533" y="59291"/>
                  <a:pt x="577692" y="63346"/>
                </a:cubicBezTo>
                <a:cubicBezTo>
                  <a:pt x="578581" y="66456"/>
                  <a:pt x="579872" y="69441"/>
                  <a:pt x="580761" y="72551"/>
                </a:cubicBezTo>
                <a:cubicBezTo>
                  <a:pt x="588467" y="99521"/>
                  <a:pt x="579540" y="71960"/>
                  <a:pt x="586898" y="94030"/>
                </a:cubicBezTo>
                <a:cubicBezTo>
                  <a:pt x="587921" y="108350"/>
                  <a:pt x="588289" y="122731"/>
                  <a:pt x="589966" y="136989"/>
                </a:cubicBezTo>
                <a:cubicBezTo>
                  <a:pt x="590344" y="140201"/>
                  <a:pt x="590403" y="144314"/>
                  <a:pt x="593035" y="146194"/>
                </a:cubicBezTo>
                <a:cubicBezTo>
                  <a:pt x="598299" y="149954"/>
                  <a:pt x="605308" y="150285"/>
                  <a:pt x="611445" y="152331"/>
                </a:cubicBezTo>
                <a:cubicBezTo>
                  <a:pt x="625592" y="157047"/>
                  <a:pt x="617490" y="154767"/>
                  <a:pt x="635993" y="158468"/>
                </a:cubicBezTo>
                <a:cubicBezTo>
                  <a:pt x="653003" y="169808"/>
                  <a:pt x="639549" y="158117"/>
                  <a:pt x="648267" y="173810"/>
                </a:cubicBezTo>
                <a:cubicBezTo>
                  <a:pt x="651849" y="180258"/>
                  <a:pt x="660541" y="192221"/>
                  <a:pt x="660541" y="192221"/>
                </a:cubicBezTo>
                <a:cubicBezTo>
                  <a:pt x="662587" y="198358"/>
                  <a:pt x="667481" y="204213"/>
                  <a:pt x="666678" y="210632"/>
                </a:cubicBezTo>
                <a:cubicBezTo>
                  <a:pt x="665655" y="218814"/>
                  <a:pt x="666383" y="227413"/>
                  <a:pt x="663609" y="235179"/>
                </a:cubicBezTo>
                <a:cubicBezTo>
                  <a:pt x="661128" y="242125"/>
                  <a:pt x="655426" y="247453"/>
                  <a:pt x="651335" y="253590"/>
                </a:cubicBezTo>
                <a:cubicBezTo>
                  <a:pt x="651333" y="253592"/>
                  <a:pt x="639063" y="272000"/>
                  <a:pt x="639062" y="272001"/>
                </a:cubicBezTo>
                <a:cubicBezTo>
                  <a:pt x="624640" y="286422"/>
                  <a:pt x="633467" y="278798"/>
                  <a:pt x="611445" y="293480"/>
                </a:cubicBezTo>
                <a:lnTo>
                  <a:pt x="602240" y="299617"/>
                </a:lnTo>
                <a:cubicBezTo>
                  <a:pt x="584652" y="325997"/>
                  <a:pt x="608071" y="294952"/>
                  <a:pt x="586898" y="311891"/>
                </a:cubicBezTo>
                <a:cubicBezTo>
                  <a:pt x="584018" y="314195"/>
                  <a:pt x="583536" y="318668"/>
                  <a:pt x="580761" y="321096"/>
                </a:cubicBezTo>
                <a:cubicBezTo>
                  <a:pt x="575210" y="325953"/>
                  <a:pt x="568487" y="329279"/>
                  <a:pt x="562350" y="333370"/>
                </a:cubicBezTo>
                <a:lnTo>
                  <a:pt x="562350" y="333370"/>
                </a:lnTo>
                <a:cubicBezTo>
                  <a:pt x="558259" y="335416"/>
                  <a:pt x="553998" y="337154"/>
                  <a:pt x="550076" y="339507"/>
                </a:cubicBezTo>
                <a:cubicBezTo>
                  <a:pt x="543752" y="343302"/>
                  <a:pt x="531666" y="351781"/>
                  <a:pt x="531666" y="351781"/>
                </a:cubicBezTo>
                <a:cubicBezTo>
                  <a:pt x="529912" y="354412"/>
                  <a:pt x="522168" y="368584"/>
                  <a:pt x="516323" y="367123"/>
                </a:cubicBezTo>
                <a:cubicBezTo>
                  <a:pt x="513185" y="366339"/>
                  <a:pt x="515049" y="360609"/>
                  <a:pt x="513255" y="357918"/>
                </a:cubicBezTo>
                <a:cubicBezTo>
                  <a:pt x="510848" y="354307"/>
                  <a:pt x="507475" y="351376"/>
                  <a:pt x="504050" y="348712"/>
                </a:cubicBezTo>
                <a:cubicBezTo>
                  <a:pt x="498228" y="344184"/>
                  <a:pt x="485639" y="336438"/>
                  <a:pt x="485639" y="336438"/>
                </a:cubicBezTo>
                <a:cubicBezTo>
                  <a:pt x="484616" y="333370"/>
                  <a:pt x="484141" y="330060"/>
                  <a:pt x="482570" y="327233"/>
                </a:cubicBezTo>
                <a:cubicBezTo>
                  <a:pt x="476449" y="316214"/>
                  <a:pt x="472335" y="307682"/>
                  <a:pt x="461091" y="302685"/>
                </a:cubicBezTo>
                <a:cubicBezTo>
                  <a:pt x="455180" y="300058"/>
                  <a:pt x="448817" y="298594"/>
                  <a:pt x="442680" y="296548"/>
                </a:cubicBezTo>
                <a:lnTo>
                  <a:pt x="433475" y="293480"/>
                </a:lnTo>
                <a:cubicBezTo>
                  <a:pt x="412373" y="279412"/>
                  <a:pt x="422061" y="283538"/>
                  <a:pt x="405859" y="278138"/>
                </a:cubicBezTo>
                <a:cubicBezTo>
                  <a:pt x="399722" y="274047"/>
                  <a:pt x="394603" y="267653"/>
                  <a:pt x="387448" y="265864"/>
                </a:cubicBezTo>
                <a:cubicBezTo>
                  <a:pt x="365744" y="260437"/>
                  <a:pt x="384342" y="264740"/>
                  <a:pt x="356764" y="259727"/>
                </a:cubicBezTo>
                <a:cubicBezTo>
                  <a:pt x="351633" y="258794"/>
                  <a:pt x="346613" y="257153"/>
                  <a:pt x="341421" y="256659"/>
                </a:cubicBezTo>
                <a:cubicBezTo>
                  <a:pt x="325098" y="255104"/>
                  <a:pt x="308691" y="254613"/>
                  <a:pt x="292326" y="253590"/>
                </a:cubicBezTo>
                <a:lnTo>
                  <a:pt x="264710" y="244385"/>
                </a:lnTo>
                <a:lnTo>
                  <a:pt x="255505" y="241316"/>
                </a:lnTo>
                <a:cubicBezTo>
                  <a:pt x="241185" y="242339"/>
                  <a:pt x="226473" y="240903"/>
                  <a:pt x="212546" y="244385"/>
                </a:cubicBezTo>
                <a:cubicBezTo>
                  <a:pt x="205390" y="246174"/>
                  <a:pt x="200272" y="252568"/>
                  <a:pt x="194135" y="256659"/>
                </a:cubicBezTo>
                <a:cubicBezTo>
                  <a:pt x="191067" y="258704"/>
                  <a:pt x="188615" y="262668"/>
                  <a:pt x="184930" y="262795"/>
                </a:cubicBezTo>
                <a:lnTo>
                  <a:pt x="95945" y="265864"/>
                </a:lnTo>
                <a:lnTo>
                  <a:pt x="77534" y="272001"/>
                </a:lnTo>
                <a:cubicBezTo>
                  <a:pt x="74466" y="273024"/>
                  <a:pt x="71467" y="274284"/>
                  <a:pt x="68329" y="275069"/>
                </a:cubicBezTo>
                <a:cubicBezTo>
                  <a:pt x="64238" y="276092"/>
                  <a:pt x="60094" y="276926"/>
                  <a:pt x="56055" y="278138"/>
                </a:cubicBezTo>
                <a:cubicBezTo>
                  <a:pt x="49859" y="279997"/>
                  <a:pt x="44113" y="284275"/>
                  <a:pt x="37644" y="284275"/>
                </a:cubicBezTo>
                <a:lnTo>
                  <a:pt x="823" y="281206"/>
                </a:ln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3" name="TextBox 93"/>
          <p:cNvSpPr txBox="1">
            <a:spLocks noChangeArrowheads="1"/>
          </p:cNvSpPr>
          <p:nvPr/>
        </p:nvSpPr>
        <p:spPr bwMode="auto">
          <a:xfrm>
            <a:off x="5929319" y="2679706"/>
            <a:ext cx="92868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>
                <a:latin typeface="Ramabhadra" pitchFamily="2" charset="0"/>
                <a:cs typeface="Ramabhadra" pitchFamily="2" charset="0"/>
              </a:rPr>
              <a:t>లాత్వియా</a:t>
            </a:r>
          </a:p>
        </p:txBody>
      </p:sp>
      <p:sp>
        <p:nvSpPr>
          <p:cNvPr id="124" name="Freeform 123"/>
          <p:cNvSpPr/>
          <p:nvPr/>
        </p:nvSpPr>
        <p:spPr>
          <a:xfrm>
            <a:off x="5597531" y="2463804"/>
            <a:ext cx="428625" cy="349251"/>
          </a:xfrm>
          <a:custGeom>
            <a:avLst/>
            <a:gdLst>
              <a:gd name="connsiteX0" fmla="*/ 383557 w 428561"/>
              <a:gd name="connsiteY0" fmla="*/ 331394 h 349804"/>
              <a:gd name="connsiteX1" fmla="*/ 380489 w 428561"/>
              <a:gd name="connsiteY1" fmla="*/ 309915 h 349804"/>
              <a:gd name="connsiteX2" fmla="*/ 377421 w 428561"/>
              <a:gd name="connsiteY2" fmla="*/ 300709 h 349804"/>
              <a:gd name="connsiteX3" fmla="*/ 380489 w 428561"/>
              <a:gd name="connsiteY3" fmla="*/ 184108 h 349804"/>
              <a:gd name="connsiteX4" fmla="*/ 383557 w 428561"/>
              <a:gd name="connsiteY4" fmla="*/ 174902 h 349804"/>
              <a:gd name="connsiteX5" fmla="*/ 386626 w 428561"/>
              <a:gd name="connsiteY5" fmla="*/ 162629 h 349804"/>
              <a:gd name="connsiteX6" fmla="*/ 392763 w 428561"/>
              <a:gd name="connsiteY6" fmla="*/ 144218 h 349804"/>
              <a:gd name="connsiteX7" fmla="*/ 389694 w 428561"/>
              <a:gd name="connsiteY7" fmla="*/ 125807 h 349804"/>
              <a:gd name="connsiteX8" fmla="*/ 371284 w 428561"/>
              <a:gd name="connsiteY8" fmla="*/ 110465 h 349804"/>
              <a:gd name="connsiteX9" fmla="*/ 380489 w 428561"/>
              <a:gd name="connsiteY9" fmla="*/ 70575 h 349804"/>
              <a:gd name="connsiteX10" fmla="*/ 389694 w 428561"/>
              <a:gd name="connsiteY10" fmla="*/ 64438 h 349804"/>
              <a:gd name="connsiteX11" fmla="*/ 398900 w 428561"/>
              <a:gd name="connsiteY11" fmla="*/ 61370 h 349804"/>
              <a:gd name="connsiteX12" fmla="*/ 408105 w 428561"/>
              <a:gd name="connsiteY12" fmla="*/ 55233 h 349804"/>
              <a:gd name="connsiteX13" fmla="*/ 423447 w 428561"/>
              <a:gd name="connsiteY13" fmla="*/ 39890 h 349804"/>
              <a:gd name="connsiteX14" fmla="*/ 420379 w 428561"/>
              <a:gd name="connsiteY14" fmla="*/ 6137 h 349804"/>
              <a:gd name="connsiteX15" fmla="*/ 401968 w 428561"/>
              <a:gd name="connsiteY15" fmla="*/ 0 h 349804"/>
              <a:gd name="connsiteX16" fmla="*/ 392763 w 428561"/>
              <a:gd name="connsiteY16" fmla="*/ 3069 h 349804"/>
              <a:gd name="connsiteX17" fmla="*/ 374352 w 428561"/>
              <a:gd name="connsiteY17" fmla="*/ 18411 h 349804"/>
              <a:gd name="connsiteX18" fmla="*/ 368215 w 428561"/>
              <a:gd name="connsiteY18" fmla="*/ 27617 h 349804"/>
              <a:gd name="connsiteX19" fmla="*/ 359010 w 428561"/>
              <a:gd name="connsiteY19" fmla="*/ 33753 h 349804"/>
              <a:gd name="connsiteX20" fmla="*/ 340599 w 428561"/>
              <a:gd name="connsiteY20" fmla="*/ 39890 h 349804"/>
              <a:gd name="connsiteX21" fmla="*/ 316051 w 428561"/>
              <a:gd name="connsiteY21" fmla="*/ 36822 h 349804"/>
              <a:gd name="connsiteX22" fmla="*/ 306846 w 428561"/>
              <a:gd name="connsiteY22" fmla="*/ 33753 h 349804"/>
              <a:gd name="connsiteX23" fmla="*/ 273093 w 428561"/>
              <a:gd name="connsiteY23" fmla="*/ 24548 h 349804"/>
              <a:gd name="connsiteX24" fmla="*/ 190245 w 428561"/>
              <a:gd name="connsiteY24" fmla="*/ 27617 h 349804"/>
              <a:gd name="connsiteX25" fmla="*/ 171834 w 428561"/>
              <a:gd name="connsiteY25" fmla="*/ 33753 h 349804"/>
              <a:gd name="connsiteX26" fmla="*/ 95123 w 428561"/>
              <a:gd name="connsiteY26" fmla="*/ 42959 h 349804"/>
              <a:gd name="connsiteX27" fmla="*/ 85917 w 428561"/>
              <a:gd name="connsiteY27" fmla="*/ 49096 h 349804"/>
              <a:gd name="connsiteX28" fmla="*/ 67506 w 428561"/>
              <a:gd name="connsiteY28" fmla="*/ 55233 h 349804"/>
              <a:gd name="connsiteX29" fmla="*/ 49096 w 428561"/>
              <a:gd name="connsiteY29" fmla="*/ 67507 h 349804"/>
              <a:gd name="connsiteX30" fmla="*/ 36822 w 428561"/>
              <a:gd name="connsiteY30" fmla="*/ 76712 h 349804"/>
              <a:gd name="connsiteX31" fmla="*/ 18411 w 428561"/>
              <a:gd name="connsiteY31" fmla="*/ 88986 h 349804"/>
              <a:gd name="connsiteX32" fmla="*/ 15343 w 428561"/>
              <a:gd name="connsiteY32" fmla="*/ 98191 h 349804"/>
              <a:gd name="connsiteX33" fmla="*/ 9206 w 428561"/>
              <a:gd name="connsiteY33" fmla="*/ 107396 h 349804"/>
              <a:gd name="connsiteX34" fmla="*/ 3069 w 428561"/>
              <a:gd name="connsiteY34" fmla="*/ 125807 h 349804"/>
              <a:gd name="connsiteX35" fmla="*/ 0 w 428561"/>
              <a:gd name="connsiteY35" fmla="*/ 135013 h 349804"/>
              <a:gd name="connsiteX36" fmla="*/ 3069 w 428561"/>
              <a:gd name="connsiteY36" fmla="*/ 162629 h 349804"/>
              <a:gd name="connsiteX37" fmla="*/ 6137 w 428561"/>
              <a:gd name="connsiteY37" fmla="*/ 171834 h 349804"/>
              <a:gd name="connsiteX38" fmla="*/ 24548 w 428561"/>
              <a:gd name="connsiteY38" fmla="*/ 190245 h 349804"/>
              <a:gd name="connsiteX39" fmla="*/ 27617 w 428561"/>
              <a:gd name="connsiteY39" fmla="*/ 199450 h 349804"/>
              <a:gd name="connsiteX40" fmla="*/ 30685 w 428561"/>
              <a:gd name="connsiteY40" fmla="*/ 242409 h 349804"/>
              <a:gd name="connsiteX41" fmla="*/ 39890 w 428561"/>
              <a:gd name="connsiteY41" fmla="*/ 245477 h 349804"/>
              <a:gd name="connsiteX42" fmla="*/ 52164 w 428561"/>
              <a:gd name="connsiteY42" fmla="*/ 263888 h 349804"/>
              <a:gd name="connsiteX43" fmla="*/ 61370 w 428561"/>
              <a:gd name="connsiteY43" fmla="*/ 270025 h 349804"/>
              <a:gd name="connsiteX44" fmla="*/ 73643 w 428561"/>
              <a:gd name="connsiteY44" fmla="*/ 266956 h 349804"/>
              <a:gd name="connsiteX45" fmla="*/ 88986 w 428561"/>
              <a:gd name="connsiteY45" fmla="*/ 239340 h 349804"/>
              <a:gd name="connsiteX46" fmla="*/ 113533 w 428561"/>
              <a:gd name="connsiteY46" fmla="*/ 242409 h 349804"/>
              <a:gd name="connsiteX47" fmla="*/ 116602 w 428561"/>
              <a:gd name="connsiteY47" fmla="*/ 251614 h 349804"/>
              <a:gd name="connsiteX48" fmla="*/ 119670 w 428561"/>
              <a:gd name="connsiteY48" fmla="*/ 309915 h 349804"/>
              <a:gd name="connsiteX49" fmla="*/ 177971 w 428561"/>
              <a:gd name="connsiteY49" fmla="*/ 309915 h 349804"/>
              <a:gd name="connsiteX50" fmla="*/ 190245 w 428561"/>
              <a:gd name="connsiteY50" fmla="*/ 312983 h 349804"/>
              <a:gd name="connsiteX51" fmla="*/ 233203 w 428561"/>
              <a:gd name="connsiteY51" fmla="*/ 316051 h 349804"/>
              <a:gd name="connsiteX52" fmla="*/ 251614 w 428561"/>
              <a:gd name="connsiteY52" fmla="*/ 325257 h 349804"/>
              <a:gd name="connsiteX53" fmla="*/ 270025 w 428561"/>
              <a:gd name="connsiteY53" fmla="*/ 334462 h 349804"/>
              <a:gd name="connsiteX54" fmla="*/ 319120 w 428561"/>
              <a:gd name="connsiteY54" fmla="*/ 337531 h 349804"/>
              <a:gd name="connsiteX55" fmla="*/ 346736 w 428561"/>
              <a:gd name="connsiteY55" fmla="*/ 349804 h 349804"/>
              <a:gd name="connsiteX56" fmla="*/ 383557 w 428561"/>
              <a:gd name="connsiteY56" fmla="*/ 331394 h 349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28561" h="349804">
                <a:moveTo>
                  <a:pt x="383557" y="331394"/>
                </a:moveTo>
                <a:cubicBezTo>
                  <a:pt x="389183" y="324746"/>
                  <a:pt x="381907" y="317007"/>
                  <a:pt x="380489" y="309915"/>
                </a:cubicBezTo>
                <a:cubicBezTo>
                  <a:pt x="379855" y="306743"/>
                  <a:pt x="377421" y="303944"/>
                  <a:pt x="377421" y="300709"/>
                </a:cubicBezTo>
                <a:cubicBezTo>
                  <a:pt x="377421" y="261829"/>
                  <a:pt x="378595" y="222942"/>
                  <a:pt x="380489" y="184108"/>
                </a:cubicBezTo>
                <a:cubicBezTo>
                  <a:pt x="380647" y="180877"/>
                  <a:pt x="382668" y="178012"/>
                  <a:pt x="383557" y="174902"/>
                </a:cubicBezTo>
                <a:cubicBezTo>
                  <a:pt x="384716" y="170847"/>
                  <a:pt x="385414" y="166668"/>
                  <a:pt x="386626" y="162629"/>
                </a:cubicBezTo>
                <a:cubicBezTo>
                  <a:pt x="388485" y="156433"/>
                  <a:pt x="392763" y="144218"/>
                  <a:pt x="392763" y="144218"/>
                </a:cubicBezTo>
                <a:cubicBezTo>
                  <a:pt x="391740" y="138081"/>
                  <a:pt x="392221" y="131492"/>
                  <a:pt x="389694" y="125807"/>
                </a:cubicBezTo>
                <a:cubicBezTo>
                  <a:pt x="387207" y="120212"/>
                  <a:pt x="376174" y="113725"/>
                  <a:pt x="371284" y="110465"/>
                </a:cubicBezTo>
                <a:cubicBezTo>
                  <a:pt x="372886" y="94441"/>
                  <a:pt x="369307" y="81757"/>
                  <a:pt x="380489" y="70575"/>
                </a:cubicBezTo>
                <a:cubicBezTo>
                  <a:pt x="383097" y="67967"/>
                  <a:pt x="386396" y="66087"/>
                  <a:pt x="389694" y="64438"/>
                </a:cubicBezTo>
                <a:cubicBezTo>
                  <a:pt x="392587" y="62992"/>
                  <a:pt x="395831" y="62393"/>
                  <a:pt x="398900" y="61370"/>
                </a:cubicBezTo>
                <a:cubicBezTo>
                  <a:pt x="401968" y="59324"/>
                  <a:pt x="405497" y="57841"/>
                  <a:pt x="408105" y="55233"/>
                </a:cubicBezTo>
                <a:cubicBezTo>
                  <a:pt x="428561" y="34776"/>
                  <a:pt x="398901" y="56255"/>
                  <a:pt x="423447" y="39890"/>
                </a:cubicBezTo>
                <a:cubicBezTo>
                  <a:pt x="422424" y="28639"/>
                  <a:pt x="425735" y="16084"/>
                  <a:pt x="420379" y="6137"/>
                </a:cubicBezTo>
                <a:cubicBezTo>
                  <a:pt x="417312" y="441"/>
                  <a:pt x="401968" y="0"/>
                  <a:pt x="401968" y="0"/>
                </a:cubicBezTo>
                <a:cubicBezTo>
                  <a:pt x="398900" y="1023"/>
                  <a:pt x="395656" y="1622"/>
                  <a:pt x="392763" y="3069"/>
                </a:cubicBezTo>
                <a:cubicBezTo>
                  <a:pt x="385866" y="6518"/>
                  <a:pt x="379200" y="12593"/>
                  <a:pt x="374352" y="18411"/>
                </a:cubicBezTo>
                <a:cubicBezTo>
                  <a:pt x="371991" y="21244"/>
                  <a:pt x="370823" y="25009"/>
                  <a:pt x="368215" y="27617"/>
                </a:cubicBezTo>
                <a:cubicBezTo>
                  <a:pt x="365608" y="30224"/>
                  <a:pt x="362380" y="32255"/>
                  <a:pt x="359010" y="33753"/>
                </a:cubicBezTo>
                <a:cubicBezTo>
                  <a:pt x="353099" y="36380"/>
                  <a:pt x="340599" y="39890"/>
                  <a:pt x="340599" y="39890"/>
                </a:cubicBezTo>
                <a:cubicBezTo>
                  <a:pt x="332416" y="38867"/>
                  <a:pt x="324164" y="38297"/>
                  <a:pt x="316051" y="36822"/>
                </a:cubicBezTo>
                <a:cubicBezTo>
                  <a:pt x="312869" y="36243"/>
                  <a:pt x="309966" y="34604"/>
                  <a:pt x="306846" y="33753"/>
                </a:cubicBezTo>
                <a:cubicBezTo>
                  <a:pt x="268779" y="23371"/>
                  <a:pt x="294280" y="31612"/>
                  <a:pt x="273093" y="24548"/>
                </a:cubicBezTo>
                <a:cubicBezTo>
                  <a:pt x="245477" y="25571"/>
                  <a:pt x="217766" y="25115"/>
                  <a:pt x="190245" y="27617"/>
                </a:cubicBezTo>
                <a:cubicBezTo>
                  <a:pt x="183803" y="28203"/>
                  <a:pt x="171834" y="33753"/>
                  <a:pt x="171834" y="33753"/>
                </a:cubicBezTo>
                <a:cubicBezTo>
                  <a:pt x="142298" y="53445"/>
                  <a:pt x="176020" y="33251"/>
                  <a:pt x="95123" y="42959"/>
                </a:cubicBezTo>
                <a:cubicBezTo>
                  <a:pt x="91461" y="43398"/>
                  <a:pt x="89287" y="47598"/>
                  <a:pt x="85917" y="49096"/>
                </a:cubicBezTo>
                <a:cubicBezTo>
                  <a:pt x="80006" y="51723"/>
                  <a:pt x="72888" y="51645"/>
                  <a:pt x="67506" y="55233"/>
                </a:cubicBezTo>
                <a:cubicBezTo>
                  <a:pt x="61369" y="59324"/>
                  <a:pt x="54996" y="63082"/>
                  <a:pt x="49096" y="67507"/>
                </a:cubicBezTo>
                <a:cubicBezTo>
                  <a:pt x="45005" y="70575"/>
                  <a:pt x="41012" y="73779"/>
                  <a:pt x="36822" y="76712"/>
                </a:cubicBezTo>
                <a:cubicBezTo>
                  <a:pt x="30779" y="80942"/>
                  <a:pt x="18411" y="88986"/>
                  <a:pt x="18411" y="88986"/>
                </a:cubicBezTo>
                <a:cubicBezTo>
                  <a:pt x="17388" y="92054"/>
                  <a:pt x="16789" y="95298"/>
                  <a:pt x="15343" y="98191"/>
                </a:cubicBezTo>
                <a:cubicBezTo>
                  <a:pt x="13694" y="101489"/>
                  <a:pt x="10704" y="104026"/>
                  <a:pt x="9206" y="107396"/>
                </a:cubicBezTo>
                <a:cubicBezTo>
                  <a:pt x="6579" y="113307"/>
                  <a:pt x="5115" y="119670"/>
                  <a:pt x="3069" y="125807"/>
                </a:cubicBezTo>
                <a:lnTo>
                  <a:pt x="0" y="135013"/>
                </a:lnTo>
                <a:cubicBezTo>
                  <a:pt x="1023" y="144218"/>
                  <a:pt x="1546" y="153493"/>
                  <a:pt x="3069" y="162629"/>
                </a:cubicBezTo>
                <a:cubicBezTo>
                  <a:pt x="3601" y="165819"/>
                  <a:pt x="4151" y="169281"/>
                  <a:pt x="6137" y="171834"/>
                </a:cubicBezTo>
                <a:cubicBezTo>
                  <a:pt x="11465" y="178685"/>
                  <a:pt x="24548" y="190245"/>
                  <a:pt x="24548" y="190245"/>
                </a:cubicBezTo>
                <a:cubicBezTo>
                  <a:pt x="25571" y="193313"/>
                  <a:pt x="27239" y="196238"/>
                  <a:pt x="27617" y="199450"/>
                </a:cubicBezTo>
                <a:cubicBezTo>
                  <a:pt x="29294" y="213708"/>
                  <a:pt x="26986" y="228538"/>
                  <a:pt x="30685" y="242409"/>
                </a:cubicBezTo>
                <a:cubicBezTo>
                  <a:pt x="31518" y="245534"/>
                  <a:pt x="36822" y="244454"/>
                  <a:pt x="39890" y="245477"/>
                </a:cubicBezTo>
                <a:cubicBezTo>
                  <a:pt x="63003" y="260885"/>
                  <a:pt x="36312" y="240110"/>
                  <a:pt x="52164" y="263888"/>
                </a:cubicBezTo>
                <a:cubicBezTo>
                  <a:pt x="54210" y="266957"/>
                  <a:pt x="58301" y="267979"/>
                  <a:pt x="61370" y="270025"/>
                </a:cubicBezTo>
                <a:cubicBezTo>
                  <a:pt x="65461" y="269002"/>
                  <a:pt x="70469" y="269733"/>
                  <a:pt x="73643" y="266956"/>
                </a:cubicBezTo>
                <a:cubicBezTo>
                  <a:pt x="83572" y="258267"/>
                  <a:pt x="85399" y="250099"/>
                  <a:pt x="88986" y="239340"/>
                </a:cubicBezTo>
                <a:cubicBezTo>
                  <a:pt x="97168" y="240363"/>
                  <a:pt x="105998" y="239060"/>
                  <a:pt x="113533" y="242409"/>
                </a:cubicBezTo>
                <a:cubicBezTo>
                  <a:pt x="116489" y="243723"/>
                  <a:pt x="116309" y="248393"/>
                  <a:pt x="116602" y="251614"/>
                </a:cubicBezTo>
                <a:cubicBezTo>
                  <a:pt x="118364" y="270995"/>
                  <a:pt x="118647" y="290481"/>
                  <a:pt x="119670" y="309915"/>
                </a:cubicBezTo>
                <a:cubicBezTo>
                  <a:pt x="145365" y="303490"/>
                  <a:pt x="133192" y="305201"/>
                  <a:pt x="177971" y="309915"/>
                </a:cubicBezTo>
                <a:cubicBezTo>
                  <a:pt x="182165" y="310356"/>
                  <a:pt x="186054" y="312517"/>
                  <a:pt x="190245" y="312983"/>
                </a:cubicBezTo>
                <a:cubicBezTo>
                  <a:pt x="204513" y="314568"/>
                  <a:pt x="218884" y="315028"/>
                  <a:pt x="233203" y="316051"/>
                </a:cubicBezTo>
                <a:cubicBezTo>
                  <a:pt x="259582" y="333638"/>
                  <a:pt x="226206" y="312553"/>
                  <a:pt x="251614" y="325257"/>
                </a:cubicBezTo>
                <a:cubicBezTo>
                  <a:pt x="260168" y="329534"/>
                  <a:pt x="260252" y="333433"/>
                  <a:pt x="270025" y="334462"/>
                </a:cubicBezTo>
                <a:cubicBezTo>
                  <a:pt x="286332" y="336179"/>
                  <a:pt x="302755" y="336508"/>
                  <a:pt x="319120" y="337531"/>
                </a:cubicBezTo>
                <a:cubicBezTo>
                  <a:pt x="341029" y="344834"/>
                  <a:pt x="332148" y="340080"/>
                  <a:pt x="346736" y="349804"/>
                </a:cubicBezTo>
                <a:cubicBezTo>
                  <a:pt x="370479" y="346413"/>
                  <a:pt x="377931" y="338042"/>
                  <a:pt x="383557" y="331394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5" name="TextBox 92"/>
          <p:cNvSpPr txBox="1">
            <a:spLocks noChangeArrowheads="1"/>
          </p:cNvSpPr>
          <p:nvPr/>
        </p:nvSpPr>
        <p:spPr bwMode="auto">
          <a:xfrm>
            <a:off x="5929318" y="2476506"/>
            <a:ext cx="7143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latin typeface="Ramabhadra" pitchFamily="2" charset="0"/>
                <a:cs typeface="Ramabhadra" pitchFamily="2" charset="0"/>
              </a:rPr>
              <a:t>ఎస్తోనియా</a:t>
            </a:r>
          </a:p>
        </p:txBody>
      </p:sp>
      <p:sp>
        <p:nvSpPr>
          <p:cNvPr id="126" name="Freeform 125"/>
          <p:cNvSpPr/>
          <p:nvPr/>
        </p:nvSpPr>
        <p:spPr>
          <a:xfrm>
            <a:off x="5278439" y="715437"/>
            <a:ext cx="939800" cy="1720851"/>
          </a:xfrm>
          <a:custGeom>
            <a:avLst/>
            <a:gdLst>
              <a:gd name="connsiteX0" fmla="*/ 722 w 941124"/>
              <a:gd name="connsiteY0" fmla="*/ 169523 h 1720970"/>
              <a:gd name="connsiteX1" fmla="*/ 9389 w 941124"/>
              <a:gd name="connsiteY1" fmla="*/ 139188 h 1720970"/>
              <a:gd name="connsiteX2" fmla="*/ 22390 w 941124"/>
              <a:gd name="connsiteY2" fmla="*/ 130521 h 1720970"/>
              <a:gd name="connsiteX3" fmla="*/ 48392 w 941124"/>
              <a:gd name="connsiteY3" fmla="*/ 121853 h 1720970"/>
              <a:gd name="connsiteX4" fmla="*/ 74394 w 941124"/>
              <a:gd name="connsiteY4" fmla="*/ 126187 h 1720970"/>
              <a:gd name="connsiteX5" fmla="*/ 78728 w 941124"/>
              <a:gd name="connsiteY5" fmla="*/ 143522 h 1720970"/>
              <a:gd name="connsiteX6" fmla="*/ 87395 w 941124"/>
              <a:gd name="connsiteY6" fmla="*/ 173857 h 1720970"/>
              <a:gd name="connsiteX7" fmla="*/ 91728 w 941124"/>
              <a:gd name="connsiteY7" fmla="*/ 199859 h 1720970"/>
              <a:gd name="connsiteX8" fmla="*/ 135065 w 941124"/>
              <a:gd name="connsiteY8" fmla="*/ 225861 h 1720970"/>
              <a:gd name="connsiteX9" fmla="*/ 161067 w 941124"/>
              <a:gd name="connsiteY9" fmla="*/ 234528 h 1720970"/>
              <a:gd name="connsiteX10" fmla="*/ 187069 w 941124"/>
              <a:gd name="connsiteY10" fmla="*/ 238862 h 1720970"/>
              <a:gd name="connsiteX11" fmla="*/ 200070 w 941124"/>
              <a:gd name="connsiteY11" fmla="*/ 247529 h 1720970"/>
              <a:gd name="connsiteX12" fmla="*/ 221738 w 941124"/>
              <a:gd name="connsiteY12" fmla="*/ 230195 h 1720970"/>
              <a:gd name="connsiteX13" fmla="*/ 243406 w 941124"/>
              <a:gd name="connsiteY13" fmla="*/ 217194 h 1720970"/>
              <a:gd name="connsiteX14" fmla="*/ 269408 w 941124"/>
              <a:gd name="connsiteY14" fmla="*/ 221527 h 1720970"/>
              <a:gd name="connsiteX15" fmla="*/ 273742 w 941124"/>
              <a:gd name="connsiteY15" fmla="*/ 234528 h 1720970"/>
              <a:gd name="connsiteX16" fmla="*/ 282409 w 941124"/>
              <a:gd name="connsiteY16" fmla="*/ 247529 h 1720970"/>
              <a:gd name="connsiteX17" fmla="*/ 304077 w 941124"/>
              <a:gd name="connsiteY17" fmla="*/ 243195 h 1720970"/>
              <a:gd name="connsiteX18" fmla="*/ 312745 w 941124"/>
              <a:gd name="connsiteY18" fmla="*/ 234528 h 1720970"/>
              <a:gd name="connsiteX19" fmla="*/ 338746 w 941124"/>
              <a:gd name="connsiteY19" fmla="*/ 182524 h 1720970"/>
              <a:gd name="connsiteX20" fmla="*/ 343080 w 941124"/>
              <a:gd name="connsiteY20" fmla="*/ 169523 h 1720970"/>
              <a:gd name="connsiteX21" fmla="*/ 347414 w 941124"/>
              <a:gd name="connsiteY21" fmla="*/ 156523 h 1720970"/>
              <a:gd name="connsiteX22" fmla="*/ 351747 w 941124"/>
              <a:gd name="connsiteY22" fmla="*/ 61182 h 1720970"/>
              <a:gd name="connsiteX23" fmla="*/ 360415 w 941124"/>
              <a:gd name="connsiteY23" fmla="*/ 35180 h 1720970"/>
              <a:gd name="connsiteX24" fmla="*/ 373416 w 941124"/>
              <a:gd name="connsiteY24" fmla="*/ 30847 h 1720970"/>
              <a:gd name="connsiteX25" fmla="*/ 395084 w 941124"/>
              <a:gd name="connsiteY25" fmla="*/ 17846 h 1720970"/>
              <a:gd name="connsiteX26" fmla="*/ 416752 w 941124"/>
              <a:gd name="connsiteY26" fmla="*/ 4845 h 1720970"/>
              <a:gd name="connsiteX27" fmla="*/ 481757 w 941124"/>
              <a:gd name="connsiteY27" fmla="*/ 9178 h 1720970"/>
              <a:gd name="connsiteX28" fmla="*/ 490424 w 941124"/>
              <a:gd name="connsiteY28" fmla="*/ 17846 h 1720970"/>
              <a:gd name="connsiteX29" fmla="*/ 503425 w 941124"/>
              <a:gd name="connsiteY29" fmla="*/ 22179 h 1720970"/>
              <a:gd name="connsiteX30" fmla="*/ 512092 w 941124"/>
              <a:gd name="connsiteY30" fmla="*/ 30847 h 1720970"/>
              <a:gd name="connsiteX31" fmla="*/ 520760 w 941124"/>
              <a:gd name="connsiteY31" fmla="*/ 56849 h 1720970"/>
              <a:gd name="connsiteX32" fmla="*/ 516426 w 941124"/>
              <a:gd name="connsiteY32" fmla="*/ 139188 h 1720970"/>
              <a:gd name="connsiteX33" fmla="*/ 520760 w 941124"/>
              <a:gd name="connsiteY33" fmla="*/ 204193 h 1720970"/>
              <a:gd name="connsiteX34" fmla="*/ 529427 w 941124"/>
              <a:gd name="connsiteY34" fmla="*/ 230195 h 1720970"/>
              <a:gd name="connsiteX35" fmla="*/ 533761 w 941124"/>
              <a:gd name="connsiteY35" fmla="*/ 282198 h 1720970"/>
              <a:gd name="connsiteX36" fmla="*/ 538094 w 941124"/>
              <a:gd name="connsiteY36" fmla="*/ 295199 h 1720970"/>
              <a:gd name="connsiteX37" fmla="*/ 559763 w 941124"/>
              <a:gd name="connsiteY37" fmla="*/ 312534 h 1720970"/>
              <a:gd name="connsiteX38" fmla="*/ 590098 w 941124"/>
              <a:gd name="connsiteY38" fmla="*/ 321201 h 1720970"/>
              <a:gd name="connsiteX39" fmla="*/ 620434 w 941124"/>
              <a:gd name="connsiteY39" fmla="*/ 355870 h 1720970"/>
              <a:gd name="connsiteX40" fmla="*/ 624767 w 941124"/>
              <a:gd name="connsiteY40" fmla="*/ 368871 h 1720970"/>
              <a:gd name="connsiteX41" fmla="*/ 629101 w 941124"/>
              <a:gd name="connsiteY41" fmla="*/ 425209 h 1720970"/>
              <a:gd name="connsiteX42" fmla="*/ 633435 w 941124"/>
              <a:gd name="connsiteY42" fmla="*/ 442543 h 1720970"/>
              <a:gd name="connsiteX43" fmla="*/ 646436 w 941124"/>
              <a:gd name="connsiteY43" fmla="*/ 516215 h 1720970"/>
              <a:gd name="connsiteX44" fmla="*/ 655103 w 941124"/>
              <a:gd name="connsiteY44" fmla="*/ 524883 h 1720970"/>
              <a:gd name="connsiteX45" fmla="*/ 668104 w 941124"/>
              <a:gd name="connsiteY45" fmla="*/ 563886 h 1720970"/>
              <a:gd name="connsiteX46" fmla="*/ 672437 w 941124"/>
              <a:gd name="connsiteY46" fmla="*/ 576886 h 1720970"/>
              <a:gd name="connsiteX47" fmla="*/ 681105 w 941124"/>
              <a:gd name="connsiteY47" fmla="*/ 585554 h 1720970"/>
              <a:gd name="connsiteX48" fmla="*/ 689772 w 941124"/>
              <a:gd name="connsiteY48" fmla="*/ 611556 h 1720970"/>
              <a:gd name="connsiteX49" fmla="*/ 694106 w 941124"/>
              <a:gd name="connsiteY49" fmla="*/ 624557 h 1720970"/>
              <a:gd name="connsiteX50" fmla="*/ 715774 w 941124"/>
              <a:gd name="connsiteY50" fmla="*/ 663559 h 1720970"/>
              <a:gd name="connsiteX51" fmla="*/ 702773 w 941124"/>
              <a:gd name="connsiteY51" fmla="*/ 754566 h 1720970"/>
              <a:gd name="connsiteX52" fmla="*/ 694106 w 941124"/>
              <a:gd name="connsiteY52" fmla="*/ 780568 h 1720970"/>
              <a:gd name="connsiteX53" fmla="*/ 689772 w 941124"/>
              <a:gd name="connsiteY53" fmla="*/ 793569 h 1720970"/>
              <a:gd name="connsiteX54" fmla="*/ 694106 w 941124"/>
              <a:gd name="connsiteY54" fmla="*/ 819571 h 1720970"/>
              <a:gd name="connsiteX55" fmla="*/ 711440 w 941124"/>
              <a:gd name="connsiteY55" fmla="*/ 867241 h 1720970"/>
              <a:gd name="connsiteX56" fmla="*/ 715774 w 941124"/>
              <a:gd name="connsiteY56" fmla="*/ 888909 h 1720970"/>
              <a:gd name="connsiteX57" fmla="*/ 733109 w 941124"/>
              <a:gd name="connsiteY57" fmla="*/ 906244 h 1720970"/>
              <a:gd name="connsiteX58" fmla="*/ 789446 w 941124"/>
              <a:gd name="connsiteY58" fmla="*/ 906244 h 1720970"/>
              <a:gd name="connsiteX59" fmla="*/ 793780 w 941124"/>
              <a:gd name="connsiteY59" fmla="*/ 919245 h 1720970"/>
              <a:gd name="connsiteX60" fmla="*/ 811114 w 941124"/>
              <a:gd name="connsiteY60" fmla="*/ 958248 h 1720970"/>
              <a:gd name="connsiteX61" fmla="*/ 815448 w 941124"/>
              <a:gd name="connsiteY61" fmla="*/ 971249 h 1720970"/>
              <a:gd name="connsiteX62" fmla="*/ 811114 w 941124"/>
              <a:gd name="connsiteY62" fmla="*/ 997250 h 1720970"/>
              <a:gd name="connsiteX63" fmla="*/ 802447 w 941124"/>
              <a:gd name="connsiteY63" fmla="*/ 1005918 h 1720970"/>
              <a:gd name="connsiteX64" fmla="*/ 789446 w 941124"/>
              <a:gd name="connsiteY64" fmla="*/ 1031920 h 1720970"/>
              <a:gd name="connsiteX65" fmla="*/ 793780 w 941124"/>
              <a:gd name="connsiteY65" fmla="*/ 1057922 h 1720970"/>
              <a:gd name="connsiteX66" fmla="*/ 806781 w 941124"/>
              <a:gd name="connsiteY66" fmla="*/ 1070923 h 1720970"/>
              <a:gd name="connsiteX67" fmla="*/ 832782 w 941124"/>
              <a:gd name="connsiteY67" fmla="*/ 1083923 h 1720970"/>
              <a:gd name="connsiteX68" fmla="*/ 845783 w 941124"/>
              <a:gd name="connsiteY68" fmla="*/ 1092591 h 1720970"/>
              <a:gd name="connsiteX69" fmla="*/ 863118 w 941124"/>
              <a:gd name="connsiteY69" fmla="*/ 1096924 h 1720970"/>
              <a:gd name="connsiteX70" fmla="*/ 902121 w 941124"/>
              <a:gd name="connsiteY70" fmla="*/ 1109925 h 1720970"/>
              <a:gd name="connsiteX71" fmla="*/ 915122 w 941124"/>
              <a:gd name="connsiteY71" fmla="*/ 1114259 h 1720970"/>
              <a:gd name="connsiteX72" fmla="*/ 928123 w 941124"/>
              <a:gd name="connsiteY72" fmla="*/ 1118593 h 1720970"/>
              <a:gd name="connsiteX73" fmla="*/ 941124 w 941124"/>
              <a:gd name="connsiteY73" fmla="*/ 1144595 h 1720970"/>
              <a:gd name="connsiteX74" fmla="*/ 936790 w 941124"/>
              <a:gd name="connsiteY74" fmla="*/ 1170596 h 1720970"/>
              <a:gd name="connsiteX75" fmla="*/ 928123 w 941124"/>
              <a:gd name="connsiteY75" fmla="*/ 1196598 h 1720970"/>
              <a:gd name="connsiteX76" fmla="*/ 915122 w 941124"/>
              <a:gd name="connsiteY76" fmla="*/ 1222600 h 1720970"/>
              <a:gd name="connsiteX77" fmla="*/ 906455 w 941124"/>
              <a:gd name="connsiteY77" fmla="*/ 1231268 h 1720970"/>
              <a:gd name="connsiteX78" fmla="*/ 893454 w 941124"/>
              <a:gd name="connsiteY78" fmla="*/ 1252936 h 1720970"/>
              <a:gd name="connsiteX79" fmla="*/ 889120 w 941124"/>
              <a:gd name="connsiteY79" fmla="*/ 1265937 h 1720970"/>
              <a:gd name="connsiteX80" fmla="*/ 880453 w 941124"/>
              <a:gd name="connsiteY80" fmla="*/ 1278938 h 1720970"/>
              <a:gd name="connsiteX81" fmla="*/ 871785 w 941124"/>
              <a:gd name="connsiteY81" fmla="*/ 1304940 h 1720970"/>
              <a:gd name="connsiteX82" fmla="*/ 858784 w 941124"/>
              <a:gd name="connsiteY82" fmla="*/ 1313607 h 1720970"/>
              <a:gd name="connsiteX83" fmla="*/ 832782 w 941124"/>
              <a:gd name="connsiteY83" fmla="*/ 1335275 h 1720970"/>
              <a:gd name="connsiteX84" fmla="*/ 815448 w 941124"/>
              <a:gd name="connsiteY84" fmla="*/ 1356943 h 1720970"/>
              <a:gd name="connsiteX85" fmla="*/ 811114 w 941124"/>
              <a:gd name="connsiteY85" fmla="*/ 1369944 h 1720970"/>
              <a:gd name="connsiteX86" fmla="*/ 802447 w 941124"/>
              <a:gd name="connsiteY86" fmla="*/ 1378612 h 1720970"/>
              <a:gd name="connsiteX87" fmla="*/ 789446 w 941124"/>
              <a:gd name="connsiteY87" fmla="*/ 1421948 h 1720970"/>
              <a:gd name="connsiteX88" fmla="*/ 767778 w 941124"/>
              <a:gd name="connsiteY88" fmla="*/ 1447950 h 1720970"/>
              <a:gd name="connsiteX89" fmla="*/ 759110 w 941124"/>
              <a:gd name="connsiteY89" fmla="*/ 1456617 h 1720970"/>
              <a:gd name="connsiteX90" fmla="*/ 741776 w 941124"/>
              <a:gd name="connsiteY90" fmla="*/ 1478286 h 1720970"/>
              <a:gd name="connsiteX91" fmla="*/ 733109 w 941124"/>
              <a:gd name="connsiteY91" fmla="*/ 1504287 h 1720970"/>
              <a:gd name="connsiteX92" fmla="*/ 728775 w 941124"/>
              <a:gd name="connsiteY92" fmla="*/ 1517288 h 1720970"/>
              <a:gd name="connsiteX93" fmla="*/ 711440 w 941124"/>
              <a:gd name="connsiteY93" fmla="*/ 1538957 h 1720970"/>
              <a:gd name="connsiteX94" fmla="*/ 698439 w 941124"/>
              <a:gd name="connsiteY94" fmla="*/ 1547624 h 1720970"/>
              <a:gd name="connsiteX95" fmla="*/ 685438 w 941124"/>
              <a:gd name="connsiteY95" fmla="*/ 1569292 h 1720970"/>
              <a:gd name="connsiteX96" fmla="*/ 616100 w 941124"/>
              <a:gd name="connsiteY96" fmla="*/ 1599628 h 1720970"/>
              <a:gd name="connsiteX97" fmla="*/ 577097 w 941124"/>
              <a:gd name="connsiteY97" fmla="*/ 1621296 h 1720970"/>
              <a:gd name="connsiteX98" fmla="*/ 564096 w 941124"/>
              <a:gd name="connsiteY98" fmla="*/ 1629963 h 1720970"/>
              <a:gd name="connsiteX99" fmla="*/ 538094 w 941124"/>
              <a:gd name="connsiteY99" fmla="*/ 1638631 h 1720970"/>
              <a:gd name="connsiteX100" fmla="*/ 512092 w 941124"/>
              <a:gd name="connsiteY100" fmla="*/ 1655965 h 1720970"/>
              <a:gd name="connsiteX101" fmla="*/ 499092 w 941124"/>
              <a:gd name="connsiteY101" fmla="*/ 1664632 h 1720970"/>
              <a:gd name="connsiteX102" fmla="*/ 473090 w 941124"/>
              <a:gd name="connsiteY102" fmla="*/ 1673300 h 1720970"/>
              <a:gd name="connsiteX103" fmla="*/ 447088 w 941124"/>
              <a:gd name="connsiteY103" fmla="*/ 1686301 h 1720970"/>
              <a:gd name="connsiteX104" fmla="*/ 438420 w 941124"/>
              <a:gd name="connsiteY104" fmla="*/ 1694968 h 1720970"/>
              <a:gd name="connsiteX105" fmla="*/ 425419 w 941124"/>
              <a:gd name="connsiteY105" fmla="*/ 1699302 h 1720970"/>
              <a:gd name="connsiteX106" fmla="*/ 395084 w 941124"/>
              <a:gd name="connsiteY106" fmla="*/ 1707969 h 1720970"/>
              <a:gd name="connsiteX107" fmla="*/ 360415 w 941124"/>
              <a:gd name="connsiteY107" fmla="*/ 1703635 h 1720970"/>
              <a:gd name="connsiteX108" fmla="*/ 317078 w 941124"/>
              <a:gd name="connsiteY108" fmla="*/ 1712303 h 1720970"/>
              <a:gd name="connsiteX109" fmla="*/ 304077 w 941124"/>
              <a:gd name="connsiteY109" fmla="*/ 1720970 h 1720970"/>
              <a:gd name="connsiteX110" fmla="*/ 286743 w 941124"/>
              <a:gd name="connsiteY110" fmla="*/ 1677633 h 1720970"/>
              <a:gd name="connsiteX111" fmla="*/ 260741 w 941124"/>
              <a:gd name="connsiteY111" fmla="*/ 1668966 h 1720970"/>
              <a:gd name="connsiteX112" fmla="*/ 256407 w 941124"/>
              <a:gd name="connsiteY112" fmla="*/ 1655965 h 1720970"/>
              <a:gd name="connsiteX113" fmla="*/ 200070 w 941124"/>
              <a:gd name="connsiteY113" fmla="*/ 1642964 h 1720970"/>
              <a:gd name="connsiteX114" fmla="*/ 165401 w 941124"/>
              <a:gd name="connsiteY114" fmla="*/ 1634297 h 1720970"/>
              <a:gd name="connsiteX115" fmla="*/ 156733 w 941124"/>
              <a:gd name="connsiteY115" fmla="*/ 1625630 h 1720970"/>
              <a:gd name="connsiteX116" fmla="*/ 148066 w 941124"/>
              <a:gd name="connsiteY116" fmla="*/ 1612629 h 1720970"/>
              <a:gd name="connsiteX117" fmla="*/ 135065 w 941124"/>
              <a:gd name="connsiteY117" fmla="*/ 1608295 h 1720970"/>
              <a:gd name="connsiteX118" fmla="*/ 126398 w 941124"/>
              <a:gd name="connsiteY118" fmla="*/ 1556291 h 1720970"/>
              <a:gd name="connsiteX119" fmla="*/ 113397 w 941124"/>
              <a:gd name="connsiteY119" fmla="*/ 1530289 h 1720970"/>
              <a:gd name="connsiteX120" fmla="*/ 117730 w 941124"/>
              <a:gd name="connsiteY120" fmla="*/ 1482619 h 1720970"/>
              <a:gd name="connsiteX121" fmla="*/ 122064 w 941124"/>
              <a:gd name="connsiteY121" fmla="*/ 1447950 h 1720970"/>
              <a:gd name="connsiteX122" fmla="*/ 117730 w 941124"/>
              <a:gd name="connsiteY122" fmla="*/ 1421948 h 1720970"/>
              <a:gd name="connsiteX123" fmla="*/ 109063 w 941124"/>
              <a:gd name="connsiteY123" fmla="*/ 1387279 h 1720970"/>
              <a:gd name="connsiteX124" fmla="*/ 109063 w 941124"/>
              <a:gd name="connsiteY124" fmla="*/ 1257269 h 1720970"/>
              <a:gd name="connsiteX125" fmla="*/ 113397 w 941124"/>
              <a:gd name="connsiteY125" fmla="*/ 1244268 h 1720970"/>
              <a:gd name="connsiteX126" fmla="*/ 126398 w 941124"/>
              <a:gd name="connsiteY126" fmla="*/ 1231268 h 1720970"/>
              <a:gd name="connsiteX127" fmla="*/ 148066 w 941124"/>
              <a:gd name="connsiteY127" fmla="*/ 1205266 h 1720970"/>
              <a:gd name="connsiteX128" fmla="*/ 152400 w 941124"/>
              <a:gd name="connsiteY128" fmla="*/ 1192265 h 1720970"/>
              <a:gd name="connsiteX129" fmla="*/ 169734 w 941124"/>
              <a:gd name="connsiteY129" fmla="*/ 1170596 h 1720970"/>
              <a:gd name="connsiteX130" fmla="*/ 191402 w 941124"/>
              <a:gd name="connsiteY130" fmla="*/ 1131594 h 1720970"/>
              <a:gd name="connsiteX131" fmla="*/ 200070 w 941124"/>
              <a:gd name="connsiteY131" fmla="*/ 1122926 h 1720970"/>
              <a:gd name="connsiteX132" fmla="*/ 226072 w 941124"/>
              <a:gd name="connsiteY132" fmla="*/ 1088257 h 1720970"/>
              <a:gd name="connsiteX133" fmla="*/ 239073 w 941124"/>
              <a:gd name="connsiteY133" fmla="*/ 1083923 h 1720970"/>
              <a:gd name="connsiteX134" fmla="*/ 252073 w 941124"/>
              <a:gd name="connsiteY134" fmla="*/ 1070923 h 1720970"/>
              <a:gd name="connsiteX135" fmla="*/ 265074 w 941124"/>
              <a:gd name="connsiteY135" fmla="*/ 1066589 h 1720970"/>
              <a:gd name="connsiteX136" fmla="*/ 273742 w 941124"/>
              <a:gd name="connsiteY136" fmla="*/ 1053588 h 1720970"/>
              <a:gd name="connsiteX137" fmla="*/ 282409 w 941124"/>
              <a:gd name="connsiteY137" fmla="*/ 1027586 h 1720970"/>
              <a:gd name="connsiteX138" fmla="*/ 295410 w 941124"/>
              <a:gd name="connsiteY138" fmla="*/ 971249 h 1720970"/>
              <a:gd name="connsiteX139" fmla="*/ 299744 w 941124"/>
              <a:gd name="connsiteY139" fmla="*/ 958248 h 1720970"/>
              <a:gd name="connsiteX140" fmla="*/ 317078 w 941124"/>
              <a:gd name="connsiteY140" fmla="*/ 932246 h 1720970"/>
              <a:gd name="connsiteX141" fmla="*/ 325746 w 941124"/>
              <a:gd name="connsiteY141" fmla="*/ 906244 h 1720970"/>
              <a:gd name="connsiteX142" fmla="*/ 330079 w 941124"/>
              <a:gd name="connsiteY142" fmla="*/ 871575 h 1720970"/>
              <a:gd name="connsiteX143" fmla="*/ 356081 w 941124"/>
              <a:gd name="connsiteY143" fmla="*/ 862907 h 1720970"/>
              <a:gd name="connsiteX144" fmla="*/ 369082 w 941124"/>
              <a:gd name="connsiteY144" fmla="*/ 854240 h 1720970"/>
              <a:gd name="connsiteX145" fmla="*/ 364748 w 941124"/>
              <a:gd name="connsiteY145" fmla="*/ 815237 h 1720970"/>
              <a:gd name="connsiteX146" fmla="*/ 334413 w 941124"/>
              <a:gd name="connsiteY146" fmla="*/ 784902 h 1720970"/>
              <a:gd name="connsiteX147" fmla="*/ 325746 w 941124"/>
              <a:gd name="connsiteY147" fmla="*/ 771901 h 1720970"/>
              <a:gd name="connsiteX148" fmla="*/ 317078 w 941124"/>
              <a:gd name="connsiteY148" fmla="*/ 702562 h 1720970"/>
              <a:gd name="connsiteX149" fmla="*/ 308411 w 941124"/>
              <a:gd name="connsiteY149" fmla="*/ 685228 h 1720970"/>
              <a:gd name="connsiteX150" fmla="*/ 295410 w 941124"/>
              <a:gd name="connsiteY150" fmla="*/ 676560 h 1720970"/>
              <a:gd name="connsiteX151" fmla="*/ 291076 w 941124"/>
              <a:gd name="connsiteY151" fmla="*/ 659226 h 1720970"/>
              <a:gd name="connsiteX152" fmla="*/ 282409 w 941124"/>
              <a:gd name="connsiteY152" fmla="*/ 633224 h 1720970"/>
              <a:gd name="connsiteX153" fmla="*/ 278075 w 941124"/>
              <a:gd name="connsiteY153" fmla="*/ 615889 h 1720970"/>
              <a:gd name="connsiteX154" fmla="*/ 269408 w 941124"/>
              <a:gd name="connsiteY154" fmla="*/ 589887 h 1720970"/>
              <a:gd name="connsiteX155" fmla="*/ 273742 w 941124"/>
              <a:gd name="connsiteY155" fmla="*/ 576886 h 1720970"/>
              <a:gd name="connsiteX156" fmla="*/ 291076 w 941124"/>
              <a:gd name="connsiteY156" fmla="*/ 550885 h 1720970"/>
              <a:gd name="connsiteX157" fmla="*/ 286743 w 941124"/>
              <a:gd name="connsiteY157" fmla="*/ 511882 h 1720970"/>
              <a:gd name="connsiteX158" fmla="*/ 282409 w 941124"/>
              <a:gd name="connsiteY158" fmla="*/ 498881 h 1720970"/>
              <a:gd name="connsiteX159" fmla="*/ 256407 w 941124"/>
              <a:gd name="connsiteY159" fmla="*/ 472879 h 1720970"/>
              <a:gd name="connsiteX160" fmla="*/ 243406 w 941124"/>
              <a:gd name="connsiteY160" fmla="*/ 438210 h 1720970"/>
              <a:gd name="connsiteX161" fmla="*/ 234739 w 941124"/>
              <a:gd name="connsiteY161" fmla="*/ 412208 h 1720970"/>
              <a:gd name="connsiteX162" fmla="*/ 230405 w 941124"/>
              <a:gd name="connsiteY162" fmla="*/ 399207 h 1720970"/>
              <a:gd name="connsiteX163" fmla="*/ 226072 w 941124"/>
              <a:gd name="connsiteY163" fmla="*/ 386206 h 1720970"/>
              <a:gd name="connsiteX164" fmla="*/ 213071 w 941124"/>
              <a:gd name="connsiteY164" fmla="*/ 342869 h 1720970"/>
              <a:gd name="connsiteX165" fmla="*/ 200070 w 941124"/>
              <a:gd name="connsiteY165" fmla="*/ 316868 h 1720970"/>
              <a:gd name="connsiteX166" fmla="*/ 187069 w 941124"/>
              <a:gd name="connsiteY166" fmla="*/ 312534 h 1720970"/>
              <a:gd name="connsiteX167" fmla="*/ 165401 w 941124"/>
              <a:gd name="connsiteY167" fmla="*/ 299533 h 1720970"/>
              <a:gd name="connsiteX168" fmla="*/ 148066 w 941124"/>
              <a:gd name="connsiteY168" fmla="*/ 282198 h 1720970"/>
              <a:gd name="connsiteX169" fmla="*/ 109063 w 941124"/>
              <a:gd name="connsiteY169" fmla="*/ 260530 h 1720970"/>
              <a:gd name="connsiteX170" fmla="*/ 74394 w 941124"/>
              <a:gd name="connsiteY170" fmla="*/ 256196 h 1720970"/>
              <a:gd name="connsiteX171" fmla="*/ 61393 w 941124"/>
              <a:gd name="connsiteY171" fmla="*/ 251863 h 1720970"/>
              <a:gd name="connsiteX172" fmla="*/ 44058 w 941124"/>
              <a:gd name="connsiteY172" fmla="*/ 234528 h 1720970"/>
              <a:gd name="connsiteX173" fmla="*/ 31057 w 941124"/>
              <a:gd name="connsiteY173" fmla="*/ 225861 h 1720970"/>
              <a:gd name="connsiteX174" fmla="*/ 13723 w 941124"/>
              <a:gd name="connsiteY174" fmla="*/ 199859 h 1720970"/>
              <a:gd name="connsiteX175" fmla="*/ 722 w 941124"/>
              <a:gd name="connsiteY175" fmla="*/ 169523 h 172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941124" h="1720970">
                <a:moveTo>
                  <a:pt x="722" y="169523"/>
                </a:moveTo>
                <a:cubicBezTo>
                  <a:pt x="0" y="159411"/>
                  <a:pt x="7127" y="142015"/>
                  <a:pt x="9389" y="139188"/>
                </a:cubicBezTo>
                <a:cubicBezTo>
                  <a:pt x="12643" y="135121"/>
                  <a:pt x="17631" y="132636"/>
                  <a:pt x="22390" y="130521"/>
                </a:cubicBezTo>
                <a:cubicBezTo>
                  <a:pt x="30739" y="126810"/>
                  <a:pt x="48392" y="121853"/>
                  <a:pt x="48392" y="121853"/>
                </a:cubicBezTo>
                <a:cubicBezTo>
                  <a:pt x="57059" y="123298"/>
                  <a:pt x="67244" y="121080"/>
                  <a:pt x="74394" y="126187"/>
                </a:cubicBezTo>
                <a:cubicBezTo>
                  <a:pt x="79241" y="129649"/>
                  <a:pt x="77092" y="137795"/>
                  <a:pt x="78728" y="143522"/>
                </a:cubicBezTo>
                <a:cubicBezTo>
                  <a:pt x="84231" y="162783"/>
                  <a:pt x="82883" y="151297"/>
                  <a:pt x="87395" y="173857"/>
                </a:cubicBezTo>
                <a:cubicBezTo>
                  <a:pt x="89118" y="182473"/>
                  <a:pt x="87798" y="192000"/>
                  <a:pt x="91728" y="199859"/>
                </a:cubicBezTo>
                <a:cubicBezTo>
                  <a:pt x="101246" y="218896"/>
                  <a:pt x="117273" y="219930"/>
                  <a:pt x="135065" y="225861"/>
                </a:cubicBezTo>
                <a:cubicBezTo>
                  <a:pt x="135072" y="225863"/>
                  <a:pt x="161059" y="234527"/>
                  <a:pt x="161067" y="234528"/>
                </a:cubicBezTo>
                <a:lnTo>
                  <a:pt x="187069" y="238862"/>
                </a:lnTo>
                <a:cubicBezTo>
                  <a:pt x="191403" y="241751"/>
                  <a:pt x="194932" y="246673"/>
                  <a:pt x="200070" y="247529"/>
                </a:cubicBezTo>
                <a:cubicBezTo>
                  <a:pt x="213413" y="249752"/>
                  <a:pt x="215781" y="237642"/>
                  <a:pt x="221738" y="230195"/>
                </a:cubicBezTo>
                <a:cubicBezTo>
                  <a:pt x="230392" y="219378"/>
                  <a:pt x="230155" y="221610"/>
                  <a:pt x="243406" y="217194"/>
                </a:cubicBezTo>
                <a:cubicBezTo>
                  <a:pt x="252073" y="218638"/>
                  <a:pt x="261779" y="217168"/>
                  <a:pt x="269408" y="221527"/>
                </a:cubicBezTo>
                <a:cubicBezTo>
                  <a:pt x="273374" y="223793"/>
                  <a:pt x="271699" y="230442"/>
                  <a:pt x="273742" y="234528"/>
                </a:cubicBezTo>
                <a:cubicBezTo>
                  <a:pt x="276071" y="239186"/>
                  <a:pt x="279520" y="243195"/>
                  <a:pt x="282409" y="247529"/>
                </a:cubicBezTo>
                <a:cubicBezTo>
                  <a:pt x="289632" y="246084"/>
                  <a:pt x="297307" y="246096"/>
                  <a:pt x="304077" y="243195"/>
                </a:cubicBezTo>
                <a:cubicBezTo>
                  <a:pt x="307833" y="241586"/>
                  <a:pt x="310293" y="237797"/>
                  <a:pt x="312745" y="234528"/>
                </a:cubicBezTo>
                <a:cubicBezTo>
                  <a:pt x="332907" y="207646"/>
                  <a:pt x="328750" y="212513"/>
                  <a:pt x="338746" y="182524"/>
                </a:cubicBezTo>
                <a:lnTo>
                  <a:pt x="343080" y="169523"/>
                </a:lnTo>
                <a:lnTo>
                  <a:pt x="347414" y="156523"/>
                </a:lnTo>
                <a:cubicBezTo>
                  <a:pt x="348858" y="124743"/>
                  <a:pt x="348358" y="92814"/>
                  <a:pt x="351747" y="61182"/>
                </a:cubicBezTo>
                <a:cubicBezTo>
                  <a:pt x="352720" y="52098"/>
                  <a:pt x="351747" y="38069"/>
                  <a:pt x="360415" y="35180"/>
                </a:cubicBezTo>
                <a:lnTo>
                  <a:pt x="373416" y="30847"/>
                </a:lnTo>
                <a:cubicBezTo>
                  <a:pt x="395377" y="8884"/>
                  <a:pt x="366956" y="34723"/>
                  <a:pt x="395084" y="17846"/>
                </a:cubicBezTo>
                <a:cubicBezTo>
                  <a:pt x="424827" y="0"/>
                  <a:pt x="379923" y="17119"/>
                  <a:pt x="416752" y="4845"/>
                </a:cubicBezTo>
                <a:cubicBezTo>
                  <a:pt x="438420" y="6289"/>
                  <a:pt x="460371" y="5404"/>
                  <a:pt x="481757" y="9178"/>
                </a:cubicBezTo>
                <a:cubicBezTo>
                  <a:pt x="485781" y="9888"/>
                  <a:pt x="486920" y="15744"/>
                  <a:pt x="490424" y="17846"/>
                </a:cubicBezTo>
                <a:cubicBezTo>
                  <a:pt x="494341" y="20196"/>
                  <a:pt x="499091" y="20735"/>
                  <a:pt x="503425" y="22179"/>
                </a:cubicBezTo>
                <a:cubicBezTo>
                  <a:pt x="506314" y="25068"/>
                  <a:pt x="510265" y="27192"/>
                  <a:pt x="512092" y="30847"/>
                </a:cubicBezTo>
                <a:cubicBezTo>
                  <a:pt x="516178" y="39019"/>
                  <a:pt x="520760" y="56849"/>
                  <a:pt x="520760" y="56849"/>
                </a:cubicBezTo>
                <a:cubicBezTo>
                  <a:pt x="519315" y="84295"/>
                  <a:pt x="516426" y="111704"/>
                  <a:pt x="516426" y="139188"/>
                </a:cubicBezTo>
                <a:cubicBezTo>
                  <a:pt x="516426" y="160904"/>
                  <a:pt x="517689" y="182695"/>
                  <a:pt x="520760" y="204193"/>
                </a:cubicBezTo>
                <a:cubicBezTo>
                  <a:pt x="522052" y="213237"/>
                  <a:pt x="529427" y="230195"/>
                  <a:pt x="529427" y="230195"/>
                </a:cubicBezTo>
                <a:cubicBezTo>
                  <a:pt x="530872" y="247529"/>
                  <a:pt x="531462" y="264956"/>
                  <a:pt x="533761" y="282198"/>
                </a:cubicBezTo>
                <a:cubicBezTo>
                  <a:pt x="534365" y="286726"/>
                  <a:pt x="535744" y="291282"/>
                  <a:pt x="538094" y="295199"/>
                </a:cubicBezTo>
                <a:cubicBezTo>
                  <a:pt x="541549" y="300958"/>
                  <a:pt x="554701" y="310003"/>
                  <a:pt x="559763" y="312534"/>
                </a:cubicBezTo>
                <a:cubicBezTo>
                  <a:pt x="565983" y="315644"/>
                  <a:pt x="584539" y="319811"/>
                  <a:pt x="590098" y="321201"/>
                </a:cubicBezTo>
                <a:cubicBezTo>
                  <a:pt x="623171" y="343250"/>
                  <a:pt x="612364" y="327624"/>
                  <a:pt x="620434" y="355870"/>
                </a:cubicBezTo>
                <a:cubicBezTo>
                  <a:pt x="621689" y="360262"/>
                  <a:pt x="623323" y="364537"/>
                  <a:pt x="624767" y="368871"/>
                </a:cubicBezTo>
                <a:cubicBezTo>
                  <a:pt x="626212" y="387650"/>
                  <a:pt x="626900" y="406503"/>
                  <a:pt x="629101" y="425209"/>
                </a:cubicBezTo>
                <a:cubicBezTo>
                  <a:pt x="629797" y="431124"/>
                  <a:pt x="632648" y="436639"/>
                  <a:pt x="633435" y="442543"/>
                </a:cubicBezTo>
                <a:cubicBezTo>
                  <a:pt x="634007" y="446831"/>
                  <a:pt x="635349" y="505127"/>
                  <a:pt x="646436" y="516215"/>
                </a:cubicBezTo>
                <a:lnTo>
                  <a:pt x="655103" y="524883"/>
                </a:lnTo>
                <a:lnTo>
                  <a:pt x="668104" y="563886"/>
                </a:lnTo>
                <a:cubicBezTo>
                  <a:pt x="669548" y="568219"/>
                  <a:pt x="669207" y="573656"/>
                  <a:pt x="672437" y="576886"/>
                </a:cubicBezTo>
                <a:lnTo>
                  <a:pt x="681105" y="585554"/>
                </a:lnTo>
                <a:lnTo>
                  <a:pt x="689772" y="611556"/>
                </a:lnTo>
                <a:cubicBezTo>
                  <a:pt x="691217" y="615890"/>
                  <a:pt x="691572" y="620756"/>
                  <a:pt x="694106" y="624557"/>
                </a:cubicBezTo>
                <a:cubicBezTo>
                  <a:pt x="713974" y="654360"/>
                  <a:pt x="708145" y="640677"/>
                  <a:pt x="715774" y="663559"/>
                </a:cubicBezTo>
                <a:cubicBezTo>
                  <a:pt x="710833" y="737675"/>
                  <a:pt x="718307" y="707964"/>
                  <a:pt x="702773" y="754566"/>
                </a:cubicBezTo>
                <a:lnTo>
                  <a:pt x="694106" y="780568"/>
                </a:lnTo>
                <a:lnTo>
                  <a:pt x="689772" y="793569"/>
                </a:lnTo>
                <a:cubicBezTo>
                  <a:pt x="691217" y="802236"/>
                  <a:pt x="691975" y="811046"/>
                  <a:pt x="694106" y="819571"/>
                </a:cubicBezTo>
                <a:cubicBezTo>
                  <a:pt x="706247" y="868135"/>
                  <a:pt x="698516" y="824163"/>
                  <a:pt x="711440" y="867241"/>
                </a:cubicBezTo>
                <a:cubicBezTo>
                  <a:pt x="713557" y="874296"/>
                  <a:pt x="712197" y="882470"/>
                  <a:pt x="715774" y="888909"/>
                </a:cubicBezTo>
                <a:cubicBezTo>
                  <a:pt x="719743" y="896052"/>
                  <a:pt x="733109" y="906244"/>
                  <a:pt x="733109" y="906244"/>
                </a:cubicBezTo>
                <a:cubicBezTo>
                  <a:pt x="754044" y="901010"/>
                  <a:pt x="764488" y="896261"/>
                  <a:pt x="789446" y="906244"/>
                </a:cubicBezTo>
                <a:cubicBezTo>
                  <a:pt x="793687" y="907941"/>
                  <a:pt x="791737" y="915159"/>
                  <a:pt x="793780" y="919245"/>
                </a:cubicBezTo>
                <a:cubicBezTo>
                  <a:pt x="814382" y="960449"/>
                  <a:pt x="788754" y="891168"/>
                  <a:pt x="811114" y="958248"/>
                </a:cubicBezTo>
                <a:lnTo>
                  <a:pt x="815448" y="971249"/>
                </a:lnTo>
                <a:cubicBezTo>
                  <a:pt x="814003" y="979916"/>
                  <a:pt x="814199" y="989023"/>
                  <a:pt x="811114" y="997250"/>
                </a:cubicBezTo>
                <a:cubicBezTo>
                  <a:pt x="809679" y="1001076"/>
                  <a:pt x="804999" y="1002727"/>
                  <a:pt x="802447" y="1005918"/>
                </a:cubicBezTo>
                <a:cubicBezTo>
                  <a:pt x="792846" y="1017920"/>
                  <a:pt x="794024" y="1018188"/>
                  <a:pt x="789446" y="1031920"/>
                </a:cubicBezTo>
                <a:cubicBezTo>
                  <a:pt x="790891" y="1040587"/>
                  <a:pt x="790211" y="1049892"/>
                  <a:pt x="793780" y="1057922"/>
                </a:cubicBezTo>
                <a:cubicBezTo>
                  <a:pt x="796269" y="1063522"/>
                  <a:pt x="802073" y="1067000"/>
                  <a:pt x="806781" y="1070923"/>
                </a:cubicBezTo>
                <a:cubicBezTo>
                  <a:pt x="817982" y="1080257"/>
                  <a:pt x="819753" y="1079580"/>
                  <a:pt x="832782" y="1083923"/>
                </a:cubicBezTo>
                <a:cubicBezTo>
                  <a:pt x="837116" y="1086812"/>
                  <a:pt x="840996" y="1090539"/>
                  <a:pt x="845783" y="1092591"/>
                </a:cubicBezTo>
                <a:cubicBezTo>
                  <a:pt x="851258" y="1094937"/>
                  <a:pt x="857413" y="1095213"/>
                  <a:pt x="863118" y="1096924"/>
                </a:cubicBezTo>
                <a:cubicBezTo>
                  <a:pt x="876244" y="1100862"/>
                  <a:pt x="889120" y="1105591"/>
                  <a:pt x="902121" y="1109925"/>
                </a:cubicBezTo>
                <a:lnTo>
                  <a:pt x="915122" y="1114259"/>
                </a:lnTo>
                <a:lnTo>
                  <a:pt x="928123" y="1118593"/>
                </a:lnTo>
                <a:cubicBezTo>
                  <a:pt x="932504" y="1125165"/>
                  <a:pt x="941124" y="1135625"/>
                  <a:pt x="941124" y="1144595"/>
                </a:cubicBezTo>
                <a:cubicBezTo>
                  <a:pt x="941124" y="1153382"/>
                  <a:pt x="938921" y="1162072"/>
                  <a:pt x="936790" y="1170596"/>
                </a:cubicBezTo>
                <a:cubicBezTo>
                  <a:pt x="934574" y="1179459"/>
                  <a:pt x="931012" y="1187931"/>
                  <a:pt x="928123" y="1196598"/>
                </a:cubicBezTo>
                <a:cubicBezTo>
                  <a:pt x="923546" y="1210329"/>
                  <a:pt x="924722" y="1210599"/>
                  <a:pt x="915122" y="1222600"/>
                </a:cubicBezTo>
                <a:cubicBezTo>
                  <a:pt x="912570" y="1225791"/>
                  <a:pt x="909344" y="1228379"/>
                  <a:pt x="906455" y="1231268"/>
                </a:cubicBezTo>
                <a:cubicBezTo>
                  <a:pt x="894177" y="1268097"/>
                  <a:pt x="911301" y="1223190"/>
                  <a:pt x="893454" y="1252936"/>
                </a:cubicBezTo>
                <a:cubicBezTo>
                  <a:pt x="891104" y="1256853"/>
                  <a:pt x="891163" y="1261851"/>
                  <a:pt x="889120" y="1265937"/>
                </a:cubicBezTo>
                <a:cubicBezTo>
                  <a:pt x="886791" y="1270595"/>
                  <a:pt x="882568" y="1274179"/>
                  <a:pt x="880453" y="1278938"/>
                </a:cubicBezTo>
                <a:cubicBezTo>
                  <a:pt x="876742" y="1287287"/>
                  <a:pt x="879387" y="1299872"/>
                  <a:pt x="871785" y="1304940"/>
                </a:cubicBezTo>
                <a:cubicBezTo>
                  <a:pt x="867451" y="1307829"/>
                  <a:pt x="862785" y="1310273"/>
                  <a:pt x="858784" y="1313607"/>
                </a:cubicBezTo>
                <a:cubicBezTo>
                  <a:pt x="825416" y="1341413"/>
                  <a:pt x="865061" y="1313757"/>
                  <a:pt x="832782" y="1335275"/>
                </a:cubicBezTo>
                <a:cubicBezTo>
                  <a:pt x="821892" y="1367951"/>
                  <a:pt x="837849" y="1328943"/>
                  <a:pt x="815448" y="1356943"/>
                </a:cubicBezTo>
                <a:cubicBezTo>
                  <a:pt x="812594" y="1360510"/>
                  <a:pt x="813464" y="1366027"/>
                  <a:pt x="811114" y="1369944"/>
                </a:cubicBezTo>
                <a:cubicBezTo>
                  <a:pt x="809012" y="1373448"/>
                  <a:pt x="805336" y="1375723"/>
                  <a:pt x="802447" y="1378612"/>
                </a:cubicBezTo>
                <a:cubicBezTo>
                  <a:pt x="800483" y="1386467"/>
                  <a:pt x="792961" y="1418433"/>
                  <a:pt x="789446" y="1421948"/>
                </a:cubicBezTo>
                <a:cubicBezTo>
                  <a:pt x="758555" y="1452839"/>
                  <a:pt x="791918" y="1417776"/>
                  <a:pt x="767778" y="1447950"/>
                </a:cubicBezTo>
                <a:cubicBezTo>
                  <a:pt x="765226" y="1451141"/>
                  <a:pt x="761662" y="1453426"/>
                  <a:pt x="759110" y="1456617"/>
                </a:cubicBezTo>
                <a:cubicBezTo>
                  <a:pt x="737232" y="1483964"/>
                  <a:pt x="762712" y="1457348"/>
                  <a:pt x="741776" y="1478286"/>
                </a:cubicBezTo>
                <a:lnTo>
                  <a:pt x="733109" y="1504287"/>
                </a:lnTo>
                <a:cubicBezTo>
                  <a:pt x="731664" y="1508621"/>
                  <a:pt x="731309" y="1513487"/>
                  <a:pt x="728775" y="1517288"/>
                </a:cubicBezTo>
                <a:cubicBezTo>
                  <a:pt x="722339" y="1526942"/>
                  <a:pt x="720262" y="1531899"/>
                  <a:pt x="711440" y="1538957"/>
                </a:cubicBezTo>
                <a:cubicBezTo>
                  <a:pt x="707373" y="1542211"/>
                  <a:pt x="702773" y="1544735"/>
                  <a:pt x="698439" y="1547624"/>
                </a:cubicBezTo>
                <a:cubicBezTo>
                  <a:pt x="679518" y="1604396"/>
                  <a:pt x="709229" y="1521711"/>
                  <a:pt x="685438" y="1569292"/>
                </a:cubicBezTo>
                <a:cubicBezTo>
                  <a:pt x="662540" y="1615087"/>
                  <a:pt x="703238" y="1593403"/>
                  <a:pt x="616100" y="1599628"/>
                </a:cubicBezTo>
                <a:cubicBezTo>
                  <a:pt x="593216" y="1607255"/>
                  <a:pt x="606901" y="1601427"/>
                  <a:pt x="577097" y="1621296"/>
                </a:cubicBezTo>
                <a:cubicBezTo>
                  <a:pt x="572763" y="1624185"/>
                  <a:pt x="569037" y="1628316"/>
                  <a:pt x="564096" y="1629963"/>
                </a:cubicBezTo>
                <a:lnTo>
                  <a:pt x="538094" y="1638631"/>
                </a:lnTo>
                <a:cubicBezTo>
                  <a:pt x="522860" y="1661483"/>
                  <a:pt x="538211" y="1644772"/>
                  <a:pt x="512092" y="1655965"/>
                </a:cubicBezTo>
                <a:cubicBezTo>
                  <a:pt x="507305" y="1658016"/>
                  <a:pt x="503851" y="1662517"/>
                  <a:pt x="499092" y="1664632"/>
                </a:cubicBezTo>
                <a:cubicBezTo>
                  <a:pt x="490743" y="1668343"/>
                  <a:pt x="480692" y="1668232"/>
                  <a:pt x="473090" y="1673300"/>
                </a:cubicBezTo>
                <a:cubicBezTo>
                  <a:pt x="456288" y="1684501"/>
                  <a:pt x="465030" y="1680320"/>
                  <a:pt x="447088" y="1686301"/>
                </a:cubicBezTo>
                <a:cubicBezTo>
                  <a:pt x="444199" y="1689190"/>
                  <a:pt x="441924" y="1692866"/>
                  <a:pt x="438420" y="1694968"/>
                </a:cubicBezTo>
                <a:cubicBezTo>
                  <a:pt x="434503" y="1697318"/>
                  <a:pt x="429811" y="1698047"/>
                  <a:pt x="425419" y="1699302"/>
                </a:cubicBezTo>
                <a:cubicBezTo>
                  <a:pt x="387328" y="1710185"/>
                  <a:pt x="426256" y="1697577"/>
                  <a:pt x="395084" y="1707969"/>
                </a:cubicBezTo>
                <a:cubicBezTo>
                  <a:pt x="383528" y="1706524"/>
                  <a:pt x="372061" y="1703635"/>
                  <a:pt x="360415" y="1703635"/>
                </a:cubicBezTo>
                <a:cubicBezTo>
                  <a:pt x="352428" y="1703635"/>
                  <a:pt x="327752" y="1706966"/>
                  <a:pt x="317078" y="1712303"/>
                </a:cubicBezTo>
                <a:cubicBezTo>
                  <a:pt x="312420" y="1714632"/>
                  <a:pt x="308411" y="1718081"/>
                  <a:pt x="304077" y="1720970"/>
                </a:cubicBezTo>
                <a:cubicBezTo>
                  <a:pt x="301538" y="1710813"/>
                  <a:pt x="301391" y="1684957"/>
                  <a:pt x="286743" y="1677633"/>
                </a:cubicBezTo>
                <a:cubicBezTo>
                  <a:pt x="278571" y="1673547"/>
                  <a:pt x="260741" y="1668966"/>
                  <a:pt x="260741" y="1668966"/>
                </a:cubicBezTo>
                <a:cubicBezTo>
                  <a:pt x="259296" y="1664632"/>
                  <a:pt x="259261" y="1659532"/>
                  <a:pt x="256407" y="1655965"/>
                </a:cubicBezTo>
                <a:cubicBezTo>
                  <a:pt x="244049" y="1640518"/>
                  <a:pt x="213128" y="1644270"/>
                  <a:pt x="200070" y="1642964"/>
                </a:cubicBezTo>
                <a:cubicBezTo>
                  <a:pt x="188514" y="1640075"/>
                  <a:pt x="173825" y="1642720"/>
                  <a:pt x="165401" y="1634297"/>
                </a:cubicBezTo>
                <a:cubicBezTo>
                  <a:pt x="162512" y="1631408"/>
                  <a:pt x="159285" y="1628821"/>
                  <a:pt x="156733" y="1625630"/>
                </a:cubicBezTo>
                <a:cubicBezTo>
                  <a:pt x="153479" y="1621563"/>
                  <a:pt x="152133" y="1615883"/>
                  <a:pt x="148066" y="1612629"/>
                </a:cubicBezTo>
                <a:cubicBezTo>
                  <a:pt x="144499" y="1609775"/>
                  <a:pt x="139399" y="1609740"/>
                  <a:pt x="135065" y="1608295"/>
                </a:cubicBezTo>
                <a:cubicBezTo>
                  <a:pt x="124904" y="1577816"/>
                  <a:pt x="136074" y="1614349"/>
                  <a:pt x="126398" y="1556291"/>
                </a:cubicBezTo>
                <a:cubicBezTo>
                  <a:pt x="124405" y="1544331"/>
                  <a:pt x="120051" y="1540270"/>
                  <a:pt x="113397" y="1530289"/>
                </a:cubicBezTo>
                <a:cubicBezTo>
                  <a:pt x="114841" y="1514399"/>
                  <a:pt x="116060" y="1498487"/>
                  <a:pt x="117730" y="1482619"/>
                </a:cubicBezTo>
                <a:cubicBezTo>
                  <a:pt x="118949" y="1471037"/>
                  <a:pt x="122064" y="1459596"/>
                  <a:pt x="122064" y="1447950"/>
                </a:cubicBezTo>
                <a:cubicBezTo>
                  <a:pt x="122064" y="1439163"/>
                  <a:pt x="119571" y="1430540"/>
                  <a:pt x="117730" y="1421948"/>
                </a:cubicBezTo>
                <a:cubicBezTo>
                  <a:pt x="115234" y="1410300"/>
                  <a:pt x="109063" y="1387279"/>
                  <a:pt x="109063" y="1387279"/>
                </a:cubicBezTo>
                <a:cubicBezTo>
                  <a:pt x="104729" y="1322274"/>
                  <a:pt x="101840" y="1322274"/>
                  <a:pt x="109063" y="1257269"/>
                </a:cubicBezTo>
                <a:cubicBezTo>
                  <a:pt x="109568" y="1252729"/>
                  <a:pt x="110863" y="1248069"/>
                  <a:pt x="113397" y="1244268"/>
                </a:cubicBezTo>
                <a:cubicBezTo>
                  <a:pt x="116797" y="1239169"/>
                  <a:pt x="122475" y="1235976"/>
                  <a:pt x="126398" y="1231268"/>
                </a:cubicBezTo>
                <a:cubicBezTo>
                  <a:pt x="156572" y="1195060"/>
                  <a:pt x="110075" y="1243257"/>
                  <a:pt x="148066" y="1205266"/>
                </a:cubicBezTo>
                <a:cubicBezTo>
                  <a:pt x="149511" y="1200932"/>
                  <a:pt x="150357" y="1196351"/>
                  <a:pt x="152400" y="1192265"/>
                </a:cubicBezTo>
                <a:cubicBezTo>
                  <a:pt x="157867" y="1181332"/>
                  <a:pt x="161673" y="1178658"/>
                  <a:pt x="169734" y="1170596"/>
                </a:cubicBezTo>
                <a:cubicBezTo>
                  <a:pt x="175184" y="1154248"/>
                  <a:pt x="176502" y="1146494"/>
                  <a:pt x="191402" y="1131594"/>
                </a:cubicBezTo>
                <a:cubicBezTo>
                  <a:pt x="194291" y="1128705"/>
                  <a:pt x="197618" y="1126195"/>
                  <a:pt x="200070" y="1122926"/>
                </a:cubicBezTo>
                <a:cubicBezTo>
                  <a:pt x="201835" y="1120572"/>
                  <a:pt x="217034" y="1093680"/>
                  <a:pt x="226072" y="1088257"/>
                </a:cubicBezTo>
                <a:cubicBezTo>
                  <a:pt x="229989" y="1085907"/>
                  <a:pt x="234739" y="1085368"/>
                  <a:pt x="239073" y="1083923"/>
                </a:cubicBezTo>
                <a:cubicBezTo>
                  <a:pt x="243406" y="1079590"/>
                  <a:pt x="246974" y="1074322"/>
                  <a:pt x="252073" y="1070923"/>
                </a:cubicBezTo>
                <a:cubicBezTo>
                  <a:pt x="255874" y="1068389"/>
                  <a:pt x="261507" y="1069443"/>
                  <a:pt x="265074" y="1066589"/>
                </a:cubicBezTo>
                <a:cubicBezTo>
                  <a:pt x="269141" y="1063335"/>
                  <a:pt x="270853" y="1057922"/>
                  <a:pt x="273742" y="1053588"/>
                </a:cubicBezTo>
                <a:cubicBezTo>
                  <a:pt x="276631" y="1044921"/>
                  <a:pt x="281117" y="1036630"/>
                  <a:pt x="282409" y="1027586"/>
                </a:cubicBezTo>
                <a:cubicBezTo>
                  <a:pt x="288035" y="988208"/>
                  <a:pt x="283513" y="1006939"/>
                  <a:pt x="295410" y="971249"/>
                </a:cubicBezTo>
                <a:cubicBezTo>
                  <a:pt x="296855" y="966915"/>
                  <a:pt x="297210" y="962049"/>
                  <a:pt x="299744" y="958248"/>
                </a:cubicBezTo>
                <a:cubicBezTo>
                  <a:pt x="305522" y="949581"/>
                  <a:pt x="313784" y="942128"/>
                  <a:pt x="317078" y="932246"/>
                </a:cubicBezTo>
                <a:lnTo>
                  <a:pt x="325746" y="906244"/>
                </a:lnTo>
                <a:cubicBezTo>
                  <a:pt x="327190" y="894688"/>
                  <a:pt x="323400" y="881116"/>
                  <a:pt x="330079" y="871575"/>
                </a:cubicBezTo>
                <a:cubicBezTo>
                  <a:pt x="335318" y="864090"/>
                  <a:pt x="348479" y="867975"/>
                  <a:pt x="356081" y="862907"/>
                </a:cubicBezTo>
                <a:lnTo>
                  <a:pt x="369082" y="854240"/>
                </a:lnTo>
                <a:cubicBezTo>
                  <a:pt x="367637" y="841239"/>
                  <a:pt x="370598" y="826937"/>
                  <a:pt x="364748" y="815237"/>
                </a:cubicBezTo>
                <a:cubicBezTo>
                  <a:pt x="358353" y="802447"/>
                  <a:pt x="343979" y="795531"/>
                  <a:pt x="334413" y="784902"/>
                </a:cubicBezTo>
                <a:cubicBezTo>
                  <a:pt x="330929" y="781031"/>
                  <a:pt x="328635" y="776235"/>
                  <a:pt x="325746" y="771901"/>
                </a:cubicBezTo>
                <a:cubicBezTo>
                  <a:pt x="323713" y="745473"/>
                  <a:pt x="326725" y="725072"/>
                  <a:pt x="317078" y="702562"/>
                </a:cubicBezTo>
                <a:cubicBezTo>
                  <a:pt x="314533" y="696624"/>
                  <a:pt x="312547" y="690191"/>
                  <a:pt x="308411" y="685228"/>
                </a:cubicBezTo>
                <a:cubicBezTo>
                  <a:pt x="305077" y="681227"/>
                  <a:pt x="299744" y="679449"/>
                  <a:pt x="295410" y="676560"/>
                </a:cubicBezTo>
                <a:cubicBezTo>
                  <a:pt x="293965" y="670782"/>
                  <a:pt x="292787" y="664931"/>
                  <a:pt x="291076" y="659226"/>
                </a:cubicBezTo>
                <a:cubicBezTo>
                  <a:pt x="288451" y="650475"/>
                  <a:pt x="284625" y="642087"/>
                  <a:pt x="282409" y="633224"/>
                </a:cubicBezTo>
                <a:cubicBezTo>
                  <a:pt x="280964" y="627446"/>
                  <a:pt x="279786" y="621594"/>
                  <a:pt x="278075" y="615889"/>
                </a:cubicBezTo>
                <a:cubicBezTo>
                  <a:pt x="275450" y="607138"/>
                  <a:pt x="269408" y="589887"/>
                  <a:pt x="269408" y="589887"/>
                </a:cubicBezTo>
                <a:cubicBezTo>
                  <a:pt x="270853" y="585553"/>
                  <a:pt x="271524" y="580879"/>
                  <a:pt x="273742" y="576886"/>
                </a:cubicBezTo>
                <a:cubicBezTo>
                  <a:pt x="278801" y="567780"/>
                  <a:pt x="291076" y="550885"/>
                  <a:pt x="291076" y="550885"/>
                </a:cubicBezTo>
                <a:cubicBezTo>
                  <a:pt x="289632" y="537884"/>
                  <a:pt x="288893" y="524785"/>
                  <a:pt x="286743" y="511882"/>
                </a:cubicBezTo>
                <a:cubicBezTo>
                  <a:pt x="285992" y="507376"/>
                  <a:pt x="285214" y="502487"/>
                  <a:pt x="282409" y="498881"/>
                </a:cubicBezTo>
                <a:cubicBezTo>
                  <a:pt x="274884" y="489206"/>
                  <a:pt x="256407" y="472879"/>
                  <a:pt x="256407" y="472879"/>
                </a:cubicBezTo>
                <a:cubicBezTo>
                  <a:pt x="247023" y="435344"/>
                  <a:pt x="258515" y="475983"/>
                  <a:pt x="243406" y="438210"/>
                </a:cubicBezTo>
                <a:cubicBezTo>
                  <a:pt x="240013" y="429727"/>
                  <a:pt x="237628" y="420875"/>
                  <a:pt x="234739" y="412208"/>
                </a:cubicBezTo>
                <a:lnTo>
                  <a:pt x="230405" y="399207"/>
                </a:lnTo>
                <a:lnTo>
                  <a:pt x="226072" y="386206"/>
                </a:lnTo>
                <a:cubicBezTo>
                  <a:pt x="218190" y="331039"/>
                  <a:pt x="228837" y="374401"/>
                  <a:pt x="213071" y="342869"/>
                </a:cubicBezTo>
                <a:cubicBezTo>
                  <a:pt x="207838" y="332402"/>
                  <a:pt x="210419" y="325147"/>
                  <a:pt x="200070" y="316868"/>
                </a:cubicBezTo>
                <a:cubicBezTo>
                  <a:pt x="196503" y="314014"/>
                  <a:pt x="191403" y="313979"/>
                  <a:pt x="187069" y="312534"/>
                </a:cubicBezTo>
                <a:cubicBezTo>
                  <a:pt x="155033" y="280502"/>
                  <a:pt x="204790" y="327669"/>
                  <a:pt x="165401" y="299533"/>
                </a:cubicBezTo>
                <a:cubicBezTo>
                  <a:pt x="158751" y="294783"/>
                  <a:pt x="154865" y="286731"/>
                  <a:pt x="148066" y="282198"/>
                </a:cubicBezTo>
                <a:cubicBezTo>
                  <a:pt x="134572" y="273202"/>
                  <a:pt x="124794" y="263390"/>
                  <a:pt x="109063" y="260530"/>
                </a:cubicBezTo>
                <a:cubicBezTo>
                  <a:pt x="97605" y="258446"/>
                  <a:pt x="85950" y="257641"/>
                  <a:pt x="74394" y="256196"/>
                </a:cubicBezTo>
                <a:cubicBezTo>
                  <a:pt x="70060" y="254752"/>
                  <a:pt x="65110" y="254518"/>
                  <a:pt x="61393" y="251863"/>
                </a:cubicBezTo>
                <a:cubicBezTo>
                  <a:pt x="54743" y="247113"/>
                  <a:pt x="50857" y="239061"/>
                  <a:pt x="44058" y="234528"/>
                </a:cubicBezTo>
                <a:lnTo>
                  <a:pt x="31057" y="225861"/>
                </a:lnTo>
                <a:cubicBezTo>
                  <a:pt x="25279" y="217194"/>
                  <a:pt x="21089" y="207224"/>
                  <a:pt x="13723" y="199859"/>
                </a:cubicBezTo>
                <a:cubicBezTo>
                  <a:pt x="2771" y="188908"/>
                  <a:pt x="1444" y="179635"/>
                  <a:pt x="722" y="169523"/>
                </a:cubicBezTo>
                <a:close/>
              </a:path>
            </a:pathLst>
          </a:custGeom>
          <a:solidFill>
            <a:srgbClr val="FF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7" name="Title 1"/>
          <p:cNvSpPr txBox="1">
            <a:spLocks/>
          </p:cNvSpPr>
          <p:nvPr/>
        </p:nvSpPr>
        <p:spPr>
          <a:xfrm rot="15809350">
            <a:off x="5060159" y="1482466"/>
            <a:ext cx="1536700" cy="23971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IN" sz="1600" dirty="0" err="1">
                <a:latin typeface="Ramabhadra" pitchFamily="2" charset="0"/>
                <a:ea typeface="+mj-ea"/>
                <a:cs typeface="Ramabhadra" pitchFamily="2" charset="0"/>
              </a:rPr>
              <a:t>ఫిన్</a:t>
            </a:r>
            <a:r>
              <a:rPr lang="en-IN" sz="160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IN" sz="1600" dirty="0" err="1">
                <a:latin typeface="Ramabhadra" pitchFamily="2" charset="0"/>
                <a:ea typeface="+mj-ea"/>
                <a:cs typeface="Ramabhadra" pitchFamily="2" charset="0"/>
              </a:rPr>
              <a:t>లాండ్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28" name="Freeform 127"/>
          <p:cNvSpPr/>
          <p:nvPr/>
        </p:nvSpPr>
        <p:spPr>
          <a:xfrm>
            <a:off x="4486281" y="918635"/>
            <a:ext cx="1109663" cy="2309284"/>
          </a:xfrm>
          <a:custGeom>
            <a:avLst/>
            <a:gdLst>
              <a:gd name="connsiteX0" fmla="*/ 787879 w 1109748"/>
              <a:gd name="connsiteY0" fmla="*/ 3132 h 2311078"/>
              <a:gd name="connsiteX1" fmla="*/ 765934 w 1109748"/>
              <a:gd name="connsiteY1" fmla="*/ 14105 h 2311078"/>
              <a:gd name="connsiteX2" fmla="*/ 747646 w 1109748"/>
              <a:gd name="connsiteY2" fmla="*/ 43366 h 2311078"/>
              <a:gd name="connsiteX3" fmla="*/ 740330 w 1109748"/>
              <a:gd name="connsiteY3" fmla="*/ 50681 h 2311078"/>
              <a:gd name="connsiteX4" fmla="*/ 718385 w 1109748"/>
              <a:gd name="connsiteY4" fmla="*/ 57996 h 2311078"/>
              <a:gd name="connsiteX5" fmla="*/ 707412 w 1109748"/>
              <a:gd name="connsiteY5" fmla="*/ 61654 h 2311078"/>
              <a:gd name="connsiteX6" fmla="*/ 692782 w 1109748"/>
              <a:gd name="connsiteY6" fmla="*/ 83599 h 2311078"/>
              <a:gd name="connsiteX7" fmla="*/ 689124 w 1109748"/>
              <a:gd name="connsiteY7" fmla="*/ 94572 h 2311078"/>
              <a:gd name="connsiteX8" fmla="*/ 678151 w 1109748"/>
              <a:gd name="connsiteY8" fmla="*/ 101887 h 2311078"/>
              <a:gd name="connsiteX9" fmla="*/ 659863 w 1109748"/>
              <a:gd name="connsiteY9" fmla="*/ 116518 h 2311078"/>
              <a:gd name="connsiteX10" fmla="*/ 648890 w 1109748"/>
              <a:gd name="connsiteY10" fmla="*/ 134806 h 2311078"/>
              <a:gd name="connsiteX11" fmla="*/ 645233 w 1109748"/>
              <a:gd name="connsiteY11" fmla="*/ 145779 h 2311078"/>
              <a:gd name="connsiteX12" fmla="*/ 623287 w 1109748"/>
              <a:gd name="connsiteY12" fmla="*/ 153094 h 2311078"/>
              <a:gd name="connsiteX13" fmla="*/ 612314 w 1109748"/>
              <a:gd name="connsiteY13" fmla="*/ 149436 h 2311078"/>
              <a:gd name="connsiteX14" fmla="*/ 594026 w 1109748"/>
              <a:gd name="connsiteY14" fmla="*/ 160409 h 2311078"/>
              <a:gd name="connsiteX15" fmla="*/ 583054 w 1109748"/>
              <a:gd name="connsiteY15" fmla="*/ 167724 h 2311078"/>
              <a:gd name="connsiteX16" fmla="*/ 568423 w 1109748"/>
              <a:gd name="connsiteY16" fmla="*/ 182355 h 2311078"/>
              <a:gd name="connsiteX17" fmla="*/ 557450 w 1109748"/>
              <a:gd name="connsiteY17" fmla="*/ 215273 h 2311078"/>
              <a:gd name="connsiteX18" fmla="*/ 553793 w 1109748"/>
              <a:gd name="connsiteY18" fmla="*/ 226246 h 2311078"/>
              <a:gd name="connsiteX19" fmla="*/ 535505 w 1109748"/>
              <a:gd name="connsiteY19" fmla="*/ 248191 h 2311078"/>
              <a:gd name="connsiteX20" fmla="*/ 528190 w 1109748"/>
              <a:gd name="connsiteY20" fmla="*/ 270137 h 2311078"/>
              <a:gd name="connsiteX21" fmla="*/ 524532 w 1109748"/>
              <a:gd name="connsiteY21" fmla="*/ 281110 h 2311078"/>
              <a:gd name="connsiteX22" fmla="*/ 520874 w 1109748"/>
              <a:gd name="connsiteY22" fmla="*/ 292083 h 2311078"/>
              <a:gd name="connsiteX23" fmla="*/ 517217 w 1109748"/>
              <a:gd name="connsiteY23" fmla="*/ 303055 h 2311078"/>
              <a:gd name="connsiteX24" fmla="*/ 509902 w 1109748"/>
              <a:gd name="connsiteY24" fmla="*/ 376207 h 2311078"/>
              <a:gd name="connsiteX25" fmla="*/ 506244 w 1109748"/>
              <a:gd name="connsiteY25" fmla="*/ 387180 h 2311078"/>
              <a:gd name="connsiteX26" fmla="*/ 495271 w 1109748"/>
              <a:gd name="connsiteY26" fmla="*/ 401811 h 2311078"/>
              <a:gd name="connsiteX27" fmla="*/ 473326 w 1109748"/>
              <a:gd name="connsiteY27" fmla="*/ 434729 h 2311078"/>
              <a:gd name="connsiteX28" fmla="*/ 466010 w 1109748"/>
              <a:gd name="connsiteY28" fmla="*/ 445702 h 2311078"/>
              <a:gd name="connsiteX29" fmla="*/ 458695 w 1109748"/>
              <a:gd name="connsiteY29" fmla="*/ 456675 h 2311078"/>
              <a:gd name="connsiteX30" fmla="*/ 455038 w 1109748"/>
              <a:gd name="connsiteY30" fmla="*/ 467647 h 2311078"/>
              <a:gd name="connsiteX31" fmla="*/ 447722 w 1109748"/>
              <a:gd name="connsiteY31" fmla="*/ 474963 h 2311078"/>
              <a:gd name="connsiteX32" fmla="*/ 433092 w 1109748"/>
              <a:gd name="connsiteY32" fmla="*/ 493251 h 2311078"/>
              <a:gd name="connsiteX33" fmla="*/ 411146 w 1109748"/>
              <a:gd name="connsiteY33" fmla="*/ 522511 h 2311078"/>
              <a:gd name="connsiteX34" fmla="*/ 403831 w 1109748"/>
              <a:gd name="connsiteY34" fmla="*/ 529827 h 2311078"/>
              <a:gd name="connsiteX35" fmla="*/ 400174 w 1109748"/>
              <a:gd name="connsiteY35" fmla="*/ 540799 h 2311078"/>
              <a:gd name="connsiteX36" fmla="*/ 392858 w 1109748"/>
              <a:gd name="connsiteY36" fmla="*/ 548115 h 2311078"/>
              <a:gd name="connsiteX37" fmla="*/ 378228 w 1109748"/>
              <a:gd name="connsiteY37" fmla="*/ 599321 h 2311078"/>
              <a:gd name="connsiteX38" fmla="*/ 367255 w 1109748"/>
              <a:gd name="connsiteY38" fmla="*/ 621267 h 2311078"/>
              <a:gd name="connsiteX39" fmla="*/ 363598 w 1109748"/>
              <a:gd name="connsiteY39" fmla="*/ 661500 h 2311078"/>
              <a:gd name="connsiteX40" fmla="*/ 356282 w 1109748"/>
              <a:gd name="connsiteY40" fmla="*/ 668815 h 2311078"/>
              <a:gd name="connsiteX41" fmla="*/ 352625 w 1109748"/>
              <a:gd name="connsiteY41" fmla="*/ 683446 h 2311078"/>
              <a:gd name="connsiteX42" fmla="*/ 341652 w 1109748"/>
              <a:gd name="connsiteY42" fmla="*/ 705391 h 2311078"/>
              <a:gd name="connsiteX43" fmla="*/ 345310 w 1109748"/>
              <a:gd name="connsiteY43" fmla="*/ 771228 h 2311078"/>
              <a:gd name="connsiteX44" fmla="*/ 352625 w 1109748"/>
              <a:gd name="connsiteY44" fmla="*/ 782201 h 2311078"/>
              <a:gd name="connsiteX45" fmla="*/ 356282 w 1109748"/>
              <a:gd name="connsiteY45" fmla="*/ 796831 h 2311078"/>
              <a:gd name="connsiteX46" fmla="*/ 352625 w 1109748"/>
              <a:gd name="connsiteY46" fmla="*/ 822435 h 2311078"/>
              <a:gd name="connsiteX47" fmla="*/ 341652 w 1109748"/>
              <a:gd name="connsiteY47" fmla="*/ 829750 h 2311078"/>
              <a:gd name="connsiteX48" fmla="*/ 316049 w 1109748"/>
              <a:gd name="connsiteY48" fmla="*/ 837065 h 2311078"/>
              <a:gd name="connsiteX49" fmla="*/ 294103 w 1109748"/>
              <a:gd name="connsiteY49" fmla="*/ 848038 h 2311078"/>
              <a:gd name="connsiteX50" fmla="*/ 283130 w 1109748"/>
              <a:gd name="connsiteY50" fmla="*/ 855353 h 2311078"/>
              <a:gd name="connsiteX51" fmla="*/ 261185 w 1109748"/>
              <a:gd name="connsiteY51" fmla="*/ 862668 h 2311078"/>
              <a:gd name="connsiteX52" fmla="*/ 239239 w 1109748"/>
              <a:gd name="connsiteY52" fmla="*/ 888271 h 2311078"/>
              <a:gd name="connsiteX53" fmla="*/ 231924 w 1109748"/>
              <a:gd name="connsiteY53" fmla="*/ 895587 h 2311078"/>
              <a:gd name="connsiteX54" fmla="*/ 217294 w 1109748"/>
              <a:gd name="connsiteY54" fmla="*/ 917532 h 2311078"/>
              <a:gd name="connsiteX55" fmla="*/ 209978 w 1109748"/>
              <a:gd name="connsiteY55" fmla="*/ 928505 h 2311078"/>
              <a:gd name="connsiteX56" fmla="*/ 202663 w 1109748"/>
              <a:gd name="connsiteY56" fmla="*/ 939478 h 2311078"/>
              <a:gd name="connsiteX57" fmla="*/ 184375 w 1109748"/>
              <a:gd name="connsiteY57" fmla="*/ 994342 h 2311078"/>
              <a:gd name="connsiteX58" fmla="*/ 177060 w 1109748"/>
              <a:gd name="connsiteY58" fmla="*/ 1016287 h 2311078"/>
              <a:gd name="connsiteX59" fmla="*/ 173402 w 1109748"/>
              <a:gd name="connsiteY59" fmla="*/ 1027260 h 2311078"/>
              <a:gd name="connsiteX60" fmla="*/ 169745 w 1109748"/>
              <a:gd name="connsiteY60" fmla="*/ 1041891 h 2311078"/>
              <a:gd name="connsiteX61" fmla="*/ 180718 w 1109748"/>
              <a:gd name="connsiteY61" fmla="*/ 1096755 h 2311078"/>
              <a:gd name="connsiteX62" fmla="*/ 188033 w 1109748"/>
              <a:gd name="connsiteY62" fmla="*/ 1118700 h 2311078"/>
              <a:gd name="connsiteX63" fmla="*/ 191690 w 1109748"/>
              <a:gd name="connsiteY63" fmla="*/ 1129673 h 2311078"/>
              <a:gd name="connsiteX64" fmla="*/ 188033 w 1109748"/>
              <a:gd name="connsiteY64" fmla="*/ 1180879 h 2311078"/>
              <a:gd name="connsiteX65" fmla="*/ 184375 w 1109748"/>
              <a:gd name="connsiteY65" fmla="*/ 1191852 h 2311078"/>
              <a:gd name="connsiteX66" fmla="*/ 206321 w 1109748"/>
              <a:gd name="connsiteY66" fmla="*/ 1210140 h 2311078"/>
              <a:gd name="connsiteX67" fmla="*/ 213636 w 1109748"/>
              <a:gd name="connsiteY67" fmla="*/ 1221113 h 2311078"/>
              <a:gd name="connsiteX68" fmla="*/ 217294 w 1109748"/>
              <a:gd name="connsiteY68" fmla="*/ 1235743 h 2311078"/>
              <a:gd name="connsiteX69" fmla="*/ 220951 w 1109748"/>
              <a:gd name="connsiteY69" fmla="*/ 1246716 h 2311078"/>
              <a:gd name="connsiteX70" fmla="*/ 213636 w 1109748"/>
              <a:gd name="connsiteY70" fmla="*/ 1290607 h 2311078"/>
              <a:gd name="connsiteX71" fmla="*/ 206321 w 1109748"/>
              <a:gd name="connsiteY71" fmla="*/ 1297923 h 2311078"/>
              <a:gd name="connsiteX72" fmla="*/ 195348 w 1109748"/>
              <a:gd name="connsiteY72" fmla="*/ 1305238 h 2311078"/>
              <a:gd name="connsiteX73" fmla="*/ 173402 w 1109748"/>
              <a:gd name="connsiteY73" fmla="*/ 1327183 h 2311078"/>
              <a:gd name="connsiteX74" fmla="*/ 173402 w 1109748"/>
              <a:gd name="connsiteY74" fmla="*/ 1363759 h 2311078"/>
              <a:gd name="connsiteX75" fmla="*/ 180718 w 1109748"/>
              <a:gd name="connsiteY75" fmla="*/ 1385705 h 2311078"/>
              <a:gd name="connsiteX76" fmla="*/ 184375 w 1109748"/>
              <a:gd name="connsiteY76" fmla="*/ 1396678 h 2311078"/>
              <a:gd name="connsiteX77" fmla="*/ 180718 w 1109748"/>
              <a:gd name="connsiteY77" fmla="*/ 1414966 h 2311078"/>
              <a:gd name="connsiteX78" fmla="*/ 177060 w 1109748"/>
              <a:gd name="connsiteY78" fmla="*/ 1425939 h 2311078"/>
              <a:gd name="connsiteX79" fmla="*/ 158772 w 1109748"/>
              <a:gd name="connsiteY79" fmla="*/ 1477145 h 2311078"/>
              <a:gd name="connsiteX80" fmla="*/ 118538 w 1109748"/>
              <a:gd name="connsiteY80" fmla="*/ 1506406 h 2311078"/>
              <a:gd name="connsiteX81" fmla="*/ 111223 w 1109748"/>
              <a:gd name="connsiteY81" fmla="*/ 1546639 h 2311078"/>
              <a:gd name="connsiteX82" fmla="*/ 103908 w 1109748"/>
              <a:gd name="connsiteY82" fmla="*/ 1568585 h 2311078"/>
              <a:gd name="connsiteX83" fmla="*/ 85620 w 1109748"/>
              <a:gd name="connsiteY83" fmla="*/ 1601503 h 2311078"/>
              <a:gd name="connsiteX84" fmla="*/ 78305 w 1109748"/>
              <a:gd name="connsiteY84" fmla="*/ 1608819 h 2311078"/>
              <a:gd name="connsiteX85" fmla="*/ 70990 w 1109748"/>
              <a:gd name="connsiteY85" fmla="*/ 1619791 h 2311078"/>
              <a:gd name="connsiteX86" fmla="*/ 67332 w 1109748"/>
              <a:gd name="connsiteY86" fmla="*/ 1630764 h 2311078"/>
              <a:gd name="connsiteX87" fmla="*/ 56359 w 1109748"/>
              <a:gd name="connsiteY87" fmla="*/ 1638079 h 2311078"/>
              <a:gd name="connsiteX88" fmla="*/ 52702 w 1109748"/>
              <a:gd name="connsiteY88" fmla="*/ 1649052 h 2311078"/>
              <a:gd name="connsiteX89" fmla="*/ 30756 w 1109748"/>
              <a:gd name="connsiteY89" fmla="*/ 1678313 h 2311078"/>
              <a:gd name="connsiteX90" fmla="*/ 19783 w 1109748"/>
              <a:gd name="connsiteY90" fmla="*/ 1700259 h 2311078"/>
              <a:gd name="connsiteX91" fmla="*/ 12468 w 1109748"/>
              <a:gd name="connsiteY91" fmla="*/ 1725862 h 2311078"/>
              <a:gd name="connsiteX92" fmla="*/ 5153 w 1109748"/>
              <a:gd name="connsiteY92" fmla="*/ 1747807 h 2311078"/>
              <a:gd name="connsiteX93" fmla="*/ 1495 w 1109748"/>
              <a:gd name="connsiteY93" fmla="*/ 1758780 h 2311078"/>
              <a:gd name="connsiteX94" fmla="*/ 5153 w 1109748"/>
              <a:gd name="connsiteY94" fmla="*/ 1809987 h 2311078"/>
              <a:gd name="connsiteX95" fmla="*/ 34414 w 1109748"/>
              <a:gd name="connsiteY95" fmla="*/ 1835590 h 2311078"/>
              <a:gd name="connsiteX96" fmla="*/ 52702 w 1109748"/>
              <a:gd name="connsiteY96" fmla="*/ 1853878 h 2311078"/>
              <a:gd name="connsiteX97" fmla="*/ 60017 w 1109748"/>
              <a:gd name="connsiteY97" fmla="*/ 1956291 h 2311078"/>
              <a:gd name="connsiteX98" fmla="*/ 67332 w 1109748"/>
              <a:gd name="connsiteY98" fmla="*/ 1989209 h 2311078"/>
              <a:gd name="connsiteX99" fmla="*/ 78305 w 1109748"/>
              <a:gd name="connsiteY99" fmla="*/ 2018470 h 2311078"/>
              <a:gd name="connsiteX100" fmla="*/ 81962 w 1109748"/>
              <a:gd name="connsiteY100" fmla="*/ 2033100 h 2311078"/>
              <a:gd name="connsiteX101" fmla="*/ 89278 w 1109748"/>
              <a:gd name="connsiteY101" fmla="*/ 2047731 h 2311078"/>
              <a:gd name="connsiteX102" fmla="*/ 92935 w 1109748"/>
              <a:gd name="connsiteY102" fmla="*/ 2066019 h 2311078"/>
              <a:gd name="connsiteX103" fmla="*/ 103908 w 1109748"/>
              <a:gd name="connsiteY103" fmla="*/ 2087964 h 2311078"/>
              <a:gd name="connsiteX104" fmla="*/ 125854 w 1109748"/>
              <a:gd name="connsiteY104" fmla="*/ 2102595 h 2311078"/>
              <a:gd name="connsiteX105" fmla="*/ 144142 w 1109748"/>
              <a:gd name="connsiteY105" fmla="*/ 2117225 h 2311078"/>
              <a:gd name="connsiteX106" fmla="*/ 136826 w 1109748"/>
              <a:gd name="connsiteY106" fmla="*/ 2150143 h 2311078"/>
              <a:gd name="connsiteX107" fmla="*/ 129511 w 1109748"/>
              <a:gd name="connsiteY107" fmla="*/ 2172089 h 2311078"/>
              <a:gd name="connsiteX108" fmla="*/ 133169 w 1109748"/>
              <a:gd name="connsiteY108" fmla="*/ 2201350 h 2311078"/>
              <a:gd name="connsiteX109" fmla="*/ 140484 w 1109748"/>
              <a:gd name="connsiteY109" fmla="*/ 2223295 h 2311078"/>
              <a:gd name="connsiteX110" fmla="*/ 133169 w 1109748"/>
              <a:gd name="connsiteY110" fmla="*/ 2270844 h 2311078"/>
              <a:gd name="connsiteX111" fmla="*/ 129511 w 1109748"/>
              <a:gd name="connsiteY111" fmla="*/ 2281817 h 2311078"/>
              <a:gd name="connsiteX112" fmla="*/ 133169 w 1109748"/>
              <a:gd name="connsiteY112" fmla="*/ 2292790 h 2311078"/>
              <a:gd name="connsiteX113" fmla="*/ 166087 w 1109748"/>
              <a:gd name="connsiteY113" fmla="*/ 2307420 h 2311078"/>
              <a:gd name="connsiteX114" fmla="*/ 177060 w 1109748"/>
              <a:gd name="connsiteY114" fmla="*/ 2311078 h 2311078"/>
              <a:gd name="connsiteX115" fmla="*/ 199006 w 1109748"/>
              <a:gd name="connsiteY115" fmla="*/ 2307420 h 2311078"/>
              <a:gd name="connsiteX116" fmla="*/ 217294 w 1109748"/>
              <a:gd name="connsiteY116" fmla="*/ 2292790 h 2311078"/>
              <a:gd name="connsiteX117" fmla="*/ 228266 w 1109748"/>
              <a:gd name="connsiteY117" fmla="*/ 2285475 h 2311078"/>
              <a:gd name="connsiteX118" fmla="*/ 261185 w 1109748"/>
              <a:gd name="connsiteY118" fmla="*/ 2278159 h 2311078"/>
              <a:gd name="connsiteX119" fmla="*/ 275815 w 1109748"/>
              <a:gd name="connsiteY119" fmla="*/ 2274502 h 2311078"/>
              <a:gd name="connsiteX120" fmla="*/ 279473 w 1109748"/>
              <a:gd name="connsiteY120" fmla="*/ 2230611 h 2311078"/>
              <a:gd name="connsiteX121" fmla="*/ 297761 w 1109748"/>
              <a:gd name="connsiteY121" fmla="*/ 2205007 h 2311078"/>
              <a:gd name="connsiteX122" fmla="*/ 308734 w 1109748"/>
              <a:gd name="connsiteY122" fmla="*/ 2201350 h 2311078"/>
              <a:gd name="connsiteX123" fmla="*/ 323364 w 1109748"/>
              <a:gd name="connsiteY123" fmla="*/ 2194035 h 2311078"/>
              <a:gd name="connsiteX124" fmla="*/ 330679 w 1109748"/>
              <a:gd name="connsiteY124" fmla="*/ 2186719 h 2311078"/>
              <a:gd name="connsiteX125" fmla="*/ 363598 w 1109748"/>
              <a:gd name="connsiteY125" fmla="*/ 2175747 h 2311078"/>
              <a:gd name="connsiteX126" fmla="*/ 414804 w 1109748"/>
              <a:gd name="connsiteY126" fmla="*/ 2161116 h 2311078"/>
              <a:gd name="connsiteX127" fmla="*/ 444065 w 1109748"/>
              <a:gd name="connsiteY127" fmla="*/ 2157459 h 2311078"/>
              <a:gd name="connsiteX128" fmla="*/ 455038 w 1109748"/>
              <a:gd name="connsiteY128" fmla="*/ 2153801 h 2311078"/>
              <a:gd name="connsiteX129" fmla="*/ 462353 w 1109748"/>
              <a:gd name="connsiteY129" fmla="*/ 2131855 h 2311078"/>
              <a:gd name="connsiteX130" fmla="*/ 473326 w 1109748"/>
              <a:gd name="connsiteY130" fmla="*/ 2124540 h 2311078"/>
              <a:gd name="connsiteX131" fmla="*/ 484298 w 1109748"/>
              <a:gd name="connsiteY131" fmla="*/ 2128198 h 2311078"/>
              <a:gd name="connsiteX132" fmla="*/ 487956 w 1109748"/>
              <a:gd name="connsiteY132" fmla="*/ 2142828 h 2311078"/>
              <a:gd name="connsiteX133" fmla="*/ 495271 w 1109748"/>
              <a:gd name="connsiteY133" fmla="*/ 2153801 h 2311078"/>
              <a:gd name="connsiteX134" fmla="*/ 506244 w 1109748"/>
              <a:gd name="connsiteY134" fmla="*/ 2150143 h 2311078"/>
              <a:gd name="connsiteX135" fmla="*/ 513559 w 1109748"/>
              <a:gd name="connsiteY135" fmla="*/ 2128198 h 2311078"/>
              <a:gd name="connsiteX136" fmla="*/ 517217 w 1109748"/>
              <a:gd name="connsiteY136" fmla="*/ 2084307 h 2311078"/>
              <a:gd name="connsiteX137" fmla="*/ 531847 w 1109748"/>
              <a:gd name="connsiteY137" fmla="*/ 2051388 h 2311078"/>
              <a:gd name="connsiteX138" fmla="*/ 535505 w 1109748"/>
              <a:gd name="connsiteY138" fmla="*/ 2040415 h 2311078"/>
              <a:gd name="connsiteX139" fmla="*/ 520874 w 1109748"/>
              <a:gd name="connsiteY139" fmla="*/ 2033100 h 2311078"/>
              <a:gd name="connsiteX140" fmla="*/ 498929 w 1109748"/>
              <a:gd name="connsiteY140" fmla="*/ 2029443 h 2311078"/>
              <a:gd name="connsiteX141" fmla="*/ 495271 w 1109748"/>
              <a:gd name="connsiteY141" fmla="*/ 2018470 h 2311078"/>
              <a:gd name="connsiteX142" fmla="*/ 498929 w 1109748"/>
              <a:gd name="connsiteY142" fmla="*/ 1963606 h 2311078"/>
              <a:gd name="connsiteX143" fmla="*/ 506244 w 1109748"/>
              <a:gd name="connsiteY143" fmla="*/ 1952633 h 2311078"/>
              <a:gd name="connsiteX144" fmla="*/ 509902 w 1109748"/>
              <a:gd name="connsiteY144" fmla="*/ 1941660 h 2311078"/>
              <a:gd name="connsiteX145" fmla="*/ 513559 w 1109748"/>
              <a:gd name="connsiteY145" fmla="*/ 1802671 h 2311078"/>
              <a:gd name="connsiteX146" fmla="*/ 524532 w 1109748"/>
              <a:gd name="connsiteY146" fmla="*/ 1784383 h 2311078"/>
              <a:gd name="connsiteX147" fmla="*/ 539162 w 1109748"/>
              <a:gd name="connsiteY147" fmla="*/ 1762438 h 2311078"/>
              <a:gd name="connsiteX148" fmla="*/ 553793 w 1109748"/>
              <a:gd name="connsiteY148" fmla="*/ 1744150 h 2311078"/>
              <a:gd name="connsiteX149" fmla="*/ 557450 w 1109748"/>
              <a:gd name="connsiteY149" fmla="*/ 1733177 h 2311078"/>
              <a:gd name="connsiteX150" fmla="*/ 579396 w 1109748"/>
              <a:gd name="connsiteY150" fmla="*/ 1725862 h 2311078"/>
              <a:gd name="connsiteX151" fmla="*/ 586711 w 1109748"/>
              <a:gd name="connsiteY151" fmla="*/ 1692943 h 2311078"/>
              <a:gd name="connsiteX152" fmla="*/ 575738 w 1109748"/>
              <a:gd name="connsiteY152" fmla="*/ 1685628 h 2311078"/>
              <a:gd name="connsiteX153" fmla="*/ 561108 w 1109748"/>
              <a:gd name="connsiteY153" fmla="*/ 1663683 h 2311078"/>
              <a:gd name="connsiteX154" fmla="*/ 542820 w 1109748"/>
              <a:gd name="connsiteY154" fmla="*/ 1645395 h 2311078"/>
              <a:gd name="connsiteX155" fmla="*/ 531847 w 1109748"/>
              <a:gd name="connsiteY155" fmla="*/ 1641737 h 2311078"/>
              <a:gd name="connsiteX156" fmla="*/ 520874 w 1109748"/>
              <a:gd name="connsiteY156" fmla="*/ 1634422 h 2311078"/>
              <a:gd name="connsiteX157" fmla="*/ 498929 w 1109748"/>
              <a:gd name="connsiteY157" fmla="*/ 1627107 h 2311078"/>
              <a:gd name="connsiteX158" fmla="*/ 495271 w 1109748"/>
              <a:gd name="connsiteY158" fmla="*/ 1616134 h 2311078"/>
              <a:gd name="connsiteX159" fmla="*/ 539162 w 1109748"/>
              <a:gd name="connsiteY159" fmla="*/ 1601503 h 2311078"/>
              <a:gd name="connsiteX160" fmla="*/ 579396 w 1109748"/>
              <a:gd name="connsiteY160" fmla="*/ 1608819 h 2311078"/>
              <a:gd name="connsiteX161" fmla="*/ 590369 w 1109748"/>
              <a:gd name="connsiteY161" fmla="*/ 1612476 h 2311078"/>
              <a:gd name="connsiteX162" fmla="*/ 604999 w 1109748"/>
              <a:gd name="connsiteY162" fmla="*/ 1616134 h 2311078"/>
              <a:gd name="connsiteX163" fmla="*/ 626945 w 1109748"/>
              <a:gd name="connsiteY163" fmla="*/ 1623449 h 2311078"/>
              <a:gd name="connsiteX164" fmla="*/ 637918 w 1109748"/>
              <a:gd name="connsiteY164" fmla="*/ 1627107 h 2311078"/>
              <a:gd name="connsiteX165" fmla="*/ 659863 w 1109748"/>
              <a:gd name="connsiteY165" fmla="*/ 1623449 h 2311078"/>
              <a:gd name="connsiteX166" fmla="*/ 670836 w 1109748"/>
              <a:gd name="connsiteY166" fmla="*/ 1601503 h 2311078"/>
              <a:gd name="connsiteX167" fmla="*/ 678151 w 1109748"/>
              <a:gd name="connsiteY167" fmla="*/ 1590531 h 2311078"/>
              <a:gd name="connsiteX168" fmla="*/ 674494 w 1109748"/>
              <a:gd name="connsiteY168" fmla="*/ 1535667 h 2311078"/>
              <a:gd name="connsiteX169" fmla="*/ 667178 w 1109748"/>
              <a:gd name="connsiteY169" fmla="*/ 1528351 h 2311078"/>
              <a:gd name="connsiteX170" fmla="*/ 659863 w 1109748"/>
              <a:gd name="connsiteY170" fmla="*/ 1513721 h 2311078"/>
              <a:gd name="connsiteX171" fmla="*/ 648890 w 1109748"/>
              <a:gd name="connsiteY171" fmla="*/ 1491775 h 2311078"/>
              <a:gd name="connsiteX172" fmla="*/ 641575 w 1109748"/>
              <a:gd name="connsiteY172" fmla="*/ 1462515 h 2311078"/>
              <a:gd name="connsiteX173" fmla="*/ 634260 w 1109748"/>
              <a:gd name="connsiteY173" fmla="*/ 1440569 h 2311078"/>
              <a:gd name="connsiteX174" fmla="*/ 619630 w 1109748"/>
              <a:gd name="connsiteY174" fmla="*/ 1433254 h 2311078"/>
              <a:gd name="connsiteX175" fmla="*/ 590369 w 1109748"/>
              <a:gd name="connsiteY175" fmla="*/ 1425939 h 2311078"/>
              <a:gd name="connsiteX176" fmla="*/ 579396 w 1109748"/>
              <a:gd name="connsiteY176" fmla="*/ 1422281 h 2311078"/>
              <a:gd name="connsiteX177" fmla="*/ 550135 w 1109748"/>
              <a:gd name="connsiteY177" fmla="*/ 1414966 h 2311078"/>
              <a:gd name="connsiteX178" fmla="*/ 557450 w 1109748"/>
              <a:gd name="connsiteY178" fmla="*/ 1385705 h 2311078"/>
              <a:gd name="connsiteX179" fmla="*/ 564766 w 1109748"/>
              <a:gd name="connsiteY179" fmla="*/ 1363759 h 2311078"/>
              <a:gd name="connsiteX180" fmla="*/ 561108 w 1109748"/>
              <a:gd name="connsiteY180" fmla="*/ 1330841 h 2311078"/>
              <a:gd name="connsiteX181" fmla="*/ 557450 w 1109748"/>
              <a:gd name="connsiteY181" fmla="*/ 1308895 h 2311078"/>
              <a:gd name="connsiteX182" fmla="*/ 561108 w 1109748"/>
              <a:gd name="connsiteY182" fmla="*/ 1272319 h 2311078"/>
              <a:gd name="connsiteX183" fmla="*/ 564766 w 1109748"/>
              <a:gd name="connsiteY183" fmla="*/ 1261347 h 2311078"/>
              <a:gd name="connsiteX184" fmla="*/ 568423 w 1109748"/>
              <a:gd name="connsiteY184" fmla="*/ 1246716 h 2311078"/>
              <a:gd name="connsiteX185" fmla="*/ 572081 w 1109748"/>
              <a:gd name="connsiteY185" fmla="*/ 1199167 h 2311078"/>
              <a:gd name="connsiteX186" fmla="*/ 583054 w 1109748"/>
              <a:gd name="connsiteY186" fmla="*/ 1191852 h 2311078"/>
              <a:gd name="connsiteX187" fmla="*/ 590369 w 1109748"/>
              <a:gd name="connsiteY187" fmla="*/ 1180879 h 2311078"/>
              <a:gd name="connsiteX188" fmla="*/ 594026 w 1109748"/>
              <a:gd name="connsiteY188" fmla="*/ 1169907 h 2311078"/>
              <a:gd name="connsiteX189" fmla="*/ 586711 w 1109748"/>
              <a:gd name="connsiteY189" fmla="*/ 1122358 h 2311078"/>
              <a:gd name="connsiteX190" fmla="*/ 608657 w 1109748"/>
              <a:gd name="connsiteY190" fmla="*/ 1115043 h 2311078"/>
              <a:gd name="connsiteX191" fmla="*/ 623287 w 1109748"/>
              <a:gd name="connsiteY191" fmla="*/ 1096755 h 2311078"/>
              <a:gd name="connsiteX192" fmla="*/ 630602 w 1109748"/>
              <a:gd name="connsiteY192" fmla="*/ 1089439 h 2311078"/>
              <a:gd name="connsiteX193" fmla="*/ 637918 w 1109748"/>
              <a:gd name="connsiteY193" fmla="*/ 1067494 h 2311078"/>
              <a:gd name="connsiteX194" fmla="*/ 648890 w 1109748"/>
              <a:gd name="connsiteY194" fmla="*/ 1045548 h 2311078"/>
              <a:gd name="connsiteX195" fmla="*/ 659863 w 1109748"/>
              <a:gd name="connsiteY195" fmla="*/ 1041891 h 2311078"/>
              <a:gd name="connsiteX196" fmla="*/ 663521 w 1109748"/>
              <a:gd name="connsiteY196" fmla="*/ 1027260 h 2311078"/>
              <a:gd name="connsiteX197" fmla="*/ 674494 w 1109748"/>
              <a:gd name="connsiteY197" fmla="*/ 994342 h 2311078"/>
              <a:gd name="connsiteX198" fmla="*/ 678151 w 1109748"/>
              <a:gd name="connsiteY198" fmla="*/ 983369 h 2311078"/>
              <a:gd name="connsiteX199" fmla="*/ 711070 w 1109748"/>
              <a:gd name="connsiteY199" fmla="*/ 976054 h 2311078"/>
              <a:gd name="connsiteX200" fmla="*/ 718385 w 1109748"/>
              <a:gd name="connsiteY200" fmla="*/ 965081 h 2311078"/>
              <a:gd name="connsiteX201" fmla="*/ 729358 w 1109748"/>
              <a:gd name="connsiteY201" fmla="*/ 946793 h 2311078"/>
              <a:gd name="connsiteX202" fmla="*/ 769591 w 1109748"/>
              <a:gd name="connsiteY202" fmla="*/ 943135 h 2311078"/>
              <a:gd name="connsiteX203" fmla="*/ 787879 w 1109748"/>
              <a:gd name="connsiteY203" fmla="*/ 924847 h 2311078"/>
              <a:gd name="connsiteX204" fmla="*/ 798852 w 1109748"/>
              <a:gd name="connsiteY204" fmla="*/ 917532 h 2311078"/>
              <a:gd name="connsiteX205" fmla="*/ 809825 w 1109748"/>
              <a:gd name="connsiteY205" fmla="*/ 902902 h 2311078"/>
              <a:gd name="connsiteX206" fmla="*/ 820798 w 1109748"/>
              <a:gd name="connsiteY206" fmla="*/ 891929 h 2311078"/>
              <a:gd name="connsiteX207" fmla="*/ 828113 w 1109748"/>
              <a:gd name="connsiteY207" fmla="*/ 880956 h 2311078"/>
              <a:gd name="connsiteX208" fmla="*/ 850058 w 1109748"/>
              <a:gd name="connsiteY208" fmla="*/ 877299 h 2311078"/>
              <a:gd name="connsiteX209" fmla="*/ 857374 w 1109748"/>
              <a:gd name="connsiteY209" fmla="*/ 869983 h 2311078"/>
              <a:gd name="connsiteX210" fmla="*/ 864689 w 1109748"/>
              <a:gd name="connsiteY210" fmla="*/ 840723 h 2311078"/>
              <a:gd name="connsiteX211" fmla="*/ 868346 w 1109748"/>
              <a:gd name="connsiteY211" fmla="*/ 829750 h 2311078"/>
              <a:gd name="connsiteX212" fmla="*/ 875662 w 1109748"/>
              <a:gd name="connsiteY212" fmla="*/ 804147 h 2311078"/>
              <a:gd name="connsiteX213" fmla="*/ 886634 w 1109748"/>
              <a:gd name="connsiteY213" fmla="*/ 800489 h 2311078"/>
              <a:gd name="connsiteX214" fmla="*/ 893950 w 1109748"/>
              <a:gd name="connsiteY214" fmla="*/ 793174 h 2311078"/>
              <a:gd name="connsiteX215" fmla="*/ 886634 w 1109748"/>
              <a:gd name="connsiteY215" fmla="*/ 771228 h 2311078"/>
              <a:gd name="connsiteX216" fmla="*/ 882977 w 1109748"/>
              <a:gd name="connsiteY216" fmla="*/ 760255 h 2311078"/>
              <a:gd name="connsiteX217" fmla="*/ 879319 w 1109748"/>
              <a:gd name="connsiteY217" fmla="*/ 738310 h 2311078"/>
              <a:gd name="connsiteX218" fmla="*/ 872004 w 1109748"/>
              <a:gd name="connsiteY218" fmla="*/ 727337 h 2311078"/>
              <a:gd name="connsiteX219" fmla="*/ 861031 w 1109748"/>
              <a:gd name="connsiteY219" fmla="*/ 723679 h 2311078"/>
              <a:gd name="connsiteX220" fmla="*/ 864689 w 1109748"/>
              <a:gd name="connsiteY220" fmla="*/ 701734 h 2311078"/>
              <a:gd name="connsiteX221" fmla="*/ 875662 w 1109748"/>
              <a:gd name="connsiteY221" fmla="*/ 690761 h 2311078"/>
              <a:gd name="connsiteX222" fmla="*/ 897607 w 1109748"/>
              <a:gd name="connsiteY222" fmla="*/ 679788 h 2311078"/>
              <a:gd name="connsiteX223" fmla="*/ 901265 w 1109748"/>
              <a:gd name="connsiteY223" fmla="*/ 632239 h 2311078"/>
              <a:gd name="connsiteX224" fmla="*/ 904922 w 1109748"/>
              <a:gd name="connsiteY224" fmla="*/ 621267 h 2311078"/>
              <a:gd name="connsiteX225" fmla="*/ 915895 w 1109748"/>
              <a:gd name="connsiteY225" fmla="*/ 617609 h 2311078"/>
              <a:gd name="connsiteX226" fmla="*/ 923210 w 1109748"/>
              <a:gd name="connsiteY226" fmla="*/ 606636 h 2311078"/>
              <a:gd name="connsiteX227" fmla="*/ 930526 w 1109748"/>
              <a:gd name="connsiteY227" fmla="*/ 562745 h 2311078"/>
              <a:gd name="connsiteX228" fmla="*/ 937841 w 1109748"/>
              <a:gd name="connsiteY228" fmla="*/ 551772 h 2311078"/>
              <a:gd name="connsiteX229" fmla="*/ 974417 w 1109748"/>
              <a:gd name="connsiteY229" fmla="*/ 548115 h 2311078"/>
              <a:gd name="connsiteX230" fmla="*/ 981732 w 1109748"/>
              <a:gd name="connsiteY230" fmla="*/ 540799 h 2311078"/>
              <a:gd name="connsiteX231" fmla="*/ 985390 w 1109748"/>
              <a:gd name="connsiteY231" fmla="*/ 529827 h 2311078"/>
              <a:gd name="connsiteX232" fmla="*/ 996362 w 1109748"/>
              <a:gd name="connsiteY232" fmla="*/ 526169 h 2311078"/>
              <a:gd name="connsiteX233" fmla="*/ 1109748 w 1109748"/>
              <a:gd name="connsiteY233" fmla="*/ 522511 h 2311078"/>
              <a:gd name="connsiteX234" fmla="*/ 1106090 w 1109748"/>
              <a:gd name="connsiteY234" fmla="*/ 507881 h 2311078"/>
              <a:gd name="connsiteX235" fmla="*/ 1084145 w 1109748"/>
              <a:gd name="connsiteY235" fmla="*/ 489593 h 2311078"/>
              <a:gd name="connsiteX236" fmla="*/ 1073172 w 1109748"/>
              <a:gd name="connsiteY236" fmla="*/ 456675 h 2311078"/>
              <a:gd name="connsiteX237" fmla="*/ 1069514 w 1109748"/>
              <a:gd name="connsiteY237" fmla="*/ 445702 h 2311078"/>
              <a:gd name="connsiteX238" fmla="*/ 1073172 w 1109748"/>
              <a:gd name="connsiteY238" fmla="*/ 372550 h 2311078"/>
              <a:gd name="connsiteX239" fmla="*/ 1076830 w 1109748"/>
              <a:gd name="connsiteY239" fmla="*/ 361577 h 2311078"/>
              <a:gd name="connsiteX240" fmla="*/ 1084145 w 1109748"/>
              <a:gd name="connsiteY240" fmla="*/ 335974 h 2311078"/>
              <a:gd name="connsiteX241" fmla="*/ 1076830 w 1109748"/>
              <a:gd name="connsiteY241" fmla="*/ 306713 h 2311078"/>
              <a:gd name="connsiteX242" fmla="*/ 1065857 w 1109748"/>
              <a:gd name="connsiteY242" fmla="*/ 299398 h 2311078"/>
              <a:gd name="connsiteX243" fmla="*/ 1051226 w 1109748"/>
              <a:gd name="connsiteY243" fmla="*/ 277452 h 2311078"/>
              <a:gd name="connsiteX244" fmla="*/ 1043911 w 1109748"/>
              <a:gd name="connsiteY244" fmla="*/ 266479 h 2311078"/>
              <a:gd name="connsiteX245" fmla="*/ 1021966 w 1109748"/>
              <a:gd name="connsiteY245" fmla="*/ 200643 h 2311078"/>
              <a:gd name="connsiteX246" fmla="*/ 1014650 w 1109748"/>
              <a:gd name="connsiteY246" fmla="*/ 178697 h 2311078"/>
              <a:gd name="connsiteX247" fmla="*/ 1010993 w 1109748"/>
              <a:gd name="connsiteY247" fmla="*/ 167724 h 2311078"/>
              <a:gd name="connsiteX248" fmla="*/ 996362 w 1109748"/>
              <a:gd name="connsiteY248" fmla="*/ 145779 h 2311078"/>
              <a:gd name="connsiteX249" fmla="*/ 989047 w 1109748"/>
              <a:gd name="connsiteY249" fmla="*/ 138463 h 2311078"/>
              <a:gd name="connsiteX250" fmla="*/ 974417 w 1109748"/>
              <a:gd name="connsiteY250" fmla="*/ 120175 h 2311078"/>
              <a:gd name="connsiteX251" fmla="*/ 959786 w 1109748"/>
              <a:gd name="connsiteY251" fmla="*/ 90915 h 2311078"/>
              <a:gd name="connsiteX252" fmla="*/ 945156 w 1109748"/>
              <a:gd name="connsiteY252" fmla="*/ 68969 h 2311078"/>
              <a:gd name="connsiteX253" fmla="*/ 930526 w 1109748"/>
              <a:gd name="connsiteY253" fmla="*/ 65311 h 2311078"/>
              <a:gd name="connsiteX254" fmla="*/ 923210 w 1109748"/>
              <a:gd name="connsiteY254" fmla="*/ 57996 h 2311078"/>
              <a:gd name="connsiteX255" fmla="*/ 872004 w 1109748"/>
              <a:gd name="connsiteY255" fmla="*/ 50681 h 2311078"/>
              <a:gd name="connsiteX256" fmla="*/ 846401 w 1109748"/>
              <a:gd name="connsiteY256" fmla="*/ 43366 h 2311078"/>
              <a:gd name="connsiteX257" fmla="*/ 828113 w 1109748"/>
              <a:gd name="connsiteY257" fmla="*/ 28735 h 2311078"/>
              <a:gd name="connsiteX258" fmla="*/ 824455 w 1109748"/>
              <a:gd name="connsiteY258" fmla="*/ 17763 h 2311078"/>
              <a:gd name="connsiteX259" fmla="*/ 806167 w 1109748"/>
              <a:gd name="connsiteY259" fmla="*/ 3132 h 2311078"/>
              <a:gd name="connsiteX260" fmla="*/ 787879 w 1109748"/>
              <a:gd name="connsiteY260" fmla="*/ 3132 h 2311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1109748" h="2311078">
                <a:moveTo>
                  <a:pt x="787879" y="3132"/>
                </a:moveTo>
                <a:cubicBezTo>
                  <a:pt x="781173" y="4961"/>
                  <a:pt x="769666" y="8134"/>
                  <a:pt x="765934" y="14105"/>
                </a:cubicBezTo>
                <a:cubicBezTo>
                  <a:pt x="736914" y="60537"/>
                  <a:pt x="776614" y="20193"/>
                  <a:pt x="747646" y="43366"/>
                </a:cubicBezTo>
                <a:cubicBezTo>
                  <a:pt x="744953" y="45520"/>
                  <a:pt x="743415" y="49139"/>
                  <a:pt x="740330" y="50681"/>
                </a:cubicBezTo>
                <a:cubicBezTo>
                  <a:pt x="733433" y="54129"/>
                  <a:pt x="725700" y="55558"/>
                  <a:pt x="718385" y="57996"/>
                </a:cubicBezTo>
                <a:lnTo>
                  <a:pt x="707412" y="61654"/>
                </a:lnTo>
                <a:cubicBezTo>
                  <a:pt x="702535" y="68969"/>
                  <a:pt x="695562" y="75259"/>
                  <a:pt x="692782" y="83599"/>
                </a:cubicBezTo>
                <a:cubicBezTo>
                  <a:pt x="691563" y="87257"/>
                  <a:pt x="691533" y="91561"/>
                  <a:pt x="689124" y="94572"/>
                </a:cubicBezTo>
                <a:cubicBezTo>
                  <a:pt x="686378" y="98005"/>
                  <a:pt x="681584" y="99141"/>
                  <a:pt x="678151" y="101887"/>
                </a:cubicBezTo>
                <a:cubicBezTo>
                  <a:pt x="652092" y="122735"/>
                  <a:pt x="693636" y="94004"/>
                  <a:pt x="659863" y="116518"/>
                </a:cubicBezTo>
                <a:cubicBezTo>
                  <a:pt x="649504" y="147602"/>
                  <a:pt x="663952" y="109703"/>
                  <a:pt x="648890" y="134806"/>
                </a:cubicBezTo>
                <a:cubicBezTo>
                  <a:pt x="646906" y="138112"/>
                  <a:pt x="648370" y="143538"/>
                  <a:pt x="645233" y="145779"/>
                </a:cubicBezTo>
                <a:cubicBezTo>
                  <a:pt x="638958" y="150261"/>
                  <a:pt x="623287" y="153094"/>
                  <a:pt x="623287" y="153094"/>
                </a:cubicBezTo>
                <a:cubicBezTo>
                  <a:pt x="619629" y="151875"/>
                  <a:pt x="616170" y="149436"/>
                  <a:pt x="612314" y="149436"/>
                </a:cubicBezTo>
                <a:cubicBezTo>
                  <a:pt x="601201" y="149436"/>
                  <a:pt x="601268" y="154616"/>
                  <a:pt x="594026" y="160409"/>
                </a:cubicBezTo>
                <a:cubicBezTo>
                  <a:pt x="590594" y="163155"/>
                  <a:pt x="586391" y="164863"/>
                  <a:pt x="583054" y="167724"/>
                </a:cubicBezTo>
                <a:cubicBezTo>
                  <a:pt x="577817" y="172213"/>
                  <a:pt x="568423" y="182355"/>
                  <a:pt x="568423" y="182355"/>
                </a:cubicBezTo>
                <a:lnTo>
                  <a:pt x="557450" y="215273"/>
                </a:lnTo>
                <a:cubicBezTo>
                  <a:pt x="556231" y="218931"/>
                  <a:pt x="556519" y="223520"/>
                  <a:pt x="553793" y="226246"/>
                </a:cubicBezTo>
                <a:cubicBezTo>
                  <a:pt x="546904" y="233135"/>
                  <a:pt x="539578" y="239026"/>
                  <a:pt x="535505" y="248191"/>
                </a:cubicBezTo>
                <a:cubicBezTo>
                  <a:pt x="532373" y="255237"/>
                  <a:pt x="530628" y="262822"/>
                  <a:pt x="528190" y="270137"/>
                </a:cubicBezTo>
                <a:lnTo>
                  <a:pt x="524532" y="281110"/>
                </a:lnTo>
                <a:lnTo>
                  <a:pt x="520874" y="292083"/>
                </a:lnTo>
                <a:lnTo>
                  <a:pt x="517217" y="303055"/>
                </a:lnTo>
                <a:cubicBezTo>
                  <a:pt x="514779" y="327439"/>
                  <a:pt x="513072" y="351907"/>
                  <a:pt x="509902" y="376207"/>
                </a:cubicBezTo>
                <a:cubicBezTo>
                  <a:pt x="509403" y="380030"/>
                  <a:pt x="508157" y="383832"/>
                  <a:pt x="506244" y="387180"/>
                </a:cubicBezTo>
                <a:cubicBezTo>
                  <a:pt x="503219" y="392473"/>
                  <a:pt x="498767" y="396817"/>
                  <a:pt x="495271" y="401811"/>
                </a:cubicBezTo>
                <a:cubicBezTo>
                  <a:pt x="495244" y="401849"/>
                  <a:pt x="476996" y="429223"/>
                  <a:pt x="473326" y="434729"/>
                </a:cubicBezTo>
                <a:lnTo>
                  <a:pt x="466010" y="445702"/>
                </a:lnTo>
                <a:lnTo>
                  <a:pt x="458695" y="456675"/>
                </a:lnTo>
                <a:cubicBezTo>
                  <a:pt x="457476" y="460332"/>
                  <a:pt x="457021" y="464341"/>
                  <a:pt x="455038" y="467647"/>
                </a:cubicBezTo>
                <a:cubicBezTo>
                  <a:pt x="453264" y="470604"/>
                  <a:pt x="449876" y="472270"/>
                  <a:pt x="447722" y="474963"/>
                </a:cubicBezTo>
                <a:cubicBezTo>
                  <a:pt x="429260" y="498040"/>
                  <a:pt x="450760" y="475581"/>
                  <a:pt x="433092" y="493251"/>
                </a:cubicBezTo>
                <a:cubicBezTo>
                  <a:pt x="426707" y="512402"/>
                  <a:pt x="432160" y="501496"/>
                  <a:pt x="411146" y="522511"/>
                </a:cubicBezTo>
                <a:lnTo>
                  <a:pt x="403831" y="529827"/>
                </a:lnTo>
                <a:cubicBezTo>
                  <a:pt x="402612" y="533484"/>
                  <a:pt x="402157" y="537493"/>
                  <a:pt x="400174" y="540799"/>
                </a:cubicBezTo>
                <a:cubicBezTo>
                  <a:pt x="398400" y="543756"/>
                  <a:pt x="394139" y="544913"/>
                  <a:pt x="392858" y="548115"/>
                </a:cubicBezTo>
                <a:cubicBezTo>
                  <a:pt x="390419" y="554212"/>
                  <a:pt x="383548" y="591341"/>
                  <a:pt x="378228" y="599321"/>
                </a:cubicBezTo>
                <a:cubicBezTo>
                  <a:pt x="368774" y="613502"/>
                  <a:pt x="372303" y="606124"/>
                  <a:pt x="367255" y="621267"/>
                </a:cubicBezTo>
                <a:cubicBezTo>
                  <a:pt x="366036" y="634678"/>
                  <a:pt x="366626" y="648379"/>
                  <a:pt x="363598" y="661500"/>
                </a:cubicBezTo>
                <a:cubicBezTo>
                  <a:pt x="362823" y="664860"/>
                  <a:pt x="357824" y="665731"/>
                  <a:pt x="356282" y="668815"/>
                </a:cubicBezTo>
                <a:cubicBezTo>
                  <a:pt x="354034" y="673311"/>
                  <a:pt x="354605" y="678825"/>
                  <a:pt x="352625" y="683446"/>
                </a:cubicBezTo>
                <a:cubicBezTo>
                  <a:pt x="331338" y="733120"/>
                  <a:pt x="357078" y="659121"/>
                  <a:pt x="341652" y="705391"/>
                </a:cubicBezTo>
                <a:cubicBezTo>
                  <a:pt x="342871" y="727337"/>
                  <a:pt x="342202" y="749469"/>
                  <a:pt x="345310" y="771228"/>
                </a:cubicBezTo>
                <a:cubicBezTo>
                  <a:pt x="345932" y="775580"/>
                  <a:pt x="350893" y="778160"/>
                  <a:pt x="352625" y="782201"/>
                </a:cubicBezTo>
                <a:cubicBezTo>
                  <a:pt x="354605" y="786821"/>
                  <a:pt x="355063" y="791954"/>
                  <a:pt x="356282" y="796831"/>
                </a:cubicBezTo>
                <a:cubicBezTo>
                  <a:pt x="355063" y="805366"/>
                  <a:pt x="356126" y="814557"/>
                  <a:pt x="352625" y="822435"/>
                </a:cubicBezTo>
                <a:cubicBezTo>
                  <a:pt x="350840" y="826452"/>
                  <a:pt x="345584" y="827784"/>
                  <a:pt x="341652" y="829750"/>
                </a:cubicBezTo>
                <a:cubicBezTo>
                  <a:pt x="336409" y="832371"/>
                  <a:pt x="320731" y="835894"/>
                  <a:pt x="316049" y="837065"/>
                </a:cubicBezTo>
                <a:cubicBezTo>
                  <a:pt x="284602" y="858028"/>
                  <a:pt x="324390" y="832895"/>
                  <a:pt x="294103" y="848038"/>
                </a:cubicBezTo>
                <a:cubicBezTo>
                  <a:pt x="290171" y="850004"/>
                  <a:pt x="287147" y="853568"/>
                  <a:pt x="283130" y="855353"/>
                </a:cubicBezTo>
                <a:cubicBezTo>
                  <a:pt x="276084" y="858485"/>
                  <a:pt x="261185" y="862668"/>
                  <a:pt x="261185" y="862668"/>
                </a:cubicBezTo>
                <a:cubicBezTo>
                  <a:pt x="237944" y="885909"/>
                  <a:pt x="262693" y="860125"/>
                  <a:pt x="239239" y="888271"/>
                </a:cubicBezTo>
                <a:cubicBezTo>
                  <a:pt x="237031" y="890920"/>
                  <a:pt x="233993" y="892828"/>
                  <a:pt x="231924" y="895587"/>
                </a:cubicBezTo>
                <a:cubicBezTo>
                  <a:pt x="226649" y="902620"/>
                  <a:pt x="222171" y="910217"/>
                  <a:pt x="217294" y="917532"/>
                </a:cubicBezTo>
                <a:lnTo>
                  <a:pt x="209978" y="928505"/>
                </a:lnTo>
                <a:lnTo>
                  <a:pt x="202663" y="939478"/>
                </a:lnTo>
                <a:lnTo>
                  <a:pt x="184375" y="994342"/>
                </a:lnTo>
                <a:lnTo>
                  <a:pt x="177060" y="1016287"/>
                </a:lnTo>
                <a:cubicBezTo>
                  <a:pt x="175841" y="1019945"/>
                  <a:pt x="174337" y="1023520"/>
                  <a:pt x="173402" y="1027260"/>
                </a:cubicBezTo>
                <a:lnTo>
                  <a:pt x="169745" y="1041891"/>
                </a:lnTo>
                <a:cubicBezTo>
                  <a:pt x="174254" y="1082477"/>
                  <a:pt x="169910" y="1064333"/>
                  <a:pt x="180718" y="1096755"/>
                </a:cubicBezTo>
                <a:lnTo>
                  <a:pt x="188033" y="1118700"/>
                </a:lnTo>
                <a:lnTo>
                  <a:pt x="191690" y="1129673"/>
                </a:lnTo>
                <a:cubicBezTo>
                  <a:pt x="190471" y="1146742"/>
                  <a:pt x="190032" y="1163884"/>
                  <a:pt x="188033" y="1180879"/>
                </a:cubicBezTo>
                <a:cubicBezTo>
                  <a:pt x="187583" y="1184708"/>
                  <a:pt x="183156" y="1188194"/>
                  <a:pt x="184375" y="1191852"/>
                </a:cubicBezTo>
                <a:cubicBezTo>
                  <a:pt x="186387" y="1197887"/>
                  <a:pt x="201301" y="1206794"/>
                  <a:pt x="206321" y="1210140"/>
                </a:cubicBezTo>
                <a:cubicBezTo>
                  <a:pt x="208759" y="1213798"/>
                  <a:pt x="211904" y="1217073"/>
                  <a:pt x="213636" y="1221113"/>
                </a:cubicBezTo>
                <a:cubicBezTo>
                  <a:pt x="215616" y="1225733"/>
                  <a:pt x="215913" y="1230910"/>
                  <a:pt x="217294" y="1235743"/>
                </a:cubicBezTo>
                <a:cubicBezTo>
                  <a:pt x="218353" y="1239450"/>
                  <a:pt x="219732" y="1243058"/>
                  <a:pt x="220951" y="1246716"/>
                </a:cubicBezTo>
                <a:cubicBezTo>
                  <a:pt x="220607" y="1249468"/>
                  <a:pt x="217665" y="1282549"/>
                  <a:pt x="213636" y="1290607"/>
                </a:cubicBezTo>
                <a:cubicBezTo>
                  <a:pt x="212094" y="1293691"/>
                  <a:pt x="209014" y="1295769"/>
                  <a:pt x="206321" y="1297923"/>
                </a:cubicBezTo>
                <a:cubicBezTo>
                  <a:pt x="202888" y="1300669"/>
                  <a:pt x="198634" y="1302318"/>
                  <a:pt x="195348" y="1305238"/>
                </a:cubicBezTo>
                <a:cubicBezTo>
                  <a:pt x="187616" y="1312111"/>
                  <a:pt x="173402" y="1327183"/>
                  <a:pt x="173402" y="1327183"/>
                </a:cubicBezTo>
                <a:cubicBezTo>
                  <a:pt x="167703" y="1344283"/>
                  <a:pt x="167671" y="1338926"/>
                  <a:pt x="173402" y="1363759"/>
                </a:cubicBezTo>
                <a:cubicBezTo>
                  <a:pt x="175136" y="1371273"/>
                  <a:pt x="178280" y="1378390"/>
                  <a:pt x="180718" y="1385705"/>
                </a:cubicBezTo>
                <a:lnTo>
                  <a:pt x="184375" y="1396678"/>
                </a:lnTo>
                <a:cubicBezTo>
                  <a:pt x="183156" y="1402774"/>
                  <a:pt x="182226" y="1408935"/>
                  <a:pt x="180718" y="1414966"/>
                </a:cubicBezTo>
                <a:cubicBezTo>
                  <a:pt x="179783" y="1418706"/>
                  <a:pt x="177538" y="1422113"/>
                  <a:pt x="177060" y="1425939"/>
                </a:cubicBezTo>
                <a:cubicBezTo>
                  <a:pt x="170408" y="1479151"/>
                  <a:pt x="189648" y="1469425"/>
                  <a:pt x="158772" y="1477145"/>
                </a:cubicBezTo>
                <a:cubicBezTo>
                  <a:pt x="125125" y="1498175"/>
                  <a:pt x="137644" y="1487300"/>
                  <a:pt x="118538" y="1506406"/>
                </a:cubicBezTo>
                <a:cubicBezTo>
                  <a:pt x="108528" y="1536441"/>
                  <a:pt x="123633" y="1488728"/>
                  <a:pt x="111223" y="1546639"/>
                </a:cubicBezTo>
                <a:cubicBezTo>
                  <a:pt x="109607" y="1554179"/>
                  <a:pt x="106346" y="1561270"/>
                  <a:pt x="103908" y="1568585"/>
                </a:cubicBezTo>
                <a:cubicBezTo>
                  <a:pt x="99309" y="1582383"/>
                  <a:pt x="98195" y="1588926"/>
                  <a:pt x="85620" y="1601503"/>
                </a:cubicBezTo>
                <a:cubicBezTo>
                  <a:pt x="83182" y="1603942"/>
                  <a:pt x="80459" y="1606126"/>
                  <a:pt x="78305" y="1608819"/>
                </a:cubicBezTo>
                <a:cubicBezTo>
                  <a:pt x="75559" y="1612251"/>
                  <a:pt x="72956" y="1615859"/>
                  <a:pt x="70990" y="1619791"/>
                </a:cubicBezTo>
                <a:cubicBezTo>
                  <a:pt x="69266" y="1623239"/>
                  <a:pt x="69741" y="1627753"/>
                  <a:pt x="67332" y="1630764"/>
                </a:cubicBezTo>
                <a:cubicBezTo>
                  <a:pt x="64586" y="1634197"/>
                  <a:pt x="60017" y="1635641"/>
                  <a:pt x="56359" y="1638079"/>
                </a:cubicBezTo>
                <a:cubicBezTo>
                  <a:pt x="55140" y="1641737"/>
                  <a:pt x="54686" y="1645746"/>
                  <a:pt x="52702" y="1649052"/>
                </a:cubicBezTo>
                <a:cubicBezTo>
                  <a:pt x="39700" y="1670722"/>
                  <a:pt x="45946" y="1632748"/>
                  <a:pt x="30756" y="1678313"/>
                </a:cubicBezTo>
                <a:cubicBezTo>
                  <a:pt x="25708" y="1693456"/>
                  <a:pt x="29237" y="1686078"/>
                  <a:pt x="19783" y="1700259"/>
                </a:cubicBezTo>
                <a:cubicBezTo>
                  <a:pt x="7487" y="1737150"/>
                  <a:pt x="26253" y="1679911"/>
                  <a:pt x="12468" y="1725862"/>
                </a:cubicBezTo>
                <a:cubicBezTo>
                  <a:pt x="10252" y="1733247"/>
                  <a:pt x="7591" y="1740492"/>
                  <a:pt x="5153" y="1747807"/>
                </a:cubicBezTo>
                <a:lnTo>
                  <a:pt x="1495" y="1758780"/>
                </a:lnTo>
                <a:cubicBezTo>
                  <a:pt x="2714" y="1775849"/>
                  <a:pt x="0" y="1793669"/>
                  <a:pt x="5153" y="1809987"/>
                </a:cubicBezTo>
                <a:cubicBezTo>
                  <a:pt x="9556" y="1823929"/>
                  <a:pt x="24933" y="1827294"/>
                  <a:pt x="34414" y="1835590"/>
                </a:cubicBezTo>
                <a:cubicBezTo>
                  <a:pt x="40902" y="1841267"/>
                  <a:pt x="52702" y="1853878"/>
                  <a:pt x="52702" y="1853878"/>
                </a:cubicBezTo>
                <a:cubicBezTo>
                  <a:pt x="66370" y="1894889"/>
                  <a:pt x="53309" y="1852308"/>
                  <a:pt x="60017" y="1956291"/>
                </a:cubicBezTo>
                <a:cubicBezTo>
                  <a:pt x="61768" y="1983424"/>
                  <a:pt x="62649" y="1970481"/>
                  <a:pt x="67332" y="1989209"/>
                </a:cubicBezTo>
                <a:cubicBezTo>
                  <a:pt x="73660" y="2014520"/>
                  <a:pt x="66263" y="2000406"/>
                  <a:pt x="78305" y="2018470"/>
                </a:cubicBezTo>
                <a:cubicBezTo>
                  <a:pt x="79524" y="2023347"/>
                  <a:pt x="80197" y="2028393"/>
                  <a:pt x="81962" y="2033100"/>
                </a:cubicBezTo>
                <a:cubicBezTo>
                  <a:pt x="83877" y="2038206"/>
                  <a:pt x="87554" y="2042558"/>
                  <a:pt x="89278" y="2047731"/>
                </a:cubicBezTo>
                <a:cubicBezTo>
                  <a:pt x="91244" y="2053629"/>
                  <a:pt x="91427" y="2059988"/>
                  <a:pt x="92935" y="2066019"/>
                </a:cubicBezTo>
                <a:cubicBezTo>
                  <a:pt x="95291" y="2075443"/>
                  <a:pt x="97525" y="2080304"/>
                  <a:pt x="103908" y="2087964"/>
                </a:cubicBezTo>
                <a:cubicBezTo>
                  <a:pt x="118765" y="2105793"/>
                  <a:pt x="109111" y="2094223"/>
                  <a:pt x="125854" y="2102595"/>
                </a:cubicBezTo>
                <a:cubicBezTo>
                  <a:pt x="135080" y="2107208"/>
                  <a:pt x="137339" y="2110423"/>
                  <a:pt x="144142" y="2117225"/>
                </a:cubicBezTo>
                <a:cubicBezTo>
                  <a:pt x="142052" y="2127671"/>
                  <a:pt x="139926" y="2139808"/>
                  <a:pt x="136826" y="2150143"/>
                </a:cubicBezTo>
                <a:cubicBezTo>
                  <a:pt x="134610" y="2157529"/>
                  <a:pt x="129511" y="2172089"/>
                  <a:pt x="129511" y="2172089"/>
                </a:cubicBezTo>
                <a:cubicBezTo>
                  <a:pt x="130730" y="2181843"/>
                  <a:pt x="131109" y="2191739"/>
                  <a:pt x="133169" y="2201350"/>
                </a:cubicBezTo>
                <a:cubicBezTo>
                  <a:pt x="134785" y="2208890"/>
                  <a:pt x="140484" y="2223295"/>
                  <a:pt x="140484" y="2223295"/>
                </a:cubicBezTo>
                <a:cubicBezTo>
                  <a:pt x="138264" y="2241050"/>
                  <a:pt x="137356" y="2254095"/>
                  <a:pt x="133169" y="2270844"/>
                </a:cubicBezTo>
                <a:cubicBezTo>
                  <a:pt x="132234" y="2274584"/>
                  <a:pt x="130730" y="2278159"/>
                  <a:pt x="129511" y="2281817"/>
                </a:cubicBezTo>
                <a:cubicBezTo>
                  <a:pt x="130730" y="2285475"/>
                  <a:pt x="130760" y="2289779"/>
                  <a:pt x="133169" y="2292790"/>
                </a:cubicBezTo>
                <a:cubicBezTo>
                  <a:pt x="139492" y="2300693"/>
                  <a:pt x="159382" y="2305185"/>
                  <a:pt x="166087" y="2307420"/>
                </a:cubicBezTo>
                <a:lnTo>
                  <a:pt x="177060" y="2311078"/>
                </a:lnTo>
                <a:cubicBezTo>
                  <a:pt x="184375" y="2309859"/>
                  <a:pt x="191970" y="2309765"/>
                  <a:pt x="199006" y="2307420"/>
                </a:cubicBezTo>
                <a:cubicBezTo>
                  <a:pt x="208651" y="2304205"/>
                  <a:pt x="210162" y="2298496"/>
                  <a:pt x="217294" y="2292790"/>
                </a:cubicBezTo>
                <a:cubicBezTo>
                  <a:pt x="220726" y="2290044"/>
                  <a:pt x="224334" y="2287441"/>
                  <a:pt x="228266" y="2285475"/>
                </a:cubicBezTo>
                <a:cubicBezTo>
                  <a:pt x="237758" y="2280729"/>
                  <a:pt x="251819" y="2280032"/>
                  <a:pt x="261185" y="2278159"/>
                </a:cubicBezTo>
                <a:cubicBezTo>
                  <a:pt x="266114" y="2277173"/>
                  <a:pt x="270938" y="2275721"/>
                  <a:pt x="275815" y="2274502"/>
                </a:cubicBezTo>
                <a:cubicBezTo>
                  <a:pt x="277034" y="2259872"/>
                  <a:pt x="277533" y="2245163"/>
                  <a:pt x="279473" y="2230611"/>
                </a:cubicBezTo>
                <a:cubicBezTo>
                  <a:pt x="280743" y="2221086"/>
                  <a:pt x="288575" y="2208068"/>
                  <a:pt x="297761" y="2205007"/>
                </a:cubicBezTo>
                <a:cubicBezTo>
                  <a:pt x="301419" y="2203788"/>
                  <a:pt x="305190" y="2202869"/>
                  <a:pt x="308734" y="2201350"/>
                </a:cubicBezTo>
                <a:cubicBezTo>
                  <a:pt x="313745" y="2199202"/>
                  <a:pt x="318487" y="2196473"/>
                  <a:pt x="323364" y="2194035"/>
                </a:cubicBezTo>
                <a:cubicBezTo>
                  <a:pt x="325802" y="2191596"/>
                  <a:pt x="327595" y="2188261"/>
                  <a:pt x="330679" y="2186719"/>
                </a:cubicBezTo>
                <a:cubicBezTo>
                  <a:pt x="330690" y="2186714"/>
                  <a:pt x="358106" y="2177578"/>
                  <a:pt x="363598" y="2175747"/>
                </a:cubicBezTo>
                <a:cubicBezTo>
                  <a:pt x="379360" y="2170493"/>
                  <a:pt x="398837" y="2163112"/>
                  <a:pt x="414804" y="2161116"/>
                </a:cubicBezTo>
                <a:lnTo>
                  <a:pt x="444065" y="2157459"/>
                </a:lnTo>
                <a:cubicBezTo>
                  <a:pt x="447723" y="2156240"/>
                  <a:pt x="452797" y="2156938"/>
                  <a:pt x="455038" y="2153801"/>
                </a:cubicBezTo>
                <a:cubicBezTo>
                  <a:pt x="459520" y="2147526"/>
                  <a:pt x="455937" y="2136132"/>
                  <a:pt x="462353" y="2131855"/>
                </a:cubicBezTo>
                <a:lnTo>
                  <a:pt x="473326" y="2124540"/>
                </a:lnTo>
                <a:cubicBezTo>
                  <a:pt x="476983" y="2125759"/>
                  <a:pt x="481890" y="2125188"/>
                  <a:pt x="484298" y="2128198"/>
                </a:cubicBezTo>
                <a:cubicBezTo>
                  <a:pt x="487438" y="2132123"/>
                  <a:pt x="485976" y="2138208"/>
                  <a:pt x="487956" y="2142828"/>
                </a:cubicBezTo>
                <a:cubicBezTo>
                  <a:pt x="489688" y="2146868"/>
                  <a:pt x="492833" y="2150143"/>
                  <a:pt x="495271" y="2153801"/>
                </a:cubicBezTo>
                <a:cubicBezTo>
                  <a:pt x="498929" y="2152582"/>
                  <a:pt x="504003" y="2153280"/>
                  <a:pt x="506244" y="2150143"/>
                </a:cubicBezTo>
                <a:cubicBezTo>
                  <a:pt x="510726" y="2143869"/>
                  <a:pt x="513559" y="2128198"/>
                  <a:pt x="513559" y="2128198"/>
                </a:cubicBezTo>
                <a:cubicBezTo>
                  <a:pt x="514778" y="2113568"/>
                  <a:pt x="514803" y="2098788"/>
                  <a:pt x="517217" y="2084307"/>
                </a:cubicBezTo>
                <a:cubicBezTo>
                  <a:pt x="521935" y="2055999"/>
                  <a:pt x="522528" y="2070027"/>
                  <a:pt x="531847" y="2051388"/>
                </a:cubicBezTo>
                <a:cubicBezTo>
                  <a:pt x="533571" y="2047939"/>
                  <a:pt x="534286" y="2044073"/>
                  <a:pt x="535505" y="2040415"/>
                </a:cubicBezTo>
                <a:cubicBezTo>
                  <a:pt x="530628" y="2037977"/>
                  <a:pt x="526097" y="2034667"/>
                  <a:pt x="520874" y="2033100"/>
                </a:cubicBezTo>
                <a:cubicBezTo>
                  <a:pt x="513771" y="2030969"/>
                  <a:pt x="505368" y="2033122"/>
                  <a:pt x="498929" y="2029443"/>
                </a:cubicBezTo>
                <a:cubicBezTo>
                  <a:pt x="495581" y="2027530"/>
                  <a:pt x="496490" y="2022128"/>
                  <a:pt x="495271" y="2018470"/>
                </a:cubicBezTo>
                <a:cubicBezTo>
                  <a:pt x="496490" y="2000182"/>
                  <a:pt x="495916" y="1981685"/>
                  <a:pt x="498929" y="1963606"/>
                </a:cubicBezTo>
                <a:cubicBezTo>
                  <a:pt x="499652" y="1959270"/>
                  <a:pt x="504278" y="1956565"/>
                  <a:pt x="506244" y="1952633"/>
                </a:cubicBezTo>
                <a:cubicBezTo>
                  <a:pt x="507968" y="1949184"/>
                  <a:pt x="508683" y="1945318"/>
                  <a:pt x="509902" y="1941660"/>
                </a:cubicBezTo>
                <a:cubicBezTo>
                  <a:pt x="511121" y="1895330"/>
                  <a:pt x="511301" y="1848962"/>
                  <a:pt x="513559" y="1802671"/>
                </a:cubicBezTo>
                <a:cubicBezTo>
                  <a:pt x="514167" y="1790208"/>
                  <a:pt x="518195" y="1792832"/>
                  <a:pt x="524532" y="1784383"/>
                </a:cubicBezTo>
                <a:cubicBezTo>
                  <a:pt x="529807" y="1777350"/>
                  <a:pt x="532945" y="1768654"/>
                  <a:pt x="539162" y="1762438"/>
                </a:cubicBezTo>
                <a:cubicBezTo>
                  <a:pt x="549587" y="1752015"/>
                  <a:pt x="544565" y="1757992"/>
                  <a:pt x="553793" y="1744150"/>
                </a:cubicBezTo>
                <a:cubicBezTo>
                  <a:pt x="555012" y="1740492"/>
                  <a:pt x="554313" y="1735418"/>
                  <a:pt x="557450" y="1733177"/>
                </a:cubicBezTo>
                <a:cubicBezTo>
                  <a:pt x="563725" y="1728695"/>
                  <a:pt x="579396" y="1725862"/>
                  <a:pt x="579396" y="1725862"/>
                </a:cubicBezTo>
                <a:cubicBezTo>
                  <a:pt x="585627" y="1716515"/>
                  <a:pt x="596020" y="1704578"/>
                  <a:pt x="586711" y="1692943"/>
                </a:cubicBezTo>
                <a:cubicBezTo>
                  <a:pt x="583965" y="1689510"/>
                  <a:pt x="579396" y="1688066"/>
                  <a:pt x="575738" y="1685628"/>
                </a:cubicBezTo>
                <a:cubicBezTo>
                  <a:pt x="569311" y="1666344"/>
                  <a:pt x="576329" y="1681948"/>
                  <a:pt x="561108" y="1663683"/>
                </a:cubicBezTo>
                <a:cubicBezTo>
                  <a:pt x="550656" y="1651141"/>
                  <a:pt x="558149" y="1653060"/>
                  <a:pt x="542820" y="1645395"/>
                </a:cubicBezTo>
                <a:cubicBezTo>
                  <a:pt x="539371" y="1643671"/>
                  <a:pt x="535296" y="1643461"/>
                  <a:pt x="531847" y="1641737"/>
                </a:cubicBezTo>
                <a:cubicBezTo>
                  <a:pt x="527915" y="1639771"/>
                  <a:pt x="524891" y="1636207"/>
                  <a:pt x="520874" y="1634422"/>
                </a:cubicBezTo>
                <a:cubicBezTo>
                  <a:pt x="513828" y="1631290"/>
                  <a:pt x="498929" y="1627107"/>
                  <a:pt x="498929" y="1627107"/>
                </a:cubicBezTo>
                <a:cubicBezTo>
                  <a:pt x="497710" y="1623449"/>
                  <a:pt x="494637" y="1619937"/>
                  <a:pt x="495271" y="1616134"/>
                </a:cubicBezTo>
                <a:cubicBezTo>
                  <a:pt x="498619" y="1596042"/>
                  <a:pt x="528213" y="1602598"/>
                  <a:pt x="539162" y="1601503"/>
                </a:cubicBezTo>
                <a:cubicBezTo>
                  <a:pt x="552573" y="1603942"/>
                  <a:pt x="566067" y="1605963"/>
                  <a:pt x="579396" y="1608819"/>
                </a:cubicBezTo>
                <a:cubicBezTo>
                  <a:pt x="583166" y="1609627"/>
                  <a:pt x="586662" y="1611417"/>
                  <a:pt x="590369" y="1612476"/>
                </a:cubicBezTo>
                <a:cubicBezTo>
                  <a:pt x="595202" y="1613857"/>
                  <a:pt x="600184" y="1614690"/>
                  <a:pt x="604999" y="1616134"/>
                </a:cubicBezTo>
                <a:cubicBezTo>
                  <a:pt x="612385" y="1618350"/>
                  <a:pt x="619630" y="1621011"/>
                  <a:pt x="626945" y="1623449"/>
                </a:cubicBezTo>
                <a:lnTo>
                  <a:pt x="637918" y="1627107"/>
                </a:lnTo>
                <a:cubicBezTo>
                  <a:pt x="645233" y="1625888"/>
                  <a:pt x="653230" y="1626766"/>
                  <a:pt x="659863" y="1623449"/>
                </a:cubicBezTo>
                <a:cubicBezTo>
                  <a:pt x="666850" y="1619955"/>
                  <a:pt x="667951" y="1607273"/>
                  <a:pt x="670836" y="1601503"/>
                </a:cubicBezTo>
                <a:cubicBezTo>
                  <a:pt x="672802" y="1597571"/>
                  <a:pt x="675713" y="1594188"/>
                  <a:pt x="678151" y="1590531"/>
                </a:cubicBezTo>
                <a:cubicBezTo>
                  <a:pt x="676932" y="1572243"/>
                  <a:pt x="677679" y="1553717"/>
                  <a:pt x="674494" y="1535667"/>
                </a:cubicBezTo>
                <a:cubicBezTo>
                  <a:pt x="673895" y="1532271"/>
                  <a:pt x="669091" y="1531221"/>
                  <a:pt x="667178" y="1528351"/>
                </a:cubicBezTo>
                <a:cubicBezTo>
                  <a:pt x="664154" y="1523814"/>
                  <a:pt x="662568" y="1518455"/>
                  <a:pt x="659863" y="1513721"/>
                </a:cubicBezTo>
                <a:cubicBezTo>
                  <a:pt x="651179" y="1498524"/>
                  <a:pt x="653263" y="1507810"/>
                  <a:pt x="648890" y="1491775"/>
                </a:cubicBezTo>
                <a:cubicBezTo>
                  <a:pt x="646245" y="1482076"/>
                  <a:pt x="644754" y="1472053"/>
                  <a:pt x="641575" y="1462515"/>
                </a:cubicBezTo>
                <a:cubicBezTo>
                  <a:pt x="639137" y="1455200"/>
                  <a:pt x="641157" y="1444017"/>
                  <a:pt x="634260" y="1440569"/>
                </a:cubicBezTo>
                <a:cubicBezTo>
                  <a:pt x="629383" y="1438131"/>
                  <a:pt x="624641" y="1435402"/>
                  <a:pt x="619630" y="1433254"/>
                </a:cubicBezTo>
                <a:cubicBezTo>
                  <a:pt x="607920" y="1428236"/>
                  <a:pt x="604116" y="1429376"/>
                  <a:pt x="590369" y="1425939"/>
                </a:cubicBezTo>
                <a:cubicBezTo>
                  <a:pt x="586629" y="1425004"/>
                  <a:pt x="583116" y="1423295"/>
                  <a:pt x="579396" y="1422281"/>
                </a:cubicBezTo>
                <a:cubicBezTo>
                  <a:pt x="569696" y="1419636"/>
                  <a:pt x="550135" y="1414966"/>
                  <a:pt x="550135" y="1414966"/>
                </a:cubicBezTo>
                <a:cubicBezTo>
                  <a:pt x="552573" y="1405212"/>
                  <a:pt x="554270" y="1395243"/>
                  <a:pt x="557450" y="1385705"/>
                </a:cubicBezTo>
                <a:lnTo>
                  <a:pt x="564766" y="1363759"/>
                </a:lnTo>
                <a:cubicBezTo>
                  <a:pt x="563547" y="1352786"/>
                  <a:pt x="562567" y="1341784"/>
                  <a:pt x="561108" y="1330841"/>
                </a:cubicBezTo>
                <a:cubicBezTo>
                  <a:pt x="560128" y="1323490"/>
                  <a:pt x="557450" y="1316311"/>
                  <a:pt x="557450" y="1308895"/>
                </a:cubicBezTo>
                <a:cubicBezTo>
                  <a:pt x="557450" y="1296642"/>
                  <a:pt x="559245" y="1284429"/>
                  <a:pt x="561108" y="1272319"/>
                </a:cubicBezTo>
                <a:cubicBezTo>
                  <a:pt x="561694" y="1268509"/>
                  <a:pt x="563707" y="1265054"/>
                  <a:pt x="564766" y="1261347"/>
                </a:cubicBezTo>
                <a:cubicBezTo>
                  <a:pt x="566147" y="1256513"/>
                  <a:pt x="567204" y="1251593"/>
                  <a:pt x="568423" y="1246716"/>
                </a:cubicBezTo>
                <a:cubicBezTo>
                  <a:pt x="569642" y="1230866"/>
                  <a:pt x="567985" y="1214527"/>
                  <a:pt x="572081" y="1199167"/>
                </a:cubicBezTo>
                <a:cubicBezTo>
                  <a:pt x="573214" y="1194920"/>
                  <a:pt x="579946" y="1194960"/>
                  <a:pt x="583054" y="1191852"/>
                </a:cubicBezTo>
                <a:cubicBezTo>
                  <a:pt x="586162" y="1188744"/>
                  <a:pt x="587931" y="1184537"/>
                  <a:pt x="590369" y="1180879"/>
                </a:cubicBezTo>
                <a:cubicBezTo>
                  <a:pt x="591588" y="1177222"/>
                  <a:pt x="594026" y="1173762"/>
                  <a:pt x="594026" y="1169907"/>
                </a:cubicBezTo>
                <a:cubicBezTo>
                  <a:pt x="594026" y="1141615"/>
                  <a:pt x="592973" y="1141141"/>
                  <a:pt x="586711" y="1122358"/>
                </a:cubicBezTo>
                <a:cubicBezTo>
                  <a:pt x="594026" y="1119920"/>
                  <a:pt x="603205" y="1120496"/>
                  <a:pt x="608657" y="1115043"/>
                </a:cubicBezTo>
                <a:cubicBezTo>
                  <a:pt x="626320" y="1097378"/>
                  <a:pt x="604831" y="1119826"/>
                  <a:pt x="623287" y="1096755"/>
                </a:cubicBezTo>
                <a:cubicBezTo>
                  <a:pt x="625441" y="1094062"/>
                  <a:pt x="628164" y="1091878"/>
                  <a:pt x="630602" y="1089439"/>
                </a:cubicBezTo>
                <a:lnTo>
                  <a:pt x="637918" y="1067494"/>
                </a:lnTo>
                <a:cubicBezTo>
                  <a:pt x="640328" y="1060265"/>
                  <a:pt x="642443" y="1050705"/>
                  <a:pt x="648890" y="1045548"/>
                </a:cubicBezTo>
                <a:cubicBezTo>
                  <a:pt x="651901" y="1043140"/>
                  <a:pt x="656205" y="1043110"/>
                  <a:pt x="659863" y="1041891"/>
                </a:cubicBezTo>
                <a:cubicBezTo>
                  <a:pt x="661082" y="1037014"/>
                  <a:pt x="662076" y="1032075"/>
                  <a:pt x="663521" y="1027260"/>
                </a:cubicBezTo>
                <a:cubicBezTo>
                  <a:pt x="663533" y="1027222"/>
                  <a:pt x="672659" y="999847"/>
                  <a:pt x="674494" y="994342"/>
                </a:cubicBezTo>
                <a:cubicBezTo>
                  <a:pt x="675713" y="990684"/>
                  <a:pt x="674493" y="984588"/>
                  <a:pt x="678151" y="983369"/>
                </a:cubicBezTo>
                <a:cubicBezTo>
                  <a:pt x="696160" y="977366"/>
                  <a:pt x="685321" y="980345"/>
                  <a:pt x="711070" y="976054"/>
                </a:cubicBezTo>
                <a:cubicBezTo>
                  <a:pt x="713508" y="972396"/>
                  <a:pt x="716419" y="969013"/>
                  <a:pt x="718385" y="965081"/>
                </a:cubicBezTo>
                <a:cubicBezTo>
                  <a:pt x="720936" y="959978"/>
                  <a:pt x="721280" y="948657"/>
                  <a:pt x="729358" y="946793"/>
                </a:cubicBezTo>
                <a:cubicBezTo>
                  <a:pt x="742479" y="943765"/>
                  <a:pt x="756180" y="944354"/>
                  <a:pt x="769591" y="943135"/>
                </a:cubicBezTo>
                <a:cubicBezTo>
                  <a:pt x="775687" y="937039"/>
                  <a:pt x="780706" y="929629"/>
                  <a:pt x="787879" y="924847"/>
                </a:cubicBezTo>
                <a:cubicBezTo>
                  <a:pt x="791537" y="922409"/>
                  <a:pt x="795744" y="920640"/>
                  <a:pt x="798852" y="917532"/>
                </a:cubicBezTo>
                <a:cubicBezTo>
                  <a:pt x="803163" y="913222"/>
                  <a:pt x="805858" y="907530"/>
                  <a:pt x="809825" y="902902"/>
                </a:cubicBezTo>
                <a:cubicBezTo>
                  <a:pt x="813191" y="898975"/>
                  <a:pt x="817487" y="895903"/>
                  <a:pt x="820798" y="891929"/>
                </a:cubicBezTo>
                <a:cubicBezTo>
                  <a:pt x="823612" y="888552"/>
                  <a:pt x="824181" y="882922"/>
                  <a:pt x="828113" y="880956"/>
                </a:cubicBezTo>
                <a:cubicBezTo>
                  <a:pt x="834746" y="877640"/>
                  <a:pt x="842743" y="878518"/>
                  <a:pt x="850058" y="877299"/>
                </a:cubicBezTo>
                <a:cubicBezTo>
                  <a:pt x="852497" y="874860"/>
                  <a:pt x="855600" y="872940"/>
                  <a:pt x="857374" y="869983"/>
                </a:cubicBezTo>
                <a:cubicBezTo>
                  <a:pt x="860955" y="864014"/>
                  <a:pt x="863567" y="845213"/>
                  <a:pt x="864689" y="840723"/>
                </a:cubicBezTo>
                <a:cubicBezTo>
                  <a:pt x="865624" y="836983"/>
                  <a:pt x="867287" y="833457"/>
                  <a:pt x="868346" y="829750"/>
                </a:cubicBezTo>
                <a:cubicBezTo>
                  <a:pt x="868384" y="829617"/>
                  <a:pt x="873907" y="805902"/>
                  <a:pt x="875662" y="804147"/>
                </a:cubicBezTo>
                <a:cubicBezTo>
                  <a:pt x="878388" y="801421"/>
                  <a:pt x="882977" y="801708"/>
                  <a:pt x="886634" y="800489"/>
                </a:cubicBezTo>
                <a:cubicBezTo>
                  <a:pt x="889073" y="798051"/>
                  <a:pt x="893950" y="796623"/>
                  <a:pt x="893950" y="793174"/>
                </a:cubicBezTo>
                <a:cubicBezTo>
                  <a:pt x="893950" y="785463"/>
                  <a:pt x="889072" y="778543"/>
                  <a:pt x="886634" y="771228"/>
                </a:cubicBezTo>
                <a:cubicBezTo>
                  <a:pt x="885415" y="767570"/>
                  <a:pt x="883611" y="764058"/>
                  <a:pt x="882977" y="760255"/>
                </a:cubicBezTo>
                <a:cubicBezTo>
                  <a:pt x="881758" y="752940"/>
                  <a:pt x="881664" y="745345"/>
                  <a:pt x="879319" y="738310"/>
                </a:cubicBezTo>
                <a:cubicBezTo>
                  <a:pt x="877929" y="734140"/>
                  <a:pt x="875437" y="730083"/>
                  <a:pt x="872004" y="727337"/>
                </a:cubicBezTo>
                <a:cubicBezTo>
                  <a:pt x="868993" y="724928"/>
                  <a:pt x="864689" y="724898"/>
                  <a:pt x="861031" y="723679"/>
                </a:cubicBezTo>
                <a:cubicBezTo>
                  <a:pt x="862250" y="716364"/>
                  <a:pt x="861677" y="708511"/>
                  <a:pt x="864689" y="701734"/>
                </a:cubicBezTo>
                <a:cubicBezTo>
                  <a:pt x="866790" y="697007"/>
                  <a:pt x="871688" y="694073"/>
                  <a:pt x="875662" y="690761"/>
                </a:cubicBezTo>
                <a:cubicBezTo>
                  <a:pt x="885115" y="682883"/>
                  <a:pt x="886610" y="683454"/>
                  <a:pt x="897607" y="679788"/>
                </a:cubicBezTo>
                <a:cubicBezTo>
                  <a:pt x="898826" y="663938"/>
                  <a:pt x="899293" y="648013"/>
                  <a:pt x="901265" y="632239"/>
                </a:cubicBezTo>
                <a:cubicBezTo>
                  <a:pt x="901743" y="628414"/>
                  <a:pt x="902196" y="623993"/>
                  <a:pt x="904922" y="621267"/>
                </a:cubicBezTo>
                <a:cubicBezTo>
                  <a:pt x="907648" y="618541"/>
                  <a:pt x="912237" y="618828"/>
                  <a:pt x="915895" y="617609"/>
                </a:cubicBezTo>
                <a:cubicBezTo>
                  <a:pt x="918333" y="613951"/>
                  <a:pt x="921244" y="610568"/>
                  <a:pt x="923210" y="606636"/>
                </a:cubicBezTo>
                <a:cubicBezTo>
                  <a:pt x="930350" y="592355"/>
                  <a:pt x="926468" y="578977"/>
                  <a:pt x="930526" y="562745"/>
                </a:cubicBezTo>
                <a:cubicBezTo>
                  <a:pt x="931592" y="558480"/>
                  <a:pt x="933671" y="553162"/>
                  <a:pt x="937841" y="551772"/>
                </a:cubicBezTo>
                <a:cubicBezTo>
                  <a:pt x="949465" y="547897"/>
                  <a:pt x="962225" y="549334"/>
                  <a:pt x="974417" y="548115"/>
                </a:cubicBezTo>
                <a:cubicBezTo>
                  <a:pt x="976855" y="545676"/>
                  <a:pt x="979958" y="543756"/>
                  <a:pt x="981732" y="540799"/>
                </a:cubicBezTo>
                <a:cubicBezTo>
                  <a:pt x="983716" y="537493"/>
                  <a:pt x="982664" y="532553"/>
                  <a:pt x="985390" y="529827"/>
                </a:cubicBezTo>
                <a:cubicBezTo>
                  <a:pt x="988116" y="527101"/>
                  <a:pt x="992513" y="526395"/>
                  <a:pt x="996362" y="526169"/>
                </a:cubicBezTo>
                <a:cubicBezTo>
                  <a:pt x="1034112" y="523948"/>
                  <a:pt x="1071953" y="523730"/>
                  <a:pt x="1109748" y="522511"/>
                </a:cubicBezTo>
                <a:cubicBezTo>
                  <a:pt x="1108529" y="517634"/>
                  <a:pt x="1108584" y="512245"/>
                  <a:pt x="1106090" y="507881"/>
                </a:cubicBezTo>
                <a:cubicBezTo>
                  <a:pt x="1101756" y="500297"/>
                  <a:pt x="1091139" y="494255"/>
                  <a:pt x="1084145" y="489593"/>
                </a:cubicBezTo>
                <a:lnTo>
                  <a:pt x="1073172" y="456675"/>
                </a:lnTo>
                <a:lnTo>
                  <a:pt x="1069514" y="445702"/>
                </a:lnTo>
                <a:cubicBezTo>
                  <a:pt x="1070733" y="421318"/>
                  <a:pt x="1071057" y="396873"/>
                  <a:pt x="1073172" y="372550"/>
                </a:cubicBezTo>
                <a:cubicBezTo>
                  <a:pt x="1073506" y="368709"/>
                  <a:pt x="1075771" y="365284"/>
                  <a:pt x="1076830" y="361577"/>
                </a:cubicBezTo>
                <a:cubicBezTo>
                  <a:pt x="1086015" y="329428"/>
                  <a:pt x="1075374" y="362284"/>
                  <a:pt x="1084145" y="335974"/>
                </a:cubicBezTo>
                <a:cubicBezTo>
                  <a:pt x="1083964" y="335067"/>
                  <a:pt x="1079828" y="310460"/>
                  <a:pt x="1076830" y="306713"/>
                </a:cubicBezTo>
                <a:cubicBezTo>
                  <a:pt x="1074084" y="303280"/>
                  <a:pt x="1069515" y="301836"/>
                  <a:pt x="1065857" y="299398"/>
                </a:cubicBezTo>
                <a:lnTo>
                  <a:pt x="1051226" y="277452"/>
                </a:lnTo>
                <a:lnTo>
                  <a:pt x="1043911" y="266479"/>
                </a:lnTo>
                <a:lnTo>
                  <a:pt x="1021966" y="200643"/>
                </a:lnTo>
                <a:lnTo>
                  <a:pt x="1014650" y="178697"/>
                </a:lnTo>
                <a:cubicBezTo>
                  <a:pt x="1013431" y="175039"/>
                  <a:pt x="1013132" y="170932"/>
                  <a:pt x="1010993" y="167724"/>
                </a:cubicBezTo>
                <a:cubicBezTo>
                  <a:pt x="1006116" y="160409"/>
                  <a:pt x="1002578" y="151996"/>
                  <a:pt x="996362" y="145779"/>
                </a:cubicBezTo>
                <a:cubicBezTo>
                  <a:pt x="993924" y="143340"/>
                  <a:pt x="991201" y="141156"/>
                  <a:pt x="989047" y="138463"/>
                </a:cubicBezTo>
                <a:cubicBezTo>
                  <a:pt x="970591" y="115392"/>
                  <a:pt x="992080" y="137840"/>
                  <a:pt x="974417" y="120175"/>
                </a:cubicBezTo>
                <a:cubicBezTo>
                  <a:pt x="966011" y="94958"/>
                  <a:pt x="972555" y="103682"/>
                  <a:pt x="959786" y="90915"/>
                </a:cubicBezTo>
                <a:cubicBezTo>
                  <a:pt x="956295" y="80440"/>
                  <a:pt x="956438" y="75416"/>
                  <a:pt x="945156" y="68969"/>
                </a:cubicBezTo>
                <a:cubicBezTo>
                  <a:pt x="940792" y="66475"/>
                  <a:pt x="935403" y="66530"/>
                  <a:pt x="930526" y="65311"/>
                </a:cubicBezTo>
                <a:cubicBezTo>
                  <a:pt x="928087" y="62873"/>
                  <a:pt x="926295" y="59538"/>
                  <a:pt x="923210" y="57996"/>
                </a:cubicBezTo>
                <a:cubicBezTo>
                  <a:pt x="913268" y="53025"/>
                  <a:pt x="873180" y="50799"/>
                  <a:pt x="872004" y="50681"/>
                </a:cubicBezTo>
                <a:cubicBezTo>
                  <a:pt x="867322" y="49510"/>
                  <a:pt x="851644" y="45987"/>
                  <a:pt x="846401" y="43366"/>
                </a:cubicBezTo>
                <a:cubicBezTo>
                  <a:pt x="837171" y="38752"/>
                  <a:pt x="834917" y="35540"/>
                  <a:pt x="828113" y="28735"/>
                </a:cubicBezTo>
                <a:cubicBezTo>
                  <a:pt x="826894" y="25078"/>
                  <a:pt x="826439" y="21069"/>
                  <a:pt x="824455" y="17763"/>
                </a:cubicBezTo>
                <a:cubicBezTo>
                  <a:pt x="821690" y="13155"/>
                  <a:pt x="810247" y="4945"/>
                  <a:pt x="806167" y="3132"/>
                </a:cubicBezTo>
                <a:cubicBezTo>
                  <a:pt x="799121" y="0"/>
                  <a:pt x="794585" y="1303"/>
                  <a:pt x="787879" y="3132"/>
                </a:cubicBez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9" name="Title 1"/>
          <p:cNvSpPr txBox="1">
            <a:spLocks/>
          </p:cNvSpPr>
          <p:nvPr/>
        </p:nvSpPr>
        <p:spPr>
          <a:xfrm rot="17259322">
            <a:off x="4060037" y="1870345"/>
            <a:ext cx="1784351" cy="43973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600" dirty="0" err="1">
                <a:latin typeface="Ramabhadra" pitchFamily="2" charset="0"/>
                <a:ea typeface="+mj-ea"/>
                <a:cs typeface="Ramabhadra" pitchFamily="2" charset="0"/>
              </a:rPr>
              <a:t>స్వీడన్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30" name="Freeform 129"/>
          <p:cNvSpPr/>
          <p:nvPr/>
        </p:nvSpPr>
        <p:spPr>
          <a:xfrm>
            <a:off x="3981456" y="569390"/>
            <a:ext cx="1927225" cy="2169583"/>
          </a:xfrm>
          <a:custGeom>
            <a:avLst/>
            <a:gdLst>
              <a:gd name="connsiteX0" fmla="*/ 525303 w 1927462"/>
              <a:gd name="connsiteY0" fmla="*/ 2049995 h 2169020"/>
              <a:gd name="connsiteX1" fmla="*/ 521646 w 1927462"/>
              <a:gd name="connsiteY1" fmla="*/ 2006103 h 2169020"/>
              <a:gd name="connsiteX2" fmla="*/ 517988 w 1927462"/>
              <a:gd name="connsiteY2" fmla="*/ 1995131 h 2169020"/>
              <a:gd name="connsiteX3" fmla="*/ 503358 w 1927462"/>
              <a:gd name="connsiteY3" fmla="*/ 1976843 h 2169020"/>
              <a:gd name="connsiteX4" fmla="*/ 488727 w 1927462"/>
              <a:gd name="connsiteY4" fmla="*/ 1943924 h 2169020"/>
              <a:gd name="connsiteX5" fmla="*/ 485070 w 1927462"/>
              <a:gd name="connsiteY5" fmla="*/ 1932951 h 2169020"/>
              <a:gd name="connsiteX6" fmla="*/ 481412 w 1927462"/>
              <a:gd name="connsiteY6" fmla="*/ 1889060 h 2169020"/>
              <a:gd name="connsiteX7" fmla="*/ 474097 w 1927462"/>
              <a:gd name="connsiteY7" fmla="*/ 1903691 h 2169020"/>
              <a:gd name="connsiteX8" fmla="*/ 459466 w 1927462"/>
              <a:gd name="connsiteY8" fmla="*/ 1921979 h 2169020"/>
              <a:gd name="connsiteX9" fmla="*/ 459466 w 1927462"/>
              <a:gd name="connsiteY9" fmla="*/ 1962212 h 2169020"/>
              <a:gd name="connsiteX10" fmla="*/ 470439 w 1927462"/>
              <a:gd name="connsiteY10" fmla="*/ 1965870 h 2169020"/>
              <a:gd name="connsiteX11" fmla="*/ 466782 w 1927462"/>
              <a:gd name="connsiteY11" fmla="*/ 1995131 h 2169020"/>
              <a:gd name="connsiteX12" fmla="*/ 463124 w 1927462"/>
              <a:gd name="connsiteY12" fmla="*/ 2013419 h 2169020"/>
              <a:gd name="connsiteX13" fmla="*/ 415575 w 1927462"/>
              <a:gd name="connsiteY13" fmla="*/ 2017076 h 2169020"/>
              <a:gd name="connsiteX14" fmla="*/ 393630 w 1927462"/>
              <a:gd name="connsiteY14" fmla="*/ 2028049 h 2169020"/>
              <a:gd name="connsiteX15" fmla="*/ 360711 w 1927462"/>
              <a:gd name="connsiteY15" fmla="*/ 2046337 h 2169020"/>
              <a:gd name="connsiteX16" fmla="*/ 338766 w 1927462"/>
              <a:gd name="connsiteY16" fmla="*/ 2064625 h 2169020"/>
              <a:gd name="connsiteX17" fmla="*/ 331450 w 1927462"/>
              <a:gd name="connsiteY17" fmla="*/ 2071940 h 2169020"/>
              <a:gd name="connsiteX18" fmla="*/ 309505 w 1927462"/>
              <a:gd name="connsiteY18" fmla="*/ 2082913 h 2169020"/>
              <a:gd name="connsiteX19" fmla="*/ 302190 w 1927462"/>
              <a:gd name="connsiteY19" fmla="*/ 2093886 h 2169020"/>
              <a:gd name="connsiteX20" fmla="*/ 294874 w 1927462"/>
              <a:gd name="connsiteY20" fmla="*/ 2101201 h 2169020"/>
              <a:gd name="connsiteX21" fmla="*/ 269271 w 1927462"/>
              <a:gd name="connsiteY21" fmla="*/ 2130462 h 2169020"/>
              <a:gd name="connsiteX22" fmla="*/ 258298 w 1927462"/>
              <a:gd name="connsiteY22" fmla="*/ 2134119 h 2169020"/>
              <a:gd name="connsiteX23" fmla="*/ 240010 w 1927462"/>
              <a:gd name="connsiteY23" fmla="*/ 2148750 h 2169020"/>
              <a:gd name="connsiteX24" fmla="*/ 199777 w 1927462"/>
              <a:gd name="connsiteY24" fmla="*/ 2159723 h 2169020"/>
              <a:gd name="connsiteX25" fmla="*/ 188804 w 1927462"/>
              <a:gd name="connsiteY25" fmla="*/ 2167038 h 2169020"/>
              <a:gd name="connsiteX26" fmla="*/ 148570 w 1927462"/>
              <a:gd name="connsiteY26" fmla="*/ 2148750 h 2169020"/>
              <a:gd name="connsiteX27" fmla="*/ 137598 w 1927462"/>
              <a:gd name="connsiteY27" fmla="*/ 2141435 h 2169020"/>
              <a:gd name="connsiteX28" fmla="*/ 126625 w 1927462"/>
              <a:gd name="connsiteY28" fmla="*/ 2134119 h 2169020"/>
              <a:gd name="connsiteX29" fmla="*/ 122967 w 1927462"/>
              <a:gd name="connsiteY29" fmla="*/ 2123147 h 2169020"/>
              <a:gd name="connsiteX30" fmla="*/ 115652 w 1927462"/>
              <a:gd name="connsiteY30" fmla="*/ 2115831 h 2169020"/>
              <a:gd name="connsiteX31" fmla="*/ 93706 w 1927462"/>
              <a:gd name="connsiteY31" fmla="*/ 2101201 h 2169020"/>
              <a:gd name="connsiteX32" fmla="*/ 82734 w 1927462"/>
              <a:gd name="connsiteY32" fmla="*/ 2093886 h 2169020"/>
              <a:gd name="connsiteX33" fmla="*/ 68103 w 1927462"/>
              <a:gd name="connsiteY33" fmla="*/ 2079255 h 2169020"/>
              <a:gd name="connsiteX34" fmla="*/ 57130 w 1927462"/>
              <a:gd name="connsiteY34" fmla="*/ 2068283 h 2169020"/>
              <a:gd name="connsiteX35" fmla="*/ 46158 w 1927462"/>
              <a:gd name="connsiteY35" fmla="*/ 2064625 h 2169020"/>
              <a:gd name="connsiteX36" fmla="*/ 35185 w 1927462"/>
              <a:gd name="connsiteY36" fmla="*/ 2042679 h 2169020"/>
              <a:gd name="connsiteX37" fmla="*/ 27870 w 1927462"/>
              <a:gd name="connsiteY37" fmla="*/ 2031707 h 2169020"/>
              <a:gd name="connsiteX38" fmla="*/ 20554 w 1927462"/>
              <a:gd name="connsiteY38" fmla="*/ 2009761 h 2169020"/>
              <a:gd name="connsiteX39" fmla="*/ 24212 w 1927462"/>
              <a:gd name="connsiteY39" fmla="*/ 1980500 h 2169020"/>
              <a:gd name="connsiteX40" fmla="*/ 46158 w 1927462"/>
              <a:gd name="connsiteY40" fmla="*/ 1976843 h 2169020"/>
              <a:gd name="connsiteX41" fmla="*/ 53473 w 1927462"/>
              <a:gd name="connsiteY41" fmla="*/ 1965870 h 2169020"/>
              <a:gd name="connsiteX42" fmla="*/ 71761 w 1927462"/>
              <a:gd name="connsiteY42" fmla="*/ 1951239 h 2169020"/>
              <a:gd name="connsiteX43" fmla="*/ 79076 w 1927462"/>
              <a:gd name="connsiteY43" fmla="*/ 1940267 h 2169020"/>
              <a:gd name="connsiteX44" fmla="*/ 82734 w 1927462"/>
              <a:gd name="connsiteY44" fmla="*/ 1929294 h 2169020"/>
              <a:gd name="connsiteX45" fmla="*/ 101022 w 1927462"/>
              <a:gd name="connsiteY45" fmla="*/ 1925636 h 2169020"/>
              <a:gd name="connsiteX46" fmla="*/ 86391 w 1927462"/>
              <a:gd name="connsiteY46" fmla="*/ 1921979 h 2169020"/>
              <a:gd name="connsiteX47" fmla="*/ 64446 w 1927462"/>
              <a:gd name="connsiteY47" fmla="*/ 1911006 h 2169020"/>
              <a:gd name="connsiteX48" fmla="*/ 13239 w 1927462"/>
              <a:gd name="connsiteY48" fmla="*/ 1907348 h 2169020"/>
              <a:gd name="connsiteX49" fmla="*/ 2266 w 1927462"/>
              <a:gd name="connsiteY49" fmla="*/ 1903691 h 2169020"/>
              <a:gd name="connsiteX50" fmla="*/ 16897 w 1927462"/>
              <a:gd name="connsiteY50" fmla="*/ 1878087 h 2169020"/>
              <a:gd name="connsiteX51" fmla="*/ 24212 w 1927462"/>
              <a:gd name="connsiteY51" fmla="*/ 1867115 h 2169020"/>
              <a:gd name="connsiteX52" fmla="*/ 90049 w 1927462"/>
              <a:gd name="connsiteY52" fmla="*/ 1863457 h 2169020"/>
              <a:gd name="connsiteX53" fmla="*/ 86391 w 1927462"/>
              <a:gd name="connsiteY53" fmla="*/ 1852484 h 2169020"/>
              <a:gd name="connsiteX54" fmla="*/ 82734 w 1927462"/>
              <a:gd name="connsiteY54" fmla="*/ 1834196 h 2169020"/>
              <a:gd name="connsiteX55" fmla="*/ 60788 w 1927462"/>
              <a:gd name="connsiteY55" fmla="*/ 1826881 h 2169020"/>
              <a:gd name="connsiteX56" fmla="*/ 46158 w 1927462"/>
              <a:gd name="connsiteY56" fmla="*/ 1804935 h 2169020"/>
              <a:gd name="connsiteX57" fmla="*/ 49815 w 1927462"/>
              <a:gd name="connsiteY57" fmla="*/ 1790305 h 2169020"/>
              <a:gd name="connsiteX58" fmla="*/ 115652 w 1927462"/>
              <a:gd name="connsiteY58" fmla="*/ 1786647 h 2169020"/>
              <a:gd name="connsiteX59" fmla="*/ 133940 w 1927462"/>
              <a:gd name="connsiteY59" fmla="*/ 1761044 h 2169020"/>
              <a:gd name="connsiteX60" fmla="*/ 101022 w 1927462"/>
              <a:gd name="connsiteY60" fmla="*/ 1764702 h 2169020"/>
              <a:gd name="connsiteX61" fmla="*/ 90049 w 1927462"/>
              <a:gd name="connsiteY61" fmla="*/ 1768359 h 2169020"/>
              <a:gd name="connsiteX62" fmla="*/ 38842 w 1927462"/>
              <a:gd name="connsiteY62" fmla="*/ 1757387 h 2169020"/>
              <a:gd name="connsiteX63" fmla="*/ 31527 w 1927462"/>
              <a:gd name="connsiteY63" fmla="*/ 1750071 h 2169020"/>
              <a:gd name="connsiteX64" fmla="*/ 27870 w 1927462"/>
              <a:gd name="connsiteY64" fmla="*/ 1739099 h 2169020"/>
              <a:gd name="connsiteX65" fmla="*/ 35185 w 1927462"/>
              <a:gd name="connsiteY65" fmla="*/ 1698865 h 2169020"/>
              <a:gd name="connsiteX66" fmla="*/ 42500 w 1927462"/>
              <a:gd name="connsiteY66" fmla="*/ 1687892 h 2169020"/>
              <a:gd name="connsiteX67" fmla="*/ 49815 w 1927462"/>
              <a:gd name="connsiteY67" fmla="*/ 1665947 h 2169020"/>
              <a:gd name="connsiteX68" fmla="*/ 53473 w 1927462"/>
              <a:gd name="connsiteY68" fmla="*/ 1600110 h 2169020"/>
              <a:gd name="connsiteX69" fmla="*/ 122967 w 1927462"/>
              <a:gd name="connsiteY69" fmla="*/ 1603767 h 2169020"/>
              <a:gd name="connsiteX70" fmla="*/ 144913 w 1927462"/>
              <a:gd name="connsiteY70" fmla="*/ 1614740 h 2169020"/>
              <a:gd name="connsiteX71" fmla="*/ 133940 w 1927462"/>
              <a:gd name="connsiteY71" fmla="*/ 1611083 h 2169020"/>
              <a:gd name="connsiteX72" fmla="*/ 111994 w 1927462"/>
              <a:gd name="connsiteY72" fmla="*/ 1607425 h 2169020"/>
              <a:gd name="connsiteX73" fmla="*/ 60788 w 1927462"/>
              <a:gd name="connsiteY73" fmla="*/ 1603767 h 2169020"/>
              <a:gd name="connsiteX74" fmla="*/ 53473 w 1927462"/>
              <a:gd name="connsiteY74" fmla="*/ 1592795 h 2169020"/>
              <a:gd name="connsiteX75" fmla="*/ 57130 w 1927462"/>
              <a:gd name="connsiteY75" fmla="*/ 1567191 h 2169020"/>
              <a:gd name="connsiteX76" fmla="*/ 64446 w 1927462"/>
              <a:gd name="connsiteY76" fmla="*/ 1541588 h 2169020"/>
              <a:gd name="connsiteX77" fmla="*/ 79076 w 1927462"/>
              <a:gd name="connsiteY77" fmla="*/ 1479409 h 2169020"/>
              <a:gd name="connsiteX78" fmla="*/ 111994 w 1927462"/>
              <a:gd name="connsiteY78" fmla="*/ 1483067 h 2169020"/>
              <a:gd name="connsiteX79" fmla="*/ 115652 w 1927462"/>
              <a:gd name="connsiteY79" fmla="*/ 1486724 h 2169020"/>
              <a:gd name="connsiteX80" fmla="*/ 90049 w 1927462"/>
              <a:gd name="connsiteY80" fmla="*/ 1479409 h 2169020"/>
              <a:gd name="connsiteX81" fmla="*/ 93706 w 1927462"/>
              <a:gd name="connsiteY81" fmla="*/ 1450148 h 2169020"/>
              <a:gd name="connsiteX82" fmla="*/ 104679 w 1927462"/>
              <a:gd name="connsiteY82" fmla="*/ 1446491 h 2169020"/>
              <a:gd name="connsiteX83" fmla="*/ 170516 w 1927462"/>
              <a:gd name="connsiteY83" fmla="*/ 1450148 h 2169020"/>
              <a:gd name="connsiteX84" fmla="*/ 163201 w 1927462"/>
              <a:gd name="connsiteY84" fmla="*/ 1439175 h 2169020"/>
              <a:gd name="connsiteX85" fmla="*/ 240010 w 1927462"/>
              <a:gd name="connsiteY85" fmla="*/ 1428203 h 2169020"/>
              <a:gd name="connsiteX86" fmla="*/ 247326 w 1927462"/>
              <a:gd name="connsiteY86" fmla="*/ 1435518 h 2169020"/>
              <a:gd name="connsiteX87" fmla="*/ 236353 w 1927462"/>
              <a:gd name="connsiteY87" fmla="*/ 1431860 h 2169020"/>
              <a:gd name="connsiteX88" fmla="*/ 229038 w 1927462"/>
              <a:gd name="connsiteY88" fmla="*/ 1387969 h 2169020"/>
              <a:gd name="connsiteX89" fmla="*/ 221722 w 1927462"/>
              <a:gd name="connsiteY89" fmla="*/ 1380654 h 2169020"/>
              <a:gd name="connsiteX90" fmla="*/ 214407 w 1927462"/>
              <a:gd name="connsiteY90" fmla="*/ 1369681 h 2169020"/>
              <a:gd name="connsiteX91" fmla="*/ 225380 w 1927462"/>
              <a:gd name="connsiteY91" fmla="*/ 1366023 h 2169020"/>
              <a:gd name="connsiteX92" fmla="*/ 247326 w 1927462"/>
              <a:gd name="connsiteY92" fmla="*/ 1373339 h 2169020"/>
              <a:gd name="connsiteX93" fmla="*/ 254641 w 1927462"/>
              <a:gd name="connsiteY93" fmla="*/ 1384311 h 2169020"/>
              <a:gd name="connsiteX94" fmla="*/ 276586 w 1927462"/>
              <a:gd name="connsiteY94" fmla="*/ 1395284 h 2169020"/>
              <a:gd name="connsiteX95" fmla="*/ 298532 w 1927462"/>
              <a:gd name="connsiteY95" fmla="*/ 1391627 h 2169020"/>
              <a:gd name="connsiteX96" fmla="*/ 302190 w 1927462"/>
              <a:gd name="connsiteY96" fmla="*/ 1380654 h 2169020"/>
              <a:gd name="connsiteX97" fmla="*/ 276586 w 1927462"/>
              <a:gd name="connsiteY97" fmla="*/ 1362366 h 2169020"/>
              <a:gd name="connsiteX98" fmla="*/ 261956 w 1927462"/>
              <a:gd name="connsiteY98" fmla="*/ 1358708 h 2169020"/>
              <a:gd name="connsiteX99" fmla="*/ 250983 w 1927462"/>
              <a:gd name="connsiteY99" fmla="*/ 1351393 h 2169020"/>
              <a:gd name="connsiteX100" fmla="*/ 265614 w 1927462"/>
              <a:gd name="connsiteY100" fmla="*/ 1329447 h 2169020"/>
              <a:gd name="connsiteX101" fmla="*/ 357054 w 1927462"/>
              <a:gd name="connsiteY101" fmla="*/ 1329447 h 2169020"/>
              <a:gd name="connsiteX102" fmla="*/ 368026 w 1927462"/>
              <a:gd name="connsiteY102" fmla="*/ 1325790 h 2169020"/>
              <a:gd name="connsiteX103" fmla="*/ 375342 w 1927462"/>
              <a:gd name="connsiteY103" fmla="*/ 1318475 h 2169020"/>
              <a:gd name="connsiteX104" fmla="*/ 382657 w 1927462"/>
              <a:gd name="connsiteY104" fmla="*/ 1274583 h 2169020"/>
              <a:gd name="connsiteX105" fmla="*/ 389972 w 1927462"/>
              <a:gd name="connsiteY105" fmla="*/ 1263611 h 2169020"/>
              <a:gd name="connsiteX106" fmla="*/ 448494 w 1927462"/>
              <a:gd name="connsiteY106" fmla="*/ 1259953 h 2169020"/>
              <a:gd name="connsiteX107" fmla="*/ 466782 w 1927462"/>
              <a:gd name="connsiteY107" fmla="*/ 1245323 h 2169020"/>
              <a:gd name="connsiteX108" fmla="*/ 463124 w 1927462"/>
              <a:gd name="connsiteY108" fmla="*/ 1234350 h 2169020"/>
              <a:gd name="connsiteX109" fmla="*/ 485070 w 1927462"/>
              <a:gd name="connsiteY109" fmla="*/ 1234350 h 2169020"/>
              <a:gd name="connsiteX110" fmla="*/ 488727 w 1927462"/>
              <a:gd name="connsiteY110" fmla="*/ 1248980 h 2169020"/>
              <a:gd name="connsiteX111" fmla="*/ 496042 w 1927462"/>
              <a:gd name="connsiteY111" fmla="*/ 1270926 h 2169020"/>
              <a:gd name="connsiteX112" fmla="*/ 583825 w 1927462"/>
              <a:gd name="connsiteY112" fmla="*/ 1267268 h 2169020"/>
              <a:gd name="connsiteX113" fmla="*/ 591140 w 1927462"/>
              <a:gd name="connsiteY113" fmla="*/ 1256295 h 2169020"/>
              <a:gd name="connsiteX114" fmla="*/ 594798 w 1927462"/>
              <a:gd name="connsiteY114" fmla="*/ 1230692 h 2169020"/>
              <a:gd name="connsiteX115" fmla="*/ 602113 w 1927462"/>
              <a:gd name="connsiteY115" fmla="*/ 1208747 h 2169020"/>
              <a:gd name="connsiteX116" fmla="*/ 605770 w 1927462"/>
              <a:gd name="connsiteY116" fmla="*/ 1197774 h 2169020"/>
              <a:gd name="connsiteX117" fmla="*/ 609428 w 1927462"/>
              <a:gd name="connsiteY117" fmla="*/ 1186801 h 2169020"/>
              <a:gd name="connsiteX118" fmla="*/ 613086 w 1927462"/>
              <a:gd name="connsiteY118" fmla="*/ 1175828 h 2169020"/>
              <a:gd name="connsiteX119" fmla="*/ 594798 w 1927462"/>
              <a:gd name="connsiteY119" fmla="*/ 1161198 h 2169020"/>
              <a:gd name="connsiteX120" fmla="*/ 576510 w 1927462"/>
              <a:gd name="connsiteY120" fmla="*/ 1194116 h 2169020"/>
              <a:gd name="connsiteX121" fmla="*/ 554564 w 1927462"/>
              <a:gd name="connsiteY121" fmla="*/ 1201431 h 2169020"/>
              <a:gd name="connsiteX122" fmla="*/ 485070 w 1927462"/>
              <a:gd name="connsiteY122" fmla="*/ 1205089 h 2169020"/>
              <a:gd name="connsiteX123" fmla="*/ 481412 w 1927462"/>
              <a:gd name="connsiteY123" fmla="*/ 1194116 h 2169020"/>
              <a:gd name="connsiteX124" fmla="*/ 488727 w 1927462"/>
              <a:gd name="connsiteY124" fmla="*/ 1183143 h 2169020"/>
              <a:gd name="connsiteX125" fmla="*/ 517988 w 1927462"/>
              <a:gd name="connsiteY125" fmla="*/ 1175828 h 2169020"/>
              <a:gd name="connsiteX126" fmla="*/ 528961 w 1927462"/>
              <a:gd name="connsiteY126" fmla="*/ 1172171 h 2169020"/>
              <a:gd name="connsiteX127" fmla="*/ 539934 w 1927462"/>
              <a:gd name="connsiteY127" fmla="*/ 1164855 h 2169020"/>
              <a:gd name="connsiteX128" fmla="*/ 543591 w 1927462"/>
              <a:gd name="connsiteY128" fmla="*/ 1153883 h 2169020"/>
              <a:gd name="connsiteX129" fmla="*/ 550906 w 1927462"/>
              <a:gd name="connsiteY129" fmla="*/ 1146567 h 2169020"/>
              <a:gd name="connsiteX130" fmla="*/ 554564 w 1927462"/>
              <a:gd name="connsiteY130" fmla="*/ 1135595 h 2169020"/>
              <a:gd name="connsiteX131" fmla="*/ 558222 w 1927462"/>
              <a:gd name="connsiteY131" fmla="*/ 1120964 h 2169020"/>
              <a:gd name="connsiteX132" fmla="*/ 569194 w 1927462"/>
              <a:gd name="connsiteY132" fmla="*/ 1109991 h 2169020"/>
              <a:gd name="connsiteX133" fmla="*/ 656977 w 1927462"/>
              <a:gd name="connsiteY133" fmla="*/ 1109991 h 2169020"/>
              <a:gd name="connsiteX134" fmla="*/ 667950 w 1927462"/>
              <a:gd name="connsiteY134" fmla="*/ 1102676 h 2169020"/>
              <a:gd name="connsiteX135" fmla="*/ 664292 w 1927462"/>
              <a:gd name="connsiteY135" fmla="*/ 1084388 h 2169020"/>
              <a:gd name="connsiteX136" fmla="*/ 653319 w 1927462"/>
              <a:gd name="connsiteY136" fmla="*/ 1080731 h 2169020"/>
              <a:gd name="connsiteX137" fmla="*/ 646004 w 1927462"/>
              <a:gd name="connsiteY137" fmla="*/ 1073415 h 2169020"/>
              <a:gd name="connsiteX138" fmla="*/ 649662 w 1927462"/>
              <a:gd name="connsiteY138" fmla="*/ 1040497 h 2169020"/>
              <a:gd name="connsiteX139" fmla="*/ 660634 w 1927462"/>
              <a:gd name="connsiteY139" fmla="*/ 1029524 h 2169020"/>
              <a:gd name="connsiteX140" fmla="*/ 664292 w 1927462"/>
              <a:gd name="connsiteY140" fmla="*/ 1018551 h 2169020"/>
              <a:gd name="connsiteX141" fmla="*/ 671607 w 1927462"/>
              <a:gd name="connsiteY141" fmla="*/ 1007579 h 2169020"/>
              <a:gd name="connsiteX142" fmla="*/ 686238 w 1927462"/>
              <a:gd name="connsiteY142" fmla="*/ 992948 h 2169020"/>
              <a:gd name="connsiteX143" fmla="*/ 678922 w 1927462"/>
              <a:gd name="connsiteY143" fmla="*/ 985633 h 2169020"/>
              <a:gd name="connsiteX144" fmla="*/ 664292 w 1927462"/>
              <a:gd name="connsiteY144" fmla="*/ 981975 h 2169020"/>
              <a:gd name="connsiteX145" fmla="*/ 686238 w 1927462"/>
              <a:gd name="connsiteY145" fmla="*/ 967345 h 2169020"/>
              <a:gd name="connsiteX146" fmla="*/ 689895 w 1927462"/>
              <a:gd name="connsiteY146" fmla="*/ 956372 h 2169020"/>
              <a:gd name="connsiteX147" fmla="*/ 704526 w 1927462"/>
              <a:gd name="connsiteY147" fmla="*/ 938084 h 2169020"/>
              <a:gd name="connsiteX148" fmla="*/ 711841 w 1927462"/>
              <a:gd name="connsiteY148" fmla="*/ 923454 h 2169020"/>
              <a:gd name="connsiteX149" fmla="*/ 715498 w 1927462"/>
              <a:gd name="connsiteY149" fmla="*/ 912481 h 2169020"/>
              <a:gd name="connsiteX150" fmla="*/ 733786 w 1927462"/>
              <a:gd name="connsiteY150" fmla="*/ 897851 h 2169020"/>
              <a:gd name="connsiteX151" fmla="*/ 744759 w 1927462"/>
              <a:gd name="connsiteY151" fmla="*/ 875905 h 2169020"/>
              <a:gd name="connsiteX152" fmla="*/ 748417 w 1927462"/>
              <a:gd name="connsiteY152" fmla="*/ 846644 h 2169020"/>
              <a:gd name="connsiteX153" fmla="*/ 770362 w 1927462"/>
              <a:gd name="connsiteY153" fmla="*/ 839329 h 2169020"/>
              <a:gd name="connsiteX154" fmla="*/ 777678 w 1927462"/>
              <a:gd name="connsiteY154" fmla="*/ 832014 h 2169020"/>
              <a:gd name="connsiteX155" fmla="*/ 784993 w 1927462"/>
              <a:gd name="connsiteY155" fmla="*/ 799095 h 2169020"/>
              <a:gd name="connsiteX156" fmla="*/ 792308 w 1927462"/>
              <a:gd name="connsiteY156" fmla="*/ 788123 h 2169020"/>
              <a:gd name="connsiteX157" fmla="*/ 795966 w 1927462"/>
              <a:gd name="connsiteY157" fmla="*/ 777150 h 2169020"/>
              <a:gd name="connsiteX158" fmla="*/ 803281 w 1927462"/>
              <a:gd name="connsiteY158" fmla="*/ 751547 h 2169020"/>
              <a:gd name="connsiteX159" fmla="*/ 814254 w 1927462"/>
              <a:gd name="connsiteY159" fmla="*/ 747889 h 2169020"/>
              <a:gd name="connsiteX160" fmla="*/ 821569 w 1927462"/>
              <a:gd name="connsiteY160" fmla="*/ 736916 h 2169020"/>
              <a:gd name="connsiteX161" fmla="*/ 828884 w 1927462"/>
              <a:gd name="connsiteY161" fmla="*/ 714971 h 2169020"/>
              <a:gd name="connsiteX162" fmla="*/ 832542 w 1927462"/>
              <a:gd name="connsiteY162" fmla="*/ 689367 h 2169020"/>
              <a:gd name="connsiteX163" fmla="*/ 861802 w 1927462"/>
              <a:gd name="connsiteY163" fmla="*/ 682052 h 2169020"/>
              <a:gd name="connsiteX164" fmla="*/ 869118 w 1927462"/>
              <a:gd name="connsiteY164" fmla="*/ 674737 h 2169020"/>
              <a:gd name="connsiteX165" fmla="*/ 876433 w 1927462"/>
              <a:gd name="connsiteY165" fmla="*/ 652791 h 2169020"/>
              <a:gd name="connsiteX166" fmla="*/ 894721 w 1927462"/>
              <a:gd name="connsiteY166" fmla="*/ 634503 h 2169020"/>
              <a:gd name="connsiteX167" fmla="*/ 898378 w 1927462"/>
              <a:gd name="connsiteY167" fmla="*/ 623531 h 2169020"/>
              <a:gd name="connsiteX168" fmla="*/ 938612 w 1927462"/>
              <a:gd name="connsiteY168" fmla="*/ 612558 h 2169020"/>
              <a:gd name="connsiteX169" fmla="*/ 942270 w 1927462"/>
              <a:gd name="connsiteY169" fmla="*/ 601585 h 2169020"/>
              <a:gd name="connsiteX170" fmla="*/ 942270 w 1927462"/>
              <a:gd name="connsiteY170" fmla="*/ 528433 h 2169020"/>
              <a:gd name="connsiteX171" fmla="*/ 953242 w 1927462"/>
              <a:gd name="connsiteY171" fmla="*/ 524775 h 2169020"/>
              <a:gd name="connsiteX172" fmla="*/ 964215 w 1927462"/>
              <a:gd name="connsiteY172" fmla="*/ 517460 h 2169020"/>
              <a:gd name="connsiteX173" fmla="*/ 986161 w 1927462"/>
              <a:gd name="connsiteY173" fmla="*/ 510145 h 2169020"/>
              <a:gd name="connsiteX174" fmla="*/ 997134 w 1927462"/>
              <a:gd name="connsiteY174" fmla="*/ 499172 h 2169020"/>
              <a:gd name="connsiteX175" fmla="*/ 1008106 w 1927462"/>
              <a:gd name="connsiteY175" fmla="*/ 477227 h 2169020"/>
              <a:gd name="connsiteX176" fmla="*/ 1019079 w 1927462"/>
              <a:gd name="connsiteY176" fmla="*/ 473569 h 2169020"/>
              <a:gd name="connsiteX177" fmla="*/ 1030052 w 1927462"/>
              <a:gd name="connsiteY177" fmla="*/ 451623 h 2169020"/>
              <a:gd name="connsiteX178" fmla="*/ 1092231 w 1927462"/>
              <a:gd name="connsiteY178" fmla="*/ 440651 h 2169020"/>
              <a:gd name="connsiteX179" fmla="*/ 1092231 w 1927462"/>
              <a:gd name="connsiteY179" fmla="*/ 404075 h 2169020"/>
              <a:gd name="connsiteX180" fmla="*/ 1077601 w 1927462"/>
              <a:gd name="connsiteY180" fmla="*/ 400417 h 2169020"/>
              <a:gd name="connsiteX181" fmla="*/ 1055655 w 1927462"/>
              <a:gd name="connsiteY181" fmla="*/ 393102 h 2169020"/>
              <a:gd name="connsiteX182" fmla="*/ 1048340 w 1927462"/>
              <a:gd name="connsiteY182" fmla="*/ 382129 h 2169020"/>
              <a:gd name="connsiteX183" fmla="*/ 1048340 w 1927462"/>
              <a:gd name="connsiteY183" fmla="*/ 341895 h 2169020"/>
              <a:gd name="connsiteX184" fmla="*/ 1070286 w 1927462"/>
              <a:gd name="connsiteY184" fmla="*/ 316292 h 2169020"/>
              <a:gd name="connsiteX185" fmla="*/ 1077601 w 1927462"/>
              <a:gd name="connsiteY185" fmla="*/ 305319 h 2169020"/>
              <a:gd name="connsiteX186" fmla="*/ 1099546 w 1927462"/>
              <a:gd name="connsiteY186" fmla="*/ 298004 h 2169020"/>
              <a:gd name="connsiteX187" fmla="*/ 1110519 w 1927462"/>
              <a:gd name="connsiteY187" fmla="*/ 294347 h 2169020"/>
              <a:gd name="connsiteX188" fmla="*/ 1117834 w 1927462"/>
              <a:gd name="connsiteY188" fmla="*/ 287031 h 2169020"/>
              <a:gd name="connsiteX189" fmla="*/ 1139780 w 1927462"/>
              <a:gd name="connsiteY189" fmla="*/ 272401 h 2169020"/>
              <a:gd name="connsiteX190" fmla="*/ 1169041 w 1927462"/>
              <a:gd name="connsiteY190" fmla="*/ 276059 h 2169020"/>
              <a:gd name="connsiteX191" fmla="*/ 1190986 w 1927462"/>
              <a:gd name="connsiteY191" fmla="*/ 283374 h 2169020"/>
              <a:gd name="connsiteX192" fmla="*/ 1198302 w 1927462"/>
              <a:gd name="connsiteY192" fmla="*/ 276059 h 2169020"/>
              <a:gd name="connsiteX193" fmla="*/ 1198302 w 1927462"/>
              <a:gd name="connsiteY193" fmla="*/ 228510 h 2169020"/>
              <a:gd name="connsiteX194" fmla="*/ 1212932 w 1927462"/>
              <a:gd name="connsiteY194" fmla="*/ 188276 h 2169020"/>
              <a:gd name="connsiteX195" fmla="*/ 1223905 w 1927462"/>
              <a:gd name="connsiteY195" fmla="*/ 184619 h 2169020"/>
              <a:gd name="connsiteX196" fmla="*/ 1253166 w 1927462"/>
              <a:gd name="connsiteY196" fmla="*/ 188276 h 2169020"/>
              <a:gd name="connsiteX197" fmla="*/ 1260481 w 1927462"/>
              <a:gd name="connsiteY197" fmla="*/ 199249 h 2169020"/>
              <a:gd name="connsiteX198" fmla="*/ 1264138 w 1927462"/>
              <a:gd name="connsiteY198" fmla="*/ 210222 h 2169020"/>
              <a:gd name="connsiteX199" fmla="*/ 1267796 w 1927462"/>
              <a:gd name="connsiteY199" fmla="*/ 224852 h 2169020"/>
              <a:gd name="connsiteX200" fmla="*/ 1278769 w 1927462"/>
              <a:gd name="connsiteY200" fmla="*/ 232167 h 2169020"/>
              <a:gd name="connsiteX201" fmla="*/ 1286084 w 1927462"/>
              <a:gd name="connsiteY201" fmla="*/ 221195 h 2169020"/>
              <a:gd name="connsiteX202" fmla="*/ 1340948 w 1927462"/>
              <a:gd name="connsiteY202" fmla="*/ 210222 h 2169020"/>
              <a:gd name="connsiteX203" fmla="*/ 1344606 w 1927462"/>
              <a:gd name="connsiteY203" fmla="*/ 199249 h 2169020"/>
              <a:gd name="connsiteX204" fmla="*/ 1337290 w 1927462"/>
              <a:gd name="connsiteY204" fmla="*/ 191934 h 2169020"/>
              <a:gd name="connsiteX205" fmla="*/ 1333633 w 1927462"/>
              <a:gd name="connsiteY205" fmla="*/ 180961 h 2169020"/>
              <a:gd name="connsiteX206" fmla="*/ 1337290 w 1927462"/>
              <a:gd name="connsiteY206" fmla="*/ 155358 h 2169020"/>
              <a:gd name="connsiteX207" fmla="*/ 1348263 w 1927462"/>
              <a:gd name="connsiteY207" fmla="*/ 151700 h 2169020"/>
              <a:gd name="connsiteX208" fmla="*/ 1377524 w 1927462"/>
              <a:gd name="connsiteY208" fmla="*/ 148043 h 2169020"/>
              <a:gd name="connsiteX209" fmla="*/ 1373866 w 1927462"/>
              <a:gd name="connsiteY209" fmla="*/ 122439 h 2169020"/>
              <a:gd name="connsiteX210" fmla="*/ 1370209 w 1927462"/>
              <a:gd name="connsiteY210" fmla="*/ 78548 h 2169020"/>
              <a:gd name="connsiteX211" fmla="*/ 1384839 w 1927462"/>
              <a:gd name="connsiteY211" fmla="*/ 67575 h 2169020"/>
              <a:gd name="connsiteX212" fmla="*/ 1410442 w 1927462"/>
              <a:gd name="connsiteY212" fmla="*/ 49287 h 2169020"/>
              <a:gd name="connsiteX213" fmla="*/ 1417758 w 1927462"/>
              <a:gd name="connsiteY213" fmla="*/ 41972 h 2169020"/>
              <a:gd name="connsiteX214" fmla="*/ 1425073 w 1927462"/>
              <a:gd name="connsiteY214" fmla="*/ 52945 h 2169020"/>
              <a:gd name="connsiteX215" fmla="*/ 1439703 w 1927462"/>
              <a:gd name="connsiteY215" fmla="*/ 166331 h 2169020"/>
              <a:gd name="connsiteX216" fmla="*/ 1461649 w 1927462"/>
              <a:gd name="connsiteY216" fmla="*/ 162673 h 2169020"/>
              <a:gd name="connsiteX217" fmla="*/ 1468964 w 1927462"/>
              <a:gd name="connsiteY217" fmla="*/ 151700 h 2169020"/>
              <a:gd name="connsiteX218" fmla="*/ 1472622 w 1927462"/>
              <a:gd name="connsiteY218" fmla="*/ 115124 h 2169020"/>
              <a:gd name="connsiteX219" fmla="*/ 1483594 w 1927462"/>
              <a:gd name="connsiteY219" fmla="*/ 104151 h 2169020"/>
              <a:gd name="connsiteX220" fmla="*/ 1505540 w 1927462"/>
              <a:gd name="connsiteY220" fmla="*/ 96836 h 2169020"/>
              <a:gd name="connsiteX221" fmla="*/ 1512855 w 1927462"/>
              <a:gd name="connsiteY221" fmla="*/ 85863 h 2169020"/>
              <a:gd name="connsiteX222" fmla="*/ 1512855 w 1927462"/>
              <a:gd name="connsiteY222" fmla="*/ 30999 h 2169020"/>
              <a:gd name="connsiteX223" fmla="*/ 1523828 w 1927462"/>
              <a:gd name="connsiteY223" fmla="*/ 23684 h 2169020"/>
              <a:gd name="connsiteX224" fmla="*/ 1564062 w 1927462"/>
              <a:gd name="connsiteY224" fmla="*/ 16369 h 2169020"/>
              <a:gd name="connsiteX225" fmla="*/ 1567719 w 1927462"/>
              <a:gd name="connsiteY225" fmla="*/ 1739 h 2169020"/>
              <a:gd name="connsiteX226" fmla="*/ 1575034 w 1927462"/>
              <a:gd name="connsiteY226" fmla="*/ 12711 h 2169020"/>
              <a:gd name="connsiteX227" fmla="*/ 1564062 w 1927462"/>
              <a:gd name="connsiteY227" fmla="*/ 89521 h 2169020"/>
              <a:gd name="connsiteX228" fmla="*/ 1556746 w 1927462"/>
              <a:gd name="connsiteY228" fmla="*/ 96836 h 2169020"/>
              <a:gd name="connsiteX229" fmla="*/ 1556746 w 1927462"/>
              <a:gd name="connsiteY229" fmla="*/ 129755 h 2169020"/>
              <a:gd name="connsiteX230" fmla="*/ 1567719 w 1927462"/>
              <a:gd name="connsiteY230" fmla="*/ 133412 h 2169020"/>
              <a:gd name="connsiteX231" fmla="*/ 1600638 w 1927462"/>
              <a:gd name="connsiteY231" fmla="*/ 129755 h 2169020"/>
              <a:gd name="connsiteX232" fmla="*/ 1604295 w 1927462"/>
              <a:gd name="connsiteY232" fmla="*/ 118782 h 2169020"/>
              <a:gd name="connsiteX233" fmla="*/ 1607953 w 1927462"/>
              <a:gd name="connsiteY233" fmla="*/ 30999 h 2169020"/>
              <a:gd name="connsiteX234" fmla="*/ 1629898 w 1927462"/>
              <a:gd name="connsiteY234" fmla="*/ 23684 h 2169020"/>
              <a:gd name="connsiteX235" fmla="*/ 1648186 w 1927462"/>
              <a:gd name="connsiteY235" fmla="*/ 30999 h 2169020"/>
              <a:gd name="connsiteX236" fmla="*/ 1651844 w 1927462"/>
              <a:gd name="connsiteY236" fmla="*/ 41972 h 2169020"/>
              <a:gd name="connsiteX237" fmla="*/ 1655502 w 1927462"/>
              <a:gd name="connsiteY237" fmla="*/ 63918 h 2169020"/>
              <a:gd name="connsiteX238" fmla="*/ 1670132 w 1927462"/>
              <a:gd name="connsiteY238" fmla="*/ 67575 h 2169020"/>
              <a:gd name="connsiteX239" fmla="*/ 1681105 w 1927462"/>
              <a:gd name="connsiteY239" fmla="*/ 45630 h 2169020"/>
              <a:gd name="connsiteX240" fmla="*/ 1673790 w 1927462"/>
              <a:gd name="connsiteY240" fmla="*/ 12711 h 2169020"/>
              <a:gd name="connsiteX241" fmla="*/ 1677447 w 1927462"/>
              <a:gd name="connsiteY241" fmla="*/ 1739 h 2169020"/>
              <a:gd name="connsiteX242" fmla="*/ 1710366 w 1927462"/>
              <a:gd name="connsiteY242" fmla="*/ 16369 h 2169020"/>
              <a:gd name="connsiteX243" fmla="*/ 1717681 w 1927462"/>
              <a:gd name="connsiteY243" fmla="*/ 27342 h 2169020"/>
              <a:gd name="connsiteX244" fmla="*/ 1739626 w 1927462"/>
              <a:gd name="connsiteY244" fmla="*/ 41972 h 2169020"/>
              <a:gd name="connsiteX245" fmla="*/ 1754257 w 1927462"/>
              <a:gd name="connsiteY245" fmla="*/ 38315 h 2169020"/>
              <a:gd name="connsiteX246" fmla="*/ 1768887 w 1927462"/>
              <a:gd name="connsiteY246" fmla="*/ 20027 h 2169020"/>
              <a:gd name="connsiteX247" fmla="*/ 1783518 w 1927462"/>
              <a:gd name="connsiteY247" fmla="*/ 16369 h 2169020"/>
              <a:gd name="connsiteX248" fmla="*/ 1838382 w 1927462"/>
              <a:gd name="connsiteY248" fmla="*/ 27342 h 2169020"/>
              <a:gd name="connsiteX249" fmla="*/ 1860327 w 1927462"/>
              <a:gd name="connsiteY249" fmla="*/ 34657 h 2169020"/>
              <a:gd name="connsiteX250" fmla="*/ 1882273 w 1927462"/>
              <a:gd name="connsiteY250" fmla="*/ 45630 h 2169020"/>
              <a:gd name="connsiteX251" fmla="*/ 1882273 w 1927462"/>
              <a:gd name="connsiteY251" fmla="*/ 100494 h 2169020"/>
              <a:gd name="connsiteX252" fmla="*/ 1838382 w 1927462"/>
              <a:gd name="connsiteY252" fmla="*/ 122439 h 2169020"/>
              <a:gd name="connsiteX253" fmla="*/ 1827409 w 1927462"/>
              <a:gd name="connsiteY253" fmla="*/ 126097 h 2169020"/>
              <a:gd name="connsiteX254" fmla="*/ 1816436 w 1927462"/>
              <a:gd name="connsiteY254" fmla="*/ 148043 h 2169020"/>
              <a:gd name="connsiteX255" fmla="*/ 1820094 w 1927462"/>
              <a:gd name="connsiteY255" fmla="*/ 159015 h 2169020"/>
              <a:gd name="connsiteX256" fmla="*/ 1845697 w 1927462"/>
              <a:gd name="connsiteY256" fmla="*/ 166331 h 2169020"/>
              <a:gd name="connsiteX257" fmla="*/ 1907876 w 1927462"/>
              <a:gd name="connsiteY257" fmla="*/ 177303 h 2169020"/>
              <a:gd name="connsiteX258" fmla="*/ 1915191 w 1927462"/>
              <a:gd name="connsiteY258" fmla="*/ 184619 h 2169020"/>
              <a:gd name="connsiteX259" fmla="*/ 1918849 w 1927462"/>
              <a:gd name="connsiteY259" fmla="*/ 206564 h 2169020"/>
              <a:gd name="connsiteX260" fmla="*/ 1907876 w 1927462"/>
              <a:gd name="connsiteY260" fmla="*/ 210222 h 2169020"/>
              <a:gd name="connsiteX261" fmla="*/ 1885930 w 1927462"/>
              <a:gd name="connsiteY261" fmla="*/ 232167 h 2169020"/>
              <a:gd name="connsiteX262" fmla="*/ 1871300 w 1927462"/>
              <a:gd name="connsiteY262" fmla="*/ 254113 h 2169020"/>
              <a:gd name="connsiteX263" fmla="*/ 1867642 w 1927462"/>
              <a:gd name="connsiteY263" fmla="*/ 265086 h 2169020"/>
              <a:gd name="connsiteX264" fmla="*/ 1856670 w 1927462"/>
              <a:gd name="connsiteY264" fmla="*/ 276059 h 2169020"/>
              <a:gd name="connsiteX265" fmla="*/ 1845697 w 1927462"/>
              <a:gd name="connsiteY265" fmla="*/ 294347 h 2169020"/>
              <a:gd name="connsiteX266" fmla="*/ 1820094 w 1927462"/>
              <a:gd name="connsiteY266" fmla="*/ 319950 h 2169020"/>
              <a:gd name="connsiteX267" fmla="*/ 1809121 w 1927462"/>
              <a:gd name="connsiteY267" fmla="*/ 312635 h 2169020"/>
              <a:gd name="connsiteX268" fmla="*/ 1816436 w 1927462"/>
              <a:gd name="connsiteY268" fmla="*/ 268743 h 2169020"/>
              <a:gd name="connsiteX269" fmla="*/ 1812778 w 1927462"/>
              <a:gd name="connsiteY269" fmla="*/ 195591 h 2169020"/>
              <a:gd name="connsiteX270" fmla="*/ 1809121 w 1927462"/>
              <a:gd name="connsiteY270" fmla="*/ 184619 h 2169020"/>
              <a:gd name="connsiteX271" fmla="*/ 1801806 w 1927462"/>
              <a:gd name="connsiteY271" fmla="*/ 177303 h 2169020"/>
              <a:gd name="connsiteX272" fmla="*/ 1790833 w 1927462"/>
              <a:gd name="connsiteY272" fmla="*/ 159015 h 2169020"/>
              <a:gd name="connsiteX273" fmla="*/ 1779860 w 1927462"/>
              <a:gd name="connsiteY273" fmla="*/ 155358 h 2169020"/>
              <a:gd name="connsiteX274" fmla="*/ 1692078 w 1927462"/>
              <a:gd name="connsiteY274" fmla="*/ 159015 h 2169020"/>
              <a:gd name="connsiteX275" fmla="*/ 1681105 w 1927462"/>
              <a:gd name="connsiteY275" fmla="*/ 162673 h 2169020"/>
              <a:gd name="connsiteX276" fmla="*/ 1673790 w 1927462"/>
              <a:gd name="connsiteY276" fmla="*/ 173646 h 2169020"/>
              <a:gd name="connsiteX277" fmla="*/ 1666474 w 1927462"/>
              <a:gd name="connsiteY277" fmla="*/ 180961 h 2169020"/>
              <a:gd name="connsiteX278" fmla="*/ 1662817 w 1927462"/>
              <a:gd name="connsiteY278" fmla="*/ 195591 h 2169020"/>
              <a:gd name="connsiteX279" fmla="*/ 1655502 w 1927462"/>
              <a:gd name="connsiteY279" fmla="*/ 217537 h 2169020"/>
              <a:gd name="connsiteX280" fmla="*/ 1648186 w 1927462"/>
              <a:gd name="connsiteY280" fmla="*/ 243140 h 2169020"/>
              <a:gd name="connsiteX281" fmla="*/ 1644529 w 1927462"/>
              <a:gd name="connsiteY281" fmla="*/ 287031 h 2169020"/>
              <a:gd name="connsiteX282" fmla="*/ 1629898 w 1927462"/>
              <a:gd name="connsiteY282" fmla="*/ 338238 h 2169020"/>
              <a:gd name="connsiteX283" fmla="*/ 1626241 w 1927462"/>
              <a:gd name="connsiteY283" fmla="*/ 349211 h 2169020"/>
              <a:gd name="connsiteX284" fmla="*/ 1622583 w 1927462"/>
              <a:gd name="connsiteY284" fmla="*/ 363841 h 2169020"/>
              <a:gd name="connsiteX285" fmla="*/ 1615268 w 1927462"/>
              <a:gd name="connsiteY285" fmla="*/ 385787 h 2169020"/>
              <a:gd name="connsiteX286" fmla="*/ 1593322 w 1927462"/>
              <a:gd name="connsiteY286" fmla="*/ 396759 h 2169020"/>
              <a:gd name="connsiteX287" fmla="*/ 1571377 w 1927462"/>
              <a:gd name="connsiteY287" fmla="*/ 393102 h 2169020"/>
              <a:gd name="connsiteX288" fmla="*/ 1564062 w 1927462"/>
              <a:gd name="connsiteY288" fmla="*/ 382129 h 2169020"/>
              <a:gd name="connsiteX289" fmla="*/ 1556746 w 1927462"/>
              <a:gd name="connsiteY289" fmla="*/ 374814 h 2169020"/>
              <a:gd name="connsiteX290" fmla="*/ 1520170 w 1927462"/>
              <a:gd name="connsiteY290" fmla="*/ 378471 h 2169020"/>
              <a:gd name="connsiteX291" fmla="*/ 1512855 w 1927462"/>
              <a:gd name="connsiteY291" fmla="*/ 385787 h 2169020"/>
              <a:gd name="connsiteX292" fmla="*/ 1454334 w 1927462"/>
              <a:gd name="connsiteY292" fmla="*/ 382129 h 2169020"/>
              <a:gd name="connsiteX293" fmla="*/ 1432388 w 1927462"/>
              <a:gd name="connsiteY293" fmla="*/ 374814 h 2169020"/>
              <a:gd name="connsiteX294" fmla="*/ 1421415 w 1927462"/>
              <a:gd name="connsiteY294" fmla="*/ 371156 h 2169020"/>
              <a:gd name="connsiteX295" fmla="*/ 1410442 w 1927462"/>
              <a:gd name="connsiteY295" fmla="*/ 363841 h 2169020"/>
              <a:gd name="connsiteX296" fmla="*/ 1403127 w 1927462"/>
              <a:gd name="connsiteY296" fmla="*/ 352868 h 2169020"/>
              <a:gd name="connsiteX297" fmla="*/ 1395812 w 1927462"/>
              <a:gd name="connsiteY297" fmla="*/ 330923 h 2169020"/>
              <a:gd name="connsiteX298" fmla="*/ 1392154 w 1927462"/>
              <a:gd name="connsiteY298" fmla="*/ 319950 h 2169020"/>
              <a:gd name="connsiteX299" fmla="*/ 1384839 w 1927462"/>
              <a:gd name="connsiteY299" fmla="*/ 308977 h 2169020"/>
              <a:gd name="connsiteX300" fmla="*/ 1366551 w 1927462"/>
              <a:gd name="connsiteY300" fmla="*/ 283374 h 2169020"/>
              <a:gd name="connsiteX301" fmla="*/ 1355578 w 1927462"/>
              <a:gd name="connsiteY301" fmla="*/ 276059 h 2169020"/>
              <a:gd name="connsiteX302" fmla="*/ 1315345 w 1927462"/>
              <a:gd name="connsiteY302" fmla="*/ 283374 h 2169020"/>
              <a:gd name="connsiteX303" fmla="*/ 1308030 w 1927462"/>
              <a:gd name="connsiteY303" fmla="*/ 294347 h 2169020"/>
              <a:gd name="connsiteX304" fmla="*/ 1293399 w 1927462"/>
              <a:gd name="connsiteY304" fmla="*/ 363841 h 2169020"/>
              <a:gd name="connsiteX305" fmla="*/ 1271454 w 1927462"/>
              <a:gd name="connsiteY305" fmla="*/ 374814 h 2169020"/>
              <a:gd name="connsiteX306" fmla="*/ 1256823 w 1927462"/>
              <a:gd name="connsiteY306" fmla="*/ 404075 h 2169020"/>
              <a:gd name="connsiteX307" fmla="*/ 1234878 w 1927462"/>
              <a:gd name="connsiteY307" fmla="*/ 411390 h 2169020"/>
              <a:gd name="connsiteX308" fmla="*/ 1216590 w 1927462"/>
              <a:gd name="connsiteY308" fmla="*/ 422363 h 2169020"/>
              <a:gd name="connsiteX309" fmla="*/ 1201959 w 1927462"/>
              <a:gd name="connsiteY309" fmla="*/ 440651 h 2169020"/>
              <a:gd name="connsiteX310" fmla="*/ 1198302 w 1927462"/>
              <a:gd name="connsiteY310" fmla="*/ 451623 h 2169020"/>
              <a:gd name="connsiteX311" fmla="*/ 1180014 w 1927462"/>
              <a:gd name="connsiteY311" fmla="*/ 462596 h 2169020"/>
              <a:gd name="connsiteX312" fmla="*/ 1154410 w 1927462"/>
              <a:gd name="connsiteY312" fmla="*/ 495515 h 2169020"/>
              <a:gd name="connsiteX313" fmla="*/ 1099546 w 1927462"/>
              <a:gd name="connsiteY313" fmla="*/ 506487 h 2169020"/>
              <a:gd name="connsiteX314" fmla="*/ 1084916 w 1927462"/>
              <a:gd name="connsiteY314" fmla="*/ 539406 h 2169020"/>
              <a:gd name="connsiteX315" fmla="*/ 1073943 w 1927462"/>
              <a:gd name="connsiteY315" fmla="*/ 550379 h 2169020"/>
              <a:gd name="connsiteX316" fmla="*/ 1066628 w 1927462"/>
              <a:gd name="connsiteY316" fmla="*/ 572324 h 2169020"/>
              <a:gd name="connsiteX317" fmla="*/ 1051998 w 1927462"/>
              <a:gd name="connsiteY317" fmla="*/ 594270 h 2169020"/>
              <a:gd name="connsiteX318" fmla="*/ 1044682 w 1927462"/>
              <a:gd name="connsiteY318" fmla="*/ 616215 h 2169020"/>
              <a:gd name="connsiteX319" fmla="*/ 1041025 w 1927462"/>
              <a:gd name="connsiteY319" fmla="*/ 627188 h 2169020"/>
              <a:gd name="connsiteX320" fmla="*/ 1033710 w 1927462"/>
              <a:gd name="connsiteY320" fmla="*/ 638161 h 2169020"/>
              <a:gd name="connsiteX321" fmla="*/ 1022737 w 1927462"/>
              <a:gd name="connsiteY321" fmla="*/ 660107 h 2169020"/>
              <a:gd name="connsiteX322" fmla="*/ 1019079 w 1927462"/>
              <a:gd name="connsiteY322" fmla="*/ 674737 h 2169020"/>
              <a:gd name="connsiteX323" fmla="*/ 1015422 w 1927462"/>
              <a:gd name="connsiteY323" fmla="*/ 685710 h 2169020"/>
              <a:gd name="connsiteX324" fmla="*/ 1011764 w 1927462"/>
              <a:gd name="connsiteY324" fmla="*/ 740574 h 2169020"/>
              <a:gd name="connsiteX325" fmla="*/ 997134 w 1927462"/>
              <a:gd name="connsiteY325" fmla="*/ 762519 h 2169020"/>
              <a:gd name="connsiteX326" fmla="*/ 993476 w 1927462"/>
              <a:gd name="connsiteY326" fmla="*/ 773492 h 2169020"/>
              <a:gd name="connsiteX327" fmla="*/ 971530 w 1927462"/>
              <a:gd name="connsiteY327" fmla="*/ 802753 h 2169020"/>
              <a:gd name="connsiteX328" fmla="*/ 964215 w 1927462"/>
              <a:gd name="connsiteY328" fmla="*/ 824699 h 2169020"/>
              <a:gd name="connsiteX329" fmla="*/ 956900 w 1927462"/>
              <a:gd name="connsiteY329" fmla="*/ 835671 h 2169020"/>
              <a:gd name="connsiteX330" fmla="*/ 942270 w 1927462"/>
              <a:gd name="connsiteY330" fmla="*/ 853959 h 2169020"/>
              <a:gd name="connsiteX331" fmla="*/ 938612 w 1927462"/>
              <a:gd name="connsiteY331" fmla="*/ 864932 h 2169020"/>
              <a:gd name="connsiteX332" fmla="*/ 927639 w 1927462"/>
              <a:gd name="connsiteY332" fmla="*/ 875905 h 2169020"/>
              <a:gd name="connsiteX333" fmla="*/ 913009 w 1927462"/>
              <a:gd name="connsiteY333" fmla="*/ 897851 h 2169020"/>
              <a:gd name="connsiteX334" fmla="*/ 898378 w 1927462"/>
              <a:gd name="connsiteY334" fmla="*/ 919796 h 2169020"/>
              <a:gd name="connsiteX335" fmla="*/ 891063 w 1927462"/>
              <a:gd name="connsiteY335" fmla="*/ 930769 h 2169020"/>
              <a:gd name="connsiteX336" fmla="*/ 876433 w 1927462"/>
              <a:gd name="connsiteY336" fmla="*/ 963687 h 2169020"/>
              <a:gd name="connsiteX337" fmla="*/ 869118 w 1927462"/>
              <a:gd name="connsiteY337" fmla="*/ 971003 h 2169020"/>
              <a:gd name="connsiteX338" fmla="*/ 861802 w 1927462"/>
              <a:gd name="connsiteY338" fmla="*/ 992948 h 2169020"/>
              <a:gd name="connsiteX339" fmla="*/ 858145 w 1927462"/>
              <a:gd name="connsiteY339" fmla="*/ 1003921 h 2169020"/>
              <a:gd name="connsiteX340" fmla="*/ 858145 w 1927462"/>
              <a:gd name="connsiteY340" fmla="*/ 1044155 h 2169020"/>
              <a:gd name="connsiteX341" fmla="*/ 850830 w 1927462"/>
              <a:gd name="connsiteY341" fmla="*/ 1055127 h 2169020"/>
              <a:gd name="connsiteX342" fmla="*/ 847172 w 1927462"/>
              <a:gd name="connsiteY342" fmla="*/ 1066100 h 2169020"/>
              <a:gd name="connsiteX343" fmla="*/ 850830 w 1927462"/>
              <a:gd name="connsiteY343" fmla="*/ 1117307 h 2169020"/>
              <a:gd name="connsiteX344" fmla="*/ 854487 w 1927462"/>
              <a:gd name="connsiteY344" fmla="*/ 1131937 h 2169020"/>
              <a:gd name="connsiteX345" fmla="*/ 858145 w 1927462"/>
              <a:gd name="connsiteY345" fmla="*/ 1157540 h 2169020"/>
              <a:gd name="connsiteX346" fmla="*/ 854487 w 1927462"/>
              <a:gd name="connsiteY346" fmla="*/ 1175828 h 2169020"/>
              <a:gd name="connsiteX347" fmla="*/ 843514 w 1927462"/>
              <a:gd name="connsiteY347" fmla="*/ 1186801 h 2169020"/>
              <a:gd name="connsiteX348" fmla="*/ 810596 w 1927462"/>
              <a:gd name="connsiteY348" fmla="*/ 1201431 h 2169020"/>
              <a:gd name="connsiteX349" fmla="*/ 799623 w 1927462"/>
              <a:gd name="connsiteY349" fmla="*/ 1205089 h 2169020"/>
              <a:gd name="connsiteX350" fmla="*/ 777678 w 1927462"/>
              <a:gd name="connsiteY350" fmla="*/ 1216062 h 2169020"/>
              <a:gd name="connsiteX351" fmla="*/ 759390 w 1927462"/>
              <a:gd name="connsiteY351" fmla="*/ 1230692 h 2169020"/>
              <a:gd name="connsiteX352" fmla="*/ 748417 w 1927462"/>
              <a:gd name="connsiteY352" fmla="*/ 1234350 h 2169020"/>
              <a:gd name="connsiteX353" fmla="*/ 741102 w 1927462"/>
              <a:gd name="connsiteY353" fmla="*/ 1245323 h 2169020"/>
              <a:gd name="connsiteX354" fmla="*/ 733786 w 1927462"/>
              <a:gd name="connsiteY354" fmla="*/ 1252638 h 2169020"/>
              <a:gd name="connsiteX355" fmla="*/ 719156 w 1927462"/>
              <a:gd name="connsiteY355" fmla="*/ 1274583 h 2169020"/>
              <a:gd name="connsiteX356" fmla="*/ 704526 w 1927462"/>
              <a:gd name="connsiteY356" fmla="*/ 1292871 h 2169020"/>
              <a:gd name="connsiteX357" fmla="*/ 700868 w 1927462"/>
              <a:gd name="connsiteY357" fmla="*/ 1303844 h 2169020"/>
              <a:gd name="connsiteX358" fmla="*/ 693553 w 1927462"/>
              <a:gd name="connsiteY358" fmla="*/ 1314817 h 2169020"/>
              <a:gd name="connsiteX359" fmla="*/ 686238 w 1927462"/>
              <a:gd name="connsiteY359" fmla="*/ 1336763 h 2169020"/>
              <a:gd name="connsiteX360" fmla="*/ 682580 w 1927462"/>
              <a:gd name="connsiteY360" fmla="*/ 1347735 h 2169020"/>
              <a:gd name="connsiteX361" fmla="*/ 678922 w 1927462"/>
              <a:gd name="connsiteY361" fmla="*/ 1358708 h 2169020"/>
              <a:gd name="connsiteX362" fmla="*/ 675265 w 1927462"/>
              <a:gd name="connsiteY362" fmla="*/ 1369681 h 2169020"/>
              <a:gd name="connsiteX363" fmla="*/ 678922 w 1927462"/>
              <a:gd name="connsiteY363" fmla="*/ 1457463 h 2169020"/>
              <a:gd name="connsiteX364" fmla="*/ 693553 w 1927462"/>
              <a:gd name="connsiteY364" fmla="*/ 1479409 h 2169020"/>
              <a:gd name="connsiteX365" fmla="*/ 693553 w 1927462"/>
              <a:gd name="connsiteY365" fmla="*/ 1515985 h 2169020"/>
              <a:gd name="connsiteX366" fmla="*/ 686238 w 1927462"/>
              <a:gd name="connsiteY366" fmla="*/ 1537931 h 2169020"/>
              <a:gd name="connsiteX367" fmla="*/ 682580 w 1927462"/>
              <a:gd name="connsiteY367" fmla="*/ 1548903 h 2169020"/>
              <a:gd name="connsiteX368" fmla="*/ 708183 w 1927462"/>
              <a:gd name="connsiteY368" fmla="*/ 1574507 h 2169020"/>
              <a:gd name="connsiteX369" fmla="*/ 719156 w 1927462"/>
              <a:gd name="connsiteY369" fmla="*/ 1581822 h 2169020"/>
              <a:gd name="connsiteX370" fmla="*/ 730129 w 1927462"/>
              <a:gd name="connsiteY370" fmla="*/ 1589137 h 2169020"/>
              <a:gd name="connsiteX371" fmla="*/ 726471 w 1927462"/>
              <a:gd name="connsiteY371" fmla="*/ 1625713 h 2169020"/>
              <a:gd name="connsiteX372" fmla="*/ 715498 w 1927462"/>
              <a:gd name="connsiteY372" fmla="*/ 1633028 h 2169020"/>
              <a:gd name="connsiteX373" fmla="*/ 697210 w 1927462"/>
              <a:gd name="connsiteY373" fmla="*/ 1647659 h 2169020"/>
              <a:gd name="connsiteX374" fmla="*/ 689895 w 1927462"/>
              <a:gd name="connsiteY374" fmla="*/ 1658631 h 2169020"/>
              <a:gd name="connsiteX375" fmla="*/ 682580 w 1927462"/>
              <a:gd name="connsiteY375" fmla="*/ 1702523 h 2169020"/>
              <a:gd name="connsiteX376" fmla="*/ 678922 w 1927462"/>
              <a:gd name="connsiteY376" fmla="*/ 1797620 h 2169020"/>
              <a:gd name="connsiteX377" fmla="*/ 675265 w 1927462"/>
              <a:gd name="connsiteY377" fmla="*/ 1808593 h 2169020"/>
              <a:gd name="connsiteX378" fmla="*/ 660634 w 1927462"/>
              <a:gd name="connsiteY378" fmla="*/ 1834196 h 2169020"/>
              <a:gd name="connsiteX379" fmla="*/ 649662 w 1927462"/>
              <a:gd name="connsiteY379" fmla="*/ 1845169 h 2169020"/>
              <a:gd name="connsiteX380" fmla="*/ 642346 w 1927462"/>
              <a:gd name="connsiteY380" fmla="*/ 1856142 h 2169020"/>
              <a:gd name="connsiteX381" fmla="*/ 631374 w 1927462"/>
              <a:gd name="connsiteY381" fmla="*/ 1859799 h 2169020"/>
              <a:gd name="connsiteX382" fmla="*/ 620401 w 1927462"/>
              <a:gd name="connsiteY382" fmla="*/ 1881745 h 2169020"/>
              <a:gd name="connsiteX383" fmla="*/ 605770 w 1927462"/>
              <a:gd name="connsiteY383" fmla="*/ 1900033 h 2169020"/>
              <a:gd name="connsiteX384" fmla="*/ 598455 w 1927462"/>
              <a:gd name="connsiteY384" fmla="*/ 1921979 h 2169020"/>
              <a:gd name="connsiteX385" fmla="*/ 591140 w 1927462"/>
              <a:gd name="connsiteY385" fmla="*/ 1962212 h 2169020"/>
              <a:gd name="connsiteX386" fmla="*/ 580167 w 1927462"/>
              <a:gd name="connsiteY386" fmla="*/ 1973185 h 2169020"/>
              <a:gd name="connsiteX387" fmla="*/ 569194 w 1927462"/>
              <a:gd name="connsiteY387" fmla="*/ 1976843 h 2169020"/>
              <a:gd name="connsiteX388" fmla="*/ 561879 w 1927462"/>
              <a:gd name="connsiteY388" fmla="*/ 1987815 h 2169020"/>
              <a:gd name="connsiteX389" fmla="*/ 547249 w 1927462"/>
              <a:gd name="connsiteY389" fmla="*/ 2006103 h 2169020"/>
              <a:gd name="connsiteX390" fmla="*/ 539934 w 1927462"/>
              <a:gd name="connsiteY390" fmla="*/ 2028049 h 2169020"/>
              <a:gd name="connsiteX391" fmla="*/ 536276 w 1927462"/>
              <a:gd name="connsiteY391" fmla="*/ 2039022 h 2169020"/>
              <a:gd name="connsiteX392" fmla="*/ 525303 w 1927462"/>
              <a:gd name="connsiteY392" fmla="*/ 2049995 h 2169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</a:cxnLst>
            <a:rect l="l" t="t" r="r" b="b"/>
            <a:pathLst>
              <a:path w="1927462" h="2169020">
                <a:moveTo>
                  <a:pt x="525303" y="2049995"/>
                </a:moveTo>
                <a:cubicBezTo>
                  <a:pt x="522865" y="2044509"/>
                  <a:pt x="523586" y="2020656"/>
                  <a:pt x="521646" y="2006103"/>
                </a:cubicBezTo>
                <a:cubicBezTo>
                  <a:pt x="521136" y="2002282"/>
                  <a:pt x="519972" y="1998437"/>
                  <a:pt x="517988" y="1995131"/>
                </a:cubicBezTo>
                <a:cubicBezTo>
                  <a:pt x="504963" y="1973424"/>
                  <a:pt x="515902" y="2005066"/>
                  <a:pt x="503358" y="1976843"/>
                </a:cubicBezTo>
                <a:cubicBezTo>
                  <a:pt x="485945" y="1937666"/>
                  <a:pt x="505283" y="1968759"/>
                  <a:pt x="488727" y="1943924"/>
                </a:cubicBezTo>
                <a:cubicBezTo>
                  <a:pt x="487508" y="1940266"/>
                  <a:pt x="485580" y="1936773"/>
                  <a:pt x="485070" y="1932951"/>
                </a:cubicBezTo>
                <a:cubicBezTo>
                  <a:pt x="483130" y="1918399"/>
                  <a:pt x="486567" y="1902806"/>
                  <a:pt x="481412" y="1889060"/>
                </a:cubicBezTo>
                <a:cubicBezTo>
                  <a:pt x="479497" y="1883955"/>
                  <a:pt x="476802" y="1898957"/>
                  <a:pt x="474097" y="1903691"/>
                </a:cubicBezTo>
                <a:cubicBezTo>
                  <a:pt x="467946" y="1914455"/>
                  <a:pt x="467476" y="1913969"/>
                  <a:pt x="459466" y="1921979"/>
                </a:cubicBezTo>
                <a:cubicBezTo>
                  <a:pt x="454477" y="1936946"/>
                  <a:pt x="450801" y="1942716"/>
                  <a:pt x="459466" y="1962212"/>
                </a:cubicBezTo>
                <a:cubicBezTo>
                  <a:pt x="461032" y="1965735"/>
                  <a:pt x="466781" y="1964651"/>
                  <a:pt x="470439" y="1965870"/>
                </a:cubicBezTo>
                <a:cubicBezTo>
                  <a:pt x="469220" y="1975624"/>
                  <a:pt x="468277" y="1985416"/>
                  <a:pt x="466782" y="1995131"/>
                </a:cubicBezTo>
                <a:cubicBezTo>
                  <a:pt x="465837" y="2001275"/>
                  <a:pt x="468838" y="2010970"/>
                  <a:pt x="463124" y="2013419"/>
                </a:cubicBezTo>
                <a:cubicBezTo>
                  <a:pt x="448513" y="2019681"/>
                  <a:pt x="431425" y="2015857"/>
                  <a:pt x="415575" y="2017076"/>
                </a:cubicBezTo>
                <a:cubicBezTo>
                  <a:pt x="387993" y="2026271"/>
                  <a:pt x="421991" y="2013868"/>
                  <a:pt x="393630" y="2028049"/>
                </a:cubicBezTo>
                <a:cubicBezTo>
                  <a:pt x="375234" y="2037248"/>
                  <a:pt x="383774" y="2023274"/>
                  <a:pt x="360711" y="2046337"/>
                </a:cubicBezTo>
                <a:cubicBezTo>
                  <a:pt x="334651" y="2072397"/>
                  <a:pt x="364221" y="2044262"/>
                  <a:pt x="338766" y="2064625"/>
                </a:cubicBezTo>
                <a:cubicBezTo>
                  <a:pt x="336073" y="2066779"/>
                  <a:pt x="334143" y="2069786"/>
                  <a:pt x="331450" y="2071940"/>
                </a:cubicBezTo>
                <a:cubicBezTo>
                  <a:pt x="321320" y="2080044"/>
                  <a:pt x="321095" y="2079049"/>
                  <a:pt x="309505" y="2082913"/>
                </a:cubicBezTo>
                <a:cubicBezTo>
                  <a:pt x="307067" y="2086571"/>
                  <a:pt x="304936" y="2090453"/>
                  <a:pt x="302190" y="2093886"/>
                </a:cubicBezTo>
                <a:cubicBezTo>
                  <a:pt x="300036" y="2096579"/>
                  <a:pt x="296943" y="2098442"/>
                  <a:pt x="294874" y="2101201"/>
                </a:cubicBezTo>
                <a:cubicBezTo>
                  <a:pt x="281706" y="2118758"/>
                  <a:pt x="285609" y="2122294"/>
                  <a:pt x="269271" y="2130462"/>
                </a:cubicBezTo>
                <a:cubicBezTo>
                  <a:pt x="265823" y="2132186"/>
                  <a:pt x="261956" y="2132900"/>
                  <a:pt x="258298" y="2134119"/>
                </a:cubicBezTo>
                <a:cubicBezTo>
                  <a:pt x="252217" y="2140201"/>
                  <a:pt x="248317" y="2145058"/>
                  <a:pt x="240010" y="2148750"/>
                </a:cubicBezTo>
                <a:cubicBezTo>
                  <a:pt x="224824" y="2155499"/>
                  <a:pt x="215422" y="2156594"/>
                  <a:pt x="199777" y="2159723"/>
                </a:cubicBezTo>
                <a:cubicBezTo>
                  <a:pt x="196119" y="2162161"/>
                  <a:pt x="193166" y="2166493"/>
                  <a:pt x="188804" y="2167038"/>
                </a:cubicBezTo>
                <a:cubicBezTo>
                  <a:pt x="172943" y="2169020"/>
                  <a:pt x="160065" y="2156413"/>
                  <a:pt x="148570" y="2148750"/>
                </a:cubicBezTo>
                <a:lnTo>
                  <a:pt x="137598" y="2141435"/>
                </a:lnTo>
                <a:lnTo>
                  <a:pt x="126625" y="2134119"/>
                </a:lnTo>
                <a:cubicBezTo>
                  <a:pt x="125406" y="2130462"/>
                  <a:pt x="124951" y="2126453"/>
                  <a:pt x="122967" y="2123147"/>
                </a:cubicBezTo>
                <a:cubicBezTo>
                  <a:pt x="121193" y="2120190"/>
                  <a:pt x="118411" y="2117900"/>
                  <a:pt x="115652" y="2115831"/>
                </a:cubicBezTo>
                <a:cubicBezTo>
                  <a:pt x="108619" y="2110556"/>
                  <a:pt x="101021" y="2106078"/>
                  <a:pt x="93706" y="2101201"/>
                </a:cubicBezTo>
                <a:cubicBezTo>
                  <a:pt x="90049" y="2098763"/>
                  <a:pt x="85842" y="2096994"/>
                  <a:pt x="82734" y="2093886"/>
                </a:cubicBezTo>
                <a:lnTo>
                  <a:pt x="68103" y="2079255"/>
                </a:lnTo>
                <a:cubicBezTo>
                  <a:pt x="64445" y="2075598"/>
                  <a:pt x="62037" y="2069919"/>
                  <a:pt x="57130" y="2068283"/>
                </a:cubicBezTo>
                <a:lnTo>
                  <a:pt x="46158" y="2064625"/>
                </a:lnTo>
                <a:cubicBezTo>
                  <a:pt x="25194" y="2033182"/>
                  <a:pt x="50326" y="2072962"/>
                  <a:pt x="35185" y="2042679"/>
                </a:cubicBezTo>
                <a:cubicBezTo>
                  <a:pt x="33219" y="2038747"/>
                  <a:pt x="29655" y="2035724"/>
                  <a:pt x="27870" y="2031707"/>
                </a:cubicBezTo>
                <a:cubicBezTo>
                  <a:pt x="24738" y="2024661"/>
                  <a:pt x="20554" y="2009761"/>
                  <a:pt x="20554" y="2009761"/>
                </a:cubicBezTo>
                <a:cubicBezTo>
                  <a:pt x="21773" y="2000007"/>
                  <a:pt x="18177" y="1988259"/>
                  <a:pt x="24212" y="1980500"/>
                </a:cubicBezTo>
                <a:cubicBezTo>
                  <a:pt x="28765" y="1974646"/>
                  <a:pt x="39525" y="1980160"/>
                  <a:pt x="46158" y="1976843"/>
                </a:cubicBezTo>
                <a:cubicBezTo>
                  <a:pt x="50090" y="1974877"/>
                  <a:pt x="50365" y="1968978"/>
                  <a:pt x="53473" y="1965870"/>
                </a:cubicBezTo>
                <a:cubicBezTo>
                  <a:pt x="72492" y="1946851"/>
                  <a:pt x="57277" y="1969345"/>
                  <a:pt x="71761" y="1951239"/>
                </a:cubicBezTo>
                <a:cubicBezTo>
                  <a:pt x="74507" y="1947807"/>
                  <a:pt x="77110" y="1944199"/>
                  <a:pt x="79076" y="1940267"/>
                </a:cubicBezTo>
                <a:cubicBezTo>
                  <a:pt x="80800" y="1936819"/>
                  <a:pt x="79526" y="1931433"/>
                  <a:pt x="82734" y="1929294"/>
                </a:cubicBezTo>
                <a:cubicBezTo>
                  <a:pt x="87907" y="1925846"/>
                  <a:pt x="94926" y="1926855"/>
                  <a:pt x="101022" y="1925636"/>
                </a:cubicBezTo>
                <a:cubicBezTo>
                  <a:pt x="96145" y="1924417"/>
                  <a:pt x="91012" y="1923959"/>
                  <a:pt x="86391" y="1921979"/>
                </a:cubicBezTo>
                <a:cubicBezTo>
                  <a:pt x="73325" y="1916379"/>
                  <a:pt x="78611" y="1912672"/>
                  <a:pt x="64446" y="1911006"/>
                </a:cubicBezTo>
                <a:cubicBezTo>
                  <a:pt x="47451" y="1909007"/>
                  <a:pt x="30308" y="1908567"/>
                  <a:pt x="13239" y="1907348"/>
                </a:cubicBezTo>
                <a:cubicBezTo>
                  <a:pt x="9581" y="1906129"/>
                  <a:pt x="2900" y="1907494"/>
                  <a:pt x="2266" y="1903691"/>
                </a:cubicBezTo>
                <a:cubicBezTo>
                  <a:pt x="0" y="1890091"/>
                  <a:pt x="10645" y="1885902"/>
                  <a:pt x="16897" y="1878087"/>
                </a:cubicBezTo>
                <a:cubicBezTo>
                  <a:pt x="19643" y="1874655"/>
                  <a:pt x="19902" y="1867977"/>
                  <a:pt x="24212" y="1867115"/>
                </a:cubicBezTo>
                <a:cubicBezTo>
                  <a:pt x="45765" y="1862805"/>
                  <a:pt x="68103" y="1864676"/>
                  <a:pt x="90049" y="1863457"/>
                </a:cubicBezTo>
                <a:cubicBezTo>
                  <a:pt x="88830" y="1859799"/>
                  <a:pt x="87326" y="1856224"/>
                  <a:pt x="86391" y="1852484"/>
                </a:cubicBezTo>
                <a:cubicBezTo>
                  <a:pt x="84883" y="1846453"/>
                  <a:pt x="87130" y="1838592"/>
                  <a:pt x="82734" y="1834196"/>
                </a:cubicBezTo>
                <a:cubicBezTo>
                  <a:pt x="77281" y="1828743"/>
                  <a:pt x="60788" y="1826881"/>
                  <a:pt x="60788" y="1826881"/>
                </a:cubicBezTo>
                <a:cubicBezTo>
                  <a:pt x="55911" y="1819566"/>
                  <a:pt x="44026" y="1813464"/>
                  <a:pt x="46158" y="1804935"/>
                </a:cubicBezTo>
                <a:cubicBezTo>
                  <a:pt x="47377" y="1800058"/>
                  <a:pt x="44954" y="1791584"/>
                  <a:pt x="49815" y="1790305"/>
                </a:cubicBezTo>
                <a:cubicBezTo>
                  <a:pt x="71071" y="1784711"/>
                  <a:pt x="93706" y="1787866"/>
                  <a:pt x="115652" y="1786647"/>
                </a:cubicBezTo>
                <a:cubicBezTo>
                  <a:pt x="124186" y="1761044"/>
                  <a:pt x="115652" y="1767141"/>
                  <a:pt x="133940" y="1761044"/>
                </a:cubicBezTo>
                <a:cubicBezTo>
                  <a:pt x="115651" y="1754949"/>
                  <a:pt x="126625" y="1756168"/>
                  <a:pt x="101022" y="1764702"/>
                </a:cubicBezTo>
                <a:lnTo>
                  <a:pt x="90049" y="1768359"/>
                </a:lnTo>
                <a:cubicBezTo>
                  <a:pt x="58218" y="1765466"/>
                  <a:pt x="56848" y="1771793"/>
                  <a:pt x="38842" y="1757387"/>
                </a:cubicBezTo>
                <a:cubicBezTo>
                  <a:pt x="36149" y="1755233"/>
                  <a:pt x="33965" y="1752510"/>
                  <a:pt x="31527" y="1750071"/>
                </a:cubicBezTo>
                <a:cubicBezTo>
                  <a:pt x="30308" y="1746414"/>
                  <a:pt x="27870" y="1742954"/>
                  <a:pt x="27870" y="1739099"/>
                </a:cubicBezTo>
                <a:cubicBezTo>
                  <a:pt x="27870" y="1731529"/>
                  <a:pt x="30040" y="1709154"/>
                  <a:pt x="35185" y="1698865"/>
                </a:cubicBezTo>
                <a:cubicBezTo>
                  <a:pt x="37151" y="1694933"/>
                  <a:pt x="40715" y="1691909"/>
                  <a:pt x="42500" y="1687892"/>
                </a:cubicBezTo>
                <a:cubicBezTo>
                  <a:pt x="45632" y="1680846"/>
                  <a:pt x="49815" y="1665947"/>
                  <a:pt x="49815" y="1665947"/>
                </a:cubicBezTo>
                <a:cubicBezTo>
                  <a:pt x="51034" y="1644001"/>
                  <a:pt x="36726" y="1614345"/>
                  <a:pt x="53473" y="1600110"/>
                </a:cubicBezTo>
                <a:cubicBezTo>
                  <a:pt x="71147" y="1585087"/>
                  <a:pt x="99866" y="1601667"/>
                  <a:pt x="122967" y="1603767"/>
                </a:cubicBezTo>
                <a:cubicBezTo>
                  <a:pt x="125672" y="1604013"/>
                  <a:pt x="144913" y="1610762"/>
                  <a:pt x="144913" y="1614740"/>
                </a:cubicBezTo>
                <a:cubicBezTo>
                  <a:pt x="144913" y="1618595"/>
                  <a:pt x="137704" y="1611919"/>
                  <a:pt x="133940" y="1611083"/>
                </a:cubicBezTo>
                <a:cubicBezTo>
                  <a:pt x="126700" y="1609474"/>
                  <a:pt x="119373" y="1608163"/>
                  <a:pt x="111994" y="1607425"/>
                </a:cubicBezTo>
                <a:cubicBezTo>
                  <a:pt x="94967" y="1605722"/>
                  <a:pt x="77857" y="1604986"/>
                  <a:pt x="60788" y="1603767"/>
                </a:cubicBezTo>
                <a:cubicBezTo>
                  <a:pt x="58350" y="1600110"/>
                  <a:pt x="53910" y="1597169"/>
                  <a:pt x="53473" y="1592795"/>
                </a:cubicBezTo>
                <a:cubicBezTo>
                  <a:pt x="52615" y="1584217"/>
                  <a:pt x="55588" y="1575673"/>
                  <a:pt x="57130" y="1567191"/>
                </a:cubicBezTo>
                <a:cubicBezTo>
                  <a:pt x="58966" y="1557090"/>
                  <a:pt x="61313" y="1550987"/>
                  <a:pt x="64446" y="1541588"/>
                </a:cubicBezTo>
                <a:cubicBezTo>
                  <a:pt x="65227" y="1529097"/>
                  <a:pt x="50176" y="1479409"/>
                  <a:pt x="79076" y="1479409"/>
                </a:cubicBezTo>
                <a:cubicBezTo>
                  <a:pt x="90116" y="1479409"/>
                  <a:pt x="101021" y="1481848"/>
                  <a:pt x="111994" y="1483067"/>
                </a:cubicBezTo>
                <a:cubicBezTo>
                  <a:pt x="133432" y="1490213"/>
                  <a:pt x="146666" y="1493616"/>
                  <a:pt x="115652" y="1486724"/>
                </a:cubicBezTo>
                <a:cubicBezTo>
                  <a:pt x="101868" y="1483661"/>
                  <a:pt x="102273" y="1483484"/>
                  <a:pt x="90049" y="1479409"/>
                </a:cubicBezTo>
                <a:cubicBezTo>
                  <a:pt x="91268" y="1469655"/>
                  <a:pt x="89714" y="1459130"/>
                  <a:pt x="93706" y="1450148"/>
                </a:cubicBezTo>
                <a:cubicBezTo>
                  <a:pt x="95272" y="1446625"/>
                  <a:pt x="100824" y="1446491"/>
                  <a:pt x="104679" y="1446491"/>
                </a:cubicBezTo>
                <a:cubicBezTo>
                  <a:pt x="126658" y="1446491"/>
                  <a:pt x="148570" y="1448929"/>
                  <a:pt x="170516" y="1450148"/>
                </a:cubicBezTo>
                <a:cubicBezTo>
                  <a:pt x="168078" y="1446490"/>
                  <a:pt x="163823" y="1443527"/>
                  <a:pt x="163201" y="1439175"/>
                </a:cubicBezTo>
                <a:cubicBezTo>
                  <a:pt x="157618" y="1400101"/>
                  <a:pt x="235470" y="1427976"/>
                  <a:pt x="240010" y="1428203"/>
                </a:cubicBezTo>
                <a:cubicBezTo>
                  <a:pt x="242449" y="1430641"/>
                  <a:pt x="249765" y="1433079"/>
                  <a:pt x="247326" y="1435518"/>
                </a:cubicBezTo>
                <a:cubicBezTo>
                  <a:pt x="244600" y="1438244"/>
                  <a:pt x="237919" y="1435383"/>
                  <a:pt x="236353" y="1431860"/>
                </a:cubicBezTo>
                <a:cubicBezTo>
                  <a:pt x="228139" y="1413380"/>
                  <a:pt x="237090" y="1404071"/>
                  <a:pt x="229038" y="1387969"/>
                </a:cubicBezTo>
                <a:cubicBezTo>
                  <a:pt x="227496" y="1384885"/>
                  <a:pt x="223876" y="1383347"/>
                  <a:pt x="221722" y="1380654"/>
                </a:cubicBezTo>
                <a:cubicBezTo>
                  <a:pt x="218976" y="1377221"/>
                  <a:pt x="216845" y="1373339"/>
                  <a:pt x="214407" y="1369681"/>
                </a:cubicBezTo>
                <a:cubicBezTo>
                  <a:pt x="218065" y="1368462"/>
                  <a:pt x="221548" y="1365597"/>
                  <a:pt x="225380" y="1366023"/>
                </a:cubicBezTo>
                <a:cubicBezTo>
                  <a:pt x="233044" y="1366875"/>
                  <a:pt x="247326" y="1373339"/>
                  <a:pt x="247326" y="1373339"/>
                </a:cubicBezTo>
                <a:cubicBezTo>
                  <a:pt x="249764" y="1376996"/>
                  <a:pt x="251533" y="1381203"/>
                  <a:pt x="254641" y="1384311"/>
                </a:cubicBezTo>
                <a:cubicBezTo>
                  <a:pt x="261733" y="1391403"/>
                  <a:pt x="267660" y="1392309"/>
                  <a:pt x="276586" y="1395284"/>
                </a:cubicBezTo>
                <a:cubicBezTo>
                  <a:pt x="283901" y="1394065"/>
                  <a:pt x="292093" y="1395306"/>
                  <a:pt x="298532" y="1391627"/>
                </a:cubicBezTo>
                <a:cubicBezTo>
                  <a:pt x="301880" y="1389714"/>
                  <a:pt x="303709" y="1384198"/>
                  <a:pt x="302190" y="1380654"/>
                </a:cubicBezTo>
                <a:cubicBezTo>
                  <a:pt x="296863" y="1368224"/>
                  <a:pt x="287377" y="1365449"/>
                  <a:pt x="276586" y="1362366"/>
                </a:cubicBezTo>
                <a:cubicBezTo>
                  <a:pt x="271753" y="1360985"/>
                  <a:pt x="266833" y="1359927"/>
                  <a:pt x="261956" y="1358708"/>
                </a:cubicBezTo>
                <a:cubicBezTo>
                  <a:pt x="258298" y="1356270"/>
                  <a:pt x="252191" y="1355620"/>
                  <a:pt x="250983" y="1351393"/>
                </a:cubicBezTo>
                <a:cubicBezTo>
                  <a:pt x="245610" y="1332587"/>
                  <a:pt x="254813" y="1333048"/>
                  <a:pt x="265614" y="1329447"/>
                </a:cubicBezTo>
                <a:cubicBezTo>
                  <a:pt x="312096" y="1333321"/>
                  <a:pt x="309214" y="1335427"/>
                  <a:pt x="357054" y="1329447"/>
                </a:cubicBezTo>
                <a:cubicBezTo>
                  <a:pt x="360879" y="1328969"/>
                  <a:pt x="364369" y="1327009"/>
                  <a:pt x="368026" y="1325790"/>
                </a:cubicBezTo>
                <a:cubicBezTo>
                  <a:pt x="370465" y="1323352"/>
                  <a:pt x="373568" y="1321432"/>
                  <a:pt x="375342" y="1318475"/>
                </a:cubicBezTo>
                <a:cubicBezTo>
                  <a:pt x="381459" y="1308280"/>
                  <a:pt x="381525" y="1279111"/>
                  <a:pt x="382657" y="1274583"/>
                </a:cubicBezTo>
                <a:cubicBezTo>
                  <a:pt x="383723" y="1270319"/>
                  <a:pt x="385681" y="1264565"/>
                  <a:pt x="389972" y="1263611"/>
                </a:cubicBezTo>
                <a:cubicBezTo>
                  <a:pt x="409052" y="1259371"/>
                  <a:pt x="428987" y="1261172"/>
                  <a:pt x="448494" y="1259953"/>
                </a:cubicBezTo>
                <a:cubicBezTo>
                  <a:pt x="450070" y="1258902"/>
                  <a:pt x="465980" y="1249330"/>
                  <a:pt x="466782" y="1245323"/>
                </a:cubicBezTo>
                <a:cubicBezTo>
                  <a:pt x="467538" y="1241542"/>
                  <a:pt x="464343" y="1238008"/>
                  <a:pt x="463124" y="1234350"/>
                </a:cubicBezTo>
                <a:cubicBezTo>
                  <a:pt x="469285" y="1232296"/>
                  <a:pt x="478909" y="1226649"/>
                  <a:pt x="485070" y="1234350"/>
                </a:cubicBezTo>
                <a:cubicBezTo>
                  <a:pt x="488210" y="1238275"/>
                  <a:pt x="487283" y="1244165"/>
                  <a:pt x="488727" y="1248980"/>
                </a:cubicBezTo>
                <a:cubicBezTo>
                  <a:pt x="490943" y="1256366"/>
                  <a:pt x="496042" y="1270926"/>
                  <a:pt x="496042" y="1270926"/>
                </a:cubicBezTo>
                <a:cubicBezTo>
                  <a:pt x="525303" y="1269707"/>
                  <a:pt x="554879" y="1271721"/>
                  <a:pt x="583825" y="1267268"/>
                </a:cubicBezTo>
                <a:cubicBezTo>
                  <a:pt x="588170" y="1266600"/>
                  <a:pt x="589877" y="1260506"/>
                  <a:pt x="591140" y="1256295"/>
                </a:cubicBezTo>
                <a:cubicBezTo>
                  <a:pt x="593617" y="1248038"/>
                  <a:pt x="592859" y="1239092"/>
                  <a:pt x="594798" y="1230692"/>
                </a:cubicBezTo>
                <a:cubicBezTo>
                  <a:pt x="596532" y="1223179"/>
                  <a:pt x="599675" y="1216062"/>
                  <a:pt x="602113" y="1208747"/>
                </a:cubicBezTo>
                <a:lnTo>
                  <a:pt x="605770" y="1197774"/>
                </a:lnTo>
                <a:lnTo>
                  <a:pt x="609428" y="1186801"/>
                </a:lnTo>
                <a:lnTo>
                  <a:pt x="613086" y="1175828"/>
                </a:lnTo>
                <a:cubicBezTo>
                  <a:pt x="604380" y="1149713"/>
                  <a:pt x="612186" y="1149606"/>
                  <a:pt x="594798" y="1161198"/>
                </a:cubicBezTo>
                <a:cubicBezTo>
                  <a:pt x="591577" y="1170859"/>
                  <a:pt x="585942" y="1190972"/>
                  <a:pt x="576510" y="1194116"/>
                </a:cubicBezTo>
                <a:lnTo>
                  <a:pt x="554564" y="1201431"/>
                </a:lnTo>
                <a:cubicBezTo>
                  <a:pt x="534026" y="1221972"/>
                  <a:pt x="541920" y="1217723"/>
                  <a:pt x="485070" y="1205089"/>
                </a:cubicBezTo>
                <a:cubicBezTo>
                  <a:pt x="481306" y="1204253"/>
                  <a:pt x="482631" y="1197774"/>
                  <a:pt x="481412" y="1194116"/>
                </a:cubicBezTo>
                <a:cubicBezTo>
                  <a:pt x="483850" y="1190458"/>
                  <a:pt x="484795" y="1185109"/>
                  <a:pt x="488727" y="1183143"/>
                </a:cubicBezTo>
                <a:cubicBezTo>
                  <a:pt x="497719" y="1178647"/>
                  <a:pt x="508450" y="1179007"/>
                  <a:pt x="517988" y="1175828"/>
                </a:cubicBezTo>
                <a:lnTo>
                  <a:pt x="528961" y="1172171"/>
                </a:lnTo>
                <a:cubicBezTo>
                  <a:pt x="532619" y="1169732"/>
                  <a:pt x="537188" y="1168288"/>
                  <a:pt x="539934" y="1164855"/>
                </a:cubicBezTo>
                <a:cubicBezTo>
                  <a:pt x="542342" y="1161845"/>
                  <a:pt x="541608" y="1157189"/>
                  <a:pt x="543591" y="1153883"/>
                </a:cubicBezTo>
                <a:cubicBezTo>
                  <a:pt x="545365" y="1150926"/>
                  <a:pt x="548468" y="1149006"/>
                  <a:pt x="550906" y="1146567"/>
                </a:cubicBezTo>
                <a:cubicBezTo>
                  <a:pt x="552125" y="1142910"/>
                  <a:pt x="553505" y="1139302"/>
                  <a:pt x="554564" y="1135595"/>
                </a:cubicBezTo>
                <a:cubicBezTo>
                  <a:pt x="555945" y="1130761"/>
                  <a:pt x="555728" y="1125329"/>
                  <a:pt x="558222" y="1120964"/>
                </a:cubicBezTo>
                <a:cubicBezTo>
                  <a:pt x="560788" y="1116473"/>
                  <a:pt x="565537" y="1113649"/>
                  <a:pt x="569194" y="1109991"/>
                </a:cubicBezTo>
                <a:cubicBezTo>
                  <a:pt x="587029" y="1110982"/>
                  <a:pt x="632046" y="1118301"/>
                  <a:pt x="656977" y="1109991"/>
                </a:cubicBezTo>
                <a:cubicBezTo>
                  <a:pt x="661147" y="1108601"/>
                  <a:pt x="664292" y="1105114"/>
                  <a:pt x="667950" y="1102676"/>
                </a:cubicBezTo>
                <a:cubicBezTo>
                  <a:pt x="666731" y="1096580"/>
                  <a:pt x="667741" y="1089561"/>
                  <a:pt x="664292" y="1084388"/>
                </a:cubicBezTo>
                <a:cubicBezTo>
                  <a:pt x="662153" y="1081180"/>
                  <a:pt x="656625" y="1082715"/>
                  <a:pt x="653319" y="1080731"/>
                </a:cubicBezTo>
                <a:cubicBezTo>
                  <a:pt x="650362" y="1078957"/>
                  <a:pt x="648442" y="1075854"/>
                  <a:pt x="646004" y="1073415"/>
                </a:cubicBezTo>
                <a:cubicBezTo>
                  <a:pt x="647223" y="1062442"/>
                  <a:pt x="646171" y="1050971"/>
                  <a:pt x="649662" y="1040497"/>
                </a:cubicBezTo>
                <a:cubicBezTo>
                  <a:pt x="651298" y="1035590"/>
                  <a:pt x="657765" y="1033828"/>
                  <a:pt x="660634" y="1029524"/>
                </a:cubicBezTo>
                <a:cubicBezTo>
                  <a:pt x="662773" y="1026316"/>
                  <a:pt x="662568" y="1021999"/>
                  <a:pt x="664292" y="1018551"/>
                </a:cubicBezTo>
                <a:cubicBezTo>
                  <a:pt x="666258" y="1014619"/>
                  <a:pt x="668746" y="1010916"/>
                  <a:pt x="671607" y="1007579"/>
                </a:cubicBezTo>
                <a:cubicBezTo>
                  <a:pt x="676096" y="1002342"/>
                  <a:pt x="686238" y="992948"/>
                  <a:pt x="686238" y="992948"/>
                </a:cubicBezTo>
                <a:cubicBezTo>
                  <a:pt x="683799" y="990510"/>
                  <a:pt x="682006" y="987175"/>
                  <a:pt x="678922" y="985633"/>
                </a:cubicBezTo>
                <a:cubicBezTo>
                  <a:pt x="674426" y="983385"/>
                  <a:pt x="662425" y="986642"/>
                  <a:pt x="664292" y="981975"/>
                </a:cubicBezTo>
                <a:cubicBezTo>
                  <a:pt x="667558" y="973812"/>
                  <a:pt x="686238" y="967345"/>
                  <a:pt x="686238" y="967345"/>
                </a:cubicBezTo>
                <a:cubicBezTo>
                  <a:pt x="687457" y="963687"/>
                  <a:pt x="688171" y="959820"/>
                  <a:pt x="689895" y="956372"/>
                </a:cubicBezTo>
                <a:cubicBezTo>
                  <a:pt x="694509" y="947142"/>
                  <a:pt x="697721" y="944888"/>
                  <a:pt x="704526" y="938084"/>
                </a:cubicBezTo>
                <a:cubicBezTo>
                  <a:pt x="706964" y="933207"/>
                  <a:pt x="709693" y="928465"/>
                  <a:pt x="711841" y="923454"/>
                </a:cubicBezTo>
                <a:cubicBezTo>
                  <a:pt x="713360" y="919910"/>
                  <a:pt x="713514" y="915787"/>
                  <a:pt x="715498" y="912481"/>
                </a:cubicBezTo>
                <a:cubicBezTo>
                  <a:pt x="718971" y="906692"/>
                  <a:pt x="728805" y="901172"/>
                  <a:pt x="733786" y="897851"/>
                </a:cubicBezTo>
                <a:cubicBezTo>
                  <a:pt x="739645" y="889063"/>
                  <a:pt x="742866" y="886319"/>
                  <a:pt x="744759" y="875905"/>
                </a:cubicBezTo>
                <a:cubicBezTo>
                  <a:pt x="746517" y="866234"/>
                  <a:pt x="742780" y="854697"/>
                  <a:pt x="748417" y="846644"/>
                </a:cubicBezTo>
                <a:cubicBezTo>
                  <a:pt x="752839" y="840327"/>
                  <a:pt x="770362" y="839329"/>
                  <a:pt x="770362" y="839329"/>
                </a:cubicBezTo>
                <a:cubicBezTo>
                  <a:pt x="772801" y="836891"/>
                  <a:pt x="775904" y="834971"/>
                  <a:pt x="777678" y="832014"/>
                </a:cubicBezTo>
                <a:cubicBezTo>
                  <a:pt x="782695" y="823653"/>
                  <a:pt x="782596" y="806286"/>
                  <a:pt x="784993" y="799095"/>
                </a:cubicBezTo>
                <a:cubicBezTo>
                  <a:pt x="786383" y="794925"/>
                  <a:pt x="790342" y="792055"/>
                  <a:pt x="792308" y="788123"/>
                </a:cubicBezTo>
                <a:cubicBezTo>
                  <a:pt x="794032" y="784675"/>
                  <a:pt x="794907" y="780857"/>
                  <a:pt x="795966" y="777150"/>
                </a:cubicBezTo>
                <a:cubicBezTo>
                  <a:pt x="796005" y="777015"/>
                  <a:pt x="801525" y="753303"/>
                  <a:pt x="803281" y="751547"/>
                </a:cubicBezTo>
                <a:cubicBezTo>
                  <a:pt x="806007" y="748821"/>
                  <a:pt x="810596" y="749108"/>
                  <a:pt x="814254" y="747889"/>
                </a:cubicBezTo>
                <a:cubicBezTo>
                  <a:pt x="816692" y="744231"/>
                  <a:pt x="819784" y="740933"/>
                  <a:pt x="821569" y="736916"/>
                </a:cubicBezTo>
                <a:cubicBezTo>
                  <a:pt x="824701" y="729870"/>
                  <a:pt x="828884" y="714971"/>
                  <a:pt x="828884" y="714971"/>
                </a:cubicBezTo>
                <a:cubicBezTo>
                  <a:pt x="830103" y="706436"/>
                  <a:pt x="826446" y="695463"/>
                  <a:pt x="832542" y="689367"/>
                </a:cubicBezTo>
                <a:cubicBezTo>
                  <a:pt x="839651" y="682258"/>
                  <a:pt x="861802" y="682052"/>
                  <a:pt x="861802" y="682052"/>
                </a:cubicBezTo>
                <a:cubicBezTo>
                  <a:pt x="864241" y="679614"/>
                  <a:pt x="867576" y="677821"/>
                  <a:pt x="869118" y="674737"/>
                </a:cubicBezTo>
                <a:cubicBezTo>
                  <a:pt x="872567" y="667840"/>
                  <a:pt x="870980" y="658244"/>
                  <a:pt x="876433" y="652791"/>
                </a:cubicBezTo>
                <a:lnTo>
                  <a:pt x="894721" y="634503"/>
                </a:lnTo>
                <a:cubicBezTo>
                  <a:pt x="895940" y="630846"/>
                  <a:pt x="895970" y="626541"/>
                  <a:pt x="898378" y="623531"/>
                </a:cubicBezTo>
                <a:cubicBezTo>
                  <a:pt x="907600" y="612003"/>
                  <a:pt x="927191" y="613985"/>
                  <a:pt x="938612" y="612558"/>
                </a:cubicBezTo>
                <a:cubicBezTo>
                  <a:pt x="939831" y="608900"/>
                  <a:pt x="942270" y="605441"/>
                  <a:pt x="942270" y="601585"/>
                </a:cubicBezTo>
                <a:cubicBezTo>
                  <a:pt x="942270" y="584878"/>
                  <a:pt x="933795" y="547502"/>
                  <a:pt x="942270" y="528433"/>
                </a:cubicBezTo>
                <a:cubicBezTo>
                  <a:pt x="943836" y="524910"/>
                  <a:pt x="949794" y="526499"/>
                  <a:pt x="953242" y="524775"/>
                </a:cubicBezTo>
                <a:cubicBezTo>
                  <a:pt x="957174" y="522809"/>
                  <a:pt x="960198" y="519245"/>
                  <a:pt x="964215" y="517460"/>
                </a:cubicBezTo>
                <a:cubicBezTo>
                  <a:pt x="971261" y="514328"/>
                  <a:pt x="986161" y="510145"/>
                  <a:pt x="986161" y="510145"/>
                </a:cubicBezTo>
                <a:cubicBezTo>
                  <a:pt x="989819" y="506487"/>
                  <a:pt x="994265" y="503476"/>
                  <a:pt x="997134" y="499172"/>
                </a:cubicBezTo>
                <a:cubicBezTo>
                  <a:pt x="1004707" y="487812"/>
                  <a:pt x="995772" y="487094"/>
                  <a:pt x="1008106" y="477227"/>
                </a:cubicBezTo>
                <a:cubicBezTo>
                  <a:pt x="1011117" y="474818"/>
                  <a:pt x="1015421" y="474788"/>
                  <a:pt x="1019079" y="473569"/>
                </a:cubicBezTo>
                <a:cubicBezTo>
                  <a:pt x="1021072" y="467591"/>
                  <a:pt x="1024082" y="455354"/>
                  <a:pt x="1030052" y="451623"/>
                </a:cubicBezTo>
                <a:cubicBezTo>
                  <a:pt x="1045812" y="441773"/>
                  <a:pt x="1077433" y="441996"/>
                  <a:pt x="1092231" y="440651"/>
                </a:cubicBezTo>
                <a:cubicBezTo>
                  <a:pt x="1096409" y="428119"/>
                  <a:pt x="1101368" y="418695"/>
                  <a:pt x="1092231" y="404075"/>
                </a:cubicBezTo>
                <a:cubicBezTo>
                  <a:pt x="1089567" y="399812"/>
                  <a:pt x="1082416" y="401861"/>
                  <a:pt x="1077601" y="400417"/>
                </a:cubicBezTo>
                <a:cubicBezTo>
                  <a:pt x="1070215" y="398201"/>
                  <a:pt x="1055655" y="393102"/>
                  <a:pt x="1055655" y="393102"/>
                </a:cubicBezTo>
                <a:cubicBezTo>
                  <a:pt x="1053217" y="389444"/>
                  <a:pt x="1050306" y="386061"/>
                  <a:pt x="1048340" y="382129"/>
                </a:cubicBezTo>
                <a:cubicBezTo>
                  <a:pt x="1041620" y="368689"/>
                  <a:pt x="1044085" y="357497"/>
                  <a:pt x="1048340" y="341895"/>
                </a:cubicBezTo>
                <a:cubicBezTo>
                  <a:pt x="1050949" y="332330"/>
                  <a:pt x="1065934" y="322820"/>
                  <a:pt x="1070286" y="316292"/>
                </a:cubicBezTo>
                <a:cubicBezTo>
                  <a:pt x="1072724" y="312634"/>
                  <a:pt x="1073873" y="307649"/>
                  <a:pt x="1077601" y="305319"/>
                </a:cubicBezTo>
                <a:cubicBezTo>
                  <a:pt x="1084140" y="301232"/>
                  <a:pt x="1092231" y="300442"/>
                  <a:pt x="1099546" y="298004"/>
                </a:cubicBezTo>
                <a:lnTo>
                  <a:pt x="1110519" y="294347"/>
                </a:lnTo>
                <a:cubicBezTo>
                  <a:pt x="1112957" y="291908"/>
                  <a:pt x="1115075" y="289100"/>
                  <a:pt x="1117834" y="287031"/>
                </a:cubicBezTo>
                <a:cubicBezTo>
                  <a:pt x="1124867" y="281756"/>
                  <a:pt x="1139780" y="272401"/>
                  <a:pt x="1139780" y="272401"/>
                </a:cubicBezTo>
                <a:cubicBezTo>
                  <a:pt x="1149534" y="273620"/>
                  <a:pt x="1159430" y="273999"/>
                  <a:pt x="1169041" y="276059"/>
                </a:cubicBezTo>
                <a:cubicBezTo>
                  <a:pt x="1176581" y="277675"/>
                  <a:pt x="1190986" y="283374"/>
                  <a:pt x="1190986" y="283374"/>
                </a:cubicBezTo>
                <a:cubicBezTo>
                  <a:pt x="1193425" y="280936"/>
                  <a:pt x="1196528" y="279016"/>
                  <a:pt x="1198302" y="276059"/>
                </a:cubicBezTo>
                <a:cubicBezTo>
                  <a:pt x="1206694" y="262073"/>
                  <a:pt x="1199606" y="241557"/>
                  <a:pt x="1198302" y="228510"/>
                </a:cubicBezTo>
                <a:cubicBezTo>
                  <a:pt x="1201452" y="200158"/>
                  <a:pt x="1193168" y="198157"/>
                  <a:pt x="1212932" y="188276"/>
                </a:cubicBezTo>
                <a:cubicBezTo>
                  <a:pt x="1216380" y="186552"/>
                  <a:pt x="1220247" y="185838"/>
                  <a:pt x="1223905" y="184619"/>
                </a:cubicBezTo>
                <a:cubicBezTo>
                  <a:pt x="1233659" y="185838"/>
                  <a:pt x="1244039" y="184625"/>
                  <a:pt x="1253166" y="188276"/>
                </a:cubicBezTo>
                <a:cubicBezTo>
                  <a:pt x="1257248" y="189909"/>
                  <a:pt x="1258515" y="195317"/>
                  <a:pt x="1260481" y="199249"/>
                </a:cubicBezTo>
                <a:cubicBezTo>
                  <a:pt x="1262205" y="202697"/>
                  <a:pt x="1263079" y="206515"/>
                  <a:pt x="1264138" y="210222"/>
                </a:cubicBezTo>
                <a:cubicBezTo>
                  <a:pt x="1265519" y="215055"/>
                  <a:pt x="1265008" y="220670"/>
                  <a:pt x="1267796" y="224852"/>
                </a:cubicBezTo>
                <a:cubicBezTo>
                  <a:pt x="1270235" y="228510"/>
                  <a:pt x="1275111" y="229729"/>
                  <a:pt x="1278769" y="232167"/>
                </a:cubicBezTo>
                <a:cubicBezTo>
                  <a:pt x="1281207" y="228510"/>
                  <a:pt x="1281857" y="222403"/>
                  <a:pt x="1286084" y="221195"/>
                </a:cubicBezTo>
                <a:cubicBezTo>
                  <a:pt x="1360000" y="200077"/>
                  <a:pt x="1310081" y="230799"/>
                  <a:pt x="1340948" y="210222"/>
                </a:cubicBezTo>
                <a:cubicBezTo>
                  <a:pt x="1342167" y="206564"/>
                  <a:pt x="1345362" y="203030"/>
                  <a:pt x="1344606" y="199249"/>
                </a:cubicBezTo>
                <a:cubicBezTo>
                  <a:pt x="1343930" y="195867"/>
                  <a:pt x="1339064" y="194891"/>
                  <a:pt x="1337290" y="191934"/>
                </a:cubicBezTo>
                <a:cubicBezTo>
                  <a:pt x="1335306" y="188628"/>
                  <a:pt x="1334852" y="184619"/>
                  <a:pt x="1333633" y="180961"/>
                </a:cubicBezTo>
                <a:cubicBezTo>
                  <a:pt x="1334852" y="172427"/>
                  <a:pt x="1333435" y="163069"/>
                  <a:pt x="1337290" y="155358"/>
                </a:cubicBezTo>
                <a:cubicBezTo>
                  <a:pt x="1339014" y="151909"/>
                  <a:pt x="1344470" y="152390"/>
                  <a:pt x="1348263" y="151700"/>
                </a:cubicBezTo>
                <a:cubicBezTo>
                  <a:pt x="1357934" y="149942"/>
                  <a:pt x="1367770" y="149262"/>
                  <a:pt x="1377524" y="148043"/>
                </a:cubicBezTo>
                <a:cubicBezTo>
                  <a:pt x="1376305" y="139508"/>
                  <a:pt x="1376134" y="130757"/>
                  <a:pt x="1373866" y="122439"/>
                </a:cubicBezTo>
                <a:cubicBezTo>
                  <a:pt x="1367858" y="100412"/>
                  <a:pt x="1355592" y="110705"/>
                  <a:pt x="1370209" y="78548"/>
                </a:cubicBezTo>
                <a:cubicBezTo>
                  <a:pt x="1372731" y="72998"/>
                  <a:pt x="1379879" y="71118"/>
                  <a:pt x="1384839" y="67575"/>
                </a:cubicBezTo>
                <a:cubicBezTo>
                  <a:pt x="1398152" y="58066"/>
                  <a:pt x="1396084" y="61252"/>
                  <a:pt x="1410442" y="49287"/>
                </a:cubicBezTo>
                <a:cubicBezTo>
                  <a:pt x="1413091" y="47079"/>
                  <a:pt x="1415319" y="44410"/>
                  <a:pt x="1417758" y="41972"/>
                </a:cubicBezTo>
                <a:cubicBezTo>
                  <a:pt x="1420196" y="45630"/>
                  <a:pt x="1424675" y="48567"/>
                  <a:pt x="1425073" y="52945"/>
                </a:cubicBezTo>
                <a:cubicBezTo>
                  <a:pt x="1435602" y="168775"/>
                  <a:pt x="1393302" y="150862"/>
                  <a:pt x="1439703" y="166331"/>
                </a:cubicBezTo>
                <a:cubicBezTo>
                  <a:pt x="1447018" y="165112"/>
                  <a:pt x="1455016" y="165990"/>
                  <a:pt x="1461649" y="162673"/>
                </a:cubicBezTo>
                <a:cubicBezTo>
                  <a:pt x="1465581" y="160707"/>
                  <a:pt x="1467976" y="155983"/>
                  <a:pt x="1468964" y="151700"/>
                </a:cubicBezTo>
                <a:cubicBezTo>
                  <a:pt x="1471719" y="139761"/>
                  <a:pt x="1469019" y="126835"/>
                  <a:pt x="1472622" y="115124"/>
                </a:cubicBezTo>
                <a:cubicBezTo>
                  <a:pt x="1474143" y="110180"/>
                  <a:pt x="1479072" y="106663"/>
                  <a:pt x="1483594" y="104151"/>
                </a:cubicBezTo>
                <a:cubicBezTo>
                  <a:pt x="1490335" y="100406"/>
                  <a:pt x="1505540" y="96836"/>
                  <a:pt x="1505540" y="96836"/>
                </a:cubicBezTo>
                <a:cubicBezTo>
                  <a:pt x="1507978" y="93178"/>
                  <a:pt x="1512369" y="90232"/>
                  <a:pt x="1512855" y="85863"/>
                </a:cubicBezTo>
                <a:cubicBezTo>
                  <a:pt x="1517510" y="43972"/>
                  <a:pt x="1493303" y="84770"/>
                  <a:pt x="1512855" y="30999"/>
                </a:cubicBezTo>
                <a:cubicBezTo>
                  <a:pt x="1514357" y="26868"/>
                  <a:pt x="1519896" y="25650"/>
                  <a:pt x="1523828" y="23684"/>
                </a:cubicBezTo>
                <a:cubicBezTo>
                  <a:pt x="1535103" y="18047"/>
                  <a:pt x="1553982" y="17629"/>
                  <a:pt x="1564062" y="16369"/>
                </a:cubicBezTo>
                <a:cubicBezTo>
                  <a:pt x="1565281" y="11492"/>
                  <a:pt x="1562950" y="3329"/>
                  <a:pt x="1567719" y="1739"/>
                </a:cubicBezTo>
                <a:cubicBezTo>
                  <a:pt x="1571889" y="349"/>
                  <a:pt x="1574825" y="8320"/>
                  <a:pt x="1575034" y="12711"/>
                </a:cubicBezTo>
                <a:cubicBezTo>
                  <a:pt x="1576875" y="51365"/>
                  <a:pt x="1582420" y="66574"/>
                  <a:pt x="1564062" y="89521"/>
                </a:cubicBezTo>
                <a:cubicBezTo>
                  <a:pt x="1561908" y="92214"/>
                  <a:pt x="1559185" y="94398"/>
                  <a:pt x="1556746" y="96836"/>
                </a:cubicBezTo>
                <a:cubicBezTo>
                  <a:pt x="1552740" y="108855"/>
                  <a:pt x="1548616" y="115527"/>
                  <a:pt x="1556746" y="129755"/>
                </a:cubicBezTo>
                <a:cubicBezTo>
                  <a:pt x="1558659" y="133102"/>
                  <a:pt x="1564061" y="132193"/>
                  <a:pt x="1567719" y="133412"/>
                </a:cubicBezTo>
                <a:cubicBezTo>
                  <a:pt x="1578692" y="132193"/>
                  <a:pt x="1590387" y="133855"/>
                  <a:pt x="1600638" y="129755"/>
                </a:cubicBezTo>
                <a:cubicBezTo>
                  <a:pt x="1604218" y="128323"/>
                  <a:pt x="1604010" y="122627"/>
                  <a:pt x="1604295" y="118782"/>
                </a:cubicBezTo>
                <a:cubicBezTo>
                  <a:pt x="1606458" y="89576"/>
                  <a:pt x="1600339" y="59278"/>
                  <a:pt x="1607953" y="30999"/>
                </a:cubicBezTo>
                <a:cubicBezTo>
                  <a:pt x="1609958" y="23553"/>
                  <a:pt x="1629898" y="23684"/>
                  <a:pt x="1629898" y="23684"/>
                </a:cubicBezTo>
                <a:cubicBezTo>
                  <a:pt x="1635994" y="26122"/>
                  <a:pt x="1643142" y="26796"/>
                  <a:pt x="1648186" y="30999"/>
                </a:cubicBezTo>
                <a:cubicBezTo>
                  <a:pt x="1651148" y="33467"/>
                  <a:pt x="1651008" y="38208"/>
                  <a:pt x="1651844" y="41972"/>
                </a:cubicBezTo>
                <a:cubicBezTo>
                  <a:pt x="1653453" y="49212"/>
                  <a:pt x="1651191" y="57883"/>
                  <a:pt x="1655502" y="63918"/>
                </a:cubicBezTo>
                <a:cubicBezTo>
                  <a:pt x="1658424" y="68008"/>
                  <a:pt x="1665255" y="66356"/>
                  <a:pt x="1670132" y="67575"/>
                </a:cubicBezTo>
                <a:cubicBezTo>
                  <a:pt x="1673830" y="62028"/>
                  <a:pt x="1681105" y="53201"/>
                  <a:pt x="1681105" y="45630"/>
                </a:cubicBezTo>
                <a:cubicBezTo>
                  <a:pt x="1681105" y="32759"/>
                  <a:pt x="1677561" y="24025"/>
                  <a:pt x="1673790" y="12711"/>
                </a:cubicBezTo>
                <a:cubicBezTo>
                  <a:pt x="1675009" y="9054"/>
                  <a:pt x="1673622" y="2217"/>
                  <a:pt x="1677447" y="1739"/>
                </a:cubicBezTo>
                <a:cubicBezTo>
                  <a:pt x="1691365" y="0"/>
                  <a:pt x="1702602" y="6664"/>
                  <a:pt x="1710366" y="16369"/>
                </a:cubicBezTo>
                <a:cubicBezTo>
                  <a:pt x="1713112" y="19802"/>
                  <a:pt x="1714373" y="24447"/>
                  <a:pt x="1717681" y="27342"/>
                </a:cubicBezTo>
                <a:cubicBezTo>
                  <a:pt x="1724297" y="33131"/>
                  <a:pt x="1739626" y="41972"/>
                  <a:pt x="1739626" y="41972"/>
                </a:cubicBezTo>
                <a:cubicBezTo>
                  <a:pt x="1744503" y="40753"/>
                  <a:pt x="1749761" y="40563"/>
                  <a:pt x="1754257" y="38315"/>
                </a:cubicBezTo>
                <a:cubicBezTo>
                  <a:pt x="1769600" y="30643"/>
                  <a:pt x="1753387" y="30360"/>
                  <a:pt x="1768887" y="20027"/>
                </a:cubicBezTo>
                <a:cubicBezTo>
                  <a:pt x="1773070" y="17239"/>
                  <a:pt x="1778641" y="17588"/>
                  <a:pt x="1783518" y="16369"/>
                </a:cubicBezTo>
                <a:cubicBezTo>
                  <a:pt x="1824101" y="20879"/>
                  <a:pt x="1805962" y="16536"/>
                  <a:pt x="1838382" y="27342"/>
                </a:cubicBezTo>
                <a:cubicBezTo>
                  <a:pt x="1838386" y="27343"/>
                  <a:pt x="1860324" y="34655"/>
                  <a:pt x="1860327" y="34657"/>
                </a:cubicBezTo>
                <a:cubicBezTo>
                  <a:pt x="1874508" y="44111"/>
                  <a:pt x="1867130" y="40582"/>
                  <a:pt x="1882273" y="45630"/>
                </a:cubicBezTo>
                <a:cubicBezTo>
                  <a:pt x="1888652" y="64771"/>
                  <a:pt x="1893560" y="74695"/>
                  <a:pt x="1882273" y="100494"/>
                </a:cubicBezTo>
                <a:cubicBezTo>
                  <a:pt x="1877431" y="111561"/>
                  <a:pt x="1848040" y="119220"/>
                  <a:pt x="1838382" y="122439"/>
                </a:cubicBezTo>
                <a:lnTo>
                  <a:pt x="1827409" y="126097"/>
                </a:lnTo>
                <a:cubicBezTo>
                  <a:pt x="1823711" y="131644"/>
                  <a:pt x="1816436" y="140472"/>
                  <a:pt x="1816436" y="148043"/>
                </a:cubicBezTo>
                <a:cubicBezTo>
                  <a:pt x="1816436" y="151898"/>
                  <a:pt x="1817368" y="156289"/>
                  <a:pt x="1820094" y="159015"/>
                </a:cubicBezTo>
                <a:cubicBezTo>
                  <a:pt x="1821851" y="160772"/>
                  <a:pt x="1845561" y="166290"/>
                  <a:pt x="1845697" y="166331"/>
                </a:cubicBezTo>
                <a:cubicBezTo>
                  <a:pt x="1885951" y="178407"/>
                  <a:pt x="1850298" y="172070"/>
                  <a:pt x="1907876" y="177303"/>
                </a:cubicBezTo>
                <a:cubicBezTo>
                  <a:pt x="1910314" y="179742"/>
                  <a:pt x="1913037" y="181926"/>
                  <a:pt x="1915191" y="184619"/>
                </a:cubicBezTo>
                <a:cubicBezTo>
                  <a:pt x="1920579" y="191354"/>
                  <a:pt x="1927462" y="197951"/>
                  <a:pt x="1918849" y="206564"/>
                </a:cubicBezTo>
                <a:cubicBezTo>
                  <a:pt x="1916123" y="209290"/>
                  <a:pt x="1911534" y="209003"/>
                  <a:pt x="1907876" y="210222"/>
                </a:cubicBezTo>
                <a:cubicBezTo>
                  <a:pt x="1900561" y="217537"/>
                  <a:pt x="1891668" y="223559"/>
                  <a:pt x="1885930" y="232167"/>
                </a:cubicBezTo>
                <a:cubicBezTo>
                  <a:pt x="1881053" y="239482"/>
                  <a:pt x="1874080" y="245772"/>
                  <a:pt x="1871300" y="254113"/>
                </a:cubicBezTo>
                <a:cubicBezTo>
                  <a:pt x="1870081" y="257771"/>
                  <a:pt x="1869781" y="261878"/>
                  <a:pt x="1867642" y="265086"/>
                </a:cubicBezTo>
                <a:cubicBezTo>
                  <a:pt x="1864773" y="269390"/>
                  <a:pt x="1860327" y="272401"/>
                  <a:pt x="1856670" y="276059"/>
                </a:cubicBezTo>
                <a:cubicBezTo>
                  <a:pt x="1849677" y="297035"/>
                  <a:pt x="1857746" y="278282"/>
                  <a:pt x="1845697" y="294347"/>
                </a:cubicBezTo>
                <a:cubicBezTo>
                  <a:pt x="1826134" y="320431"/>
                  <a:pt x="1840631" y="313103"/>
                  <a:pt x="1820094" y="319950"/>
                </a:cubicBezTo>
                <a:cubicBezTo>
                  <a:pt x="1816436" y="317512"/>
                  <a:pt x="1810075" y="316926"/>
                  <a:pt x="1809121" y="312635"/>
                </a:cubicBezTo>
                <a:cubicBezTo>
                  <a:pt x="1808165" y="308334"/>
                  <a:pt x="1815047" y="275686"/>
                  <a:pt x="1816436" y="268743"/>
                </a:cubicBezTo>
                <a:cubicBezTo>
                  <a:pt x="1815217" y="244359"/>
                  <a:pt x="1814893" y="219914"/>
                  <a:pt x="1812778" y="195591"/>
                </a:cubicBezTo>
                <a:cubicBezTo>
                  <a:pt x="1812444" y="191750"/>
                  <a:pt x="1811104" y="187925"/>
                  <a:pt x="1809121" y="184619"/>
                </a:cubicBezTo>
                <a:cubicBezTo>
                  <a:pt x="1807347" y="181662"/>
                  <a:pt x="1804244" y="179742"/>
                  <a:pt x="1801806" y="177303"/>
                </a:cubicBezTo>
                <a:cubicBezTo>
                  <a:pt x="1798929" y="168674"/>
                  <a:pt x="1799199" y="164035"/>
                  <a:pt x="1790833" y="159015"/>
                </a:cubicBezTo>
                <a:cubicBezTo>
                  <a:pt x="1787527" y="157031"/>
                  <a:pt x="1783518" y="156577"/>
                  <a:pt x="1779860" y="155358"/>
                </a:cubicBezTo>
                <a:cubicBezTo>
                  <a:pt x="1750599" y="156577"/>
                  <a:pt x="1721284" y="156852"/>
                  <a:pt x="1692078" y="159015"/>
                </a:cubicBezTo>
                <a:cubicBezTo>
                  <a:pt x="1688233" y="159300"/>
                  <a:pt x="1684116" y="160264"/>
                  <a:pt x="1681105" y="162673"/>
                </a:cubicBezTo>
                <a:cubicBezTo>
                  <a:pt x="1677672" y="165419"/>
                  <a:pt x="1676536" y="170213"/>
                  <a:pt x="1673790" y="173646"/>
                </a:cubicBezTo>
                <a:cubicBezTo>
                  <a:pt x="1671636" y="176339"/>
                  <a:pt x="1668913" y="178523"/>
                  <a:pt x="1666474" y="180961"/>
                </a:cubicBezTo>
                <a:cubicBezTo>
                  <a:pt x="1665255" y="185838"/>
                  <a:pt x="1664261" y="190776"/>
                  <a:pt x="1662817" y="195591"/>
                </a:cubicBezTo>
                <a:cubicBezTo>
                  <a:pt x="1660601" y="202977"/>
                  <a:pt x="1657372" y="210056"/>
                  <a:pt x="1655502" y="217537"/>
                </a:cubicBezTo>
                <a:cubicBezTo>
                  <a:pt x="1650909" y="235907"/>
                  <a:pt x="1653434" y="227398"/>
                  <a:pt x="1648186" y="243140"/>
                </a:cubicBezTo>
                <a:cubicBezTo>
                  <a:pt x="1646967" y="257770"/>
                  <a:pt x="1646707" y="272512"/>
                  <a:pt x="1644529" y="287031"/>
                </a:cubicBezTo>
                <a:cubicBezTo>
                  <a:pt x="1642023" y="303739"/>
                  <a:pt x="1635271" y="322120"/>
                  <a:pt x="1629898" y="338238"/>
                </a:cubicBezTo>
                <a:cubicBezTo>
                  <a:pt x="1628679" y="341896"/>
                  <a:pt x="1627176" y="345471"/>
                  <a:pt x="1626241" y="349211"/>
                </a:cubicBezTo>
                <a:cubicBezTo>
                  <a:pt x="1625022" y="354088"/>
                  <a:pt x="1624027" y="359026"/>
                  <a:pt x="1622583" y="363841"/>
                </a:cubicBezTo>
                <a:cubicBezTo>
                  <a:pt x="1620367" y="371227"/>
                  <a:pt x="1621684" y="381510"/>
                  <a:pt x="1615268" y="385787"/>
                </a:cubicBezTo>
                <a:cubicBezTo>
                  <a:pt x="1601087" y="395241"/>
                  <a:pt x="1608465" y="391712"/>
                  <a:pt x="1593322" y="396759"/>
                </a:cubicBezTo>
                <a:cubicBezTo>
                  <a:pt x="1586007" y="395540"/>
                  <a:pt x="1578010" y="396418"/>
                  <a:pt x="1571377" y="393102"/>
                </a:cubicBezTo>
                <a:cubicBezTo>
                  <a:pt x="1567445" y="391136"/>
                  <a:pt x="1566808" y="385562"/>
                  <a:pt x="1564062" y="382129"/>
                </a:cubicBezTo>
                <a:cubicBezTo>
                  <a:pt x="1561908" y="379436"/>
                  <a:pt x="1559185" y="377252"/>
                  <a:pt x="1556746" y="374814"/>
                </a:cubicBezTo>
                <a:cubicBezTo>
                  <a:pt x="1544554" y="376033"/>
                  <a:pt x="1532057" y="375499"/>
                  <a:pt x="1520170" y="378471"/>
                </a:cubicBezTo>
                <a:cubicBezTo>
                  <a:pt x="1516824" y="379307"/>
                  <a:pt x="1516298" y="385596"/>
                  <a:pt x="1512855" y="385787"/>
                </a:cubicBezTo>
                <a:lnTo>
                  <a:pt x="1454334" y="382129"/>
                </a:lnTo>
                <a:lnTo>
                  <a:pt x="1432388" y="374814"/>
                </a:lnTo>
                <a:cubicBezTo>
                  <a:pt x="1428730" y="373595"/>
                  <a:pt x="1424623" y="373295"/>
                  <a:pt x="1421415" y="371156"/>
                </a:cubicBezTo>
                <a:lnTo>
                  <a:pt x="1410442" y="363841"/>
                </a:lnTo>
                <a:cubicBezTo>
                  <a:pt x="1408004" y="360183"/>
                  <a:pt x="1404912" y="356885"/>
                  <a:pt x="1403127" y="352868"/>
                </a:cubicBezTo>
                <a:cubicBezTo>
                  <a:pt x="1399995" y="345822"/>
                  <a:pt x="1398250" y="338238"/>
                  <a:pt x="1395812" y="330923"/>
                </a:cubicBezTo>
                <a:cubicBezTo>
                  <a:pt x="1394593" y="327265"/>
                  <a:pt x="1394293" y="323158"/>
                  <a:pt x="1392154" y="319950"/>
                </a:cubicBezTo>
                <a:lnTo>
                  <a:pt x="1384839" y="308977"/>
                </a:lnTo>
                <a:cubicBezTo>
                  <a:pt x="1376305" y="283373"/>
                  <a:pt x="1384839" y="289469"/>
                  <a:pt x="1366551" y="283374"/>
                </a:cubicBezTo>
                <a:cubicBezTo>
                  <a:pt x="1362893" y="280936"/>
                  <a:pt x="1359956" y="276457"/>
                  <a:pt x="1355578" y="276059"/>
                </a:cubicBezTo>
                <a:cubicBezTo>
                  <a:pt x="1339328" y="274582"/>
                  <a:pt x="1329039" y="278809"/>
                  <a:pt x="1315345" y="283374"/>
                </a:cubicBezTo>
                <a:cubicBezTo>
                  <a:pt x="1312907" y="287032"/>
                  <a:pt x="1308840" y="290026"/>
                  <a:pt x="1308030" y="294347"/>
                </a:cubicBezTo>
                <a:cubicBezTo>
                  <a:pt x="1304271" y="314393"/>
                  <a:pt x="1311006" y="346234"/>
                  <a:pt x="1293399" y="363841"/>
                </a:cubicBezTo>
                <a:cubicBezTo>
                  <a:pt x="1286310" y="370930"/>
                  <a:pt x="1280377" y="371839"/>
                  <a:pt x="1271454" y="374814"/>
                </a:cubicBezTo>
                <a:cubicBezTo>
                  <a:pt x="1268759" y="382899"/>
                  <a:pt x="1267036" y="398968"/>
                  <a:pt x="1256823" y="404075"/>
                </a:cubicBezTo>
                <a:cubicBezTo>
                  <a:pt x="1249926" y="407524"/>
                  <a:pt x="1234878" y="411390"/>
                  <a:pt x="1234878" y="411390"/>
                </a:cubicBezTo>
                <a:cubicBezTo>
                  <a:pt x="1216340" y="429925"/>
                  <a:pt x="1240331" y="408118"/>
                  <a:pt x="1216590" y="422363"/>
                </a:cubicBezTo>
                <a:cubicBezTo>
                  <a:pt x="1210797" y="425839"/>
                  <a:pt x="1205283" y="435664"/>
                  <a:pt x="1201959" y="440651"/>
                </a:cubicBezTo>
                <a:cubicBezTo>
                  <a:pt x="1200740" y="444308"/>
                  <a:pt x="1200285" y="448317"/>
                  <a:pt x="1198302" y="451623"/>
                </a:cubicBezTo>
                <a:cubicBezTo>
                  <a:pt x="1193281" y="459992"/>
                  <a:pt x="1188646" y="459719"/>
                  <a:pt x="1180014" y="462596"/>
                </a:cubicBezTo>
                <a:cubicBezTo>
                  <a:pt x="1176263" y="468222"/>
                  <a:pt x="1163510" y="490459"/>
                  <a:pt x="1154410" y="495515"/>
                </a:cubicBezTo>
                <a:cubicBezTo>
                  <a:pt x="1138200" y="504521"/>
                  <a:pt x="1116920" y="504557"/>
                  <a:pt x="1099546" y="506487"/>
                </a:cubicBezTo>
                <a:cubicBezTo>
                  <a:pt x="1094230" y="522435"/>
                  <a:pt x="1094576" y="527814"/>
                  <a:pt x="1084916" y="539406"/>
                </a:cubicBezTo>
                <a:cubicBezTo>
                  <a:pt x="1081605" y="543380"/>
                  <a:pt x="1077601" y="546721"/>
                  <a:pt x="1073943" y="550379"/>
                </a:cubicBezTo>
                <a:cubicBezTo>
                  <a:pt x="1071505" y="557694"/>
                  <a:pt x="1070905" y="565908"/>
                  <a:pt x="1066628" y="572324"/>
                </a:cubicBezTo>
                <a:cubicBezTo>
                  <a:pt x="1061751" y="579639"/>
                  <a:pt x="1054779" y="585929"/>
                  <a:pt x="1051998" y="594270"/>
                </a:cubicBezTo>
                <a:lnTo>
                  <a:pt x="1044682" y="616215"/>
                </a:lnTo>
                <a:cubicBezTo>
                  <a:pt x="1043463" y="619873"/>
                  <a:pt x="1043164" y="623980"/>
                  <a:pt x="1041025" y="627188"/>
                </a:cubicBezTo>
                <a:cubicBezTo>
                  <a:pt x="1038587" y="630846"/>
                  <a:pt x="1035676" y="634229"/>
                  <a:pt x="1033710" y="638161"/>
                </a:cubicBezTo>
                <a:cubicBezTo>
                  <a:pt x="1018567" y="668448"/>
                  <a:pt x="1043700" y="628660"/>
                  <a:pt x="1022737" y="660107"/>
                </a:cubicBezTo>
                <a:cubicBezTo>
                  <a:pt x="1021518" y="664984"/>
                  <a:pt x="1020460" y="669904"/>
                  <a:pt x="1019079" y="674737"/>
                </a:cubicBezTo>
                <a:cubicBezTo>
                  <a:pt x="1018020" y="678444"/>
                  <a:pt x="1015848" y="681878"/>
                  <a:pt x="1015422" y="685710"/>
                </a:cubicBezTo>
                <a:cubicBezTo>
                  <a:pt x="1013398" y="703927"/>
                  <a:pt x="1016009" y="722744"/>
                  <a:pt x="1011764" y="740574"/>
                </a:cubicBezTo>
                <a:cubicBezTo>
                  <a:pt x="1009728" y="749126"/>
                  <a:pt x="999914" y="754179"/>
                  <a:pt x="997134" y="762519"/>
                </a:cubicBezTo>
                <a:cubicBezTo>
                  <a:pt x="995915" y="766177"/>
                  <a:pt x="995348" y="770122"/>
                  <a:pt x="993476" y="773492"/>
                </a:cubicBezTo>
                <a:cubicBezTo>
                  <a:pt x="983135" y="792107"/>
                  <a:pt x="982631" y="791654"/>
                  <a:pt x="971530" y="802753"/>
                </a:cubicBezTo>
                <a:cubicBezTo>
                  <a:pt x="969092" y="810068"/>
                  <a:pt x="968492" y="818283"/>
                  <a:pt x="964215" y="824699"/>
                </a:cubicBezTo>
                <a:cubicBezTo>
                  <a:pt x="961777" y="828356"/>
                  <a:pt x="959646" y="832239"/>
                  <a:pt x="956900" y="835671"/>
                </a:cubicBezTo>
                <a:cubicBezTo>
                  <a:pt x="947831" y="847008"/>
                  <a:pt x="949773" y="838954"/>
                  <a:pt x="942270" y="853959"/>
                </a:cubicBezTo>
                <a:cubicBezTo>
                  <a:pt x="940546" y="857407"/>
                  <a:pt x="940751" y="861724"/>
                  <a:pt x="938612" y="864932"/>
                </a:cubicBezTo>
                <a:cubicBezTo>
                  <a:pt x="935743" y="869236"/>
                  <a:pt x="930815" y="871822"/>
                  <a:pt x="927639" y="875905"/>
                </a:cubicBezTo>
                <a:cubicBezTo>
                  <a:pt x="922241" y="882845"/>
                  <a:pt x="917886" y="890536"/>
                  <a:pt x="913009" y="897851"/>
                </a:cubicBezTo>
                <a:lnTo>
                  <a:pt x="898378" y="919796"/>
                </a:lnTo>
                <a:lnTo>
                  <a:pt x="891063" y="930769"/>
                </a:lnTo>
                <a:cubicBezTo>
                  <a:pt x="885262" y="948173"/>
                  <a:pt x="886370" y="951265"/>
                  <a:pt x="876433" y="963687"/>
                </a:cubicBezTo>
                <a:cubicBezTo>
                  <a:pt x="874279" y="966380"/>
                  <a:pt x="871556" y="968564"/>
                  <a:pt x="869118" y="971003"/>
                </a:cubicBezTo>
                <a:lnTo>
                  <a:pt x="861802" y="992948"/>
                </a:lnTo>
                <a:lnTo>
                  <a:pt x="858145" y="1003921"/>
                </a:lnTo>
                <a:cubicBezTo>
                  <a:pt x="863855" y="1021055"/>
                  <a:pt x="864968" y="1019135"/>
                  <a:pt x="858145" y="1044155"/>
                </a:cubicBezTo>
                <a:cubicBezTo>
                  <a:pt x="856988" y="1048396"/>
                  <a:pt x="852796" y="1051195"/>
                  <a:pt x="850830" y="1055127"/>
                </a:cubicBezTo>
                <a:cubicBezTo>
                  <a:pt x="849106" y="1058575"/>
                  <a:pt x="848391" y="1062442"/>
                  <a:pt x="847172" y="1066100"/>
                </a:cubicBezTo>
                <a:cubicBezTo>
                  <a:pt x="848391" y="1083169"/>
                  <a:pt x="848940" y="1100299"/>
                  <a:pt x="850830" y="1117307"/>
                </a:cubicBezTo>
                <a:cubicBezTo>
                  <a:pt x="851385" y="1122303"/>
                  <a:pt x="853588" y="1126991"/>
                  <a:pt x="854487" y="1131937"/>
                </a:cubicBezTo>
                <a:cubicBezTo>
                  <a:pt x="856029" y="1140419"/>
                  <a:pt x="856926" y="1149006"/>
                  <a:pt x="858145" y="1157540"/>
                </a:cubicBezTo>
                <a:cubicBezTo>
                  <a:pt x="856926" y="1163636"/>
                  <a:pt x="857267" y="1170268"/>
                  <a:pt x="854487" y="1175828"/>
                </a:cubicBezTo>
                <a:cubicBezTo>
                  <a:pt x="852174" y="1180455"/>
                  <a:pt x="847488" y="1183489"/>
                  <a:pt x="843514" y="1186801"/>
                </a:cubicBezTo>
                <a:cubicBezTo>
                  <a:pt x="831921" y="1196462"/>
                  <a:pt x="826546" y="1196114"/>
                  <a:pt x="810596" y="1201431"/>
                </a:cubicBezTo>
                <a:cubicBezTo>
                  <a:pt x="806938" y="1202650"/>
                  <a:pt x="802831" y="1202950"/>
                  <a:pt x="799623" y="1205089"/>
                </a:cubicBezTo>
                <a:cubicBezTo>
                  <a:pt x="785442" y="1214542"/>
                  <a:pt x="792820" y="1211014"/>
                  <a:pt x="777678" y="1216062"/>
                </a:cubicBezTo>
                <a:cubicBezTo>
                  <a:pt x="770875" y="1222864"/>
                  <a:pt x="768616" y="1226079"/>
                  <a:pt x="759390" y="1230692"/>
                </a:cubicBezTo>
                <a:cubicBezTo>
                  <a:pt x="755942" y="1232416"/>
                  <a:pt x="752075" y="1233131"/>
                  <a:pt x="748417" y="1234350"/>
                </a:cubicBezTo>
                <a:cubicBezTo>
                  <a:pt x="745979" y="1238008"/>
                  <a:pt x="743848" y="1241890"/>
                  <a:pt x="741102" y="1245323"/>
                </a:cubicBezTo>
                <a:cubicBezTo>
                  <a:pt x="738948" y="1248016"/>
                  <a:pt x="735855" y="1249879"/>
                  <a:pt x="733786" y="1252638"/>
                </a:cubicBezTo>
                <a:cubicBezTo>
                  <a:pt x="728511" y="1259671"/>
                  <a:pt x="725372" y="1268366"/>
                  <a:pt x="719156" y="1274583"/>
                </a:cubicBezTo>
                <a:cubicBezTo>
                  <a:pt x="712354" y="1281386"/>
                  <a:pt x="709139" y="1283645"/>
                  <a:pt x="704526" y="1292871"/>
                </a:cubicBezTo>
                <a:cubicBezTo>
                  <a:pt x="702802" y="1296319"/>
                  <a:pt x="702592" y="1300395"/>
                  <a:pt x="700868" y="1303844"/>
                </a:cubicBezTo>
                <a:cubicBezTo>
                  <a:pt x="698902" y="1307776"/>
                  <a:pt x="695338" y="1310800"/>
                  <a:pt x="693553" y="1314817"/>
                </a:cubicBezTo>
                <a:cubicBezTo>
                  <a:pt x="690421" y="1321863"/>
                  <a:pt x="688677" y="1329448"/>
                  <a:pt x="686238" y="1336763"/>
                </a:cubicBezTo>
                <a:lnTo>
                  <a:pt x="682580" y="1347735"/>
                </a:lnTo>
                <a:lnTo>
                  <a:pt x="678922" y="1358708"/>
                </a:lnTo>
                <a:lnTo>
                  <a:pt x="675265" y="1369681"/>
                </a:lnTo>
                <a:cubicBezTo>
                  <a:pt x="676484" y="1398942"/>
                  <a:pt x="674107" y="1428575"/>
                  <a:pt x="678922" y="1457463"/>
                </a:cubicBezTo>
                <a:cubicBezTo>
                  <a:pt x="680367" y="1466135"/>
                  <a:pt x="693553" y="1479409"/>
                  <a:pt x="693553" y="1479409"/>
                </a:cubicBezTo>
                <a:cubicBezTo>
                  <a:pt x="699252" y="1496510"/>
                  <a:pt x="699283" y="1491151"/>
                  <a:pt x="693553" y="1515985"/>
                </a:cubicBezTo>
                <a:cubicBezTo>
                  <a:pt x="691819" y="1523499"/>
                  <a:pt x="688677" y="1530616"/>
                  <a:pt x="686238" y="1537931"/>
                </a:cubicBezTo>
                <a:lnTo>
                  <a:pt x="682580" y="1548903"/>
                </a:lnTo>
                <a:cubicBezTo>
                  <a:pt x="689018" y="1568216"/>
                  <a:pt x="683030" y="1557738"/>
                  <a:pt x="708183" y="1574507"/>
                </a:cubicBezTo>
                <a:lnTo>
                  <a:pt x="719156" y="1581822"/>
                </a:lnTo>
                <a:lnTo>
                  <a:pt x="730129" y="1589137"/>
                </a:lnTo>
                <a:cubicBezTo>
                  <a:pt x="728910" y="1601329"/>
                  <a:pt x="730346" y="1614089"/>
                  <a:pt x="726471" y="1625713"/>
                </a:cubicBezTo>
                <a:cubicBezTo>
                  <a:pt x="725081" y="1629883"/>
                  <a:pt x="718606" y="1629920"/>
                  <a:pt x="715498" y="1633028"/>
                </a:cubicBezTo>
                <a:cubicBezTo>
                  <a:pt x="698953" y="1649573"/>
                  <a:pt x="718573" y="1640537"/>
                  <a:pt x="697210" y="1647659"/>
                </a:cubicBezTo>
                <a:cubicBezTo>
                  <a:pt x="694772" y="1651316"/>
                  <a:pt x="691861" y="1654699"/>
                  <a:pt x="689895" y="1658631"/>
                </a:cubicBezTo>
                <a:cubicBezTo>
                  <a:pt x="683769" y="1670884"/>
                  <a:pt x="683738" y="1692102"/>
                  <a:pt x="682580" y="1702523"/>
                </a:cubicBezTo>
                <a:cubicBezTo>
                  <a:pt x="681361" y="1734222"/>
                  <a:pt x="681105" y="1765973"/>
                  <a:pt x="678922" y="1797620"/>
                </a:cubicBezTo>
                <a:cubicBezTo>
                  <a:pt x="678657" y="1801466"/>
                  <a:pt x="676101" y="1804829"/>
                  <a:pt x="675265" y="1808593"/>
                </a:cubicBezTo>
                <a:cubicBezTo>
                  <a:pt x="669429" y="1834857"/>
                  <a:pt x="679446" y="1827927"/>
                  <a:pt x="660634" y="1834196"/>
                </a:cubicBezTo>
                <a:cubicBezTo>
                  <a:pt x="656977" y="1837854"/>
                  <a:pt x="652973" y="1841195"/>
                  <a:pt x="649662" y="1845169"/>
                </a:cubicBezTo>
                <a:cubicBezTo>
                  <a:pt x="646848" y="1848546"/>
                  <a:pt x="645779" y="1853396"/>
                  <a:pt x="642346" y="1856142"/>
                </a:cubicBezTo>
                <a:cubicBezTo>
                  <a:pt x="639336" y="1858550"/>
                  <a:pt x="635031" y="1858580"/>
                  <a:pt x="631374" y="1859799"/>
                </a:cubicBezTo>
                <a:cubicBezTo>
                  <a:pt x="610413" y="1891238"/>
                  <a:pt x="635539" y="1851466"/>
                  <a:pt x="620401" y="1881745"/>
                </a:cubicBezTo>
                <a:cubicBezTo>
                  <a:pt x="615787" y="1890975"/>
                  <a:pt x="612575" y="1893229"/>
                  <a:pt x="605770" y="1900033"/>
                </a:cubicBezTo>
                <a:cubicBezTo>
                  <a:pt x="603332" y="1907348"/>
                  <a:pt x="599411" y="1914328"/>
                  <a:pt x="598455" y="1921979"/>
                </a:cubicBezTo>
                <a:cubicBezTo>
                  <a:pt x="598299" y="1923224"/>
                  <a:pt x="596346" y="1954404"/>
                  <a:pt x="591140" y="1962212"/>
                </a:cubicBezTo>
                <a:cubicBezTo>
                  <a:pt x="588271" y="1966516"/>
                  <a:pt x="584471" y="1970316"/>
                  <a:pt x="580167" y="1973185"/>
                </a:cubicBezTo>
                <a:cubicBezTo>
                  <a:pt x="576959" y="1975324"/>
                  <a:pt x="572852" y="1975624"/>
                  <a:pt x="569194" y="1976843"/>
                </a:cubicBezTo>
                <a:cubicBezTo>
                  <a:pt x="566756" y="1980500"/>
                  <a:pt x="564625" y="1984383"/>
                  <a:pt x="561879" y="1987815"/>
                </a:cubicBezTo>
                <a:cubicBezTo>
                  <a:pt x="554282" y="1997312"/>
                  <a:pt x="552875" y="1993444"/>
                  <a:pt x="547249" y="2006103"/>
                </a:cubicBezTo>
                <a:cubicBezTo>
                  <a:pt x="544117" y="2013149"/>
                  <a:pt x="542372" y="2020734"/>
                  <a:pt x="539934" y="2028049"/>
                </a:cubicBezTo>
                <a:cubicBezTo>
                  <a:pt x="538715" y="2031707"/>
                  <a:pt x="538415" y="2035814"/>
                  <a:pt x="536276" y="2039022"/>
                </a:cubicBezTo>
                <a:cubicBezTo>
                  <a:pt x="527048" y="2052864"/>
                  <a:pt x="527741" y="2055481"/>
                  <a:pt x="525303" y="2049995"/>
                </a:cubicBezTo>
                <a:close/>
              </a:path>
            </a:pathLst>
          </a:custGeom>
          <a:solidFill>
            <a:srgbClr val="FF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1" name="Title 1"/>
          <p:cNvSpPr txBox="1">
            <a:spLocks/>
          </p:cNvSpPr>
          <p:nvPr/>
        </p:nvSpPr>
        <p:spPr>
          <a:xfrm rot="18484331">
            <a:off x="3423979" y="2076192"/>
            <a:ext cx="1875367" cy="36036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నార్వే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34" name="Title 1"/>
          <p:cNvSpPr txBox="1">
            <a:spLocks/>
          </p:cNvSpPr>
          <p:nvPr/>
        </p:nvSpPr>
        <p:spPr>
          <a:xfrm>
            <a:off x="6659564" y="1987551"/>
            <a:ext cx="1270000" cy="2032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2000" dirty="0" err="1">
                <a:latin typeface="Ramabhadra" pitchFamily="2" charset="0"/>
                <a:ea typeface="+mj-ea"/>
                <a:cs typeface="Ramabhadra" pitchFamily="2" charset="0"/>
              </a:rPr>
              <a:t>రష్యా</a:t>
            </a:r>
            <a:endParaRPr lang="en-IN" sz="2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35" name="Freeform 134"/>
          <p:cNvSpPr/>
          <p:nvPr/>
        </p:nvSpPr>
        <p:spPr>
          <a:xfrm>
            <a:off x="5675319" y="3016257"/>
            <a:ext cx="911225" cy="817033"/>
          </a:xfrm>
          <a:custGeom>
            <a:avLst/>
            <a:gdLst>
              <a:gd name="connsiteX0" fmla="*/ 31668 w 911399"/>
              <a:gd name="connsiteY0" fmla="*/ 797391 h 816188"/>
              <a:gd name="connsiteX1" fmla="*/ 122675 w 911399"/>
              <a:gd name="connsiteY1" fmla="*/ 780057 h 816188"/>
              <a:gd name="connsiteX2" fmla="*/ 131342 w 911399"/>
              <a:gd name="connsiteY2" fmla="*/ 771389 h 816188"/>
              <a:gd name="connsiteX3" fmla="*/ 135676 w 911399"/>
              <a:gd name="connsiteY3" fmla="*/ 758389 h 816188"/>
              <a:gd name="connsiteX4" fmla="*/ 148677 w 911399"/>
              <a:gd name="connsiteY4" fmla="*/ 754055 h 816188"/>
              <a:gd name="connsiteX5" fmla="*/ 192013 w 911399"/>
              <a:gd name="connsiteY5" fmla="*/ 749721 h 816188"/>
              <a:gd name="connsiteX6" fmla="*/ 235350 w 911399"/>
              <a:gd name="connsiteY6" fmla="*/ 736720 h 816188"/>
              <a:gd name="connsiteX7" fmla="*/ 330690 w 911399"/>
              <a:gd name="connsiteY7" fmla="*/ 741054 h 816188"/>
              <a:gd name="connsiteX8" fmla="*/ 343691 w 911399"/>
              <a:gd name="connsiteY8" fmla="*/ 745388 h 816188"/>
              <a:gd name="connsiteX9" fmla="*/ 361025 w 911399"/>
              <a:gd name="connsiteY9" fmla="*/ 749721 h 816188"/>
              <a:gd name="connsiteX10" fmla="*/ 387027 w 911399"/>
              <a:gd name="connsiteY10" fmla="*/ 758389 h 816188"/>
              <a:gd name="connsiteX11" fmla="*/ 413029 w 911399"/>
              <a:gd name="connsiteY11" fmla="*/ 767056 h 816188"/>
              <a:gd name="connsiteX12" fmla="*/ 426030 w 911399"/>
              <a:gd name="connsiteY12" fmla="*/ 771389 h 816188"/>
              <a:gd name="connsiteX13" fmla="*/ 447698 w 911399"/>
              <a:gd name="connsiteY13" fmla="*/ 775723 h 816188"/>
              <a:gd name="connsiteX14" fmla="*/ 495369 w 911399"/>
              <a:gd name="connsiteY14" fmla="*/ 771389 h 816188"/>
              <a:gd name="connsiteX15" fmla="*/ 534371 w 911399"/>
              <a:gd name="connsiteY15" fmla="*/ 758389 h 816188"/>
              <a:gd name="connsiteX16" fmla="*/ 547372 w 911399"/>
              <a:gd name="connsiteY16" fmla="*/ 754055 h 816188"/>
              <a:gd name="connsiteX17" fmla="*/ 564707 w 911399"/>
              <a:gd name="connsiteY17" fmla="*/ 758389 h 816188"/>
              <a:gd name="connsiteX18" fmla="*/ 590709 w 911399"/>
              <a:gd name="connsiteY18" fmla="*/ 775723 h 816188"/>
              <a:gd name="connsiteX19" fmla="*/ 608043 w 911399"/>
              <a:gd name="connsiteY19" fmla="*/ 771389 h 816188"/>
              <a:gd name="connsiteX20" fmla="*/ 621044 w 911399"/>
              <a:gd name="connsiteY20" fmla="*/ 767056 h 816188"/>
              <a:gd name="connsiteX21" fmla="*/ 629712 w 911399"/>
              <a:gd name="connsiteY21" fmla="*/ 775723 h 816188"/>
              <a:gd name="connsiteX22" fmla="*/ 647046 w 911399"/>
              <a:gd name="connsiteY22" fmla="*/ 771389 h 816188"/>
              <a:gd name="connsiteX23" fmla="*/ 673048 w 911399"/>
              <a:gd name="connsiteY23" fmla="*/ 762722 h 816188"/>
              <a:gd name="connsiteX24" fmla="*/ 768388 w 911399"/>
              <a:gd name="connsiteY24" fmla="*/ 758389 h 816188"/>
              <a:gd name="connsiteX25" fmla="*/ 777056 w 911399"/>
              <a:gd name="connsiteY25" fmla="*/ 749721 h 816188"/>
              <a:gd name="connsiteX26" fmla="*/ 777056 w 911399"/>
              <a:gd name="connsiteY26" fmla="*/ 715052 h 816188"/>
              <a:gd name="connsiteX27" fmla="*/ 781389 w 911399"/>
              <a:gd name="connsiteY27" fmla="*/ 684716 h 816188"/>
              <a:gd name="connsiteX28" fmla="*/ 790057 w 911399"/>
              <a:gd name="connsiteY28" fmla="*/ 671716 h 816188"/>
              <a:gd name="connsiteX29" fmla="*/ 811725 w 911399"/>
              <a:gd name="connsiteY29" fmla="*/ 654381 h 816188"/>
              <a:gd name="connsiteX30" fmla="*/ 824726 w 911399"/>
              <a:gd name="connsiteY30" fmla="*/ 650047 h 816188"/>
              <a:gd name="connsiteX31" fmla="*/ 837727 w 911399"/>
              <a:gd name="connsiteY31" fmla="*/ 637046 h 816188"/>
              <a:gd name="connsiteX32" fmla="*/ 850728 w 911399"/>
              <a:gd name="connsiteY32" fmla="*/ 628379 h 816188"/>
              <a:gd name="connsiteX33" fmla="*/ 859395 w 911399"/>
              <a:gd name="connsiteY33" fmla="*/ 615378 h 816188"/>
              <a:gd name="connsiteX34" fmla="*/ 850728 w 911399"/>
              <a:gd name="connsiteY34" fmla="*/ 576375 h 816188"/>
              <a:gd name="connsiteX35" fmla="*/ 833393 w 911399"/>
              <a:gd name="connsiteY35" fmla="*/ 554707 h 816188"/>
              <a:gd name="connsiteX36" fmla="*/ 824726 w 911399"/>
              <a:gd name="connsiteY36" fmla="*/ 528705 h 816188"/>
              <a:gd name="connsiteX37" fmla="*/ 811725 w 911399"/>
              <a:gd name="connsiteY37" fmla="*/ 468034 h 816188"/>
              <a:gd name="connsiteX38" fmla="*/ 816059 w 911399"/>
              <a:gd name="connsiteY38" fmla="*/ 450699 h 816188"/>
              <a:gd name="connsiteX39" fmla="*/ 842061 w 911399"/>
              <a:gd name="connsiteY39" fmla="*/ 442032 h 816188"/>
              <a:gd name="connsiteX40" fmla="*/ 868062 w 911399"/>
              <a:gd name="connsiteY40" fmla="*/ 429031 h 816188"/>
              <a:gd name="connsiteX41" fmla="*/ 876730 w 911399"/>
              <a:gd name="connsiteY41" fmla="*/ 420364 h 816188"/>
              <a:gd name="connsiteX42" fmla="*/ 889731 w 911399"/>
              <a:gd name="connsiteY42" fmla="*/ 416030 h 816188"/>
              <a:gd name="connsiteX43" fmla="*/ 911399 w 911399"/>
              <a:gd name="connsiteY43" fmla="*/ 377027 h 816188"/>
              <a:gd name="connsiteX44" fmla="*/ 907065 w 911399"/>
              <a:gd name="connsiteY44" fmla="*/ 346692 h 816188"/>
              <a:gd name="connsiteX45" fmla="*/ 898398 w 911399"/>
              <a:gd name="connsiteY45" fmla="*/ 333691 h 816188"/>
              <a:gd name="connsiteX46" fmla="*/ 881063 w 911399"/>
              <a:gd name="connsiteY46" fmla="*/ 307689 h 816188"/>
              <a:gd name="connsiteX47" fmla="*/ 876730 w 911399"/>
              <a:gd name="connsiteY47" fmla="*/ 294688 h 816188"/>
              <a:gd name="connsiteX48" fmla="*/ 868062 w 911399"/>
              <a:gd name="connsiteY48" fmla="*/ 286021 h 816188"/>
              <a:gd name="connsiteX49" fmla="*/ 859395 w 911399"/>
              <a:gd name="connsiteY49" fmla="*/ 260019 h 816188"/>
              <a:gd name="connsiteX50" fmla="*/ 820392 w 911399"/>
              <a:gd name="connsiteY50" fmla="*/ 247018 h 816188"/>
              <a:gd name="connsiteX51" fmla="*/ 807391 w 911399"/>
              <a:gd name="connsiteY51" fmla="*/ 242684 h 816188"/>
              <a:gd name="connsiteX52" fmla="*/ 794390 w 911399"/>
              <a:gd name="connsiteY52" fmla="*/ 234017 h 816188"/>
              <a:gd name="connsiteX53" fmla="*/ 777056 w 911399"/>
              <a:gd name="connsiteY53" fmla="*/ 229683 h 816188"/>
              <a:gd name="connsiteX54" fmla="*/ 738053 w 911399"/>
              <a:gd name="connsiteY54" fmla="*/ 216682 h 816188"/>
              <a:gd name="connsiteX55" fmla="*/ 712051 w 911399"/>
              <a:gd name="connsiteY55" fmla="*/ 208015 h 816188"/>
              <a:gd name="connsiteX56" fmla="*/ 699050 w 911399"/>
              <a:gd name="connsiteY56" fmla="*/ 199348 h 816188"/>
              <a:gd name="connsiteX57" fmla="*/ 686049 w 911399"/>
              <a:gd name="connsiteY57" fmla="*/ 160345 h 816188"/>
              <a:gd name="connsiteX58" fmla="*/ 681716 w 911399"/>
              <a:gd name="connsiteY58" fmla="*/ 147344 h 816188"/>
              <a:gd name="connsiteX59" fmla="*/ 677382 w 911399"/>
              <a:gd name="connsiteY59" fmla="*/ 134343 h 816188"/>
              <a:gd name="connsiteX60" fmla="*/ 673048 w 911399"/>
              <a:gd name="connsiteY60" fmla="*/ 117008 h 816188"/>
              <a:gd name="connsiteX61" fmla="*/ 660047 w 911399"/>
              <a:gd name="connsiteY61" fmla="*/ 78006 h 816188"/>
              <a:gd name="connsiteX62" fmla="*/ 655714 w 911399"/>
              <a:gd name="connsiteY62" fmla="*/ 65005 h 816188"/>
              <a:gd name="connsiteX63" fmla="*/ 647046 w 911399"/>
              <a:gd name="connsiteY63" fmla="*/ 30335 h 816188"/>
              <a:gd name="connsiteX64" fmla="*/ 504036 w 911399"/>
              <a:gd name="connsiteY64" fmla="*/ 30335 h 816188"/>
              <a:gd name="connsiteX65" fmla="*/ 486701 w 911399"/>
              <a:gd name="connsiteY65" fmla="*/ 26002 h 816188"/>
              <a:gd name="connsiteX66" fmla="*/ 460699 w 911399"/>
              <a:gd name="connsiteY66" fmla="*/ 17335 h 816188"/>
              <a:gd name="connsiteX67" fmla="*/ 452032 w 911399"/>
              <a:gd name="connsiteY67" fmla="*/ 8667 h 816188"/>
              <a:gd name="connsiteX68" fmla="*/ 417363 w 911399"/>
              <a:gd name="connsiteY68" fmla="*/ 0 h 816188"/>
              <a:gd name="connsiteX69" fmla="*/ 387027 w 911399"/>
              <a:gd name="connsiteY69" fmla="*/ 4334 h 816188"/>
              <a:gd name="connsiteX70" fmla="*/ 361025 w 911399"/>
              <a:gd name="connsiteY70" fmla="*/ 21668 h 816188"/>
              <a:gd name="connsiteX71" fmla="*/ 356692 w 911399"/>
              <a:gd name="connsiteY71" fmla="*/ 34669 h 816188"/>
              <a:gd name="connsiteX72" fmla="*/ 348025 w 911399"/>
              <a:gd name="connsiteY72" fmla="*/ 47670 h 816188"/>
              <a:gd name="connsiteX73" fmla="*/ 317689 w 911399"/>
              <a:gd name="connsiteY73" fmla="*/ 73672 h 816188"/>
              <a:gd name="connsiteX74" fmla="*/ 304688 w 911399"/>
              <a:gd name="connsiteY74" fmla="*/ 78006 h 816188"/>
              <a:gd name="connsiteX75" fmla="*/ 278686 w 911399"/>
              <a:gd name="connsiteY75" fmla="*/ 95340 h 816188"/>
              <a:gd name="connsiteX76" fmla="*/ 265685 w 911399"/>
              <a:gd name="connsiteY76" fmla="*/ 108341 h 816188"/>
              <a:gd name="connsiteX77" fmla="*/ 244017 w 911399"/>
              <a:gd name="connsiteY77" fmla="*/ 125676 h 816188"/>
              <a:gd name="connsiteX78" fmla="*/ 248351 w 911399"/>
              <a:gd name="connsiteY78" fmla="*/ 138677 h 816188"/>
              <a:gd name="connsiteX79" fmla="*/ 257018 w 911399"/>
              <a:gd name="connsiteY79" fmla="*/ 151678 h 816188"/>
              <a:gd name="connsiteX80" fmla="*/ 248351 w 911399"/>
              <a:gd name="connsiteY80" fmla="*/ 199348 h 816188"/>
              <a:gd name="connsiteX81" fmla="*/ 239683 w 911399"/>
              <a:gd name="connsiteY81" fmla="*/ 208015 h 816188"/>
              <a:gd name="connsiteX82" fmla="*/ 209348 w 911399"/>
              <a:gd name="connsiteY82" fmla="*/ 242684 h 816188"/>
              <a:gd name="connsiteX83" fmla="*/ 196347 w 911399"/>
              <a:gd name="connsiteY83" fmla="*/ 247018 h 816188"/>
              <a:gd name="connsiteX84" fmla="*/ 174679 w 911399"/>
              <a:gd name="connsiteY84" fmla="*/ 260019 h 816188"/>
              <a:gd name="connsiteX85" fmla="*/ 157344 w 911399"/>
              <a:gd name="connsiteY85" fmla="*/ 281687 h 816188"/>
              <a:gd name="connsiteX86" fmla="*/ 153010 w 911399"/>
              <a:gd name="connsiteY86" fmla="*/ 316356 h 816188"/>
              <a:gd name="connsiteX87" fmla="*/ 144343 w 911399"/>
              <a:gd name="connsiteY87" fmla="*/ 325024 h 816188"/>
              <a:gd name="connsiteX88" fmla="*/ 105340 w 911399"/>
              <a:gd name="connsiteY88" fmla="*/ 351025 h 816188"/>
              <a:gd name="connsiteX89" fmla="*/ 79338 w 911399"/>
              <a:gd name="connsiteY89" fmla="*/ 368360 h 816188"/>
              <a:gd name="connsiteX90" fmla="*/ 66337 w 911399"/>
              <a:gd name="connsiteY90" fmla="*/ 377027 h 816188"/>
              <a:gd name="connsiteX91" fmla="*/ 62004 w 911399"/>
              <a:gd name="connsiteY91" fmla="*/ 390028 h 816188"/>
              <a:gd name="connsiteX92" fmla="*/ 49003 w 911399"/>
              <a:gd name="connsiteY92" fmla="*/ 394362 h 816188"/>
              <a:gd name="connsiteX93" fmla="*/ 40335 w 911399"/>
              <a:gd name="connsiteY93" fmla="*/ 403029 h 816188"/>
              <a:gd name="connsiteX94" fmla="*/ 27334 w 911399"/>
              <a:gd name="connsiteY94" fmla="*/ 407363 h 816188"/>
              <a:gd name="connsiteX95" fmla="*/ 5666 w 911399"/>
              <a:gd name="connsiteY95" fmla="*/ 424698 h 816188"/>
              <a:gd name="connsiteX96" fmla="*/ 27334 w 911399"/>
              <a:gd name="connsiteY96" fmla="*/ 442032 h 816188"/>
              <a:gd name="connsiteX97" fmla="*/ 36002 w 911399"/>
              <a:gd name="connsiteY97" fmla="*/ 450699 h 816188"/>
              <a:gd name="connsiteX98" fmla="*/ 44669 w 911399"/>
              <a:gd name="connsiteY98" fmla="*/ 507037 h 816188"/>
              <a:gd name="connsiteX99" fmla="*/ 53336 w 911399"/>
              <a:gd name="connsiteY99" fmla="*/ 533039 h 816188"/>
              <a:gd name="connsiteX100" fmla="*/ 57670 w 911399"/>
              <a:gd name="connsiteY100" fmla="*/ 546040 h 816188"/>
              <a:gd name="connsiteX101" fmla="*/ 53336 w 911399"/>
              <a:gd name="connsiteY101" fmla="*/ 602377 h 816188"/>
              <a:gd name="connsiteX102" fmla="*/ 40335 w 911399"/>
              <a:gd name="connsiteY102" fmla="*/ 641380 h 816188"/>
              <a:gd name="connsiteX103" fmla="*/ 36002 w 911399"/>
              <a:gd name="connsiteY103" fmla="*/ 654381 h 816188"/>
              <a:gd name="connsiteX104" fmla="*/ 31668 w 911399"/>
              <a:gd name="connsiteY104" fmla="*/ 680383 h 816188"/>
              <a:gd name="connsiteX105" fmla="*/ 27334 w 911399"/>
              <a:gd name="connsiteY105" fmla="*/ 693384 h 816188"/>
              <a:gd name="connsiteX106" fmla="*/ 18667 w 911399"/>
              <a:gd name="connsiteY106" fmla="*/ 723719 h 816188"/>
              <a:gd name="connsiteX107" fmla="*/ 31668 w 911399"/>
              <a:gd name="connsiteY107" fmla="*/ 797391 h 816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911399" h="816188">
                <a:moveTo>
                  <a:pt x="31668" y="797391"/>
                </a:moveTo>
                <a:cubicBezTo>
                  <a:pt x="49003" y="806781"/>
                  <a:pt x="93770" y="816188"/>
                  <a:pt x="122675" y="780057"/>
                </a:cubicBezTo>
                <a:cubicBezTo>
                  <a:pt x="125227" y="776866"/>
                  <a:pt x="128453" y="774278"/>
                  <a:pt x="131342" y="771389"/>
                </a:cubicBezTo>
                <a:cubicBezTo>
                  <a:pt x="132787" y="767056"/>
                  <a:pt x="132446" y="761619"/>
                  <a:pt x="135676" y="758389"/>
                </a:cubicBezTo>
                <a:cubicBezTo>
                  <a:pt x="138906" y="755159"/>
                  <a:pt x="144162" y="754750"/>
                  <a:pt x="148677" y="754055"/>
                </a:cubicBezTo>
                <a:cubicBezTo>
                  <a:pt x="163026" y="751847"/>
                  <a:pt x="177568" y="751166"/>
                  <a:pt x="192013" y="749721"/>
                </a:cubicBezTo>
                <a:cubicBezTo>
                  <a:pt x="223666" y="739171"/>
                  <a:pt x="209152" y="743270"/>
                  <a:pt x="235350" y="736720"/>
                </a:cubicBezTo>
                <a:cubicBezTo>
                  <a:pt x="267130" y="738165"/>
                  <a:pt x="298979" y="738517"/>
                  <a:pt x="330690" y="741054"/>
                </a:cubicBezTo>
                <a:cubicBezTo>
                  <a:pt x="335244" y="741418"/>
                  <a:pt x="339299" y="744133"/>
                  <a:pt x="343691" y="745388"/>
                </a:cubicBezTo>
                <a:cubicBezTo>
                  <a:pt x="349418" y="747024"/>
                  <a:pt x="355320" y="748010"/>
                  <a:pt x="361025" y="749721"/>
                </a:cubicBezTo>
                <a:cubicBezTo>
                  <a:pt x="369776" y="752346"/>
                  <a:pt x="378360" y="755500"/>
                  <a:pt x="387027" y="758389"/>
                </a:cubicBezTo>
                <a:lnTo>
                  <a:pt x="413029" y="767056"/>
                </a:lnTo>
                <a:cubicBezTo>
                  <a:pt x="417363" y="768500"/>
                  <a:pt x="421551" y="770493"/>
                  <a:pt x="426030" y="771389"/>
                </a:cubicBezTo>
                <a:lnTo>
                  <a:pt x="447698" y="775723"/>
                </a:lnTo>
                <a:cubicBezTo>
                  <a:pt x="463588" y="774278"/>
                  <a:pt x="479553" y="773498"/>
                  <a:pt x="495369" y="771389"/>
                </a:cubicBezTo>
                <a:cubicBezTo>
                  <a:pt x="510394" y="769386"/>
                  <a:pt x="520046" y="763761"/>
                  <a:pt x="534371" y="758389"/>
                </a:cubicBezTo>
                <a:cubicBezTo>
                  <a:pt x="538648" y="756785"/>
                  <a:pt x="543038" y="755500"/>
                  <a:pt x="547372" y="754055"/>
                </a:cubicBezTo>
                <a:cubicBezTo>
                  <a:pt x="553150" y="755500"/>
                  <a:pt x="559380" y="755725"/>
                  <a:pt x="564707" y="758389"/>
                </a:cubicBezTo>
                <a:cubicBezTo>
                  <a:pt x="574024" y="763047"/>
                  <a:pt x="590709" y="775723"/>
                  <a:pt x="590709" y="775723"/>
                </a:cubicBezTo>
                <a:cubicBezTo>
                  <a:pt x="596487" y="774278"/>
                  <a:pt x="602316" y="773025"/>
                  <a:pt x="608043" y="771389"/>
                </a:cubicBezTo>
                <a:cubicBezTo>
                  <a:pt x="612435" y="770134"/>
                  <a:pt x="616565" y="766160"/>
                  <a:pt x="621044" y="767056"/>
                </a:cubicBezTo>
                <a:cubicBezTo>
                  <a:pt x="625051" y="767857"/>
                  <a:pt x="626823" y="772834"/>
                  <a:pt x="629712" y="775723"/>
                </a:cubicBezTo>
                <a:cubicBezTo>
                  <a:pt x="635490" y="774278"/>
                  <a:pt x="641341" y="773100"/>
                  <a:pt x="647046" y="771389"/>
                </a:cubicBezTo>
                <a:cubicBezTo>
                  <a:pt x="655797" y="768764"/>
                  <a:pt x="663921" y="763137"/>
                  <a:pt x="673048" y="762722"/>
                </a:cubicBezTo>
                <a:lnTo>
                  <a:pt x="768388" y="758389"/>
                </a:lnTo>
                <a:cubicBezTo>
                  <a:pt x="771277" y="755500"/>
                  <a:pt x="774954" y="753225"/>
                  <a:pt x="777056" y="749721"/>
                </a:cubicBezTo>
                <a:cubicBezTo>
                  <a:pt x="785051" y="736396"/>
                  <a:pt x="780136" y="730454"/>
                  <a:pt x="777056" y="715052"/>
                </a:cubicBezTo>
                <a:cubicBezTo>
                  <a:pt x="778500" y="704940"/>
                  <a:pt x="778454" y="694500"/>
                  <a:pt x="781389" y="684716"/>
                </a:cubicBezTo>
                <a:cubicBezTo>
                  <a:pt x="782886" y="679727"/>
                  <a:pt x="786803" y="675783"/>
                  <a:pt x="790057" y="671716"/>
                </a:cubicBezTo>
                <a:cubicBezTo>
                  <a:pt x="795434" y="664995"/>
                  <a:pt x="804213" y="658137"/>
                  <a:pt x="811725" y="654381"/>
                </a:cubicBezTo>
                <a:cubicBezTo>
                  <a:pt x="815811" y="652338"/>
                  <a:pt x="820392" y="651492"/>
                  <a:pt x="824726" y="650047"/>
                </a:cubicBezTo>
                <a:cubicBezTo>
                  <a:pt x="829060" y="645713"/>
                  <a:pt x="833019" y="640969"/>
                  <a:pt x="837727" y="637046"/>
                </a:cubicBezTo>
                <a:cubicBezTo>
                  <a:pt x="841728" y="633712"/>
                  <a:pt x="847045" y="632062"/>
                  <a:pt x="850728" y="628379"/>
                </a:cubicBezTo>
                <a:cubicBezTo>
                  <a:pt x="854411" y="624696"/>
                  <a:pt x="856506" y="619712"/>
                  <a:pt x="859395" y="615378"/>
                </a:cubicBezTo>
                <a:cubicBezTo>
                  <a:pt x="857731" y="605397"/>
                  <a:pt x="856061" y="587041"/>
                  <a:pt x="850728" y="576375"/>
                </a:cubicBezTo>
                <a:cubicBezTo>
                  <a:pt x="845261" y="565440"/>
                  <a:pt x="841456" y="562769"/>
                  <a:pt x="833393" y="554707"/>
                </a:cubicBezTo>
                <a:cubicBezTo>
                  <a:pt x="830504" y="546040"/>
                  <a:pt x="825553" y="537804"/>
                  <a:pt x="824726" y="528705"/>
                </a:cubicBezTo>
                <a:cubicBezTo>
                  <a:pt x="819920" y="475848"/>
                  <a:pt x="829242" y="494311"/>
                  <a:pt x="811725" y="468034"/>
                </a:cubicBezTo>
                <a:cubicBezTo>
                  <a:pt x="813170" y="462256"/>
                  <a:pt x="811537" y="454575"/>
                  <a:pt x="816059" y="450699"/>
                </a:cubicBezTo>
                <a:cubicBezTo>
                  <a:pt x="822996" y="444753"/>
                  <a:pt x="834459" y="447100"/>
                  <a:pt x="842061" y="442032"/>
                </a:cubicBezTo>
                <a:cubicBezTo>
                  <a:pt x="858862" y="430831"/>
                  <a:pt x="850120" y="435012"/>
                  <a:pt x="868062" y="429031"/>
                </a:cubicBezTo>
                <a:cubicBezTo>
                  <a:pt x="870951" y="426142"/>
                  <a:pt x="873226" y="422466"/>
                  <a:pt x="876730" y="420364"/>
                </a:cubicBezTo>
                <a:cubicBezTo>
                  <a:pt x="880647" y="418014"/>
                  <a:pt x="886501" y="419260"/>
                  <a:pt x="889731" y="416030"/>
                </a:cubicBezTo>
                <a:cubicBezTo>
                  <a:pt x="904631" y="401130"/>
                  <a:pt x="905949" y="393375"/>
                  <a:pt x="911399" y="377027"/>
                </a:cubicBezTo>
                <a:cubicBezTo>
                  <a:pt x="909954" y="366915"/>
                  <a:pt x="910000" y="356476"/>
                  <a:pt x="907065" y="346692"/>
                </a:cubicBezTo>
                <a:cubicBezTo>
                  <a:pt x="905568" y="341703"/>
                  <a:pt x="900727" y="338349"/>
                  <a:pt x="898398" y="333691"/>
                </a:cubicBezTo>
                <a:cubicBezTo>
                  <a:pt x="885855" y="308605"/>
                  <a:pt x="905707" y="332333"/>
                  <a:pt x="881063" y="307689"/>
                </a:cubicBezTo>
                <a:cubicBezTo>
                  <a:pt x="879619" y="303355"/>
                  <a:pt x="879080" y="298605"/>
                  <a:pt x="876730" y="294688"/>
                </a:cubicBezTo>
                <a:cubicBezTo>
                  <a:pt x="874628" y="291184"/>
                  <a:pt x="869889" y="289676"/>
                  <a:pt x="868062" y="286021"/>
                </a:cubicBezTo>
                <a:cubicBezTo>
                  <a:pt x="863976" y="277849"/>
                  <a:pt x="868062" y="262908"/>
                  <a:pt x="859395" y="260019"/>
                </a:cubicBezTo>
                <a:lnTo>
                  <a:pt x="820392" y="247018"/>
                </a:lnTo>
                <a:cubicBezTo>
                  <a:pt x="816058" y="245573"/>
                  <a:pt x="811192" y="245218"/>
                  <a:pt x="807391" y="242684"/>
                </a:cubicBezTo>
                <a:cubicBezTo>
                  <a:pt x="803057" y="239795"/>
                  <a:pt x="799177" y="236069"/>
                  <a:pt x="794390" y="234017"/>
                </a:cubicBezTo>
                <a:cubicBezTo>
                  <a:pt x="788916" y="231671"/>
                  <a:pt x="782761" y="231394"/>
                  <a:pt x="777056" y="229683"/>
                </a:cubicBezTo>
                <a:cubicBezTo>
                  <a:pt x="777006" y="229668"/>
                  <a:pt x="744578" y="218857"/>
                  <a:pt x="738053" y="216682"/>
                </a:cubicBezTo>
                <a:cubicBezTo>
                  <a:pt x="738048" y="216680"/>
                  <a:pt x="712055" y="208018"/>
                  <a:pt x="712051" y="208015"/>
                </a:cubicBezTo>
                <a:lnTo>
                  <a:pt x="699050" y="199348"/>
                </a:lnTo>
                <a:lnTo>
                  <a:pt x="686049" y="160345"/>
                </a:lnTo>
                <a:lnTo>
                  <a:pt x="681716" y="147344"/>
                </a:lnTo>
                <a:cubicBezTo>
                  <a:pt x="680271" y="143010"/>
                  <a:pt x="678490" y="138775"/>
                  <a:pt x="677382" y="134343"/>
                </a:cubicBezTo>
                <a:cubicBezTo>
                  <a:pt x="675937" y="128565"/>
                  <a:pt x="674760" y="122713"/>
                  <a:pt x="673048" y="117008"/>
                </a:cubicBezTo>
                <a:cubicBezTo>
                  <a:pt x="673036" y="116970"/>
                  <a:pt x="662220" y="84525"/>
                  <a:pt x="660047" y="78006"/>
                </a:cubicBezTo>
                <a:cubicBezTo>
                  <a:pt x="658603" y="73672"/>
                  <a:pt x="656610" y="69484"/>
                  <a:pt x="655714" y="65005"/>
                </a:cubicBezTo>
                <a:cubicBezTo>
                  <a:pt x="650484" y="38857"/>
                  <a:pt x="653710" y="50324"/>
                  <a:pt x="647046" y="30335"/>
                </a:cubicBezTo>
                <a:cubicBezTo>
                  <a:pt x="573332" y="34021"/>
                  <a:pt x="568529" y="37922"/>
                  <a:pt x="504036" y="30335"/>
                </a:cubicBezTo>
                <a:cubicBezTo>
                  <a:pt x="498121" y="29639"/>
                  <a:pt x="492406" y="27713"/>
                  <a:pt x="486701" y="26002"/>
                </a:cubicBezTo>
                <a:cubicBezTo>
                  <a:pt x="477950" y="23377"/>
                  <a:pt x="460699" y="17335"/>
                  <a:pt x="460699" y="17335"/>
                </a:cubicBezTo>
                <a:cubicBezTo>
                  <a:pt x="457810" y="14446"/>
                  <a:pt x="455536" y="10769"/>
                  <a:pt x="452032" y="8667"/>
                </a:cubicBezTo>
                <a:cubicBezTo>
                  <a:pt x="445372" y="4671"/>
                  <a:pt x="422017" y="931"/>
                  <a:pt x="417363" y="0"/>
                </a:cubicBezTo>
                <a:cubicBezTo>
                  <a:pt x="407251" y="1445"/>
                  <a:pt x="396561" y="667"/>
                  <a:pt x="387027" y="4334"/>
                </a:cubicBezTo>
                <a:cubicBezTo>
                  <a:pt x="377305" y="8073"/>
                  <a:pt x="361025" y="21668"/>
                  <a:pt x="361025" y="21668"/>
                </a:cubicBezTo>
                <a:cubicBezTo>
                  <a:pt x="359581" y="26002"/>
                  <a:pt x="358735" y="30583"/>
                  <a:pt x="356692" y="34669"/>
                </a:cubicBezTo>
                <a:cubicBezTo>
                  <a:pt x="354363" y="39328"/>
                  <a:pt x="351415" y="43716"/>
                  <a:pt x="348025" y="47670"/>
                </a:cubicBezTo>
                <a:cubicBezTo>
                  <a:pt x="340027" y="57001"/>
                  <a:pt x="329191" y="67921"/>
                  <a:pt x="317689" y="73672"/>
                </a:cubicBezTo>
                <a:cubicBezTo>
                  <a:pt x="313603" y="75715"/>
                  <a:pt x="309022" y="76561"/>
                  <a:pt x="304688" y="78006"/>
                </a:cubicBezTo>
                <a:cubicBezTo>
                  <a:pt x="263213" y="119481"/>
                  <a:pt x="316317" y="70254"/>
                  <a:pt x="278686" y="95340"/>
                </a:cubicBezTo>
                <a:cubicBezTo>
                  <a:pt x="273587" y="98740"/>
                  <a:pt x="270393" y="104418"/>
                  <a:pt x="265685" y="108341"/>
                </a:cubicBezTo>
                <a:cubicBezTo>
                  <a:pt x="232895" y="135666"/>
                  <a:pt x="269224" y="100466"/>
                  <a:pt x="244017" y="125676"/>
                </a:cubicBezTo>
                <a:cubicBezTo>
                  <a:pt x="245462" y="130010"/>
                  <a:pt x="246308" y="134591"/>
                  <a:pt x="248351" y="138677"/>
                </a:cubicBezTo>
                <a:cubicBezTo>
                  <a:pt x="250680" y="143335"/>
                  <a:pt x="256547" y="146491"/>
                  <a:pt x="257018" y="151678"/>
                </a:cubicBezTo>
                <a:cubicBezTo>
                  <a:pt x="257316" y="154958"/>
                  <a:pt x="254327" y="189388"/>
                  <a:pt x="248351" y="199348"/>
                </a:cubicBezTo>
                <a:cubicBezTo>
                  <a:pt x="246249" y="202852"/>
                  <a:pt x="242135" y="204746"/>
                  <a:pt x="239683" y="208015"/>
                </a:cubicBezTo>
                <a:cubicBezTo>
                  <a:pt x="224080" y="228819"/>
                  <a:pt x="228706" y="233005"/>
                  <a:pt x="209348" y="242684"/>
                </a:cubicBezTo>
                <a:cubicBezTo>
                  <a:pt x="205262" y="244727"/>
                  <a:pt x="200681" y="245573"/>
                  <a:pt x="196347" y="247018"/>
                </a:cubicBezTo>
                <a:cubicBezTo>
                  <a:pt x="174384" y="268979"/>
                  <a:pt x="202808" y="243142"/>
                  <a:pt x="174679" y="260019"/>
                </a:cubicBezTo>
                <a:cubicBezTo>
                  <a:pt x="167815" y="264137"/>
                  <a:pt x="161283" y="275779"/>
                  <a:pt x="157344" y="281687"/>
                </a:cubicBezTo>
                <a:cubicBezTo>
                  <a:pt x="155899" y="293243"/>
                  <a:pt x="156357" y="305201"/>
                  <a:pt x="153010" y="316356"/>
                </a:cubicBezTo>
                <a:cubicBezTo>
                  <a:pt x="151836" y="320270"/>
                  <a:pt x="147612" y="322572"/>
                  <a:pt x="144343" y="325024"/>
                </a:cubicBezTo>
                <a:cubicBezTo>
                  <a:pt x="144337" y="325029"/>
                  <a:pt x="111844" y="346689"/>
                  <a:pt x="105340" y="351025"/>
                </a:cubicBezTo>
                <a:lnTo>
                  <a:pt x="79338" y="368360"/>
                </a:lnTo>
                <a:lnTo>
                  <a:pt x="66337" y="377027"/>
                </a:lnTo>
                <a:cubicBezTo>
                  <a:pt x="64893" y="381361"/>
                  <a:pt x="65234" y="386798"/>
                  <a:pt x="62004" y="390028"/>
                </a:cubicBezTo>
                <a:cubicBezTo>
                  <a:pt x="58774" y="393258"/>
                  <a:pt x="52920" y="392012"/>
                  <a:pt x="49003" y="394362"/>
                </a:cubicBezTo>
                <a:cubicBezTo>
                  <a:pt x="45499" y="396464"/>
                  <a:pt x="43839" y="400927"/>
                  <a:pt x="40335" y="403029"/>
                </a:cubicBezTo>
                <a:cubicBezTo>
                  <a:pt x="36418" y="405379"/>
                  <a:pt x="31420" y="405320"/>
                  <a:pt x="27334" y="407363"/>
                </a:cubicBezTo>
                <a:cubicBezTo>
                  <a:pt x="16401" y="412830"/>
                  <a:pt x="13727" y="416637"/>
                  <a:pt x="5666" y="424698"/>
                </a:cubicBezTo>
                <a:cubicBezTo>
                  <a:pt x="26596" y="445625"/>
                  <a:pt x="0" y="420165"/>
                  <a:pt x="27334" y="442032"/>
                </a:cubicBezTo>
                <a:cubicBezTo>
                  <a:pt x="30525" y="444584"/>
                  <a:pt x="33113" y="447810"/>
                  <a:pt x="36002" y="450699"/>
                </a:cubicBezTo>
                <a:cubicBezTo>
                  <a:pt x="47939" y="486515"/>
                  <a:pt x="30303" y="430418"/>
                  <a:pt x="44669" y="507037"/>
                </a:cubicBezTo>
                <a:cubicBezTo>
                  <a:pt x="46353" y="516017"/>
                  <a:pt x="50447" y="524372"/>
                  <a:pt x="53336" y="533039"/>
                </a:cubicBezTo>
                <a:lnTo>
                  <a:pt x="57670" y="546040"/>
                </a:lnTo>
                <a:cubicBezTo>
                  <a:pt x="56225" y="564819"/>
                  <a:pt x="56273" y="583773"/>
                  <a:pt x="53336" y="602377"/>
                </a:cubicBezTo>
                <a:cubicBezTo>
                  <a:pt x="53334" y="602387"/>
                  <a:pt x="42503" y="634875"/>
                  <a:pt x="40335" y="641380"/>
                </a:cubicBezTo>
                <a:cubicBezTo>
                  <a:pt x="38891" y="645714"/>
                  <a:pt x="36753" y="649875"/>
                  <a:pt x="36002" y="654381"/>
                </a:cubicBezTo>
                <a:cubicBezTo>
                  <a:pt x="34557" y="663048"/>
                  <a:pt x="33574" y="671805"/>
                  <a:pt x="31668" y="680383"/>
                </a:cubicBezTo>
                <a:cubicBezTo>
                  <a:pt x="30677" y="684842"/>
                  <a:pt x="28589" y="688992"/>
                  <a:pt x="27334" y="693384"/>
                </a:cubicBezTo>
                <a:cubicBezTo>
                  <a:pt x="16451" y="731475"/>
                  <a:pt x="29059" y="692547"/>
                  <a:pt x="18667" y="723719"/>
                </a:cubicBezTo>
                <a:cubicBezTo>
                  <a:pt x="23145" y="813278"/>
                  <a:pt x="14333" y="788001"/>
                  <a:pt x="31668" y="797391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113" name="TextBox 95"/>
          <p:cNvSpPr txBox="1">
            <a:spLocks noChangeArrowheads="1"/>
          </p:cNvSpPr>
          <p:nvPr/>
        </p:nvSpPr>
        <p:spPr bwMode="auto">
          <a:xfrm>
            <a:off x="5715006" y="3287186"/>
            <a:ext cx="10001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latin typeface="Ramabhadra" pitchFamily="2" charset="0"/>
                <a:cs typeface="Ramabhadra" pitchFamily="2" charset="0"/>
              </a:rPr>
              <a:t>బెలారస్</a:t>
            </a:r>
          </a:p>
        </p:txBody>
      </p:sp>
      <p:sp>
        <p:nvSpPr>
          <p:cNvPr id="137" name="Freeform 136"/>
          <p:cNvSpPr/>
          <p:nvPr/>
        </p:nvSpPr>
        <p:spPr>
          <a:xfrm>
            <a:off x="5595944" y="3591988"/>
            <a:ext cx="1944687" cy="1327149"/>
          </a:xfrm>
          <a:custGeom>
            <a:avLst/>
            <a:gdLst>
              <a:gd name="connsiteX0" fmla="*/ 1806039 w 1944716"/>
              <a:gd name="connsiteY0" fmla="*/ 747349 h 1328058"/>
              <a:gd name="connsiteX1" fmla="*/ 1780037 w 1944716"/>
              <a:gd name="connsiteY1" fmla="*/ 751683 h 1328058"/>
              <a:gd name="connsiteX2" fmla="*/ 1754035 w 1944716"/>
              <a:gd name="connsiteY2" fmla="*/ 777684 h 1328058"/>
              <a:gd name="connsiteX3" fmla="*/ 1745368 w 1944716"/>
              <a:gd name="connsiteY3" fmla="*/ 808020 h 1328058"/>
              <a:gd name="connsiteX4" fmla="*/ 1741034 w 1944716"/>
              <a:gd name="connsiteY4" fmla="*/ 821021 h 1328058"/>
              <a:gd name="connsiteX5" fmla="*/ 1728033 w 1944716"/>
              <a:gd name="connsiteY5" fmla="*/ 825355 h 1328058"/>
              <a:gd name="connsiteX6" fmla="*/ 1715032 w 1944716"/>
              <a:gd name="connsiteY6" fmla="*/ 838356 h 1328058"/>
              <a:gd name="connsiteX7" fmla="*/ 1697698 w 1944716"/>
              <a:gd name="connsiteY7" fmla="*/ 842689 h 1328058"/>
              <a:gd name="connsiteX8" fmla="*/ 1667362 w 1944716"/>
              <a:gd name="connsiteY8" fmla="*/ 851357 h 1328058"/>
              <a:gd name="connsiteX9" fmla="*/ 1637027 w 1944716"/>
              <a:gd name="connsiteY9" fmla="*/ 855690 h 1328058"/>
              <a:gd name="connsiteX10" fmla="*/ 1619692 w 1944716"/>
              <a:gd name="connsiteY10" fmla="*/ 877358 h 1328058"/>
              <a:gd name="connsiteX11" fmla="*/ 1615358 w 1944716"/>
              <a:gd name="connsiteY11" fmla="*/ 890359 h 1328058"/>
              <a:gd name="connsiteX12" fmla="*/ 1589357 w 1944716"/>
              <a:gd name="connsiteY12" fmla="*/ 903360 h 1328058"/>
              <a:gd name="connsiteX13" fmla="*/ 1580689 w 1944716"/>
              <a:gd name="connsiteY13" fmla="*/ 912028 h 1328058"/>
              <a:gd name="connsiteX14" fmla="*/ 1537353 w 1944716"/>
              <a:gd name="connsiteY14" fmla="*/ 925029 h 1328058"/>
              <a:gd name="connsiteX15" fmla="*/ 1524352 w 1944716"/>
              <a:gd name="connsiteY15" fmla="*/ 933696 h 1328058"/>
              <a:gd name="connsiteX16" fmla="*/ 1515684 w 1944716"/>
              <a:gd name="connsiteY16" fmla="*/ 942363 h 1328058"/>
              <a:gd name="connsiteX17" fmla="*/ 1498350 w 1944716"/>
              <a:gd name="connsiteY17" fmla="*/ 951030 h 1328058"/>
              <a:gd name="connsiteX18" fmla="*/ 1481015 w 1944716"/>
              <a:gd name="connsiteY18" fmla="*/ 972699 h 1328058"/>
              <a:gd name="connsiteX19" fmla="*/ 1472348 w 1944716"/>
              <a:gd name="connsiteY19" fmla="*/ 1046371 h 1328058"/>
              <a:gd name="connsiteX20" fmla="*/ 1481015 w 1944716"/>
              <a:gd name="connsiteY20" fmla="*/ 1059372 h 1328058"/>
              <a:gd name="connsiteX21" fmla="*/ 1507017 w 1944716"/>
              <a:gd name="connsiteY21" fmla="*/ 1068039 h 1328058"/>
              <a:gd name="connsiteX22" fmla="*/ 1524352 w 1944716"/>
              <a:gd name="connsiteY22" fmla="*/ 1089707 h 1328058"/>
              <a:gd name="connsiteX23" fmla="*/ 1550354 w 1944716"/>
              <a:gd name="connsiteY23" fmla="*/ 1098375 h 1328058"/>
              <a:gd name="connsiteX24" fmla="*/ 1563355 w 1944716"/>
              <a:gd name="connsiteY24" fmla="*/ 1102708 h 1328058"/>
              <a:gd name="connsiteX25" fmla="*/ 1576356 w 1944716"/>
              <a:gd name="connsiteY25" fmla="*/ 1107042 h 1328058"/>
              <a:gd name="connsiteX26" fmla="*/ 1602357 w 1944716"/>
              <a:gd name="connsiteY26" fmla="*/ 1098375 h 1328058"/>
              <a:gd name="connsiteX27" fmla="*/ 1615358 w 1944716"/>
              <a:gd name="connsiteY27" fmla="*/ 1094041 h 1328058"/>
              <a:gd name="connsiteX28" fmla="*/ 1684697 w 1944716"/>
              <a:gd name="connsiteY28" fmla="*/ 1085374 h 1328058"/>
              <a:gd name="connsiteX29" fmla="*/ 1719366 w 1944716"/>
              <a:gd name="connsiteY29" fmla="*/ 1089707 h 1328058"/>
              <a:gd name="connsiteX30" fmla="*/ 1706365 w 1944716"/>
              <a:gd name="connsiteY30" fmla="*/ 1120043 h 1328058"/>
              <a:gd name="connsiteX31" fmla="*/ 1680363 w 1944716"/>
              <a:gd name="connsiteY31" fmla="*/ 1137377 h 1328058"/>
              <a:gd name="connsiteX32" fmla="*/ 1663029 w 1944716"/>
              <a:gd name="connsiteY32" fmla="*/ 1141711 h 1328058"/>
              <a:gd name="connsiteX33" fmla="*/ 1641360 w 1944716"/>
              <a:gd name="connsiteY33" fmla="*/ 1146045 h 1328058"/>
              <a:gd name="connsiteX34" fmla="*/ 1628359 w 1944716"/>
              <a:gd name="connsiteY34" fmla="*/ 1150378 h 1328058"/>
              <a:gd name="connsiteX35" fmla="*/ 1615358 w 1944716"/>
              <a:gd name="connsiteY35" fmla="*/ 1159046 h 1328058"/>
              <a:gd name="connsiteX36" fmla="*/ 1602357 w 1944716"/>
              <a:gd name="connsiteY36" fmla="*/ 1163379 h 1328058"/>
              <a:gd name="connsiteX37" fmla="*/ 1567688 w 1944716"/>
              <a:gd name="connsiteY37" fmla="*/ 1189381 h 1328058"/>
              <a:gd name="connsiteX38" fmla="*/ 1563355 w 1944716"/>
              <a:gd name="connsiteY38" fmla="*/ 1202382 h 1328058"/>
              <a:gd name="connsiteX39" fmla="*/ 1520018 w 1944716"/>
              <a:gd name="connsiteY39" fmla="*/ 1215383 h 1328058"/>
              <a:gd name="connsiteX40" fmla="*/ 1507017 w 1944716"/>
              <a:gd name="connsiteY40" fmla="*/ 1228384 h 1328058"/>
              <a:gd name="connsiteX41" fmla="*/ 1498350 w 1944716"/>
              <a:gd name="connsiteY41" fmla="*/ 1263053 h 1328058"/>
              <a:gd name="connsiteX42" fmla="*/ 1485349 w 1944716"/>
              <a:gd name="connsiteY42" fmla="*/ 1271721 h 1328058"/>
              <a:gd name="connsiteX43" fmla="*/ 1472348 w 1944716"/>
              <a:gd name="connsiteY43" fmla="*/ 1293389 h 1328058"/>
              <a:gd name="connsiteX44" fmla="*/ 1446346 w 1944716"/>
              <a:gd name="connsiteY44" fmla="*/ 1310723 h 1328058"/>
              <a:gd name="connsiteX45" fmla="*/ 1442012 w 1944716"/>
              <a:gd name="connsiteY45" fmla="*/ 1323724 h 1328058"/>
              <a:gd name="connsiteX46" fmla="*/ 1429011 w 1944716"/>
              <a:gd name="connsiteY46" fmla="*/ 1328058 h 1328058"/>
              <a:gd name="connsiteX47" fmla="*/ 1385675 w 1944716"/>
              <a:gd name="connsiteY47" fmla="*/ 1323724 h 1328058"/>
              <a:gd name="connsiteX48" fmla="*/ 1381341 w 1944716"/>
              <a:gd name="connsiteY48" fmla="*/ 1237051 h 1328058"/>
              <a:gd name="connsiteX49" fmla="*/ 1372674 w 1944716"/>
              <a:gd name="connsiteY49" fmla="*/ 1211049 h 1328058"/>
              <a:gd name="connsiteX50" fmla="*/ 1338005 w 1944716"/>
              <a:gd name="connsiteY50" fmla="*/ 1202382 h 1328058"/>
              <a:gd name="connsiteX51" fmla="*/ 1325004 w 1944716"/>
              <a:gd name="connsiteY51" fmla="*/ 1189381 h 1328058"/>
              <a:gd name="connsiteX52" fmla="*/ 1312003 w 1944716"/>
              <a:gd name="connsiteY52" fmla="*/ 1180714 h 1328058"/>
              <a:gd name="connsiteX53" fmla="*/ 1303336 w 1944716"/>
              <a:gd name="connsiteY53" fmla="*/ 1163379 h 1328058"/>
              <a:gd name="connsiteX54" fmla="*/ 1294668 w 1944716"/>
              <a:gd name="connsiteY54" fmla="*/ 1154712 h 1328058"/>
              <a:gd name="connsiteX55" fmla="*/ 1290335 w 1944716"/>
              <a:gd name="connsiteY55" fmla="*/ 1141711 h 1328058"/>
              <a:gd name="connsiteX56" fmla="*/ 1281667 w 1944716"/>
              <a:gd name="connsiteY56" fmla="*/ 1133044 h 1328058"/>
              <a:gd name="connsiteX57" fmla="*/ 1277334 w 1944716"/>
              <a:gd name="connsiteY57" fmla="*/ 1115709 h 1328058"/>
              <a:gd name="connsiteX58" fmla="*/ 1281667 w 1944716"/>
              <a:gd name="connsiteY58" fmla="*/ 1098375 h 1328058"/>
              <a:gd name="connsiteX59" fmla="*/ 1294668 w 1944716"/>
              <a:gd name="connsiteY59" fmla="*/ 1094041 h 1328058"/>
              <a:gd name="connsiteX60" fmla="*/ 1325004 w 1944716"/>
              <a:gd name="connsiteY60" fmla="*/ 1085374 h 1328058"/>
              <a:gd name="connsiteX61" fmla="*/ 1333671 w 1944716"/>
              <a:gd name="connsiteY61" fmla="*/ 1059372 h 1328058"/>
              <a:gd name="connsiteX62" fmla="*/ 1329338 w 1944716"/>
              <a:gd name="connsiteY62" fmla="*/ 1046371 h 1328058"/>
              <a:gd name="connsiteX63" fmla="*/ 1290335 w 1944716"/>
              <a:gd name="connsiteY63" fmla="*/ 1033370 h 1328058"/>
              <a:gd name="connsiteX64" fmla="*/ 1233997 w 1944716"/>
              <a:gd name="connsiteY64" fmla="*/ 1037703 h 1328058"/>
              <a:gd name="connsiteX65" fmla="*/ 1207995 w 1944716"/>
              <a:gd name="connsiteY65" fmla="*/ 1046371 h 1328058"/>
              <a:gd name="connsiteX66" fmla="*/ 1142991 w 1944716"/>
              <a:gd name="connsiteY66" fmla="*/ 1029036 h 1328058"/>
              <a:gd name="connsiteX67" fmla="*/ 1138657 w 1944716"/>
              <a:gd name="connsiteY67" fmla="*/ 1016035 h 1328058"/>
              <a:gd name="connsiteX68" fmla="*/ 1142991 w 1944716"/>
              <a:gd name="connsiteY68" fmla="*/ 994367 h 1328058"/>
              <a:gd name="connsiteX69" fmla="*/ 1168993 w 1944716"/>
              <a:gd name="connsiteY69" fmla="*/ 985700 h 1328058"/>
              <a:gd name="connsiteX70" fmla="*/ 1181993 w 1944716"/>
              <a:gd name="connsiteY70" fmla="*/ 981366 h 1328058"/>
              <a:gd name="connsiteX71" fmla="*/ 1186327 w 1944716"/>
              <a:gd name="connsiteY71" fmla="*/ 964031 h 1328058"/>
              <a:gd name="connsiteX72" fmla="*/ 1142991 w 1944716"/>
              <a:gd name="connsiteY72" fmla="*/ 955364 h 1328058"/>
              <a:gd name="connsiteX73" fmla="*/ 1116989 w 1944716"/>
              <a:gd name="connsiteY73" fmla="*/ 964031 h 1328058"/>
              <a:gd name="connsiteX74" fmla="*/ 1103988 w 1944716"/>
              <a:gd name="connsiteY74" fmla="*/ 968365 h 1328058"/>
              <a:gd name="connsiteX75" fmla="*/ 1056318 w 1944716"/>
              <a:gd name="connsiteY75" fmla="*/ 977032 h 1328058"/>
              <a:gd name="connsiteX76" fmla="*/ 1047650 w 1944716"/>
              <a:gd name="connsiteY76" fmla="*/ 985700 h 1328058"/>
              <a:gd name="connsiteX77" fmla="*/ 1021648 w 1944716"/>
              <a:gd name="connsiteY77" fmla="*/ 1003034 h 1328058"/>
              <a:gd name="connsiteX78" fmla="*/ 1008648 w 1944716"/>
              <a:gd name="connsiteY78" fmla="*/ 1011702 h 1328058"/>
              <a:gd name="connsiteX79" fmla="*/ 999980 w 1944716"/>
              <a:gd name="connsiteY79" fmla="*/ 1020369 h 1328058"/>
              <a:gd name="connsiteX80" fmla="*/ 995647 w 1944716"/>
              <a:gd name="connsiteY80" fmla="*/ 1033370 h 1328058"/>
              <a:gd name="connsiteX81" fmla="*/ 986979 w 1944716"/>
              <a:gd name="connsiteY81" fmla="*/ 1042037 h 1328058"/>
              <a:gd name="connsiteX82" fmla="*/ 982646 w 1944716"/>
              <a:gd name="connsiteY82" fmla="*/ 1076706 h 1328058"/>
              <a:gd name="connsiteX83" fmla="*/ 960977 w 1944716"/>
              <a:gd name="connsiteY83" fmla="*/ 1094041 h 1328058"/>
              <a:gd name="connsiteX84" fmla="*/ 956644 w 1944716"/>
              <a:gd name="connsiteY84" fmla="*/ 1107042 h 1328058"/>
              <a:gd name="connsiteX85" fmla="*/ 947976 w 1944716"/>
              <a:gd name="connsiteY85" fmla="*/ 1141711 h 1328058"/>
              <a:gd name="connsiteX86" fmla="*/ 934975 w 1944716"/>
              <a:gd name="connsiteY86" fmla="*/ 1150378 h 1328058"/>
              <a:gd name="connsiteX87" fmla="*/ 926308 w 1944716"/>
              <a:gd name="connsiteY87" fmla="*/ 1159046 h 1328058"/>
              <a:gd name="connsiteX88" fmla="*/ 908974 w 1944716"/>
              <a:gd name="connsiteY88" fmla="*/ 1198048 h 1328058"/>
              <a:gd name="connsiteX89" fmla="*/ 895973 w 1944716"/>
              <a:gd name="connsiteY89" fmla="*/ 1206716 h 1328058"/>
              <a:gd name="connsiteX90" fmla="*/ 861303 w 1944716"/>
              <a:gd name="connsiteY90" fmla="*/ 1215383 h 1328058"/>
              <a:gd name="connsiteX91" fmla="*/ 826634 w 1944716"/>
              <a:gd name="connsiteY91" fmla="*/ 1237051 h 1328058"/>
              <a:gd name="connsiteX92" fmla="*/ 770297 w 1944716"/>
              <a:gd name="connsiteY92" fmla="*/ 1232718 h 1328058"/>
              <a:gd name="connsiteX93" fmla="*/ 744295 w 1944716"/>
              <a:gd name="connsiteY93" fmla="*/ 1219717 h 1328058"/>
              <a:gd name="connsiteX94" fmla="*/ 731294 w 1944716"/>
              <a:gd name="connsiteY94" fmla="*/ 1215383 h 1328058"/>
              <a:gd name="connsiteX95" fmla="*/ 726960 w 1944716"/>
              <a:gd name="connsiteY95" fmla="*/ 1202382 h 1328058"/>
              <a:gd name="connsiteX96" fmla="*/ 744295 w 1944716"/>
              <a:gd name="connsiteY96" fmla="*/ 1185048 h 1328058"/>
              <a:gd name="connsiteX97" fmla="*/ 761630 w 1944716"/>
              <a:gd name="connsiteY97" fmla="*/ 1176380 h 1328058"/>
              <a:gd name="connsiteX98" fmla="*/ 774630 w 1944716"/>
              <a:gd name="connsiteY98" fmla="*/ 1133044 h 1328058"/>
              <a:gd name="connsiteX99" fmla="*/ 787631 w 1944716"/>
              <a:gd name="connsiteY99" fmla="*/ 1124376 h 1328058"/>
              <a:gd name="connsiteX100" fmla="*/ 796299 w 1944716"/>
              <a:gd name="connsiteY100" fmla="*/ 1089707 h 1328058"/>
              <a:gd name="connsiteX101" fmla="*/ 800632 w 1944716"/>
              <a:gd name="connsiteY101" fmla="*/ 1059372 h 1328058"/>
              <a:gd name="connsiteX102" fmla="*/ 817967 w 1944716"/>
              <a:gd name="connsiteY102" fmla="*/ 1055038 h 1328058"/>
              <a:gd name="connsiteX103" fmla="*/ 869971 w 1944716"/>
              <a:gd name="connsiteY103" fmla="*/ 1050704 h 1328058"/>
              <a:gd name="connsiteX104" fmla="*/ 878638 w 1944716"/>
              <a:gd name="connsiteY104" fmla="*/ 1037703 h 1328058"/>
              <a:gd name="connsiteX105" fmla="*/ 887305 w 1944716"/>
              <a:gd name="connsiteY105" fmla="*/ 1011702 h 1328058"/>
              <a:gd name="connsiteX106" fmla="*/ 882972 w 1944716"/>
              <a:gd name="connsiteY106" fmla="*/ 985700 h 1328058"/>
              <a:gd name="connsiteX107" fmla="*/ 874304 w 1944716"/>
              <a:gd name="connsiteY107" fmla="*/ 977032 h 1328058"/>
              <a:gd name="connsiteX108" fmla="*/ 869971 w 1944716"/>
              <a:gd name="connsiteY108" fmla="*/ 964031 h 1328058"/>
              <a:gd name="connsiteX109" fmla="*/ 865637 w 1944716"/>
              <a:gd name="connsiteY109" fmla="*/ 942363 h 1328058"/>
              <a:gd name="connsiteX110" fmla="*/ 856970 w 1944716"/>
              <a:gd name="connsiteY110" fmla="*/ 916361 h 1328058"/>
              <a:gd name="connsiteX111" fmla="*/ 843969 w 1944716"/>
              <a:gd name="connsiteY111" fmla="*/ 873025 h 1328058"/>
              <a:gd name="connsiteX112" fmla="*/ 830968 w 1944716"/>
              <a:gd name="connsiteY112" fmla="*/ 847023 h 1328058"/>
              <a:gd name="connsiteX113" fmla="*/ 817967 w 1944716"/>
              <a:gd name="connsiteY113" fmla="*/ 842689 h 1328058"/>
              <a:gd name="connsiteX114" fmla="*/ 809300 w 1944716"/>
              <a:gd name="connsiteY114" fmla="*/ 829688 h 1328058"/>
              <a:gd name="connsiteX115" fmla="*/ 778964 w 1944716"/>
              <a:gd name="connsiteY115" fmla="*/ 808020 h 1328058"/>
              <a:gd name="connsiteX116" fmla="*/ 770297 w 1944716"/>
              <a:gd name="connsiteY116" fmla="*/ 795019 h 1328058"/>
              <a:gd name="connsiteX117" fmla="*/ 739961 w 1944716"/>
              <a:gd name="connsiteY117" fmla="*/ 747349 h 1328058"/>
              <a:gd name="connsiteX118" fmla="*/ 726960 w 1944716"/>
              <a:gd name="connsiteY118" fmla="*/ 743015 h 1328058"/>
              <a:gd name="connsiteX119" fmla="*/ 679290 w 1944716"/>
              <a:gd name="connsiteY119" fmla="*/ 734348 h 1328058"/>
              <a:gd name="connsiteX120" fmla="*/ 666289 w 1944716"/>
              <a:gd name="connsiteY120" fmla="*/ 730014 h 1328058"/>
              <a:gd name="connsiteX121" fmla="*/ 609952 w 1944716"/>
              <a:gd name="connsiteY121" fmla="*/ 738682 h 1328058"/>
              <a:gd name="connsiteX122" fmla="*/ 596951 w 1944716"/>
              <a:gd name="connsiteY122" fmla="*/ 743015 h 1328058"/>
              <a:gd name="connsiteX123" fmla="*/ 570949 w 1944716"/>
              <a:gd name="connsiteY123" fmla="*/ 760350 h 1328058"/>
              <a:gd name="connsiteX124" fmla="*/ 557948 w 1944716"/>
              <a:gd name="connsiteY124" fmla="*/ 769017 h 1328058"/>
              <a:gd name="connsiteX125" fmla="*/ 544947 w 1944716"/>
              <a:gd name="connsiteY125" fmla="*/ 777684 h 1328058"/>
              <a:gd name="connsiteX126" fmla="*/ 518945 w 1944716"/>
              <a:gd name="connsiteY126" fmla="*/ 790685 h 1328058"/>
              <a:gd name="connsiteX127" fmla="*/ 462608 w 1944716"/>
              <a:gd name="connsiteY127" fmla="*/ 777684 h 1328058"/>
              <a:gd name="connsiteX128" fmla="*/ 449607 w 1944716"/>
              <a:gd name="connsiteY128" fmla="*/ 773351 h 1328058"/>
              <a:gd name="connsiteX129" fmla="*/ 406270 w 1944716"/>
              <a:gd name="connsiteY129" fmla="*/ 777684 h 1328058"/>
              <a:gd name="connsiteX130" fmla="*/ 393269 w 1944716"/>
              <a:gd name="connsiteY130" fmla="*/ 786352 h 1328058"/>
              <a:gd name="connsiteX131" fmla="*/ 380268 w 1944716"/>
              <a:gd name="connsiteY131" fmla="*/ 790685 h 1328058"/>
              <a:gd name="connsiteX132" fmla="*/ 371601 w 1944716"/>
              <a:gd name="connsiteY132" fmla="*/ 803686 h 1328058"/>
              <a:gd name="connsiteX133" fmla="*/ 358600 w 1944716"/>
              <a:gd name="connsiteY133" fmla="*/ 808020 h 1328058"/>
              <a:gd name="connsiteX134" fmla="*/ 341266 w 1944716"/>
              <a:gd name="connsiteY134" fmla="*/ 816687 h 1328058"/>
              <a:gd name="connsiteX135" fmla="*/ 332598 w 1944716"/>
              <a:gd name="connsiteY135" fmla="*/ 825355 h 1328058"/>
              <a:gd name="connsiteX136" fmla="*/ 293595 w 1944716"/>
              <a:gd name="connsiteY136" fmla="*/ 847023 h 1328058"/>
              <a:gd name="connsiteX137" fmla="*/ 280594 w 1944716"/>
              <a:gd name="connsiteY137" fmla="*/ 842689 h 1328058"/>
              <a:gd name="connsiteX138" fmla="*/ 276261 w 1944716"/>
              <a:gd name="connsiteY138" fmla="*/ 829688 h 1328058"/>
              <a:gd name="connsiteX139" fmla="*/ 267593 w 1944716"/>
              <a:gd name="connsiteY139" fmla="*/ 821021 h 1328058"/>
              <a:gd name="connsiteX140" fmla="*/ 237258 w 1944716"/>
              <a:gd name="connsiteY140" fmla="*/ 825355 h 1328058"/>
              <a:gd name="connsiteX141" fmla="*/ 215590 w 1944716"/>
              <a:gd name="connsiteY141" fmla="*/ 851357 h 1328058"/>
              <a:gd name="connsiteX142" fmla="*/ 206922 w 1944716"/>
              <a:gd name="connsiteY142" fmla="*/ 860024 h 1328058"/>
              <a:gd name="connsiteX143" fmla="*/ 198255 w 1944716"/>
              <a:gd name="connsiteY143" fmla="*/ 873025 h 1328058"/>
              <a:gd name="connsiteX144" fmla="*/ 146251 w 1944716"/>
              <a:gd name="connsiteY144" fmla="*/ 868691 h 1328058"/>
              <a:gd name="connsiteX145" fmla="*/ 120249 w 1944716"/>
              <a:gd name="connsiteY145" fmla="*/ 860024 h 1328058"/>
              <a:gd name="connsiteX146" fmla="*/ 107248 w 1944716"/>
              <a:gd name="connsiteY146" fmla="*/ 851357 h 1328058"/>
              <a:gd name="connsiteX147" fmla="*/ 94248 w 1944716"/>
              <a:gd name="connsiteY147" fmla="*/ 847023 h 1328058"/>
              <a:gd name="connsiteX148" fmla="*/ 76913 w 1944716"/>
              <a:gd name="connsiteY148" fmla="*/ 825355 h 1328058"/>
              <a:gd name="connsiteX149" fmla="*/ 24909 w 1944716"/>
              <a:gd name="connsiteY149" fmla="*/ 812354 h 1328058"/>
              <a:gd name="connsiteX150" fmla="*/ 16242 w 1944716"/>
              <a:gd name="connsiteY150" fmla="*/ 803686 h 1328058"/>
              <a:gd name="connsiteX151" fmla="*/ 3241 w 1944716"/>
              <a:gd name="connsiteY151" fmla="*/ 747349 h 1328058"/>
              <a:gd name="connsiteX152" fmla="*/ 7575 w 1944716"/>
              <a:gd name="connsiteY152" fmla="*/ 704012 h 1328058"/>
              <a:gd name="connsiteX153" fmla="*/ 20575 w 1944716"/>
              <a:gd name="connsiteY153" fmla="*/ 678011 h 1328058"/>
              <a:gd name="connsiteX154" fmla="*/ 29243 w 1944716"/>
              <a:gd name="connsiteY154" fmla="*/ 647675 h 1328058"/>
              <a:gd name="connsiteX155" fmla="*/ 33576 w 1944716"/>
              <a:gd name="connsiteY155" fmla="*/ 634674 h 1328058"/>
              <a:gd name="connsiteX156" fmla="*/ 37910 w 1944716"/>
              <a:gd name="connsiteY156" fmla="*/ 561002 h 1328058"/>
              <a:gd name="connsiteX157" fmla="*/ 63912 w 1944716"/>
              <a:gd name="connsiteY157" fmla="*/ 535000 h 1328058"/>
              <a:gd name="connsiteX158" fmla="*/ 72579 w 1944716"/>
              <a:gd name="connsiteY158" fmla="*/ 521999 h 1328058"/>
              <a:gd name="connsiteX159" fmla="*/ 94248 w 1944716"/>
              <a:gd name="connsiteY159" fmla="*/ 500331 h 1328058"/>
              <a:gd name="connsiteX160" fmla="*/ 102915 w 1944716"/>
              <a:gd name="connsiteY160" fmla="*/ 474329 h 1328058"/>
              <a:gd name="connsiteX161" fmla="*/ 111582 w 1944716"/>
              <a:gd name="connsiteY161" fmla="*/ 461328 h 1328058"/>
              <a:gd name="connsiteX162" fmla="*/ 115916 w 1944716"/>
              <a:gd name="connsiteY162" fmla="*/ 448327 h 1328058"/>
              <a:gd name="connsiteX163" fmla="*/ 128917 w 1944716"/>
              <a:gd name="connsiteY163" fmla="*/ 443993 h 1328058"/>
              <a:gd name="connsiteX164" fmla="*/ 154919 w 1944716"/>
              <a:gd name="connsiteY164" fmla="*/ 430993 h 1328058"/>
              <a:gd name="connsiteX165" fmla="*/ 167920 w 1944716"/>
              <a:gd name="connsiteY165" fmla="*/ 422325 h 1328058"/>
              <a:gd name="connsiteX166" fmla="*/ 180921 w 1944716"/>
              <a:gd name="connsiteY166" fmla="*/ 391990 h 1328058"/>
              <a:gd name="connsiteX167" fmla="*/ 172253 w 1944716"/>
              <a:gd name="connsiteY167" fmla="*/ 339986 h 1328058"/>
              <a:gd name="connsiteX168" fmla="*/ 146251 w 1944716"/>
              <a:gd name="connsiteY168" fmla="*/ 305317 h 1328058"/>
              <a:gd name="connsiteX169" fmla="*/ 133250 w 1944716"/>
              <a:gd name="connsiteY169" fmla="*/ 279315 h 1328058"/>
              <a:gd name="connsiteX170" fmla="*/ 115916 w 1944716"/>
              <a:gd name="connsiteY170" fmla="*/ 253313 h 1328058"/>
              <a:gd name="connsiteX171" fmla="*/ 107248 w 1944716"/>
              <a:gd name="connsiteY171" fmla="*/ 227311 h 1328058"/>
              <a:gd name="connsiteX172" fmla="*/ 159252 w 1944716"/>
              <a:gd name="connsiteY172" fmla="*/ 218644 h 1328058"/>
              <a:gd name="connsiteX173" fmla="*/ 172253 w 1944716"/>
              <a:gd name="connsiteY173" fmla="*/ 214310 h 1328058"/>
              <a:gd name="connsiteX174" fmla="*/ 224257 w 1944716"/>
              <a:gd name="connsiteY174" fmla="*/ 188308 h 1328058"/>
              <a:gd name="connsiteX175" fmla="*/ 237258 w 1944716"/>
              <a:gd name="connsiteY175" fmla="*/ 183975 h 1328058"/>
              <a:gd name="connsiteX176" fmla="*/ 302263 w 1944716"/>
              <a:gd name="connsiteY176" fmla="*/ 175307 h 1328058"/>
              <a:gd name="connsiteX177" fmla="*/ 319597 w 1944716"/>
              <a:gd name="connsiteY177" fmla="*/ 170974 h 1328058"/>
              <a:gd name="connsiteX178" fmla="*/ 423605 w 1944716"/>
              <a:gd name="connsiteY178" fmla="*/ 175307 h 1328058"/>
              <a:gd name="connsiteX179" fmla="*/ 458274 w 1944716"/>
              <a:gd name="connsiteY179" fmla="*/ 183975 h 1328058"/>
              <a:gd name="connsiteX180" fmla="*/ 475609 w 1944716"/>
              <a:gd name="connsiteY180" fmla="*/ 188308 h 1328058"/>
              <a:gd name="connsiteX181" fmla="*/ 514611 w 1944716"/>
              <a:gd name="connsiteY181" fmla="*/ 201309 h 1328058"/>
              <a:gd name="connsiteX182" fmla="*/ 527612 w 1944716"/>
              <a:gd name="connsiteY182" fmla="*/ 205643 h 1328058"/>
              <a:gd name="connsiteX183" fmla="*/ 540613 w 1944716"/>
              <a:gd name="connsiteY183" fmla="*/ 209976 h 1328058"/>
              <a:gd name="connsiteX184" fmla="*/ 583950 w 1944716"/>
              <a:gd name="connsiteY184" fmla="*/ 205643 h 1328058"/>
              <a:gd name="connsiteX185" fmla="*/ 592617 w 1944716"/>
              <a:gd name="connsiteY185" fmla="*/ 196975 h 1328058"/>
              <a:gd name="connsiteX186" fmla="*/ 661956 w 1944716"/>
              <a:gd name="connsiteY186" fmla="*/ 201309 h 1328058"/>
              <a:gd name="connsiteX187" fmla="*/ 709626 w 1944716"/>
              <a:gd name="connsiteY187" fmla="*/ 196975 h 1328058"/>
              <a:gd name="connsiteX188" fmla="*/ 856970 w 1944716"/>
              <a:gd name="connsiteY188" fmla="*/ 188308 h 1328058"/>
              <a:gd name="connsiteX189" fmla="*/ 865637 w 1944716"/>
              <a:gd name="connsiteY189" fmla="*/ 140638 h 1328058"/>
              <a:gd name="connsiteX190" fmla="*/ 869971 w 1944716"/>
              <a:gd name="connsiteY190" fmla="*/ 127637 h 1328058"/>
              <a:gd name="connsiteX191" fmla="*/ 874304 w 1944716"/>
              <a:gd name="connsiteY191" fmla="*/ 110302 h 1328058"/>
              <a:gd name="connsiteX192" fmla="*/ 882972 w 1944716"/>
              <a:gd name="connsiteY192" fmla="*/ 101635 h 1328058"/>
              <a:gd name="connsiteX193" fmla="*/ 900306 w 1944716"/>
              <a:gd name="connsiteY193" fmla="*/ 75633 h 1328058"/>
              <a:gd name="connsiteX194" fmla="*/ 913307 w 1944716"/>
              <a:gd name="connsiteY194" fmla="*/ 71300 h 1328058"/>
              <a:gd name="connsiteX195" fmla="*/ 926308 w 1944716"/>
              <a:gd name="connsiteY195" fmla="*/ 62632 h 1328058"/>
              <a:gd name="connsiteX196" fmla="*/ 947976 w 1944716"/>
              <a:gd name="connsiteY196" fmla="*/ 40964 h 1328058"/>
              <a:gd name="connsiteX197" fmla="*/ 978312 w 1944716"/>
              <a:gd name="connsiteY197" fmla="*/ 36630 h 1328058"/>
              <a:gd name="connsiteX198" fmla="*/ 1025982 w 1944716"/>
              <a:gd name="connsiteY198" fmla="*/ 27963 h 1328058"/>
              <a:gd name="connsiteX199" fmla="*/ 1043317 w 1944716"/>
              <a:gd name="connsiteY199" fmla="*/ 23630 h 1328058"/>
              <a:gd name="connsiteX200" fmla="*/ 1064985 w 1944716"/>
              <a:gd name="connsiteY200" fmla="*/ 19296 h 1328058"/>
              <a:gd name="connsiteX201" fmla="*/ 1077986 w 1944716"/>
              <a:gd name="connsiteY201" fmla="*/ 10629 h 1328058"/>
              <a:gd name="connsiteX202" fmla="*/ 1151658 w 1944716"/>
              <a:gd name="connsiteY202" fmla="*/ 14962 h 1328058"/>
              <a:gd name="connsiteX203" fmla="*/ 1177660 w 1944716"/>
              <a:gd name="connsiteY203" fmla="*/ 27963 h 1328058"/>
              <a:gd name="connsiteX204" fmla="*/ 1181993 w 1944716"/>
              <a:gd name="connsiteY204" fmla="*/ 40964 h 1328058"/>
              <a:gd name="connsiteX205" fmla="*/ 1190661 w 1944716"/>
              <a:gd name="connsiteY205" fmla="*/ 79967 h 1328058"/>
              <a:gd name="connsiteX206" fmla="*/ 1194994 w 1944716"/>
              <a:gd name="connsiteY206" fmla="*/ 92968 h 1328058"/>
              <a:gd name="connsiteX207" fmla="*/ 1199328 w 1944716"/>
              <a:gd name="connsiteY207" fmla="*/ 110302 h 1328058"/>
              <a:gd name="connsiteX208" fmla="*/ 1203662 w 1944716"/>
              <a:gd name="connsiteY208" fmla="*/ 123303 h 1328058"/>
              <a:gd name="connsiteX209" fmla="*/ 1229664 w 1944716"/>
              <a:gd name="connsiteY209" fmla="*/ 131971 h 1328058"/>
              <a:gd name="connsiteX210" fmla="*/ 1246998 w 1944716"/>
              <a:gd name="connsiteY210" fmla="*/ 140638 h 1328058"/>
              <a:gd name="connsiteX211" fmla="*/ 1264333 w 1944716"/>
              <a:gd name="connsiteY211" fmla="*/ 144972 h 1328058"/>
              <a:gd name="connsiteX212" fmla="*/ 1320670 w 1944716"/>
              <a:gd name="connsiteY212" fmla="*/ 153639 h 1328058"/>
              <a:gd name="connsiteX213" fmla="*/ 1346672 w 1944716"/>
              <a:gd name="connsiteY213" fmla="*/ 162306 h 1328058"/>
              <a:gd name="connsiteX214" fmla="*/ 1359673 w 1944716"/>
              <a:gd name="connsiteY214" fmla="*/ 188308 h 1328058"/>
              <a:gd name="connsiteX215" fmla="*/ 1364007 w 1944716"/>
              <a:gd name="connsiteY215" fmla="*/ 201309 h 1328058"/>
              <a:gd name="connsiteX216" fmla="*/ 1381341 w 1944716"/>
              <a:gd name="connsiteY216" fmla="*/ 205643 h 1328058"/>
              <a:gd name="connsiteX217" fmla="*/ 1390009 w 1944716"/>
              <a:gd name="connsiteY217" fmla="*/ 214310 h 1328058"/>
              <a:gd name="connsiteX218" fmla="*/ 1403010 w 1944716"/>
              <a:gd name="connsiteY218" fmla="*/ 218644 h 1328058"/>
              <a:gd name="connsiteX219" fmla="*/ 1437679 w 1944716"/>
              <a:gd name="connsiteY219" fmla="*/ 231645 h 1328058"/>
              <a:gd name="connsiteX220" fmla="*/ 1463681 w 1944716"/>
              <a:gd name="connsiteY220" fmla="*/ 240312 h 1328058"/>
              <a:gd name="connsiteX221" fmla="*/ 1524352 w 1944716"/>
              <a:gd name="connsiteY221" fmla="*/ 235978 h 1328058"/>
              <a:gd name="connsiteX222" fmla="*/ 1554687 w 1944716"/>
              <a:gd name="connsiteY222" fmla="*/ 227311 h 1328058"/>
              <a:gd name="connsiteX223" fmla="*/ 1572022 w 1944716"/>
              <a:gd name="connsiteY223" fmla="*/ 209976 h 1328058"/>
              <a:gd name="connsiteX224" fmla="*/ 1580689 w 1944716"/>
              <a:gd name="connsiteY224" fmla="*/ 235978 h 1328058"/>
              <a:gd name="connsiteX225" fmla="*/ 1598024 w 1944716"/>
              <a:gd name="connsiteY225" fmla="*/ 257647 h 1328058"/>
              <a:gd name="connsiteX226" fmla="*/ 1624026 w 1944716"/>
              <a:gd name="connsiteY226" fmla="*/ 266314 h 1328058"/>
              <a:gd name="connsiteX227" fmla="*/ 1762702 w 1944716"/>
              <a:gd name="connsiteY227" fmla="*/ 261980 h 1328058"/>
              <a:gd name="connsiteX228" fmla="*/ 1797372 w 1944716"/>
              <a:gd name="connsiteY228" fmla="*/ 253313 h 1328058"/>
              <a:gd name="connsiteX229" fmla="*/ 1845042 w 1944716"/>
              <a:gd name="connsiteY229" fmla="*/ 248979 h 1328058"/>
              <a:gd name="connsiteX230" fmla="*/ 1858043 w 1944716"/>
              <a:gd name="connsiteY230" fmla="*/ 244646 h 1328058"/>
              <a:gd name="connsiteX231" fmla="*/ 1897046 w 1944716"/>
              <a:gd name="connsiteY231" fmla="*/ 253313 h 1328058"/>
              <a:gd name="connsiteX232" fmla="*/ 1905713 w 1944716"/>
              <a:gd name="connsiteY232" fmla="*/ 266314 h 1328058"/>
              <a:gd name="connsiteX233" fmla="*/ 1897046 w 1944716"/>
              <a:gd name="connsiteY233" fmla="*/ 344320 h 1328058"/>
              <a:gd name="connsiteX234" fmla="*/ 1905713 w 1944716"/>
              <a:gd name="connsiteY234" fmla="*/ 374655 h 1328058"/>
              <a:gd name="connsiteX235" fmla="*/ 1914380 w 1944716"/>
              <a:gd name="connsiteY235" fmla="*/ 387656 h 1328058"/>
              <a:gd name="connsiteX236" fmla="*/ 1918714 w 1944716"/>
              <a:gd name="connsiteY236" fmla="*/ 400657 h 1328058"/>
              <a:gd name="connsiteX237" fmla="*/ 1914380 w 1944716"/>
              <a:gd name="connsiteY237" fmla="*/ 413658 h 1328058"/>
              <a:gd name="connsiteX238" fmla="*/ 1914380 w 1944716"/>
              <a:gd name="connsiteY238" fmla="*/ 443993 h 1328058"/>
              <a:gd name="connsiteX239" fmla="*/ 1927381 w 1944716"/>
              <a:gd name="connsiteY239" fmla="*/ 452661 h 1328058"/>
              <a:gd name="connsiteX240" fmla="*/ 1931715 w 1944716"/>
              <a:gd name="connsiteY240" fmla="*/ 465662 h 1328058"/>
              <a:gd name="connsiteX241" fmla="*/ 1936048 w 1944716"/>
              <a:gd name="connsiteY241" fmla="*/ 482996 h 1328058"/>
              <a:gd name="connsiteX242" fmla="*/ 1944716 w 1944716"/>
              <a:gd name="connsiteY242" fmla="*/ 508998 h 1328058"/>
              <a:gd name="connsiteX243" fmla="*/ 1940382 w 1944716"/>
              <a:gd name="connsiteY243" fmla="*/ 539334 h 1328058"/>
              <a:gd name="connsiteX244" fmla="*/ 1897046 w 1944716"/>
              <a:gd name="connsiteY244" fmla="*/ 582670 h 1328058"/>
              <a:gd name="connsiteX245" fmla="*/ 1884045 w 1944716"/>
              <a:gd name="connsiteY245" fmla="*/ 591338 h 1328058"/>
              <a:gd name="connsiteX246" fmla="*/ 1862376 w 1944716"/>
              <a:gd name="connsiteY246" fmla="*/ 608672 h 1328058"/>
              <a:gd name="connsiteX247" fmla="*/ 1849375 w 1944716"/>
              <a:gd name="connsiteY247" fmla="*/ 613006 h 1328058"/>
              <a:gd name="connsiteX248" fmla="*/ 1832041 w 1944716"/>
              <a:gd name="connsiteY248" fmla="*/ 639008 h 1328058"/>
              <a:gd name="connsiteX249" fmla="*/ 1827707 w 1944716"/>
              <a:gd name="connsiteY249" fmla="*/ 652009 h 1328058"/>
              <a:gd name="connsiteX250" fmla="*/ 1814706 w 1944716"/>
              <a:gd name="connsiteY250" fmla="*/ 656342 h 1328058"/>
              <a:gd name="connsiteX251" fmla="*/ 1801705 w 1944716"/>
              <a:gd name="connsiteY251" fmla="*/ 669343 h 1328058"/>
              <a:gd name="connsiteX252" fmla="*/ 1797372 w 1944716"/>
              <a:gd name="connsiteY252" fmla="*/ 682344 h 1328058"/>
              <a:gd name="connsiteX253" fmla="*/ 1806039 w 1944716"/>
              <a:gd name="connsiteY253" fmla="*/ 747349 h 1328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</a:cxnLst>
            <a:rect l="l" t="t" r="r" b="b"/>
            <a:pathLst>
              <a:path w="1944716" h="1328058">
                <a:moveTo>
                  <a:pt x="1806039" y="747349"/>
                </a:moveTo>
                <a:cubicBezTo>
                  <a:pt x="1803150" y="758905"/>
                  <a:pt x="1787627" y="747256"/>
                  <a:pt x="1780037" y="751683"/>
                </a:cubicBezTo>
                <a:cubicBezTo>
                  <a:pt x="1769449" y="757859"/>
                  <a:pt x="1754035" y="777684"/>
                  <a:pt x="1754035" y="777684"/>
                </a:cubicBezTo>
                <a:cubicBezTo>
                  <a:pt x="1743639" y="808876"/>
                  <a:pt x="1756259" y="769902"/>
                  <a:pt x="1745368" y="808020"/>
                </a:cubicBezTo>
                <a:cubicBezTo>
                  <a:pt x="1744113" y="812412"/>
                  <a:pt x="1744264" y="817791"/>
                  <a:pt x="1741034" y="821021"/>
                </a:cubicBezTo>
                <a:cubicBezTo>
                  <a:pt x="1737804" y="824251"/>
                  <a:pt x="1732367" y="823910"/>
                  <a:pt x="1728033" y="825355"/>
                </a:cubicBezTo>
                <a:cubicBezTo>
                  <a:pt x="1723699" y="829689"/>
                  <a:pt x="1720353" y="835315"/>
                  <a:pt x="1715032" y="838356"/>
                </a:cubicBezTo>
                <a:cubicBezTo>
                  <a:pt x="1709861" y="841311"/>
                  <a:pt x="1703425" y="841053"/>
                  <a:pt x="1697698" y="842689"/>
                </a:cubicBezTo>
                <a:cubicBezTo>
                  <a:pt x="1681451" y="847331"/>
                  <a:pt x="1685993" y="847970"/>
                  <a:pt x="1667362" y="851357"/>
                </a:cubicBezTo>
                <a:cubicBezTo>
                  <a:pt x="1657312" y="853184"/>
                  <a:pt x="1647139" y="854246"/>
                  <a:pt x="1637027" y="855690"/>
                </a:cubicBezTo>
                <a:cubicBezTo>
                  <a:pt x="1628963" y="863753"/>
                  <a:pt x="1625160" y="866422"/>
                  <a:pt x="1619692" y="877358"/>
                </a:cubicBezTo>
                <a:cubicBezTo>
                  <a:pt x="1617649" y="881444"/>
                  <a:pt x="1618212" y="886792"/>
                  <a:pt x="1615358" y="890359"/>
                </a:cubicBezTo>
                <a:cubicBezTo>
                  <a:pt x="1609247" y="897998"/>
                  <a:pt x="1597923" y="900505"/>
                  <a:pt x="1589357" y="903360"/>
                </a:cubicBezTo>
                <a:cubicBezTo>
                  <a:pt x="1586468" y="906249"/>
                  <a:pt x="1584344" y="910201"/>
                  <a:pt x="1580689" y="912028"/>
                </a:cubicBezTo>
                <a:cubicBezTo>
                  <a:pt x="1556452" y="924147"/>
                  <a:pt x="1565998" y="905933"/>
                  <a:pt x="1537353" y="925029"/>
                </a:cubicBezTo>
                <a:cubicBezTo>
                  <a:pt x="1533019" y="927918"/>
                  <a:pt x="1528419" y="930443"/>
                  <a:pt x="1524352" y="933696"/>
                </a:cubicBezTo>
                <a:cubicBezTo>
                  <a:pt x="1521161" y="936248"/>
                  <a:pt x="1519084" y="940097"/>
                  <a:pt x="1515684" y="942363"/>
                </a:cubicBezTo>
                <a:cubicBezTo>
                  <a:pt x="1510309" y="945946"/>
                  <a:pt x="1504128" y="948141"/>
                  <a:pt x="1498350" y="951030"/>
                </a:cubicBezTo>
                <a:cubicBezTo>
                  <a:pt x="1493659" y="955721"/>
                  <a:pt x="1482186" y="966063"/>
                  <a:pt x="1481015" y="972699"/>
                </a:cubicBezTo>
                <a:cubicBezTo>
                  <a:pt x="1461796" y="1081603"/>
                  <a:pt x="1486374" y="1004295"/>
                  <a:pt x="1472348" y="1046371"/>
                </a:cubicBezTo>
                <a:cubicBezTo>
                  <a:pt x="1475237" y="1050705"/>
                  <a:pt x="1476598" y="1056612"/>
                  <a:pt x="1481015" y="1059372"/>
                </a:cubicBezTo>
                <a:cubicBezTo>
                  <a:pt x="1488762" y="1064214"/>
                  <a:pt x="1507017" y="1068039"/>
                  <a:pt x="1507017" y="1068039"/>
                </a:cubicBezTo>
                <a:cubicBezTo>
                  <a:pt x="1510081" y="1072635"/>
                  <a:pt x="1518175" y="1086618"/>
                  <a:pt x="1524352" y="1089707"/>
                </a:cubicBezTo>
                <a:cubicBezTo>
                  <a:pt x="1532524" y="1093793"/>
                  <a:pt x="1541687" y="1095486"/>
                  <a:pt x="1550354" y="1098375"/>
                </a:cubicBezTo>
                <a:lnTo>
                  <a:pt x="1563355" y="1102708"/>
                </a:lnTo>
                <a:lnTo>
                  <a:pt x="1576356" y="1107042"/>
                </a:lnTo>
                <a:lnTo>
                  <a:pt x="1602357" y="1098375"/>
                </a:lnTo>
                <a:cubicBezTo>
                  <a:pt x="1606691" y="1096930"/>
                  <a:pt x="1610818" y="1094546"/>
                  <a:pt x="1615358" y="1094041"/>
                </a:cubicBezTo>
                <a:cubicBezTo>
                  <a:pt x="1664513" y="1088579"/>
                  <a:pt x="1641411" y="1091557"/>
                  <a:pt x="1684697" y="1085374"/>
                </a:cubicBezTo>
                <a:lnTo>
                  <a:pt x="1719366" y="1089707"/>
                </a:lnTo>
                <a:cubicBezTo>
                  <a:pt x="1729052" y="1098009"/>
                  <a:pt x="1712018" y="1115803"/>
                  <a:pt x="1706365" y="1120043"/>
                </a:cubicBezTo>
                <a:cubicBezTo>
                  <a:pt x="1698032" y="1126293"/>
                  <a:pt x="1690469" y="1134850"/>
                  <a:pt x="1680363" y="1137377"/>
                </a:cubicBezTo>
                <a:cubicBezTo>
                  <a:pt x="1674585" y="1138822"/>
                  <a:pt x="1668843" y="1140419"/>
                  <a:pt x="1663029" y="1141711"/>
                </a:cubicBezTo>
                <a:cubicBezTo>
                  <a:pt x="1655838" y="1143309"/>
                  <a:pt x="1648506" y="1144259"/>
                  <a:pt x="1641360" y="1146045"/>
                </a:cubicBezTo>
                <a:cubicBezTo>
                  <a:pt x="1636928" y="1147153"/>
                  <a:pt x="1632693" y="1148934"/>
                  <a:pt x="1628359" y="1150378"/>
                </a:cubicBezTo>
                <a:cubicBezTo>
                  <a:pt x="1624025" y="1153267"/>
                  <a:pt x="1620017" y="1156717"/>
                  <a:pt x="1615358" y="1159046"/>
                </a:cubicBezTo>
                <a:cubicBezTo>
                  <a:pt x="1611272" y="1161089"/>
                  <a:pt x="1606350" y="1161161"/>
                  <a:pt x="1602357" y="1163379"/>
                </a:cubicBezTo>
                <a:cubicBezTo>
                  <a:pt x="1580311" y="1175627"/>
                  <a:pt x="1580837" y="1176233"/>
                  <a:pt x="1567688" y="1189381"/>
                </a:cubicBezTo>
                <a:cubicBezTo>
                  <a:pt x="1566244" y="1193715"/>
                  <a:pt x="1567072" y="1199727"/>
                  <a:pt x="1563355" y="1202382"/>
                </a:cubicBezTo>
                <a:cubicBezTo>
                  <a:pt x="1557676" y="1206439"/>
                  <a:pt x="1529284" y="1213066"/>
                  <a:pt x="1520018" y="1215383"/>
                </a:cubicBezTo>
                <a:cubicBezTo>
                  <a:pt x="1515684" y="1219717"/>
                  <a:pt x="1509758" y="1222902"/>
                  <a:pt x="1507017" y="1228384"/>
                </a:cubicBezTo>
                <a:cubicBezTo>
                  <a:pt x="1505935" y="1230549"/>
                  <a:pt x="1502442" y="1257938"/>
                  <a:pt x="1498350" y="1263053"/>
                </a:cubicBezTo>
                <a:cubicBezTo>
                  <a:pt x="1495096" y="1267120"/>
                  <a:pt x="1489683" y="1268832"/>
                  <a:pt x="1485349" y="1271721"/>
                </a:cubicBezTo>
                <a:cubicBezTo>
                  <a:pt x="1481201" y="1284162"/>
                  <a:pt x="1482922" y="1285458"/>
                  <a:pt x="1472348" y="1293389"/>
                </a:cubicBezTo>
                <a:cubicBezTo>
                  <a:pt x="1464015" y="1299639"/>
                  <a:pt x="1446346" y="1310723"/>
                  <a:pt x="1446346" y="1310723"/>
                </a:cubicBezTo>
                <a:cubicBezTo>
                  <a:pt x="1444901" y="1315057"/>
                  <a:pt x="1445242" y="1320494"/>
                  <a:pt x="1442012" y="1323724"/>
                </a:cubicBezTo>
                <a:cubicBezTo>
                  <a:pt x="1438782" y="1326954"/>
                  <a:pt x="1433579" y="1328058"/>
                  <a:pt x="1429011" y="1328058"/>
                </a:cubicBezTo>
                <a:cubicBezTo>
                  <a:pt x="1414494" y="1328058"/>
                  <a:pt x="1400120" y="1325169"/>
                  <a:pt x="1385675" y="1323724"/>
                </a:cubicBezTo>
                <a:cubicBezTo>
                  <a:pt x="1384230" y="1294833"/>
                  <a:pt x="1384657" y="1265787"/>
                  <a:pt x="1381341" y="1237051"/>
                </a:cubicBezTo>
                <a:cubicBezTo>
                  <a:pt x="1380294" y="1227975"/>
                  <a:pt x="1381341" y="1213938"/>
                  <a:pt x="1372674" y="1211049"/>
                </a:cubicBezTo>
                <a:cubicBezTo>
                  <a:pt x="1352685" y="1204387"/>
                  <a:pt x="1364152" y="1207612"/>
                  <a:pt x="1338005" y="1202382"/>
                </a:cubicBezTo>
                <a:cubicBezTo>
                  <a:pt x="1333671" y="1198048"/>
                  <a:pt x="1329712" y="1193304"/>
                  <a:pt x="1325004" y="1189381"/>
                </a:cubicBezTo>
                <a:cubicBezTo>
                  <a:pt x="1321003" y="1186047"/>
                  <a:pt x="1315337" y="1184715"/>
                  <a:pt x="1312003" y="1180714"/>
                </a:cubicBezTo>
                <a:cubicBezTo>
                  <a:pt x="1307867" y="1175751"/>
                  <a:pt x="1306920" y="1168754"/>
                  <a:pt x="1303336" y="1163379"/>
                </a:cubicBezTo>
                <a:cubicBezTo>
                  <a:pt x="1301070" y="1159979"/>
                  <a:pt x="1297557" y="1157601"/>
                  <a:pt x="1294668" y="1154712"/>
                </a:cubicBezTo>
                <a:cubicBezTo>
                  <a:pt x="1293224" y="1150378"/>
                  <a:pt x="1292685" y="1145628"/>
                  <a:pt x="1290335" y="1141711"/>
                </a:cubicBezTo>
                <a:cubicBezTo>
                  <a:pt x="1288233" y="1138207"/>
                  <a:pt x="1283494" y="1136699"/>
                  <a:pt x="1281667" y="1133044"/>
                </a:cubicBezTo>
                <a:cubicBezTo>
                  <a:pt x="1279003" y="1127717"/>
                  <a:pt x="1278778" y="1121487"/>
                  <a:pt x="1277334" y="1115709"/>
                </a:cubicBezTo>
                <a:cubicBezTo>
                  <a:pt x="1278778" y="1109931"/>
                  <a:pt x="1277947" y="1103026"/>
                  <a:pt x="1281667" y="1098375"/>
                </a:cubicBezTo>
                <a:cubicBezTo>
                  <a:pt x="1284521" y="1094808"/>
                  <a:pt x="1290276" y="1095296"/>
                  <a:pt x="1294668" y="1094041"/>
                </a:cubicBezTo>
                <a:cubicBezTo>
                  <a:pt x="1332786" y="1083150"/>
                  <a:pt x="1293812" y="1095770"/>
                  <a:pt x="1325004" y="1085374"/>
                </a:cubicBezTo>
                <a:cubicBezTo>
                  <a:pt x="1345228" y="1065150"/>
                  <a:pt x="1348118" y="1073817"/>
                  <a:pt x="1333671" y="1059372"/>
                </a:cubicBezTo>
                <a:cubicBezTo>
                  <a:pt x="1332227" y="1055038"/>
                  <a:pt x="1332191" y="1049938"/>
                  <a:pt x="1329338" y="1046371"/>
                </a:cubicBezTo>
                <a:cubicBezTo>
                  <a:pt x="1319963" y="1034651"/>
                  <a:pt x="1303024" y="1035485"/>
                  <a:pt x="1290335" y="1033370"/>
                </a:cubicBezTo>
                <a:cubicBezTo>
                  <a:pt x="1271556" y="1034814"/>
                  <a:pt x="1252601" y="1034765"/>
                  <a:pt x="1233997" y="1037703"/>
                </a:cubicBezTo>
                <a:cubicBezTo>
                  <a:pt x="1224973" y="1039128"/>
                  <a:pt x="1207995" y="1046371"/>
                  <a:pt x="1207995" y="1046371"/>
                </a:cubicBezTo>
                <a:cubicBezTo>
                  <a:pt x="1164434" y="1043020"/>
                  <a:pt x="1157136" y="1057326"/>
                  <a:pt x="1142991" y="1029036"/>
                </a:cubicBezTo>
                <a:cubicBezTo>
                  <a:pt x="1140948" y="1024950"/>
                  <a:pt x="1140102" y="1020369"/>
                  <a:pt x="1138657" y="1016035"/>
                </a:cubicBezTo>
                <a:cubicBezTo>
                  <a:pt x="1140102" y="1008812"/>
                  <a:pt x="1137783" y="999575"/>
                  <a:pt x="1142991" y="994367"/>
                </a:cubicBezTo>
                <a:cubicBezTo>
                  <a:pt x="1149451" y="987907"/>
                  <a:pt x="1160326" y="988589"/>
                  <a:pt x="1168993" y="985700"/>
                </a:cubicBezTo>
                <a:lnTo>
                  <a:pt x="1181993" y="981366"/>
                </a:lnTo>
                <a:cubicBezTo>
                  <a:pt x="1183438" y="975588"/>
                  <a:pt x="1187169" y="969927"/>
                  <a:pt x="1186327" y="964031"/>
                </a:cubicBezTo>
                <a:cubicBezTo>
                  <a:pt x="1182877" y="939880"/>
                  <a:pt x="1156717" y="953648"/>
                  <a:pt x="1142991" y="955364"/>
                </a:cubicBezTo>
                <a:lnTo>
                  <a:pt x="1116989" y="964031"/>
                </a:lnTo>
                <a:cubicBezTo>
                  <a:pt x="1112655" y="965476"/>
                  <a:pt x="1108494" y="967614"/>
                  <a:pt x="1103988" y="968365"/>
                </a:cubicBezTo>
                <a:cubicBezTo>
                  <a:pt x="1070721" y="973910"/>
                  <a:pt x="1086602" y="970976"/>
                  <a:pt x="1056318" y="977032"/>
                </a:cubicBezTo>
                <a:cubicBezTo>
                  <a:pt x="1053429" y="979921"/>
                  <a:pt x="1050919" y="983248"/>
                  <a:pt x="1047650" y="985700"/>
                </a:cubicBezTo>
                <a:cubicBezTo>
                  <a:pt x="1039317" y="991950"/>
                  <a:pt x="1030315" y="997256"/>
                  <a:pt x="1021648" y="1003034"/>
                </a:cubicBezTo>
                <a:cubicBezTo>
                  <a:pt x="1017314" y="1005923"/>
                  <a:pt x="1012331" y="1008019"/>
                  <a:pt x="1008648" y="1011702"/>
                </a:cubicBezTo>
                <a:lnTo>
                  <a:pt x="999980" y="1020369"/>
                </a:lnTo>
                <a:cubicBezTo>
                  <a:pt x="998536" y="1024703"/>
                  <a:pt x="997997" y="1029453"/>
                  <a:pt x="995647" y="1033370"/>
                </a:cubicBezTo>
                <a:cubicBezTo>
                  <a:pt x="993545" y="1036874"/>
                  <a:pt x="988153" y="1038123"/>
                  <a:pt x="986979" y="1042037"/>
                </a:cubicBezTo>
                <a:cubicBezTo>
                  <a:pt x="983632" y="1053192"/>
                  <a:pt x="985992" y="1065551"/>
                  <a:pt x="982646" y="1076706"/>
                </a:cubicBezTo>
                <a:cubicBezTo>
                  <a:pt x="981102" y="1081853"/>
                  <a:pt x="963603" y="1092290"/>
                  <a:pt x="960977" y="1094041"/>
                </a:cubicBezTo>
                <a:cubicBezTo>
                  <a:pt x="959533" y="1098375"/>
                  <a:pt x="957846" y="1102635"/>
                  <a:pt x="956644" y="1107042"/>
                </a:cubicBezTo>
                <a:cubicBezTo>
                  <a:pt x="953510" y="1118534"/>
                  <a:pt x="953303" y="1131057"/>
                  <a:pt x="947976" y="1141711"/>
                </a:cubicBezTo>
                <a:cubicBezTo>
                  <a:pt x="945647" y="1146369"/>
                  <a:pt x="939042" y="1147124"/>
                  <a:pt x="934975" y="1150378"/>
                </a:cubicBezTo>
                <a:cubicBezTo>
                  <a:pt x="931784" y="1152930"/>
                  <a:pt x="929197" y="1156157"/>
                  <a:pt x="926308" y="1159046"/>
                </a:cubicBezTo>
                <a:cubicBezTo>
                  <a:pt x="922017" y="1171921"/>
                  <a:pt x="919276" y="1187746"/>
                  <a:pt x="908974" y="1198048"/>
                </a:cubicBezTo>
                <a:cubicBezTo>
                  <a:pt x="905291" y="1201731"/>
                  <a:pt x="900850" y="1204887"/>
                  <a:pt x="895973" y="1206716"/>
                </a:cubicBezTo>
                <a:cubicBezTo>
                  <a:pt x="876182" y="1214137"/>
                  <a:pt x="877349" y="1207360"/>
                  <a:pt x="861303" y="1215383"/>
                </a:cubicBezTo>
                <a:cubicBezTo>
                  <a:pt x="850852" y="1220608"/>
                  <a:pt x="836946" y="1230177"/>
                  <a:pt x="826634" y="1237051"/>
                </a:cubicBezTo>
                <a:cubicBezTo>
                  <a:pt x="807855" y="1235607"/>
                  <a:pt x="788986" y="1235054"/>
                  <a:pt x="770297" y="1232718"/>
                </a:cubicBezTo>
                <a:cubicBezTo>
                  <a:pt x="755776" y="1230903"/>
                  <a:pt x="757197" y="1226168"/>
                  <a:pt x="744295" y="1219717"/>
                </a:cubicBezTo>
                <a:cubicBezTo>
                  <a:pt x="740209" y="1217674"/>
                  <a:pt x="735628" y="1216828"/>
                  <a:pt x="731294" y="1215383"/>
                </a:cubicBezTo>
                <a:cubicBezTo>
                  <a:pt x="729849" y="1211049"/>
                  <a:pt x="726960" y="1206950"/>
                  <a:pt x="726960" y="1202382"/>
                </a:cubicBezTo>
                <a:cubicBezTo>
                  <a:pt x="726960" y="1185872"/>
                  <a:pt x="732739" y="1190001"/>
                  <a:pt x="744295" y="1185048"/>
                </a:cubicBezTo>
                <a:cubicBezTo>
                  <a:pt x="750233" y="1182503"/>
                  <a:pt x="755852" y="1179269"/>
                  <a:pt x="761630" y="1176380"/>
                </a:cubicBezTo>
                <a:cubicBezTo>
                  <a:pt x="763365" y="1169440"/>
                  <a:pt x="771464" y="1135155"/>
                  <a:pt x="774630" y="1133044"/>
                </a:cubicBezTo>
                <a:lnTo>
                  <a:pt x="787631" y="1124376"/>
                </a:lnTo>
                <a:cubicBezTo>
                  <a:pt x="793213" y="1107632"/>
                  <a:pt x="792813" y="1110622"/>
                  <a:pt x="796299" y="1089707"/>
                </a:cubicBezTo>
                <a:cubicBezTo>
                  <a:pt x="797978" y="1079632"/>
                  <a:pt x="795218" y="1068034"/>
                  <a:pt x="800632" y="1059372"/>
                </a:cubicBezTo>
                <a:cubicBezTo>
                  <a:pt x="803789" y="1054321"/>
                  <a:pt x="812189" y="1056483"/>
                  <a:pt x="817967" y="1055038"/>
                </a:cubicBezTo>
                <a:cubicBezTo>
                  <a:pt x="852481" y="1032030"/>
                  <a:pt x="799098" y="1063591"/>
                  <a:pt x="869971" y="1050704"/>
                </a:cubicBezTo>
                <a:cubicBezTo>
                  <a:pt x="875095" y="1049772"/>
                  <a:pt x="876523" y="1042462"/>
                  <a:pt x="878638" y="1037703"/>
                </a:cubicBezTo>
                <a:cubicBezTo>
                  <a:pt x="882348" y="1029355"/>
                  <a:pt x="887305" y="1011702"/>
                  <a:pt x="887305" y="1011702"/>
                </a:cubicBezTo>
                <a:cubicBezTo>
                  <a:pt x="885861" y="1003035"/>
                  <a:pt x="886057" y="993927"/>
                  <a:pt x="882972" y="985700"/>
                </a:cubicBezTo>
                <a:cubicBezTo>
                  <a:pt x="881537" y="981874"/>
                  <a:pt x="876406" y="980536"/>
                  <a:pt x="874304" y="977032"/>
                </a:cubicBezTo>
                <a:cubicBezTo>
                  <a:pt x="871954" y="973115"/>
                  <a:pt x="871079" y="968463"/>
                  <a:pt x="869971" y="964031"/>
                </a:cubicBezTo>
                <a:cubicBezTo>
                  <a:pt x="868185" y="956885"/>
                  <a:pt x="867575" y="949469"/>
                  <a:pt x="865637" y="942363"/>
                </a:cubicBezTo>
                <a:cubicBezTo>
                  <a:pt x="863233" y="933549"/>
                  <a:pt x="859186" y="925224"/>
                  <a:pt x="856970" y="916361"/>
                </a:cubicBezTo>
                <a:cubicBezTo>
                  <a:pt x="850421" y="890167"/>
                  <a:pt x="854518" y="904672"/>
                  <a:pt x="843969" y="873025"/>
                </a:cubicBezTo>
                <a:cubicBezTo>
                  <a:pt x="841114" y="864461"/>
                  <a:pt x="838604" y="853132"/>
                  <a:pt x="830968" y="847023"/>
                </a:cubicBezTo>
                <a:cubicBezTo>
                  <a:pt x="827401" y="844169"/>
                  <a:pt x="822301" y="844134"/>
                  <a:pt x="817967" y="842689"/>
                </a:cubicBezTo>
                <a:cubicBezTo>
                  <a:pt x="815078" y="838355"/>
                  <a:pt x="813301" y="833022"/>
                  <a:pt x="809300" y="829688"/>
                </a:cubicBezTo>
                <a:cubicBezTo>
                  <a:pt x="775843" y="801808"/>
                  <a:pt x="806627" y="841216"/>
                  <a:pt x="778964" y="808020"/>
                </a:cubicBezTo>
                <a:cubicBezTo>
                  <a:pt x="775630" y="804019"/>
                  <a:pt x="772412" y="799778"/>
                  <a:pt x="770297" y="795019"/>
                </a:cubicBezTo>
                <a:cubicBezTo>
                  <a:pt x="762494" y="777463"/>
                  <a:pt x="763513" y="755200"/>
                  <a:pt x="739961" y="747349"/>
                </a:cubicBezTo>
                <a:cubicBezTo>
                  <a:pt x="735627" y="745904"/>
                  <a:pt x="731392" y="744123"/>
                  <a:pt x="726960" y="743015"/>
                </a:cubicBezTo>
                <a:cubicBezTo>
                  <a:pt x="695431" y="735133"/>
                  <a:pt x="714042" y="742071"/>
                  <a:pt x="679290" y="734348"/>
                </a:cubicBezTo>
                <a:cubicBezTo>
                  <a:pt x="674831" y="733357"/>
                  <a:pt x="670623" y="731459"/>
                  <a:pt x="666289" y="730014"/>
                </a:cubicBezTo>
                <a:cubicBezTo>
                  <a:pt x="647510" y="732903"/>
                  <a:pt x="628627" y="735180"/>
                  <a:pt x="609952" y="738682"/>
                </a:cubicBezTo>
                <a:cubicBezTo>
                  <a:pt x="605462" y="739524"/>
                  <a:pt x="600944" y="740797"/>
                  <a:pt x="596951" y="743015"/>
                </a:cubicBezTo>
                <a:cubicBezTo>
                  <a:pt x="587845" y="748074"/>
                  <a:pt x="579616" y="754572"/>
                  <a:pt x="570949" y="760350"/>
                </a:cubicBezTo>
                <a:lnTo>
                  <a:pt x="557948" y="769017"/>
                </a:lnTo>
                <a:cubicBezTo>
                  <a:pt x="553614" y="771906"/>
                  <a:pt x="549888" y="776037"/>
                  <a:pt x="544947" y="777684"/>
                </a:cubicBezTo>
                <a:cubicBezTo>
                  <a:pt x="527005" y="783665"/>
                  <a:pt x="535747" y="779484"/>
                  <a:pt x="518945" y="790685"/>
                </a:cubicBezTo>
                <a:cubicBezTo>
                  <a:pt x="479560" y="785059"/>
                  <a:pt x="498305" y="789583"/>
                  <a:pt x="462608" y="777684"/>
                </a:cubicBezTo>
                <a:lnTo>
                  <a:pt x="449607" y="773351"/>
                </a:lnTo>
                <a:cubicBezTo>
                  <a:pt x="435161" y="774795"/>
                  <a:pt x="420416" y="774420"/>
                  <a:pt x="406270" y="777684"/>
                </a:cubicBezTo>
                <a:cubicBezTo>
                  <a:pt x="401195" y="778855"/>
                  <a:pt x="397928" y="784023"/>
                  <a:pt x="393269" y="786352"/>
                </a:cubicBezTo>
                <a:cubicBezTo>
                  <a:pt x="389183" y="788395"/>
                  <a:pt x="384602" y="789241"/>
                  <a:pt x="380268" y="790685"/>
                </a:cubicBezTo>
                <a:cubicBezTo>
                  <a:pt x="377379" y="795019"/>
                  <a:pt x="375668" y="800432"/>
                  <a:pt x="371601" y="803686"/>
                </a:cubicBezTo>
                <a:cubicBezTo>
                  <a:pt x="368034" y="806540"/>
                  <a:pt x="362799" y="806220"/>
                  <a:pt x="358600" y="808020"/>
                </a:cubicBezTo>
                <a:cubicBezTo>
                  <a:pt x="352662" y="810565"/>
                  <a:pt x="346641" y="813104"/>
                  <a:pt x="341266" y="816687"/>
                </a:cubicBezTo>
                <a:cubicBezTo>
                  <a:pt x="337866" y="818954"/>
                  <a:pt x="335867" y="822903"/>
                  <a:pt x="332598" y="825355"/>
                </a:cubicBezTo>
                <a:cubicBezTo>
                  <a:pt x="308757" y="843235"/>
                  <a:pt x="313864" y="840266"/>
                  <a:pt x="293595" y="847023"/>
                </a:cubicBezTo>
                <a:cubicBezTo>
                  <a:pt x="289261" y="845578"/>
                  <a:pt x="283824" y="845919"/>
                  <a:pt x="280594" y="842689"/>
                </a:cubicBezTo>
                <a:cubicBezTo>
                  <a:pt x="277364" y="839459"/>
                  <a:pt x="278611" y="833605"/>
                  <a:pt x="276261" y="829688"/>
                </a:cubicBezTo>
                <a:cubicBezTo>
                  <a:pt x="274159" y="826184"/>
                  <a:pt x="270482" y="823910"/>
                  <a:pt x="267593" y="821021"/>
                </a:cubicBezTo>
                <a:cubicBezTo>
                  <a:pt x="257481" y="822466"/>
                  <a:pt x="247042" y="822420"/>
                  <a:pt x="237258" y="825355"/>
                </a:cubicBezTo>
                <a:cubicBezTo>
                  <a:pt x="220801" y="830292"/>
                  <a:pt x="224205" y="838435"/>
                  <a:pt x="215590" y="851357"/>
                </a:cubicBezTo>
                <a:cubicBezTo>
                  <a:pt x="213324" y="854757"/>
                  <a:pt x="209474" y="856833"/>
                  <a:pt x="206922" y="860024"/>
                </a:cubicBezTo>
                <a:cubicBezTo>
                  <a:pt x="203668" y="864091"/>
                  <a:pt x="201144" y="868691"/>
                  <a:pt x="198255" y="873025"/>
                </a:cubicBezTo>
                <a:cubicBezTo>
                  <a:pt x="180920" y="871580"/>
                  <a:pt x="163409" y="871551"/>
                  <a:pt x="146251" y="868691"/>
                </a:cubicBezTo>
                <a:cubicBezTo>
                  <a:pt x="137239" y="867189"/>
                  <a:pt x="120249" y="860024"/>
                  <a:pt x="120249" y="860024"/>
                </a:cubicBezTo>
                <a:cubicBezTo>
                  <a:pt x="115915" y="857135"/>
                  <a:pt x="111906" y="853686"/>
                  <a:pt x="107248" y="851357"/>
                </a:cubicBezTo>
                <a:cubicBezTo>
                  <a:pt x="103162" y="849314"/>
                  <a:pt x="97478" y="850253"/>
                  <a:pt x="94248" y="847023"/>
                </a:cubicBezTo>
                <a:cubicBezTo>
                  <a:pt x="72633" y="825407"/>
                  <a:pt x="111540" y="840745"/>
                  <a:pt x="76913" y="825355"/>
                </a:cubicBezTo>
                <a:cubicBezTo>
                  <a:pt x="56306" y="816196"/>
                  <a:pt x="46717" y="815988"/>
                  <a:pt x="24909" y="812354"/>
                </a:cubicBezTo>
                <a:cubicBezTo>
                  <a:pt x="22020" y="809465"/>
                  <a:pt x="18794" y="806877"/>
                  <a:pt x="16242" y="803686"/>
                </a:cubicBezTo>
                <a:cubicBezTo>
                  <a:pt x="0" y="783382"/>
                  <a:pt x="6762" y="782554"/>
                  <a:pt x="3241" y="747349"/>
                </a:cubicBezTo>
                <a:cubicBezTo>
                  <a:pt x="4686" y="732903"/>
                  <a:pt x="5368" y="718361"/>
                  <a:pt x="7575" y="704012"/>
                </a:cubicBezTo>
                <a:cubicBezTo>
                  <a:pt x="9996" y="688275"/>
                  <a:pt x="13432" y="692297"/>
                  <a:pt x="20575" y="678011"/>
                </a:cubicBezTo>
                <a:cubicBezTo>
                  <a:pt x="24039" y="671084"/>
                  <a:pt x="27392" y="654155"/>
                  <a:pt x="29243" y="647675"/>
                </a:cubicBezTo>
                <a:cubicBezTo>
                  <a:pt x="30498" y="643283"/>
                  <a:pt x="32132" y="639008"/>
                  <a:pt x="33576" y="634674"/>
                </a:cubicBezTo>
                <a:cubicBezTo>
                  <a:pt x="35021" y="610117"/>
                  <a:pt x="30747" y="584536"/>
                  <a:pt x="37910" y="561002"/>
                </a:cubicBezTo>
                <a:cubicBezTo>
                  <a:pt x="41479" y="549276"/>
                  <a:pt x="57113" y="545199"/>
                  <a:pt x="63912" y="535000"/>
                </a:cubicBezTo>
                <a:cubicBezTo>
                  <a:pt x="66801" y="530666"/>
                  <a:pt x="69149" y="525919"/>
                  <a:pt x="72579" y="521999"/>
                </a:cubicBezTo>
                <a:cubicBezTo>
                  <a:pt x="79305" y="514312"/>
                  <a:pt x="94248" y="500331"/>
                  <a:pt x="94248" y="500331"/>
                </a:cubicBezTo>
                <a:cubicBezTo>
                  <a:pt x="97137" y="491664"/>
                  <a:pt x="97847" y="481931"/>
                  <a:pt x="102915" y="474329"/>
                </a:cubicBezTo>
                <a:cubicBezTo>
                  <a:pt x="105804" y="469995"/>
                  <a:pt x="109253" y="465986"/>
                  <a:pt x="111582" y="461328"/>
                </a:cubicBezTo>
                <a:cubicBezTo>
                  <a:pt x="113625" y="457242"/>
                  <a:pt x="112686" y="451557"/>
                  <a:pt x="115916" y="448327"/>
                </a:cubicBezTo>
                <a:cubicBezTo>
                  <a:pt x="119146" y="445097"/>
                  <a:pt x="124831" y="446036"/>
                  <a:pt x="128917" y="443993"/>
                </a:cubicBezTo>
                <a:cubicBezTo>
                  <a:pt x="162513" y="427195"/>
                  <a:pt x="122247" y="441882"/>
                  <a:pt x="154919" y="430993"/>
                </a:cubicBezTo>
                <a:cubicBezTo>
                  <a:pt x="159253" y="428104"/>
                  <a:pt x="164237" y="426008"/>
                  <a:pt x="167920" y="422325"/>
                </a:cubicBezTo>
                <a:cubicBezTo>
                  <a:pt x="177895" y="412349"/>
                  <a:pt x="177606" y="405250"/>
                  <a:pt x="180921" y="391990"/>
                </a:cubicBezTo>
                <a:cubicBezTo>
                  <a:pt x="180514" y="388734"/>
                  <a:pt x="177026" y="349531"/>
                  <a:pt x="172253" y="339986"/>
                </a:cubicBezTo>
                <a:cubicBezTo>
                  <a:pt x="152089" y="299658"/>
                  <a:pt x="162506" y="325635"/>
                  <a:pt x="146251" y="305317"/>
                </a:cubicBezTo>
                <a:cubicBezTo>
                  <a:pt x="125269" y="279091"/>
                  <a:pt x="147810" y="305523"/>
                  <a:pt x="133250" y="279315"/>
                </a:cubicBezTo>
                <a:cubicBezTo>
                  <a:pt x="128191" y="270209"/>
                  <a:pt x="119210" y="263195"/>
                  <a:pt x="115916" y="253313"/>
                </a:cubicBezTo>
                <a:lnTo>
                  <a:pt x="107248" y="227311"/>
                </a:lnTo>
                <a:cubicBezTo>
                  <a:pt x="124359" y="224866"/>
                  <a:pt x="142362" y="222866"/>
                  <a:pt x="159252" y="218644"/>
                </a:cubicBezTo>
                <a:cubicBezTo>
                  <a:pt x="163684" y="217536"/>
                  <a:pt x="168260" y="216529"/>
                  <a:pt x="172253" y="214310"/>
                </a:cubicBezTo>
                <a:cubicBezTo>
                  <a:pt x="222652" y="186310"/>
                  <a:pt x="173642" y="205178"/>
                  <a:pt x="224257" y="188308"/>
                </a:cubicBezTo>
                <a:cubicBezTo>
                  <a:pt x="228591" y="186864"/>
                  <a:pt x="232725" y="184542"/>
                  <a:pt x="237258" y="183975"/>
                </a:cubicBezTo>
                <a:cubicBezTo>
                  <a:pt x="249335" y="182465"/>
                  <a:pt x="289103" y="177700"/>
                  <a:pt x="302263" y="175307"/>
                </a:cubicBezTo>
                <a:cubicBezTo>
                  <a:pt x="308123" y="174242"/>
                  <a:pt x="313819" y="172418"/>
                  <a:pt x="319597" y="170974"/>
                </a:cubicBezTo>
                <a:cubicBezTo>
                  <a:pt x="354266" y="172418"/>
                  <a:pt x="388988" y="172920"/>
                  <a:pt x="423605" y="175307"/>
                </a:cubicBezTo>
                <a:cubicBezTo>
                  <a:pt x="441029" y="176509"/>
                  <a:pt x="443695" y="179810"/>
                  <a:pt x="458274" y="183975"/>
                </a:cubicBezTo>
                <a:cubicBezTo>
                  <a:pt x="464001" y="185611"/>
                  <a:pt x="469904" y="186597"/>
                  <a:pt x="475609" y="188308"/>
                </a:cubicBezTo>
                <a:cubicBezTo>
                  <a:pt x="475672" y="188327"/>
                  <a:pt x="508079" y="199131"/>
                  <a:pt x="514611" y="201309"/>
                </a:cubicBezTo>
                <a:lnTo>
                  <a:pt x="527612" y="205643"/>
                </a:lnTo>
                <a:lnTo>
                  <a:pt x="540613" y="209976"/>
                </a:lnTo>
                <a:cubicBezTo>
                  <a:pt x="555059" y="208532"/>
                  <a:pt x="569866" y="209164"/>
                  <a:pt x="583950" y="205643"/>
                </a:cubicBezTo>
                <a:cubicBezTo>
                  <a:pt x="587914" y="204652"/>
                  <a:pt x="588537" y="197202"/>
                  <a:pt x="592617" y="196975"/>
                </a:cubicBezTo>
                <a:lnTo>
                  <a:pt x="661956" y="201309"/>
                </a:lnTo>
                <a:cubicBezTo>
                  <a:pt x="677846" y="199864"/>
                  <a:pt x="693689" y="197734"/>
                  <a:pt x="709626" y="196975"/>
                </a:cubicBezTo>
                <a:cubicBezTo>
                  <a:pt x="856004" y="190005"/>
                  <a:pt x="800703" y="207065"/>
                  <a:pt x="856970" y="188308"/>
                </a:cubicBezTo>
                <a:cubicBezTo>
                  <a:pt x="866908" y="158489"/>
                  <a:pt x="855834" y="194548"/>
                  <a:pt x="865637" y="140638"/>
                </a:cubicBezTo>
                <a:cubicBezTo>
                  <a:pt x="866454" y="136144"/>
                  <a:pt x="868716" y="132029"/>
                  <a:pt x="869971" y="127637"/>
                </a:cubicBezTo>
                <a:cubicBezTo>
                  <a:pt x="871607" y="121910"/>
                  <a:pt x="871640" y="115629"/>
                  <a:pt x="874304" y="110302"/>
                </a:cubicBezTo>
                <a:cubicBezTo>
                  <a:pt x="876131" y="106647"/>
                  <a:pt x="880083" y="104524"/>
                  <a:pt x="882972" y="101635"/>
                </a:cubicBezTo>
                <a:cubicBezTo>
                  <a:pt x="887486" y="92607"/>
                  <a:pt x="890854" y="81304"/>
                  <a:pt x="900306" y="75633"/>
                </a:cubicBezTo>
                <a:cubicBezTo>
                  <a:pt x="904223" y="73283"/>
                  <a:pt x="908973" y="72744"/>
                  <a:pt x="913307" y="71300"/>
                </a:cubicBezTo>
                <a:cubicBezTo>
                  <a:pt x="917641" y="68411"/>
                  <a:pt x="922625" y="66315"/>
                  <a:pt x="926308" y="62632"/>
                </a:cubicBezTo>
                <a:cubicBezTo>
                  <a:pt x="937039" y="51900"/>
                  <a:pt x="931466" y="45917"/>
                  <a:pt x="947976" y="40964"/>
                </a:cubicBezTo>
                <a:cubicBezTo>
                  <a:pt x="957760" y="38029"/>
                  <a:pt x="968200" y="38075"/>
                  <a:pt x="978312" y="36630"/>
                </a:cubicBezTo>
                <a:cubicBezTo>
                  <a:pt x="1006205" y="27334"/>
                  <a:pt x="976981" y="36129"/>
                  <a:pt x="1025982" y="27963"/>
                </a:cubicBezTo>
                <a:cubicBezTo>
                  <a:pt x="1031857" y="26984"/>
                  <a:pt x="1037503" y="24922"/>
                  <a:pt x="1043317" y="23630"/>
                </a:cubicBezTo>
                <a:cubicBezTo>
                  <a:pt x="1050507" y="22032"/>
                  <a:pt x="1057762" y="20741"/>
                  <a:pt x="1064985" y="19296"/>
                </a:cubicBezTo>
                <a:cubicBezTo>
                  <a:pt x="1069319" y="16407"/>
                  <a:pt x="1073199" y="12681"/>
                  <a:pt x="1077986" y="10629"/>
                </a:cubicBezTo>
                <a:cubicBezTo>
                  <a:pt x="1102788" y="0"/>
                  <a:pt x="1124413" y="10771"/>
                  <a:pt x="1151658" y="14962"/>
                </a:cubicBezTo>
                <a:cubicBezTo>
                  <a:pt x="1160221" y="17817"/>
                  <a:pt x="1171551" y="20327"/>
                  <a:pt x="1177660" y="27963"/>
                </a:cubicBezTo>
                <a:cubicBezTo>
                  <a:pt x="1180514" y="31530"/>
                  <a:pt x="1180738" y="36572"/>
                  <a:pt x="1181993" y="40964"/>
                </a:cubicBezTo>
                <a:cubicBezTo>
                  <a:pt x="1190892" y="72111"/>
                  <a:pt x="1181723" y="44215"/>
                  <a:pt x="1190661" y="79967"/>
                </a:cubicBezTo>
                <a:cubicBezTo>
                  <a:pt x="1191769" y="84399"/>
                  <a:pt x="1193739" y="88576"/>
                  <a:pt x="1194994" y="92968"/>
                </a:cubicBezTo>
                <a:cubicBezTo>
                  <a:pt x="1196630" y="98695"/>
                  <a:pt x="1197692" y="104575"/>
                  <a:pt x="1199328" y="110302"/>
                </a:cubicBezTo>
                <a:cubicBezTo>
                  <a:pt x="1200583" y="114694"/>
                  <a:pt x="1199945" y="120648"/>
                  <a:pt x="1203662" y="123303"/>
                </a:cubicBezTo>
                <a:cubicBezTo>
                  <a:pt x="1211096" y="128613"/>
                  <a:pt x="1221492" y="127885"/>
                  <a:pt x="1229664" y="131971"/>
                </a:cubicBezTo>
                <a:cubicBezTo>
                  <a:pt x="1235442" y="134860"/>
                  <a:pt x="1240949" y="138370"/>
                  <a:pt x="1246998" y="140638"/>
                </a:cubicBezTo>
                <a:cubicBezTo>
                  <a:pt x="1252575" y="142729"/>
                  <a:pt x="1258519" y="143680"/>
                  <a:pt x="1264333" y="144972"/>
                </a:cubicBezTo>
                <a:cubicBezTo>
                  <a:pt x="1289850" y="150642"/>
                  <a:pt x="1290663" y="149888"/>
                  <a:pt x="1320670" y="153639"/>
                </a:cubicBezTo>
                <a:cubicBezTo>
                  <a:pt x="1329337" y="156528"/>
                  <a:pt x="1343783" y="153639"/>
                  <a:pt x="1346672" y="162306"/>
                </a:cubicBezTo>
                <a:cubicBezTo>
                  <a:pt x="1357566" y="194985"/>
                  <a:pt x="1342871" y="154704"/>
                  <a:pt x="1359673" y="188308"/>
                </a:cubicBezTo>
                <a:cubicBezTo>
                  <a:pt x="1361716" y="192394"/>
                  <a:pt x="1360440" y="198455"/>
                  <a:pt x="1364007" y="201309"/>
                </a:cubicBezTo>
                <a:cubicBezTo>
                  <a:pt x="1368658" y="205030"/>
                  <a:pt x="1375563" y="204198"/>
                  <a:pt x="1381341" y="205643"/>
                </a:cubicBezTo>
                <a:cubicBezTo>
                  <a:pt x="1384230" y="208532"/>
                  <a:pt x="1386505" y="212208"/>
                  <a:pt x="1390009" y="214310"/>
                </a:cubicBezTo>
                <a:cubicBezTo>
                  <a:pt x="1393926" y="216660"/>
                  <a:pt x="1398811" y="216844"/>
                  <a:pt x="1403010" y="218644"/>
                </a:cubicBezTo>
                <a:cubicBezTo>
                  <a:pt x="1448209" y="238015"/>
                  <a:pt x="1393297" y="218331"/>
                  <a:pt x="1437679" y="231645"/>
                </a:cubicBezTo>
                <a:cubicBezTo>
                  <a:pt x="1446430" y="234270"/>
                  <a:pt x="1463681" y="240312"/>
                  <a:pt x="1463681" y="240312"/>
                </a:cubicBezTo>
                <a:cubicBezTo>
                  <a:pt x="1483905" y="238867"/>
                  <a:pt x="1504201" y="238217"/>
                  <a:pt x="1524352" y="235978"/>
                </a:cubicBezTo>
                <a:cubicBezTo>
                  <a:pt x="1532518" y="235071"/>
                  <a:pt x="1546467" y="230051"/>
                  <a:pt x="1554687" y="227311"/>
                </a:cubicBezTo>
                <a:cubicBezTo>
                  <a:pt x="1554687" y="227311"/>
                  <a:pt x="1560466" y="198420"/>
                  <a:pt x="1572022" y="209976"/>
                </a:cubicBezTo>
                <a:cubicBezTo>
                  <a:pt x="1578482" y="216436"/>
                  <a:pt x="1575621" y="228376"/>
                  <a:pt x="1580689" y="235978"/>
                </a:cubicBezTo>
                <a:cubicBezTo>
                  <a:pt x="1583749" y="240568"/>
                  <a:pt x="1591851" y="254560"/>
                  <a:pt x="1598024" y="257647"/>
                </a:cubicBezTo>
                <a:cubicBezTo>
                  <a:pt x="1606196" y="261733"/>
                  <a:pt x="1624026" y="266314"/>
                  <a:pt x="1624026" y="266314"/>
                </a:cubicBezTo>
                <a:cubicBezTo>
                  <a:pt x="1670251" y="264869"/>
                  <a:pt x="1716584" y="265439"/>
                  <a:pt x="1762702" y="261980"/>
                </a:cubicBezTo>
                <a:cubicBezTo>
                  <a:pt x="1774581" y="261089"/>
                  <a:pt x="1785509" y="254392"/>
                  <a:pt x="1797372" y="253313"/>
                </a:cubicBezTo>
                <a:lnTo>
                  <a:pt x="1845042" y="248979"/>
                </a:lnTo>
                <a:cubicBezTo>
                  <a:pt x="1849376" y="247535"/>
                  <a:pt x="1853475" y="244646"/>
                  <a:pt x="1858043" y="244646"/>
                </a:cubicBezTo>
                <a:cubicBezTo>
                  <a:pt x="1873301" y="244646"/>
                  <a:pt x="1883638" y="248843"/>
                  <a:pt x="1897046" y="253313"/>
                </a:cubicBezTo>
                <a:cubicBezTo>
                  <a:pt x="1899935" y="257647"/>
                  <a:pt x="1905407" y="261115"/>
                  <a:pt x="1905713" y="266314"/>
                </a:cubicBezTo>
                <a:cubicBezTo>
                  <a:pt x="1907978" y="304827"/>
                  <a:pt x="1904232" y="315569"/>
                  <a:pt x="1897046" y="344320"/>
                </a:cubicBezTo>
                <a:cubicBezTo>
                  <a:pt x="1899935" y="354432"/>
                  <a:pt x="1901807" y="364891"/>
                  <a:pt x="1905713" y="374655"/>
                </a:cubicBezTo>
                <a:cubicBezTo>
                  <a:pt x="1907647" y="379491"/>
                  <a:pt x="1912051" y="382998"/>
                  <a:pt x="1914380" y="387656"/>
                </a:cubicBezTo>
                <a:cubicBezTo>
                  <a:pt x="1916423" y="391742"/>
                  <a:pt x="1917269" y="396323"/>
                  <a:pt x="1918714" y="400657"/>
                </a:cubicBezTo>
                <a:cubicBezTo>
                  <a:pt x="1917269" y="404991"/>
                  <a:pt x="1915635" y="409266"/>
                  <a:pt x="1914380" y="413658"/>
                </a:cubicBezTo>
                <a:cubicBezTo>
                  <a:pt x="1911353" y="424254"/>
                  <a:pt x="1906313" y="433909"/>
                  <a:pt x="1914380" y="443993"/>
                </a:cubicBezTo>
                <a:cubicBezTo>
                  <a:pt x="1917634" y="448060"/>
                  <a:pt x="1923047" y="449772"/>
                  <a:pt x="1927381" y="452661"/>
                </a:cubicBezTo>
                <a:cubicBezTo>
                  <a:pt x="1928826" y="456995"/>
                  <a:pt x="1930460" y="461270"/>
                  <a:pt x="1931715" y="465662"/>
                </a:cubicBezTo>
                <a:cubicBezTo>
                  <a:pt x="1933351" y="471389"/>
                  <a:pt x="1934337" y="477291"/>
                  <a:pt x="1936048" y="482996"/>
                </a:cubicBezTo>
                <a:cubicBezTo>
                  <a:pt x="1938673" y="491747"/>
                  <a:pt x="1944716" y="508998"/>
                  <a:pt x="1944716" y="508998"/>
                </a:cubicBezTo>
                <a:cubicBezTo>
                  <a:pt x="1943271" y="519110"/>
                  <a:pt x="1944049" y="529800"/>
                  <a:pt x="1940382" y="539334"/>
                </a:cubicBezTo>
                <a:cubicBezTo>
                  <a:pt x="1930419" y="565238"/>
                  <a:pt x="1918566" y="568323"/>
                  <a:pt x="1897046" y="582670"/>
                </a:cubicBezTo>
                <a:cubicBezTo>
                  <a:pt x="1892712" y="585559"/>
                  <a:pt x="1887728" y="587655"/>
                  <a:pt x="1884045" y="591338"/>
                </a:cubicBezTo>
                <a:cubicBezTo>
                  <a:pt x="1875983" y="599399"/>
                  <a:pt x="1873309" y="603205"/>
                  <a:pt x="1862376" y="608672"/>
                </a:cubicBezTo>
                <a:cubicBezTo>
                  <a:pt x="1858290" y="610715"/>
                  <a:pt x="1853709" y="611561"/>
                  <a:pt x="1849375" y="613006"/>
                </a:cubicBezTo>
                <a:cubicBezTo>
                  <a:pt x="1843597" y="621673"/>
                  <a:pt x="1835335" y="629126"/>
                  <a:pt x="1832041" y="639008"/>
                </a:cubicBezTo>
                <a:cubicBezTo>
                  <a:pt x="1830596" y="643342"/>
                  <a:pt x="1830937" y="648779"/>
                  <a:pt x="1827707" y="652009"/>
                </a:cubicBezTo>
                <a:cubicBezTo>
                  <a:pt x="1824477" y="655239"/>
                  <a:pt x="1819040" y="654898"/>
                  <a:pt x="1814706" y="656342"/>
                </a:cubicBezTo>
                <a:cubicBezTo>
                  <a:pt x="1810372" y="660676"/>
                  <a:pt x="1805105" y="664244"/>
                  <a:pt x="1801705" y="669343"/>
                </a:cubicBezTo>
                <a:cubicBezTo>
                  <a:pt x="1799171" y="673144"/>
                  <a:pt x="1797600" y="677782"/>
                  <a:pt x="1797372" y="682344"/>
                </a:cubicBezTo>
                <a:cubicBezTo>
                  <a:pt x="1796146" y="706871"/>
                  <a:pt x="1808928" y="735793"/>
                  <a:pt x="1806039" y="747349"/>
                </a:cubicBezTo>
                <a:close/>
              </a:path>
            </a:pathLst>
          </a:custGeom>
          <a:solidFill>
            <a:srgbClr val="FF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8" name="TextBox 99"/>
          <p:cNvSpPr txBox="1">
            <a:spLocks noChangeArrowheads="1"/>
          </p:cNvSpPr>
          <p:nvPr/>
        </p:nvSpPr>
        <p:spPr bwMode="auto">
          <a:xfrm>
            <a:off x="6000750" y="3858684"/>
            <a:ext cx="1143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latin typeface="Ramabhadra" pitchFamily="2" charset="0"/>
                <a:cs typeface="Ramabhadra" pitchFamily="2" charset="0"/>
              </a:rPr>
              <a:t>ఉక్రెయిన్</a:t>
            </a:r>
          </a:p>
        </p:txBody>
      </p:sp>
      <p:sp>
        <p:nvSpPr>
          <p:cNvPr id="139" name="Freeform 138"/>
          <p:cNvSpPr/>
          <p:nvPr/>
        </p:nvSpPr>
        <p:spPr>
          <a:xfrm>
            <a:off x="6126168" y="4322238"/>
            <a:ext cx="363537" cy="486833"/>
          </a:xfrm>
          <a:custGeom>
            <a:avLst/>
            <a:gdLst>
              <a:gd name="connsiteX0" fmla="*/ 200188 w 362552"/>
              <a:gd name="connsiteY0" fmla="*/ 476702 h 487521"/>
              <a:gd name="connsiteX1" fmla="*/ 178520 w 362552"/>
              <a:gd name="connsiteY1" fmla="*/ 455034 h 487521"/>
              <a:gd name="connsiteX2" fmla="*/ 156851 w 362552"/>
              <a:gd name="connsiteY2" fmla="*/ 442033 h 487521"/>
              <a:gd name="connsiteX3" fmla="*/ 148184 w 362552"/>
              <a:gd name="connsiteY3" fmla="*/ 229684 h 487521"/>
              <a:gd name="connsiteX4" fmla="*/ 126516 w 362552"/>
              <a:gd name="connsiteY4" fmla="*/ 208016 h 487521"/>
              <a:gd name="connsiteX5" fmla="*/ 83179 w 362552"/>
              <a:gd name="connsiteY5" fmla="*/ 203682 h 487521"/>
              <a:gd name="connsiteX6" fmla="*/ 65845 w 362552"/>
              <a:gd name="connsiteY6" fmla="*/ 173346 h 487521"/>
              <a:gd name="connsiteX7" fmla="*/ 57178 w 362552"/>
              <a:gd name="connsiteY7" fmla="*/ 160345 h 487521"/>
              <a:gd name="connsiteX8" fmla="*/ 44177 w 362552"/>
              <a:gd name="connsiteY8" fmla="*/ 134343 h 487521"/>
              <a:gd name="connsiteX9" fmla="*/ 35509 w 362552"/>
              <a:gd name="connsiteY9" fmla="*/ 125676 h 487521"/>
              <a:gd name="connsiteX10" fmla="*/ 18175 w 362552"/>
              <a:gd name="connsiteY10" fmla="*/ 99674 h 487521"/>
              <a:gd name="connsiteX11" fmla="*/ 13841 w 362552"/>
              <a:gd name="connsiteY11" fmla="*/ 82340 h 487521"/>
              <a:gd name="connsiteX12" fmla="*/ 13841 w 362552"/>
              <a:gd name="connsiteY12" fmla="*/ 39003 h 487521"/>
              <a:gd name="connsiteX13" fmla="*/ 48510 w 362552"/>
              <a:gd name="connsiteY13" fmla="*/ 34670 h 487521"/>
              <a:gd name="connsiteX14" fmla="*/ 61511 w 362552"/>
              <a:gd name="connsiteY14" fmla="*/ 30336 h 487521"/>
              <a:gd name="connsiteX15" fmla="*/ 87513 w 362552"/>
              <a:gd name="connsiteY15" fmla="*/ 13001 h 487521"/>
              <a:gd name="connsiteX16" fmla="*/ 109181 w 362552"/>
              <a:gd name="connsiteY16" fmla="*/ 8668 h 487521"/>
              <a:gd name="connsiteX17" fmla="*/ 143851 w 362552"/>
              <a:gd name="connsiteY17" fmla="*/ 0 h 487521"/>
              <a:gd name="connsiteX18" fmla="*/ 200188 w 362552"/>
              <a:gd name="connsiteY18" fmla="*/ 4334 h 487521"/>
              <a:gd name="connsiteX19" fmla="*/ 213189 w 362552"/>
              <a:gd name="connsiteY19" fmla="*/ 8668 h 487521"/>
              <a:gd name="connsiteX20" fmla="*/ 226190 w 362552"/>
              <a:gd name="connsiteY20" fmla="*/ 34670 h 487521"/>
              <a:gd name="connsiteX21" fmla="*/ 234857 w 362552"/>
              <a:gd name="connsiteY21" fmla="*/ 47670 h 487521"/>
              <a:gd name="connsiteX22" fmla="*/ 243524 w 362552"/>
              <a:gd name="connsiteY22" fmla="*/ 65005 h 487521"/>
              <a:gd name="connsiteX23" fmla="*/ 286861 w 362552"/>
              <a:gd name="connsiteY23" fmla="*/ 99674 h 487521"/>
              <a:gd name="connsiteX24" fmla="*/ 299862 w 362552"/>
              <a:gd name="connsiteY24" fmla="*/ 108342 h 487521"/>
              <a:gd name="connsiteX25" fmla="*/ 312863 w 362552"/>
              <a:gd name="connsiteY25" fmla="*/ 117009 h 487521"/>
              <a:gd name="connsiteX26" fmla="*/ 325864 w 362552"/>
              <a:gd name="connsiteY26" fmla="*/ 195015 h 487521"/>
              <a:gd name="connsiteX27" fmla="*/ 338865 w 362552"/>
              <a:gd name="connsiteY27" fmla="*/ 221016 h 487521"/>
              <a:gd name="connsiteX28" fmla="*/ 347532 w 362552"/>
              <a:gd name="connsiteY28" fmla="*/ 229684 h 487521"/>
              <a:gd name="connsiteX29" fmla="*/ 351866 w 362552"/>
              <a:gd name="connsiteY29" fmla="*/ 264353 h 487521"/>
              <a:gd name="connsiteX30" fmla="*/ 351866 w 362552"/>
              <a:gd name="connsiteY30" fmla="*/ 307689 h 487521"/>
              <a:gd name="connsiteX31" fmla="*/ 338865 w 362552"/>
              <a:gd name="connsiteY31" fmla="*/ 312023 h 487521"/>
              <a:gd name="connsiteX32" fmla="*/ 330197 w 362552"/>
              <a:gd name="connsiteY32" fmla="*/ 320690 h 487521"/>
              <a:gd name="connsiteX33" fmla="*/ 295528 w 362552"/>
              <a:gd name="connsiteY33" fmla="*/ 329358 h 487521"/>
              <a:gd name="connsiteX34" fmla="*/ 269526 w 362552"/>
              <a:gd name="connsiteY34" fmla="*/ 351026 h 487521"/>
              <a:gd name="connsiteX35" fmla="*/ 260859 w 362552"/>
              <a:gd name="connsiteY35" fmla="*/ 364027 h 487521"/>
              <a:gd name="connsiteX36" fmla="*/ 256525 w 362552"/>
              <a:gd name="connsiteY36" fmla="*/ 403030 h 487521"/>
              <a:gd name="connsiteX37" fmla="*/ 243524 w 362552"/>
              <a:gd name="connsiteY37" fmla="*/ 411697 h 487521"/>
              <a:gd name="connsiteX38" fmla="*/ 230524 w 362552"/>
              <a:gd name="connsiteY38" fmla="*/ 424698 h 487521"/>
              <a:gd name="connsiteX39" fmla="*/ 226190 w 362552"/>
              <a:gd name="connsiteY39" fmla="*/ 455034 h 487521"/>
              <a:gd name="connsiteX40" fmla="*/ 208855 w 362552"/>
              <a:gd name="connsiteY40" fmla="*/ 463701 h 487521"/>
              <a:gd name="connsiteX41" fmla="*/ 200188 w 362552"/>
              <a:gd name="connsiteY41" fmla="*/ 476702 h 4875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362552" h="487521">
                <a:moveTo>
                  <a:pt x="200188" y="476702"/>
                </a:moveTo>
                <a:cubicBezTo>
                  <a:pt x="195132" y="475258"/>
                  <a:pt x="199157" y="471543"/>
                  <a:pt x="178520" y="455034"/>
                </a:cubicBezTo>
                <a:cubicBezTo>
                  <a:pt x="161523" y="441437"/>
                  <a:pt x="179429" y="449558"/>
                  <a:pt x="156851" y="442033"/>
                </a:cubicBezTo>
                <a:cubicBezTo>
                  <a:pt x="138667" y="351094"/>
                  <a:pt x="164642" y="487521"/>
                  <a:pt x="148184" y="229684"/>
                </a:cubicBezTo>
                <a:cubicBezTo>
                  <a:pt x="147723" y="222465"/>
                  <a:pt x="132755" y="209456"/>
                  <a:pt x="126516" y="208016"/>
                </a:cubicBezTo>
                <a:cubicBezTo>
                  <a:pt x="112370" y="204752"/>
                  <a:pt x="97625" y="205127"/>
                  <a:pt x="83179" y="203682"/>
                </a:cubicBezTo>
                <a:cubicBezTo>
                  <a:pt x="51742" y="161765"/>
                  <a:pt x="82388" y="206435"/>
                  <a:pt x="65845" y="173346"/>
                </a:cubicBezTo>
                <a:cubicBezTo>
                  <a:pt x="63516" y="168687"/>
                  <a:pt x="59507" y="165003"/>
                  <a:pt x="57178" y="160345"/>
                </a:cubicBezTo>
                <a:cubicBezTo>
                  <a:pt x="46500" y="138989"/>
                  <a:pt x="60733" y="155037"/>
                  <a:pt x="44177" y="134343"/>
                </a:cubicBezTo>
                <a:cubicBezTo>
                  <a:pt x="41625" y="131152"/>
                  <a:pt x="37961" y="128945"/>
                  <a:pt x="35509" y="125676"/>
                </a:cubicBezTo>
                <a:cubicBezTo>
                  <a:pt x="29259" y="117343"/>
                  <a:pt x="18175" y="99674"/>
                  <a:pt x="18175" y="99674"/>
                </a:cubicBezTo>
                <a:cubicBezTo>
                  <a:pt x="16730" y="93896"/>
                  <a:pt x="15477" y="88067"/>
                  <a:pt x="13841" y="82340"/>
                </a:cubicBezTo>
                <a:cubicBezTo>
                  <a:pt x="10239" y="69735"/>
                  <a:pt x="0" y="51306"/>
                  <a:pt x="13841" y="39003"/>
                </a:cubicBezTo>
                <a:cubicBezTo>
                  <a:pt x="22546" y="31266"/>
                  <a:pt x="36954" y="36114"/>
                  <a:pt x="48510" y="34670"/>
                </a:cubicBezTo>
                <a:cubicBezTo>
                  <a:pt x="52844" y="33225"/>
                  <a:pt x="57518" y="32555"/>
                  <a:pt x="61511" y="30336"/>
                </a:cubicBezTo>
                <a:cubicBezTo>
                  <a:pt x="70617" y="25277"/>
                  <a:pt x="77298" y="15044"/>
                  <a:pt x="87513" y="13001"/>
                </a:cubicBezTo>
                <a:cubicBezTo>
                  <a:pt x="94736" y="11557"/>
                  <a:pt x="102004" y="10324"/>
                  <a:pt x="109181" y="8668"/>
                </a:cubicBezTo>
                <a:cubicBezTo>
                  <a:pt x="120788" y="5989"/>
                  <a:pt x="143851" y="0"/>
                  <a:pt x="143851" y="0"/>
                </a:cubicBezTo>
                <a:cubicBezTo>
                  <a:pt x="162630" y="1445"/>
                  <a:pt x="181499" y="1998"/>
                  <a:pt x="200188" y="4334"/>
                </a:cubicBezTo>
                <a:cubicBezTo>
                  <a:pt x="204721" y="4901"/>
                  <a:pt x="209622" y="5814"/>
                  <a:pt x="213189" y="8668"/>
                </a:cubicBezTo>
                <a:cubicBezTo>
                  <a:pt x="223538" y="16947"/>
                  <a:pt x="220956" y="24203"/>
                  <a:pt x="226190" y="34670"/>
                </a:cubicBezTo>
                <a:cubicBezTo>
                  <a:pt x="228519" y="39328"/>
                  <a:pt x="232273" y="43148"/>
                  <a:pt x="234857" y="47670"/>
                </a:cubicBezTo>
                <a:cubicBezTo>
                  <a:pt x="238062" y="53279"/>
                  <a:pt x="239648" y="59837"/>
                  <a:pt x="243524" y="65005"/>
                </a:cubicBezTo>
                <a:cubicBezTo>
                  <a:pt x="255875" y="81473"/>
                  <a:pt x="269802" y="88301"/>
                  <a:pt x="286861" y="99674"/>
                </a:cubicBezTo>
                <a:lnTo>
                  <a:pt x="299862" y="108342"/>
                </a:lnTo>
                <a:lnTo>
                  <a:pt x="312863" y="117009"/>
                </a:lnTo>
                <a:cubicBezTo>
                  <a:pt x="334474" y="149426"/>
                  <a:pt x="317440" y="119198"/>
                  <a:pt x="325864" y="195015"/>
                </a:cubicBezTo>
                <a:cubicBezTo>
                  <a:pt x="326898" y="204321"/>
                  <a:pt x="333302" y="214062"/>
                  <a:pt x="338865" y="221016"/>
                </a:cubicBezTo>
                <a:cubicBezTo>
                  <a:pt x="341417" y="224207"/>
                  <a:pt x="344643" y="226795"/>
                  <a:pt x="347532" y="229684"/>
                </a:cubicBezTo>
                <a:cubicBezTo>
                  <a:pt x="348977" y="241240"/>
                  <a:pt x="349951" y="252865"/>
                  <a:pt x="351866" y="264353"/>
                </a:cubicBezTo>
                <a:cubicBezTo>
                  <a:pt x="354687" y="281281"/>
                  <a:pt x="362552" y="288989"/>
                  <a:pt x="351866" y="307689"/>
                </a:cubicBezTo>
                <a:cubicBezTo>
                  <a:pt x="349600" y="311655"/>
                  <a:pt x="343199" y="310578"/>
                  <a:pt x="338865" y="312023"/>
                </a:cubicBezTo>
                <a:cubicBezTo>
                  <a:pt x="335976" y="314912"/>
                  <a:pt x="333991" y="319173"/>
                  <a:pt x="330197" y="320690"/>
                </a:cubicBezTo>
                <a:cubicBezTo>
                  <a:pt x="319137" y="325114"/>
                  <a:pt x="295528" y="329358"/>
                  <a:pt x="295528" y="329358"/>
                </a:cubicBezTo>
                <a:cubicBezTo>
                  <a:pt x="287106" y="335675"/>
                  <a:pt x="276411" y="342420"/>
                  <a:pt x="269526" y="351026"/>
                </a:cubicBezTo>
                <a:cubicBezTo>
                  <a:pt x="266272" y="355093"/>
                  <a:pt x="263748" y="359693"/>
                  <a:pt x="260859" y="364027"/>
                </a:cubicBezTo>
                <a:cubicBezTo>
                  <a:pt x="259414" y="377028"/>
                  <a:pt x="260995" y="390737"/>
                  <a:pt x="256525" y="403030"/>
                </a:cubicBezTo>
                <a:cubicBezTo>
                  <a:pt x="254745" y="407925"/>
                  <a:pt x="247525" y="408363"/>
                  <a:pt x="243524" y="411697"/>
                </a:cubicBezTo>
                <a:cubicBezTo>
                  <a:pt x="238816" y="415620"/>
                  <a:pt x="234857" y="420364"/>
                  <a:pt x="230524" y="424698"/>
                </a:cubicBezTo>
                <a:cubicBezTo>
                  <a:pt x="229079" y="434810"/>
                  <a:pt x="231151" y="446105"/>
                  <a:pt x="226190" y="455034"/>
                </a:cubicBezTo>
                <a:cubicBezTo>
                  <a:pt x="223053" y="460681"/>
                  <a:pt x="214464" y="460496"/>
                  <a:pt x="208855" y="463701"/>
                </a:cubicBezTo>
                <a:cubicBezTo>
                  <a:pt x="190883" y="473970"/>
                  <a:pt x="205244" y="478146"/>
                  <a:pt x="200188" y="476702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0" name="Freeform 139"/>
          <p:cNvSpPr/>
          <p:nvPr/>
        </p:nvSpPr>
        <p:spPr>
          <a:xfrm>
            <a:off x="5399094" y="4368800"/>
            <a:ext cx="1106487" cy="797984"/>
          </a:xfrm>
          <a:custGeom>
            <a:avLst/>
            <a:gdLst>
              <a:gd name="connsiteX0" fmla="*/ 0 w 1106180"/>
              <a:gd name="connsiteY0" fmla="*/ 406800 h 797801"/>
              <a:gd name="connsiteX1" fmla="*/ 26002 w 1106180"/>
              <a:gd name="connsiteY1" fmla="*/ 398132 h 797801"/>
              <a:gd name="connsiteX2" fmla="*/ 39003 w 1106180"/>
              <a:gd name="connsiteY2" fmla="*/ 393799 h 797801"/>
              <a:gd name="connsiteX3" fmla="*/ 47670 w 1106180"/>
              <a:gd name="connsiteY3" fmla="*/ 385131 h 797801"/>
              <a:gd name="connsiteX4" fmla="*/ 60671 w 1106180"/>
              <a:gd name="connsiteY4" fmla="*/ 380798 h 797801"/>
              <a:gd name="connsiteX5" fmla="*/ 69338 w 1106180"/>
              <a:gd name="connsiteY5" fmla="*/ 367797 h 797801"/>
              <a:gd name="connsiteX6" fmla="*/ 78006 w 1106180"/>
              <a:gd name="connsiteY6" fmla="*/ 359129 h 797801"/>
              <a:gd name="connsiteX7" fmla="*/ 86673 w 1106180"/>
              <a:gd name="connsiteY7" fmla="*/ 346128 h 797801"/>
              <a:gd name="connsiteX8" fmla="*/ 99674 w 1106180"/>
              <a:gd name="connsiteY8" fmla="*/ 337461 h 797801"/>
              <a:gd name="connsiteX9" fmla="*/ 117009 w 1106180"/>
              <a:gd name="connsiteY9" fmla="*/ 294125 h 797801"/>
              <a:gd name="connsiteX10" fmla="*/ 121342 w 1106180"/>
              <a:gd name="connsiteY10" fmla="*/ 281124 h 797801"/>
              <a:gd name="connsiteX11" fmla="*/ 134343 w 1106180"/>
              <a:gd name="connsiteY11" fmla="*/ 276790 h 797801"/>
              <a:gd name="connsiteX12" fmla="*/ 156011 w 1106180"/>
              <a:gd name="connsiteY12" fmla="*/ 250788 h 797801"/>
              <a:gd name="connsiteX13" fmla="*/ 169012 w 1106180"/>
              <a:gd name="connsiteY13" fmla="*/ 211785 h 797801"/>
              <a:gd name="connsiteX14" fmla="*/ 173346 w 1106180"/>
              <a:gd name="connsiteY14" fmla="*/ 198784 h 797801"/>
              <a:gd name="connsiteX15" fmla="*/ 190681 w 1106180"/>
              <a:gd name="connsiteY15" fmla="*/ 177116 h 797801"/>
              <a:gd name="connsiteX16" fmla="*/ 195014 w 1106180"/>
              <a:gd name="connsiteY16" fmla="*/ 164115 h 797801"/>
              <a:gd name="connsiteX17" fmla="*/ 199348 w 1106180"/>
              <a:gd name="connsiteY17" fmla="*/ 146781 h 797801"/>
              <a:gd name="connsiteX18" fmla="*/ 212349 w 1106180"/>
              <a:gd name="connsiteY18" fmla="*/ 142447 h 797801"/>
              <a:gd name="connsiteX19" fmla="*/ 238351 w 1106180"/>
              <a:gd name="connsiteY19" fmla="*/ 125112 h 797801"/>
              <a:gd name="connsiteX20" fmla="*/ 247018 w 1106180"/>
              <a:gd name="connsiteY20" fmla="*/ 112111 h 797801"/>
              <a:gd name="connsiteX21" fmla="*/ 260019 w 1106180"/>
              <a:gd name="connsiteY21" fmla="*/ 86109 h 797801"/>
              <a:gd name="connsiteX22" fmla="*/ 273020 w 1106180"/>
              <a:gd name="connsiteY22" fmla="*/ 81776 h 797801"/>
              <a:gd name="connsiteX23" fmla="*/ 429031 w 1106180"/>
              <a:gd name="connsiteY23" fmla="*/ 81776 h 797801"/>
              <a:gd name="connsiteX24" fmla="*/ 437699 w 1106180"/>
              <a:gd name="connsiteY24" fmla="*/ 55774 h 797801"/>
              <a:gd name="connsiteX25" fmla="*/ 442032 w 1106180"/>
              <a:gd name="connsiteY25" fmla="*/ 42773 h 797801"/>
              <a:gd name="connsiteX26" fmla="*/ 459367 w 1106180"/>
              <a:gd name="connsiteY26" fmla="*/ 47107 h 797801"/>
              <a:gd name="connsiteX27" fmla="*/ 481035 w 1106180"/>
              <a:gd name="connsiteY27" fmla="*/ 77442 h 797801"/>
              <a:gd name="connsiteX28" fmla="*/ 511371 w 1106180"/>
              <a:gd name="connsiteY28" fmla="*/ 64441 h 797801"/>
              <a:gd name="connsiteX29" fmla="*/ 528705 w 1106180"/>
              <a:gd name="connsiteY29" fmla="*/ 38439 h 797801"/>
              <a:gd name="connsiteX30" fmla="*/ 567708 w 1106180"/>
              <a:gd name="connsiteY30" fmla="*/ 34106 h 797801"/>
              <a:gd name="connsiteX31" fmla="*/ 576375 w 1106180"/>
              <a:gd name="connsiteY31" fmla="*/ 25438 h 797801"/>
              <a:gd name="connsiteX32" fmla="*/ 619712 w 1106180"/>
              <a:gd name="connsiteY32" fmla="*/ 12437 h 797801"/>
              <a:gd name="connsiteX33" fmla="*/ 650047 w 1106180"/>
              <a:gd name="connsiteY33" fmla="*/ 3770 h 797801"/>
              <a:gd name="connsiteX34" fmla="*/ 680383 w 1106180"/>
              <a:gd name="connsiteY34" fmla="*/ 8104 h 797801"/>
              <a:gd name="connsiteX35" fmla="*/ 728053 w 1106180"/>
              <a:gd name="connsiteY35" fmla="*/ 12437 h 797801"/>
              <a:gd name="connsiteX36" fmla="*/ 736720 w 1106180"/>
              <a:gd name="connsiteY36" fmla="*/ 38439 h 797801"/>
              <a:gd name="connsiteX37" fmla="*/ 745388 w 1106180"/>
              <a:gd name="connsiteY37" fmla="*/ 47107 h 797801"/>
              <a:gd name="connsiteX38" fmla="*/ 767056 w 1106180"/>
              <a:gd name="connsiteY38" fmla="*/ 81776 h 797801"/>
              <a:gd name="connsiteX39" fmla="*/ 780057 w 1106180"/>
              <a:gd name="connsiteY39" fmla="*/ 86109 h 797801"/>
              <a:gd name="connsiteX40" fmla="*/ 788724 w 1106180"/>
              <a:gd name="connsiteY40" fmla="*/ 94777 h 797801"/>
              <a:gd name="connsiteX41" fmla="*/ 801725 w 1106180"/>
              <a:gd name="connsiteY41" fmla="*/ 99110 h 797801"/>
              <a:gd name="connsiteX42" fmla="*/ 806059 w 1106180"/>
              <a:gd name="connsiteY42" fmla="*/ 112111 h 797801"/>
              <a:gd name="connsiteX43" fmla="*/ 814726 w 1106180"/>
              <a:gd name="connsiteY43" fmla="*/ 120779 h 797801"/>
              <a:gd name="connsiteX44" fmla="*/ 819060 w 1106180"/>
              <a:gd name="connsiteY44" fmla="*/ 133780 h 797801"/>
              <a:gd name="connsiteX45" fmla="*/ 840728 w 1106180"/>
              <a:gd name="connsiteY45" fmla="*/ 155448 h 797801"/>
              <a:gd name="connsiteX46" fmla="*/ 875397 w 1106180"/>
              <a:gd name="connsiteY46" fmla="*/ 164115 h 797801"/>
              <a:gd name="connsiteX47" fmla="*/ 884064 w 1106180"/>
              <a:gd name="connsiteY47" fmla="*/ 177116 h 797801"/>
              <a:gd name="connsiteX48" fmla="*/ 879731 w 1106180"/>
              <a:gd name="connsiteY48" fmla="*/ 220453 h 797801"/>
              <a:gd name="connsiteX49" fmla="*/ 875397 w 1106180"/>
              <a:gd name="connsiteY49" fmla="*/ 233454 h 797801"/>
              <a:gd name="connsiteX50" fmla="*/ 871064 w 1106180"/>
              <a:gd name="connsiteY50" fmla="*/ 250788 h 797801"/>
              <a:gd name="connsiteX51" fmla="*/ 875397 w 1106180"/>
              <a:gd name="connsiteY51" fmla="*/ 376464 h 797801"/>
              <a:gd name="connsiteX52" fmla="*/ 892732 w 1106180"/>
              <a:gd name="connsiteY52" fmla="*/ 411133 h 797801"/>
              <a:gd name="connsiteX53" fmla="*/ 905733 w 1106180"/>
              <a:gd name="connsiteY53" fmla="*/ 419800 h 797801"/>
              <a:gd name="connsiteX54" fmla="*/ 927401 w 1106180"/>
              <a:gd name="connsiteY54" fmla="*/ 437135 h 797801"/>
              <a:gd name="connsiteX55" fmla="*/ 931735 w 1106180"/>
              <a:gd name="connsiteY55" fmla="*/ 450136 h 797801"/>
              <a:gd name="connsiteX56" fmla="*/ 944736 w 1106180"/>
              <a:gd name="connsiteY56" fmla="*/ 458803 h 797801"/>
              <a:gd name="connsiteX57" fmla="*/ 953403 w 1106180"/>
              <a:gd name="connsiteY57" fmla="*/ 467471 h 797801"/>
              <a:gd name="connsiteX58" fmla="*/ 996739 w 1106180"/>
              <a:gd name="connsiteY58" fmla="*/ 480472 h 797801"/>
              <a:gd name="connsiteX59" fmla="*/ 1022741 w 1106180"/>
              <a:gd name="connsiteY59" fmla="*/ 471804 h 797801"/>
              <a:gd name="connsiteX60" fmla="*/ 1057410 w 1106180"/>
              <a:gd name="connsiteY60" fmla="*/ 454470 h 797801"/>
              <a:gd name="connsiteX61" fmla="*/ 1074745 w 1106180"/>
              <a:gd name="connsiteY61" fmla="*/ 450136 h 797801"/>
              <a:gd name="connsiteX62" fmla="*/ 1100747 w 1106180"/>
              <a:gd name="connsiteY62" fmla="*/ 441469 h 797801"/>
              <a:gd name="connsiteX63" fmla="*/ 1105081 w 1106180"/>
              <a:gd name="connsiteY63" fmla="*/ 454470 h 797801"/>
              <a:gd name="connsiteX64" fmla="*/ 1100747 w 1106180"/>
              <a:gd name="connsiteY64" fmla="*/ 545476 h 797801"/>
              <a:gd name="connsiteX65" fmla="*/ 1087746 w 1106180"/>
              <a:gd name="connsiteY65" fmla="*/ 549810 h 797801"/>
              <a:gd name="connsiteX66" fmla="*/ 1040076 w 1106180"/>
              <a:gd name="connsiteY66" fmla="*/ 562811 h 797801"/>
              <a:gd name="connsiteX67" fmla="*/ 1027075 w 1106180"/>
              <a:gd name="connsiteY67" fmla="*/ 571478 h 797801"/>
              <a:gd name="connsiteX68" fmla="*/ 1014074 w 1106180"/>
              <a:gd name="connsiteY68" fmla="*/ 597480 h 797801"/>
              <a:gd name="connsiteX69" fmla="*/ 1005407 w 1106180"/>
              <a:gd name="connsiteY69" fmla="*/ 623482 h 797801"/>
              <a:gd name="connsiteX70" fmla="*/ 1001073 w 1106180"/>
              <a:gd name="connsiteY70" fmla="*/ 636483 h 797801"/>
              <a:gd name="connsiteX71" fmla="*/ 992406 w 1106180"/>
              <a:gd name="connsiteY71" fmla="*/ 679819 h 797801"/>
              <a:gd name="connsiteX72" fmla="*/ 996739 w 1106180"/>
              <a:gd name="connsiteY72" fmla="*/ 701488 h 797801"/>
              <a:gd name="connsiteX73" fmla="*/ 1001073 w 1106180"/>
              <a:gd name="connsiteY73" fmla="*/ 718822 h 797801"/>
              <a:gd name="connsiteX74" fmla="*/ 988072 w 1106180"/>
              <a:gd name="connsiteY74" fmla="*/ 723156 h 797801"/>
              <a:gd name="connsiteX75" fmla="*/ 962070 w 1106180"/>
              <a:gd name="connsiteY75" fmla="*/ 714489 h 797801"/>
              <a:gd name="connsiteX76" fmla="*/ 949069 w 1106180"/>
              <a:gd name="connsiteY76" fmla="*/ 710155 h 797801"/>
              <a:gd name="connsiteX77" fmla="*/ 936068 w 1106180"/>
              <a:gd name="connsiteY77" fmla="*/ 701488 h 797801"/>
              <a:gd name="connsiteX78" fmla="*/ 819060 w 1106180"/>
              <a:gd name="connsiteY78" fmla="*/ 705821 h 797801"/>
              <a:gd name="connsiteX79" fmla="*/ 775723 w 1106180"/>
              <a:gd name="connsiteY79" fmla="*/ 718822 h 797801"/>
              <a:gd name="connsiteX80" fmla="*/ 723719 w 1106180"/>
              <a:gd name="connsiteY80" fmla="*/ 736157 h 797801"/>
              <a:gd name="connsiteX81" fmla="*/ 710718 w 1106180"/>
              <a:gd name="connsiteY81" fmla="*/ 740491 h 797801"/>
              <a:gd name="connsiteX82" fmla="*/ 697718 w 1106180"/>
              <a:gd name="connsiteY82" fmla="*/ 744824 h 797801"/>
              <a:gd name="connsiteX83" fmla="*/ 684717 w 1106180"/>
              <a:gd name="connsiteY83" fmla="*/ 753491 h 797801"/>
              <a:gd name="connsiteX84" fmla="*/ 671716 w 1106180"/>
              <a:gd name="connsiteY84" fmla="*/ 757825 h 797801"/>
              <a:gd name="connsiteX85" fmla="*/ 650047 w 1106180"/>
              <a:gd name="connsiteY85" fmla="*/ 792494 h 797801"/>
              <a:gd name="connsiteX86" fmla="*/ 637046 w 1106180"/>
              <a:gd name="connsiteY86" fmla="*/ 796828 h 797801"/>
              <a:gd name="connsiteX87" fmla="*/ 455033 w 1106180"/>
              <a:gd name="connsiteY87" fmla="*/ 796828 h 797801"/>
              <a:gd name="connsiteX88" fmla="*/ 424698 w 1106180"/>
              <a:gd name="connsiteY88" fmla="*/ 788161 h 797801"/>
              <a:gd name="connsiteX89" fmla="*/ 346692 w 1106180"/>
              <a:gd name="connsiteY89" fmla="*/ 783827 h 797801"/>
              <a:gd name="connsiteX90" fmla="*/ 329357 w 1106180"/>
              <a:gd name="connsiteY90" fmla="*/ 757825 h 797801"/>
              <a:gd name="connsiteX91" fmla="*/ 316356 w 1106180"/>
              <a:gd name="connsiteY91" fmla="*/ 753491 h 797801"/>
              <a:gd name="connsiteX92" fmla="*/ 290355 w 1106180"/>
              <a:gd name="connsiteY92" fmla="*/ 736157 h 797801"/>
              <a:gd name="connsiteX93" fmla="*/ 286021 w 1106180"/>
              <a:gd name="connsiteY93" fmla="*/ 723156 h 797801"/>
              <a:gd name="connsiteX94" fmla="*/ 277354 w 1106180"/>
              <a:gd name="connsiteY94" fmla="*/ 710155 h 797801"/>
              <a:gd name="connsiteX95" fmla="*/ 290355 w 1106180"/>
              <a:gd name="connsiteY95" fmla="*/ 705821 h 797801"/>
              <a:gd name="connsiteX96" fmla="*/ 299022 w 1106180"/>
              <a:gd name="connsiteY96" fmla="*/ 692820 h 797801"/>
              <a:gd name="connsiteX97" fmla="*/ 286021 w 1106180"/>
              <a:gd name="connsiteY97" fmla="*/ 688487 h 797801"/>
              <a:gd name="connsiteX98" fmla="*/ 277354 w 1106180"/>
              <a:gd name="connsiteY98" fmla="*/ 679819 h 797801"/>
              <a:gd name="connsiteX99" fmla="*/ 251352 w 1106180"/>
              <a:gd name="connsiteY99" fmla="*/ 671152 h 797801"/>
              <a:gd name="connsiteX100" fmla="*/ 195014 w 1106180"/>
              <a:gd name="connsiteY100" fmla="*/ 662485 h 797801"/>
              <a:gd name="connsiteX101" fmla="*/ 177680 w 1106180"/>
              <a:gd name="connsiteY101" fmla="*/ 653818 h 797801"/>
              <a:gd name="connsiteX102" fmla="*/ 121342 w 1106180"/>
              <a:gd name="connsiteY102" fmla="*/ 649484 h 797801"/>
              <a:gd name="connsiteX103" fmla="*/ 117009 w 1106180"/>
              <a:gd name="connsiteY103" fmla="*/ 562811 h 797801"/>
              <a:gd name="connsiteX104" fmla="*/ 91007 w 1106180"/>
              <a:gd name="connsiteY104" fmla="*/ 545476 h 797801"/>
              <a:gd name="connsiteX105" fmla="*/ 73672 w 1106180"/>
              <a:gd name="connsiteY105" fmla="*/ 523808 h 797801"/>
              <a:gd name="connsiteX106" fmla="*/ 65005 w 1106180"/>
              <a:gd name="connsiteY106" fmla="*/ 484805 h 797801"/>
              <a:gd name="connsiteX107" fmla="*/ 56337 w 1106180"/>
              <a:gd name="connsiteY107" fmla="*/ 476138 h 797801"/>
              <a:gd name="connsiteX108" fmla="*/ 39003 w 1106180"/>
              <a:gd name="connsiteY108" fmla="*/ 445802 h 797801"/>
              <a:gd name="connsiteX109" fmla="*/ 34669 w 1106180"/>
              <a:gd name="connsiteY109" fmla="*/ 432801 h 797801"/>
              <a:gd name="connsiteX110" fmla="*/ 8667 w 1106180"/>
              <a:gd name="connsiteY110" fmla="*/ 411133 h 797801"/>
              <a:gd name="connsiteX111" fmla="*/ 0 w 1106180"/>
              <a:gd name="connsiteY111" fmla="*/ 406800 h 79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106180" h="797801">
                <a:moveTo>
                  <a:pt x="0" y="406800"/>
                </a:moveTo>
                <a:lnTo>
                  <a:pt x="26002" y="398132"/>
                </a:lnTo>
                <a:lnTo>
                  <a:pt x="39003" y="393799"/>
                </a:lnTo>
                <a:cubicBezTo>
                  <a:pt x="41892" y="390910"/>
                  <a:pt x="44166" y="387233"/>
                  <a:pt x="47670" y="385131"/>
                </a:cubicBezTo>
                <a:cubicBezTo>
                  <a:pt x="51587" y="382781"/>
                  <a:pt x="57104" y="383652"/>
                  <a:pt x="60671" y="380798"/>
                </a:cubicBezTo>
                <a:cubicBezTo>
                  <a:pt x="64738" y="377544"/>
                  <a:pt x="66084" y="371864"/>
                  <a:pt x="69338" y="367797"/>
                </a:cubicBezTo>
                <a:cubicBezTo>
                  <a:pt x="71891" y="364606"/>
                  <a:pt x="75453" y="362320"/>
                  <a:pt x="78006" y="359129"/>
                </a:cubicBezTo>
                <a:cubicBezTo>
                  <a:pt x="81260" y="355062"/>
                  <a:pt x="82990" y="349811"/>
                  <a:pt x="86673" y="346128"/>
                </a:cubicBezTo>
                <a:cubicBezTo>
                  <a:pt x="90356" y="342445"/>
                  <a:pt x="95340" y="340350"/>
                  <a:pt x="99674" y="337461"/>
                </a:cubicBezTo>
                <a:cubicBezTo>
                  <a:pt x="112425" y="311959"/>
                  <a:pt x="106300" y="326251"/>
                  <a:pt x="117009" y="294125"/>
                </a:cubicBezTo>
                <a:cubicBezTo>
                  <a:pt x="118454" y="289791"/>
                  <a:pt x="117008" y="282569"/>
                  <a:pt x="121342" y="281124"/>
                </a:cubicBezTo>
                <a:lnTo>
                  <a:pt x="134343" y="276790"/>
                </a:lnTo>
                <a:cubicBezTo>
                  <a:pt x="142508" y="268625"/>
                  <a:pt x="151184" y="261649"/>
                  <a:pt x="156011" y="250788"/>
                </a:cubicBezTo>
                <a:cubicBezTo>
                  <a:pt x="156022" y="250763"/>
                  <a:pt x="166841" y="218299"/>
                  <a:pt x="169012" y="211785"/>
                </a:cubicBezTo>
                <a:cubicBezTo>
                  <a:pt x="170457" y="207451"/>
                  <a:pt x="170812" y="202585"/>
                  <a:pt x="173346" y="198784"/>
                </a:cubicBezTo>
                <a:cubicBezTo>
                  <a:pt x="184279" y="182383"/>
                  <a:pt x="178330" y="189466"/>
                  <a:pt x="190681" y="177116"/>
                </a:cubicBezTo>
                <a:cubicBezTo>
                  <a:pt x="192125" y="172782"/>
                  <a:pt x="193759" y="168507"/>
                  <a:pt x="195014" y="164115"/>
                </a:cubicBezTo>
                <a:cubicBezTo>
                  <a:pt x="196650" y="158388"/>
                  <a:pt x="195627" y="151432"/>
                  <a:pt x="199348" y="146781"/>
                </a:cubicBezTo>
                <a:cubicBezTo>
                  <a:pt x="202202" y="143214"/>
                  <a:pt x="208150" y="144247"/>
                  <a:pt x="212349" y="142447"/>
                </a:cubicBezTo>
                <a:cubicBezTo>
                  <a:pt x="225144" y="136963"/>
                  <a:pt x="230298" y="135179"/>
                  <a:pt x="238351" y="125112"/>
                </a:cubicBezTo>
                <a:cubicBezTo>
                  <a:pt x="241605" y="121045"/>
                  <a:pt x="244689" y="116769"/>
                  <a:pt x="247018" y="112111"/>
                </a:cubicBezTo>
                <a:cubicBezTo>
                  <a:pt x="252251" y="101645"/>
                  <a:pt x="249671" y="94387"/>
                  <a:pt x="260019" y="86109"/>
                </a:cubicBezTo>
                <a:cubicBezTo>
                  <a:pt x="263586" y="83255"/>
                  <a:pt x="268686" y="83220"/>
                  <a:pt x="273020" y="81776"/>
                </a:cubicBezTo>
                <a:cubicBezTo>
                  <a:pt x="328455" y="92861"/>
                  <a:pt x="349176" y="98715"/>
                  <a:pt x="429031" y="81776"/>
                </a:cubicBezTo>
                <a:cubicBezTo>
                  <a:pt x="437968" y="79880"/>
                  <a:pt x="434810" y="64441"/>
                  <a:pt x="437699" y="55774"/>
                </a:cubicBezTo>
                <a:lnTo>
                  <a:pt x="442032" y="42773"/>
                </a:lnTo>
                <a:cubicBezTo>
                  <a:pt x="447810" y="44218"/>
                  <a:pt x="455491" y="42585"/>
                  <a:pt x="459367" y="47107"/>
                </a:cubicBezTo>
                <a:cubicBezTo>
                  <a:pt x="491723" y="84856"/>
                  <a:pt x="448244" y="66513"/>
                  <a:pt x="481035" y="77442"/>
                </a:cubicBezTo>
                <a:cubicBezTo>
                  <a:pt x="499353" y="73779"/>
                  <a:pt x="501576" y="77501"/>
                  <a:pt x="511371" y="64441"/>
                </a:cubicBezTo>
                <a:cubicBezTo>
                  <a:pt x="517621" y="56108"/>
                  <a:pt x="518352" y="39589"/>
                  <a:pt x="528705" y="38439"/>
                </a:cubicBezTo>
                <a:lnTo>
                  <a:pt x="567708" y="34106"/>
                </a:lnTo>
                <a:cubicBezTo>
                  <a:pt x="570597" y="31217"/>
                  <a:pt x="572720" y="27265"/>
                  <a:pt x="576375" y="25438"/>
                </a:cubicBezTo>
                <a:cubicBezTo>
                  <a:pt x="590099" y="18576"/>
                  <a:pt x="605202" y="16583"/>
                  <a:pt x="619712" y="12437"/>
                </a:cubicBezTo>
                <a:cubicBezTo>
                  <a:pt x="663242" y="0"/>
                  <a:pt x="595844" y="17322"/>
                  <a:pt x="650047" y="3770"/>
                </a:cubicBezTo>
                <a:cubicBezTo>
                  <a:pt x="660159" y="5215"/>
                  <a:pt x="670231" y="6976"/>
                  <a:pt x="680383" y="8104"/>
                </a:cubicBezTo>
                <a:cubicBezTo>
                  <a:pt x="696241" y="9866"/>
                  <a:pt x="714005" y="4873"/>
                  <a:pt x="728053" y="12437"/>
                </a:cubicBezTo>
                <a:cubicBezTo>
                  <a:pt x="736097" y="16768"/>
                  <a:pt x="730260" y="31979"/>
                  <a:pt x="736720" y="38439"/>
                </a:cubicBezTo>
                <a:lnTo>
                  <a:pt x="745388" y="47107"/>
                </a:lnTo>
                <a:cubicBezTo>
                  <a:pt x="753293" y="70822"/>
                  <a:pt x="747827" y="72162"/>
                  <a:pt x="767056" y="81776"/>
                </a:cubicBezTo>
                <a:cubicBezTo>
                  <a:pt x="771142" y="83819"/>
                  <a:pt x="775723" y="84665"/>
                  <a:pt x="780057" y="86109"/>
                </a:cubicBezTo>
                <a:cubicBezTo>
                  <a:pt x="782946" y="88998"/>
                  <a:pt x="785220" y="92675"/>
                  <a:pt x="788724" y="94777"/>
                </a:cubicBezTo>
                <a:cubicBezTo>
                  <a:pt x="792641" y="97127"/>
                  <a:pt x="798495" y="95880"/>
                  <a:pt x="801725" y="99110"/>
                </a:cubicBezTo>
                <a:cubicBezTo>
                  <a:pt x="804955" y="102340"/>
                  <a:pt x="803709" y="108194"/>
                  <a:pt x="806059" y="112111"/>
                </a:cubicBezTo>
                <a:cubicBezTo>
                  <a:pt x="808161" y="115615"/>
                  <a:pt x="811837" y="117890"/>
                  <a:pt x="814726" y="120779"/>
                </a:cubicBezTo>
                <a:cubicBezTo>
                  <a:pt x="816171" y="125113"/>
                  <a:pt x="817017" y="129694"/>
                  <a:pt x="819060" y="133780"/>
                </a:cubicBezTo>
                <a:cubicBezTo>
                  <a:pt x="823875" y="143411"/>
                  <a:pt x="830134" y="151596"/>
                  <a:pt x="840728" y="155448"/>
                </a:cubicBezTo>
                <a:cubicBezTo>
                  <a:pt x="851923" y="159519"/>
                  <a:pt x="875397" y="164115"/>
                  <a:pt x="875397" y="164115"/>
                </a:cubicBezTo>
                <a:cubicBezTo>
                  <a:pt x="878286" y="168449"/>
                  <a:pt x="883665" y="171923"/>
                  <a:pt x="884064" y="177116"/>
                </a:cubicBezTo>
                <a:cubicBezTo>
                  <a:pt x="885178" y="191591"/>
                  <a:pt x="881938" y="206104"/>
                  <a:pt x="879731" y="220453"/>
                </a:cubicBezTo>
                <a:cubicBezTo>
                  <a:pt x="879036" y="224968"/>
                  <a:pt x="876652" y="229062"/>
                  <a:pt x="875397" y="233454"/>
                </a:cubicBezTo>
                <a:cubicBezTo>
                  <a:pt x="873761" y="239181"/>
                  <a:pt x="872508" y="245010"/>
                  <a:pt x="871064" y="250788"/>
                </a:cubicBezTo>
                <a:cubicBezTo>
                  <a:pt x="872508" y="292680"/>
                  <a:pt x="871818" y="334700"/>
                  <a:pt x="875397" y="376464"/>
                </a:cubicBezTo>
                <a:cubicBezTo>
                  <a:pt x="876791" y="392727"/>
                  <a:pt x="881434" y="402095"/>
                  <a:pt x="892732" y="411133"/>
                </a:cubicBezTo>
                <a:cubicBezTo>
                  <a:pt x="896799" y="414386"/>
                  <a:pt x="901666" y="416546"/>
                  <a:pt x="905733" y="419800"/>
                </a:cubicBezTo>
                <a:cubicBezTo>
                  <a:pt x="936608" y="444501"/>
                  <a:pt x="887386" y="410459"/>
                  <a:pt x="927401" y="437135"/>
                </a:cubicBezTo>
                <a:cubicBezTo>
                  <a:pt x="928846" y="441469"/>
                  <a:pt x="928881" y="446569"/>
                  <a:pt x="931735" y="450136"/>
                </a:cubicBezTo>
                <a:cubicBezTo>
                  <a:pt x="934989" y="454203"/>
                  <a:pt x="940669" y="455549"/>
                  <a:pt x="944736" y="458803"/>
                </a:cubicBezTo>
                <a:cubicBezTo>
                  <a:pt x="947927" y="461355"/>
                  <a:pt x="949748" y="465644"/>
                  <a:pt x="953403" y="467471"/>
                </a:cubicBezTo>
                <a:cubicBezTo>
                  <a:pt x="963949" y="472744"/>
                  <a:pt x="984301" y="477362"/>
                  <a:pt x="996739" y="480472"/>
                </a:cubicBezTo>
                <a:cubicBezTo>
                  <a:pt x="1005406" y="477583"/>
                  <a:pt x="1016280" y="478264"/>
                  <a:pt x="1022741" y="471804"/>
                </a:cubicBezTo>
                <a:cubicBezTo>
                  <a:pt x="1036385" y="458162"/>
                  <a:pt x="1030852" y="461110"/>
                  <a:pt x="1057410" y="454470"/>
                </a:cubicBezTo>
                <a:cubicBezTo>
                  <a:pt x="1063188" y="453025"/>
                  <a:pt x="1069040" y="451847"/>
                  <a:pt x="1074745" y="450136"/>
                </a:cubicBezTo>
                <a:cubicBezTo>
                  <a:pt x="1083496" y="447511"/>
                  <a:pt x="1100747" y="441469"/>
                  <a:pt x="1100747" y="441469"/>
                </a:cubicBezTo>
                <a:cubicBezTo>
                  <a:pt x="1102192" y="445803"/>
                  <a:pt x="1105081" y="449902"/>
                  <a:pt x="1105081" y="454470"/>
                </a:cubicBezTo>
                <a:cubicBezTo>
                  <a:pt x="1105081" y="484840"/>
                  <a:pt x="1106180" y="515596"/>
                  <a:pt x="1100747" y="545476"/>
                </a:cubicBezTo>
                <a:cubicBezTo>
                  <a:pt x="1099930" y="549970"/>
                  <a:pt x="1092178" y="548702"/>
                  <a:pt x="1087746" y="549810"/>
                </a:cubicBezTo>
                <a:cubicBezTo>
                  <a:pt x="1074723" y="553066"/>
                  <a:pt x="1051231" y="555374"/>
                  <a:pt x="1040076" y="562811"/>
                </a:cubicBezTo>
                <a:lnTo>
                  <a:pt x="1027075" y="571478"/>
                </a:lnTo>
                <a:cubicBezTo>
                  <a:pt x="1011265" y="618903"/>
                  <a:pt x="1036481" y="547063"/>
                  <a:pt x="1014074" y="597480"/>
                </a:cubicBezTo>
                <a:cubicBezTo>
                  <a:pt x="1010364" y="605829"/>
                  <a:pt x="1008296" y="614815"/>
                  <a:pt x="1005407" y="623482"/>
                </a:cubicBezTo>
                <a:cubicBezTo>
                  <a:pt x="1003962" y="627816"/>
                  <a:pt x="1001824" y="631977"/>
                  <a:pt x="1001073" y="636483"/>
                </a:cubicBezTo>
                <a:cubicBezTo>
                  <a:pt x="995760" y="668360"/>
                  <a:pt x="998870" y="653960"/>
                  <a:pt x="992406" y="679819"/>
                </a:cubicBezTo>
                <a:cubicBezTo>
                  <a:pt x="993850" y="687042"/>
                  <a:pt x="995141" y="694297"/>
                  <a:pt x="996739" y="701488"/>
                </a:cubicBezTo>
                <a:cubicBezTo>
                  <a:pt x="998031" y="707302"/>
                  <a:pt x="1003285" y="713292"/>
                  <a:pt x="1001073" y="718822"/>
                </a:cubicBezTo>
                <a:cubicBezTo>
                  <a:pt x="999376" y="723063"/>
                  <a:pt x="992406" y="721711"/>
                  <a:pt x="988072" y="723156"/>
                </a:cubicBezTo>
                <a:lnTo>
                  <a:pt x="962070" y="714489"/>
                </a:lnTo>
                <a:cubicBezTo>
                  <a:pt x="957736" y="713044"/>
                  <a:pt x="952870" y="712689"/>
                  <a:pt x="949069" y="710155"/>
                </a:cubicBezTo>
                <a:lnTo>
                  <a:pt x="936068" y="701488"/>
                </a:lnTo>
                <a:cubicBezTo>
                  <a:pt x="897065" y="702932"/>
                  <a:pt x="858008" y="703308"/>
                  <a:pt x="819060" y="705821"/>
                </a:cubicBezTo>
                <a:cubicBezTo>
                  <a:pt x="810941" y="706345"/>
                  <a:pt x="779644" y="717515"/>
                  <a:pt x="775723" y="718822"/>
                </a:cubicBezTo>
                <a:lnTo>
                  <a:pt x="723719" y="736157"/>
                </a:lnTo>
                <a:lnTo>
                  <a:pt x="710718" y="740491"/>
                </a:lnTo>
                <a:lnTo>
                  <a:pt x="697718" y="744824"/>
                </a:lnTo>
                <a:cubicBezTo>
                  <a:pt x="693384" y="747713"/>
                  <a:pt x="689375" y="751162"/>
                  <a:pt x="684717" y="753491"/>
                </a:cubicBezTo>
                <a:cubicBezTo>
                  <a:pt x="680631" y="755534"/>
                  <a:pt x="674371" y="754108"/>
                  <a:pt x="671716" y="757825"/>
                </a:cubicBezTo>
                <a:cubicBezTo>
                  <a:pt x="649756" y="788568"/>
                  <a:pt x="677288" y="778873"/>
                  <a:pt x="650047" y="792494"/>
                </a:cubicBezTo>
                <a:cubicBezTo>
                  <a:pt x="645961" y="794537"/>
                  <a:pt x="641380" y="795383"/>
                  <a:pt x="637046" y="796828"/>
                </a:cubicBezTo>
                <a:cubicBezTo>
                  <a:pt x="451207" y="786503"/>
                  <a:pt x="682579" y="796828"/>
                  <a:pt x="455033" y="796828"/>
                </a:cubicBezTo>
                <a:cubicBezTo>
                  <a:pt x="429626" y="796828"/>
                  <a:pt x="446142" y="790203"/>
                  <a:pt x="424698" y="788161"/>
                </a:cubicBezTo>
                <a:cubicBezTo>
                  <a:pt x="398773" y="785692"/>
                  <a:pt x="372694" y="785272"/>
                  <a:pt x="346692" y="783827"/>
                </a:cubicBezTo>
                <a:cubicBezTo>
                  <a:pt x="305665" y="756476"/>
                  <a:pt x="361337" y="797801"/>
                  <a:pt x="329357" y="757825"/>
                </a:cubicBezTo>
                <a:cubicBezTo>
                  <a:pt x="326503" y="754258"/>
                  <a:pt x="320349" y="755709"/>
                  <a:pt x="316356" y="753491"/>
                </a:cubicBezTo>
                <a:cubicBezTo>
                  <a:pt x="307250" y="748432"/>
                  <a:pt x="290355" y="736157"/>
                  <a:pt x="290355" y="736157"/>
                </a:cubicBezTo>
                <a:cubicBezTo>
                  <a:pt x="288910" y="731823"/>
                  <a:pt x="288064" y="727242"/>
                  <a:pt x="286021" y="723156"/>
                </a:cubicBezTo>
                <a:cubicBezTo>
                  <a:pt x="283692" y="718498"/>
                  <a:pt x="276091" y="715208"/>
                  <a:pt x="277354" y="710155"/>
                </a:cubicBezTo>
                <a:cubicBezTo>
                  <a:pt x="278462" y="705723"/>
                  <a:pt x="286021" y="707266"/>
                  <a:pt x="290355" y="705821"/>
                </a:cubicBezTo>
                <a:cubicBezTo>
                  <a:pt x="293244" y="701487"/>
                  <a:pt x="300285" y="697873"/>
                  <a:pt x="299022" y="692820"/>
                </a:cubicBezTo>
                <a:cubicBezTo>
                  <a:pt x="297914" y="688388"/>
                  <a:pt x="289938" y="690837"/>
                  <a:pt x="286021" y="688487"/>
                </a:cubicBezTo>
                <a:cubicBezTo>
                  <a:pt x="282517" y="686385"/>
                  <a:pt x="281009" y="681646"/>
                  <a:pt x="277354" y="679819"/>
                </a:cubicBezTo>
                <a:cubicBezTo>
                  <a:pt x="269182" y="675733"/>
                  <a:pt x="260019" y="674041"/>
                  <a:pt x="251352" y="671152"/>
                </a:cubicBezTo>
                <a:cubicBezTo>
                  <a:pt x="224575" y="662226"/>
                  <a:pt x="242906" y="667273"/>
                  <a:pt x="195014" y="662485"/>
                </a:cubicBezTo>
                <a:cubicBezTo>
                  <a:pt x="189236" y="659596"/>
                  <a:pt x="184042" y="654941"/>
                  <a:pt x="177680" y="653818"/>
                </a:cubicBezTo>
                <a:cubicBezTo>
                  <a:pt x="159132" y="650545"/>
                  <a:pt x="131790" y="665156"/>
                  <a:pt x="121342" y="649484"/>
                </a:cubicBezTo>
                <a:cubicBezTo>
                  <a:pt x="105296" y="625415"/>
                  <a:pt x="125108" y="590581"/>
                  <a:pt x="117009" y="562811"/>
                </a:cubicBezTo>
                <a:cubicBezTo>
                  <a:pt x="114092" y="552811"/>
                  <a:pt x="98373" y="552841"/>
                  <a:pt x="91007" y="545476"/>
                </a:cubicBezTo>
                <a:cubicBezTo>
                  <a:pt x="78656" y="533126"/>
                  <a:pt x="84605" y="540209"/>
                  <a:pt x="73672" y="523808"/>
                </a:cubicBezTo>
                <a:cubicBezTo>
                  <a:pt x="72798" y="518564"/>
                  <a:pt x="69927" y="493008"/>
                  <a:pt x="65005" y="484805"/>
                </a:cubicBezTo>
                <a:cubicBezTo>
                  <a:pt x="62903" y="481301"/>
                  <a:pt x="58889" y="479329"/>
                  <a:pt x="56337" y="476138"/>
                </a:cubicBezTo>
                <a:cubicBezTo>
                  <a:pt x="49641" y="467769"/>
                  <a:pt x="43109" y="455383"/>
                  <a:pt x="39003" y="445802"/>
                </a:cubicBezTo>
                <a:cubicBezTo>
                  <a:pt x="37204" y="441603"/>
                  <a:pt x="37203" y="436602"/>
                  <a:pt x="34669" y="432801"/>
                </a:cubicBezTo>
                <a:cubicBezTo>
                  <a:pt x="29876" y="425612"/>
                  <a:pt x="16662" y="415131"/>
                  <a:pt x="8667" y="411133"/>
                </a:cubicBezTo>
                <a:cubicBezTo>
                  <a:pt x="7375" y="410487"/>
                  <a:pt x="5778" y="411133"/>
                  <a:pt x="0" y="406800"/>
                </a:cubicBezTo>
                <a:close/>
              </a:path>
            </a:pathLst>
          </a:custGeom>
          <a:solidFill>
            <a:srgbClr val="00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1" name="Title 1"/>
          <p:cNvSpPr txBox="1">
            <a:spLocks/>
          </p:cNvSpPr>
          <p:nvPr/>
        </p:nvSpPr>
        <p:spPr>
          <a:xfrm>
            <a:off x="5508626" y="4726518"/>
            <a:ext cx="863600" cy="2159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రొమేనియా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42" name="Freeform 141"/>
          <p:cNvSpPr/>
          <p:nvPr/>
        </p:nvSpPr>
        <p:spPr>
          <a:xfrm>
            <a:off x="5686426" y="5067300"/>
            <a:ext cx="731838" cy="518584"/>
          </a:xfrm>
          <a:custGeom>
            <a:avLst/>
            <a:gdLst>
              <a:gd name="connsiteX0" fmla="*/ 26002 w 733014"/>
              <a:gd name="connsiteY0" fmla="*/ 58874 h 518241"/>
              <a:gd name="connsiteX1" fmla="*/ 13001 w 733014"/>
              <a:gd name="connsiteY1" fmla="*/ 67541 h 518241"/>
              <a:gd name="connsiteX2" fmla="*/ 8667 w 733014"/>
              <a:gd name="connsiteY2" fmla="*/ 80542 h 518241"/>
              <a:gd name="connsiteX3" fmla="*/ 0 w 733014"/>
              <a:gd name="connsiteY3" fmla="*/ 89210 h 518241"/>
              <a:gd name="connsiteX4" fmla="*/ 4334 w 733014"/>
              <a:gd name="connsiteY4" fmla="*/ 102211 h 518241"/>
              <a:gd name="connsiteX5" fmla="*/ 21668 w 733014"/>
              <a:gd name="connsiteY5" fmla="*/ 128212 h 518241"/>
              <a:gd name="connsiteX6" fmla="*/ 34669 w 733014"/>
              <a:gd name="connsiteY6" fmla="*/ 149881 h 518241"/>
              <a:gd name="connsiteX7" fmla="*/ 34669 w 733014"/>
              <a:gd name="connsiteY7" fmla="*/ 223553 h 518241"/>
              <a:gd name="connsiteX8" fmla="*/ 26002 w 733014"/>
              <a:gd name="connsiteY8" fmla="*/ 249555 h 518241"/>
              <a:gd name="connsiteX9" fmla="*/ 21668 w 733014"/>
              <a:gd name="connsiteY9" fmla="*/ 262556 h 518241"/>
              <a:gd name="connsiteX10" fmla="*/ 39003 w 733014"/>
              <a:gd name="connsiteY10" fmla="*/ 362230 h 518241"/>
              <a:gd name="connsiteX11" fmla="*/ 47670 w 733014"/>
              <a:gd name="connsiteY11" fmla="*/ 375231 h 518241"/>
              <a:gd name="connsiteX12" fmla="*/ 52004 w 733014"/>
              <a:gd name="connsiteY12" fmla="*/ 401232 h 518241"/>
              <a:gd name="connsiteX13" fmla="*/ 60671 w 733014"/>
              <a:gd name="connsiteY13" fmla="*/ 409900 h 518241"/>
              <a:gd name="connsiteX14" fmla="*/ 69338 w 733014"/>
              <a:gd name="connsiteY14" fmla="*/ 422901 h 518241"/>
              <a:gd name="connsiteX15" fmla="*/ 73672 w 733014"/>
              <a:gd name="connsiteY15" fmla="*/ 448903 h 518241"/>
              <a:gd name="connsiteX16" fmla="*/ 86673 w 733014"/>
              <a:gd name="connsiteY16" fmla="*/ 453236 h 518241"/>
              <a:gd name="connsiteX17" fmla="*/ 99674 w 733014"/>
              <a:gd name="connsiteY17" fmla="*/ 479238 h 518241"/>
              <a:gd name="connsiteX18" fmla="*/ 112675 w 733014"/>
              <a:gd name="connsiteY18" fmla="*/ 487905 h 518241"/>
              <a:gd name="connsiteX19" fmla="*/ 117008 w 733014"/>
              <a:gd name="connsiteY19" fmla="*/ 509574 h 518241"/>
              <a:gd name="connsiteX20" fmla="*/ 143010 w 733014"/>
              <a:gd name="connsiteY20" fmla="*/ 518241 h 518241"/>
              <a:gd name="connsiteX21" fmla="*/ 225350 w 733014"/>
              <a:gd name="connsiteY21" fmla="*/ 513907 h 518241"/>
              <a:gd name="connsiteX22" fmla="*/ 238351 w 733014"/>
              <a:gd name="connsiteY22" fmla="*/ 509574 h 518241"/>
              <a:gd name="connsiteX23" fmla="*/ 247018 w 733014"/>
              <a:gd name="connsiteY23" fmla="*/ 483572 h 518241"/>
              <a:gd name="connsiteX24" fmla="*/ 255685 w 733014"/>
              <a:gd name="connsiteY24" fmla="*/ 474904 h 518241"/>
              <a:gd name="connsiteX25" fmla="*/ 381361 w 733014"/>
              <a:gd name="connsiteY25" fmla="*/ 470571 h 518241"/>
              <a:gd name="connsiteX26" fmla="*/ 407363 w 733014"/>
              <a:gd name="connsiteY26" fmla="*/ 461903 h 518241"/>
              <a:gd name="connsiteX27" fmla="*/ 442032 w 733014"/>
              <a:gd name="connsiteY27" fmla="*/ 453236 h 518241"/>
              <a:gd name="connsiteX28" fmla="*/ 455033 w 733014"/>
              <a:gd name="connsiteY28" fmla="*/ 444569 h 518241"/>
              <a:gd name="connsiteX29" fmla="*/ 468034 w 733014"/>
              <a:gd name="connsiteY29" fmla="*/ 440235 h 518241"/>
              <a:gd name="connsiteX30" fmla="*/ 481035 w 733014"/>
              <a:gd name="connsiteY30" fmla="*/ 431568 h 518241"/>
              <a:gd name="connsiteX31" fmla="*/ 507037 w 733014"/>
              <a:gd name="connsiteY31" fmla="*/ 418567 h 518241"/>
              <a:gd name="connsiteX32" fmla="*/ 515704 w 733014"/>
              <a:gd name="connsiteY32" fmla="*/ 405566 h 518241"/>
              <a:gd name="connsiteX33" fmla="*/ 524371 w 733014"/>
              <a:gd name="connsiteY33" fmla="*/ 379564 h 518241"/>
              <a:gd name="connsiteX34" fmla="*/ 546040 w 733014"/>
              <a:gd name="connsiteY34" fmla="*/ 362230 h 518241"/>
              <a:gd name="connsiteX35" fmla="*/ 572042 w 733014"/>
              <a:gd name="connsiteY35" fmla="*/ 353562 h 518241"/>
              <a:gd name="connsiteX36" fmla="*/ 645714 w 733014"/>
              <a:gd name="connsiteY36" fmla="*/ 344895 h 518241"/>
              <a:gd name="connsiteX37" fmla="*/ 663048 w 733014"/>
              <a:gd name="connsiteY37" fmla="*/ 340561 h 518241"/>
              <a:gd name="connsiteX38" fmla="*/ 697717 w 733014"/>
              <a:gd name="connsiteY38" fmla="*/ 336228 h 518241"/>
              <a:gd name="connsiteX39" fmla="*/ 693384 w 733014"/>
              <a:gd name="connsiteY39" fmla="*/ 323227 h 518241"/>
              <a:gd name="connsiteX40" fmla="*/ 667382 w 733014"/>
              <a:gd name="connsiteY40" fmla="*/ 314559 h 518241"/>
              <a:gd name="connsiteX41" fmla="*/ 654381 w 733014"/>
              <a:gd name="connsiteY41" fmla="*/ 310226 h 518241"/>
              <a:gd name="connsiteX42" fmla="*/ 641380 w 733014"/>
              <a:gd name="connsiteY42" fmla="*/ 301558 h 518241"/>
              <a:gd name="connsiteX43" fmla="*/ 637046 w 733014"/>
              <a:gd name="connsiteY43" fmla="*/ 288558 h 518241"/>
              <a:gd name="connsiteX44" fmla="*/ 628379 w 733014"/>
              <a:gd name="connsiteY44" fmla="*/ 279890 h 518241"/>
              <a:gd name="connsiteX45" fmla="*/ 624045 w 733014"/>
              <a:gd name="connsiteY45" fmla="*/ 266889 h 518241"/>
              <a:gd name="connsiteX46" fmla="*/ 632713 w 733014"/>
              <a:gd name="connsiteY46" fmla="*/ 236554 h 518241"/>
              <a:gd name="connsiteX47" fmla="*/ 641380 w 733014"/>
              <a:gd name="connsiteY47" fmla="*/ 227886 h 518241"/>
              <a:gd name="connsiteX48" fmla="*/ 645714 w 733014"/>
              <a:gd name="connsiteY48" fmla="*/ 214885 h 518241"/>
              <a:gd name="connsiteX49" fmla="*/ 645714 w 733014"/>
              <a:gd name="connsiteY49" fmla="*/ 167215 h 518241"/>
              <a:gd name="connsiteX50" fmla="*/ 658715 w 733014"/>
              <a:gd name="connsiteY50" fmla="*/ 158548 h 518241"/>
              <a:gd name="connsiteX51" fmla="*/ 667382 w 733014"/>
              <a:gd name="connsiteY51" fmla="*/ 145547 h 518241"/>
              <a:gd name="connsiteX52" fmla="*/ 680383 w 733014"/>
              <a:gd name="connsiteY52" fmla="*/ 119545 h 518241"/>
              <a:gd name="connsiteX53" fmla="*/ 693384 w 733014"/>
              <a:gd name="connsiteY53" fmla="*/ 110878 h 518241"/>
              <a:gd name="connsiteX54" fmla="*/ 715052 w 733014"/>
              <a:gd name="connsiteY54" fmla="*/ 84876 h 518241"/>
              <a:gd name="connsiteX55" fmla="*/ 728053 w 733014"/>
              <a:gd name="connsiteY55" fmla="*/ 80542 h 518241"/>
              <a:gd name="connsiteX56" fmla="*/ 732387 w 733014"/>
              <a:gd name="connsiteY56" fmla="*/ 67541 h 518241"/>
              <a:gd name="connsiteX57" fmla="*/ 728053 w 733014"/>
              <a:gd name="connsiteY57" fmla="*/ 37206 h 518241"/>
              <a:gd name="connsiteX58" fmla="*/ 710718 w 733014"/>
              <a:gd name="connsiteY58" fmla="*/ 28539 h 518241"/>
              <a:gd name="connsiteX59" fmla="*/ 650047 w 733014"/>
              <a:gd name="connsiteY59" fmla="*/ 24205 h 518241"/>
              <a:gd name="connsiteX60" fmla="*/ 476701 w 733014"/>
              <a:gd name="connsiteY60" fmla="*/ 19871 h 518241"/>
              <a:gd name="connsiteX61" fmla="*/ 446366 w 733014"/>
              <a:gd name="connsiteY61" fmla="*/ 32872 h 518241"/>
              <a:gd name="connsiteX62" fmla="*/ 420364 w 733014"/>
              <a:gd name="connsiteY62" fmla="*/ 45873 h 518241"/>
              <a:gd name="connsiteX63" fmla="*/ 407363 w 733014"/>
              <a:gd name="connsiteY63" fmla="*/ 54540 h 518241"/>
              <a:gd name="connsiteX64" fmla="*/ 372694 w 733014"/>
              <a:gd name="connsiteY64" fmla="*/ 80542 h 518241"/>
              <a:gd name="connsiteX65" fmla="*/ 359693 w 733014"/>
              <a:gd name="connsiteY65" fmla="*/ 84876 h 518241"/>
              <a:gd name="connsiteX66" fmla="*/ 260019 w 733014"/>
              <a:gd name="connsiteY66" fmla="*/ 89210 h 518241"/>
              <a:gd name="connsiteX67" fmla="*/ 69338 w 733014"/>
              <a:gd name="connsiteY67" fmla="*/ 84876 h 518241"/>
              <a:gd name="connsiteX68" fmla="*/ 47670 w 733014"/>
              <a:gd name="connsiteY68" fmla="*/ 67541 h 518241"/>
              <a:gd name="connsiteX69" fmla="*/ 21668 w 733014"/>
              <a:gd name="connsiteY69" fmla="*/ 58874 h 518241"/>
              <a:gd name="connsiteX70" fmla="*/ 26002 w 733014"/>
              <a:gd name="connsiteY70" fmla="*/ 58874 h 518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733014" h="518241">
                <a:moveTo>
                  <a:pt x="26002" y="58874"/>
                </a:moveTo>
                <a:cubicBezTo>
                  <a:pt x="21668" y="61763"/>
                  <a:pt x="16255" y="63474"/>
                  <a:pt x="13001" y="67541"/>
                </a:cubicBezTo>
                <a:cubicBezTo>
                  <a:pt x="10147" y="71108"/>
                  <a:pt x="11017" y="76625"/>
                  <a:pt x="8667" y="80542"/>
                </a:cubicBezTo>
                <a:cubicBezTo>
                  <a:pt x="6565" y="84046"/>
                  <a:pt x="2889" y="86321"/>
                  <a:pt x="0" y="89210"/>
                </a:cubicBezTo>
                <a:cubicBezTo>
                  <a:pt x="1445" y="93544"/>
                  <a:pt x="2116" y="98218"/>
                  <a:pt x="4334" y="102211"/>
                </a:cubicBezTo>
                <a:cubicBezTo>
                  <a:pt x="9393" y="111317"/>
                  <a:pt x="18374" y="118330"/>
                  <a:pt x="21668" y="128212"/>
                </a:cubicBezTo>
                <a:cubicBezTo>
                  <a:pt x="27294" y="145089"/>
                  <a:pt x="22772" y="137983"/>
                  <a:pt x="34669" y="149881"/>
                </a:cubicBezTo>
                <a:cubicBezTo>
                  <a:pt x="42594" y="181579"/>
                  <a:pt x="42550" y="173637"/>
                  <a:pt x="34669" y="223553"/>
                </a:cubicBezTo>
                <a:cubicBezTo>
                  <a:pt x="33244" y="232577"/>
                  <a:pt x="28891" y="240888"/>
                  <a:pt x="26002" y="249555"/>
                </a:cubicBezTo>
                <a:lnTo>
                  <a:pt x="21668" y="262556"/>
                </a:lnTo>
                <a:cubicBezTo>
                  <a:pt x="27988" y="388951"/>
                  <a:pt x="5191" y="321656"/>
                  <a:pt x="39003" y="362230"/>
                </a:cubicBezTo>
                <a:cubicBezTo>
                  <a:pt x="42337" y="366231"/>
                  <a:pt x="44781" y="370897"/>
                  <a:pt x="47670" y="375231"/>
                </a:cubicBezTo>
                <a:cubicBezTo>
                  <a:pt x="49115" y="383898"/>
                  <a:pt x="48919" y="393005"/>
                  <a:pt x="52004" y="401232"/>
                </a:cubicBezTo>
                <a:cubicBezTo>
                  <a:pt x="53439" y="405058"/>
                  <a:pt x="58119" y="406709"/>
                  <a:pt x="60671" y="409900"/>
                </a:cubicBezTo>
                <a:cubicBezTo>
                  <a:pt x="63924" y="413967"/>
                  <a:pt x="66449" y="418567"/>
                  <a:pt x="69338" y="422901"/>
                </a:cubicBezTo>
                <a:cubicBezTo>
                  <a:pt x="70783" y="431568"/>
                  <a:pt x="69312" y="441274"/>
                  <a:pt x="73672" y="448903"/>
                </a:cubicBezTo>
                <a:cubicBezTo>
                  <a:pt x="75938" y="452869"/>
                  <a:pt x="83106" y="450382"/>
                  <a:pt x="86673" y="453236"/>
                </a:cubicBezTo>
                <a:cubicBezTo>
                  <a:pt x="106966" y="469470"/>
                  <a:pt x="85718" y="461794"/>
                  <a:pt x="99674" y="479238"/>
                </a:cubicBezTo>
                <a:cubicBezTo>
                  <a:pt x="102928" y="483305"/>
                  <a:pt x="108341" y="485016"/>
                  <a:pt x="112675" y="487905"/>
                </a:cubicBezTo>
                <a:cubicBezTo>
                  <a:pt x="114119" y="495128"/>
                  <a:pt x="111800" y="504365"/>
                  <a:pt x="117008" y="509574"/>
                </a:cubicBezTo>
                <a:cubicBezTo>
                  <a:pt x="123468" y="516034"/>
                  <a:pt x="143010" y="518241"/>
                  <a:pt x="143010" y="518241"/>
                </a:cubicBezTo>
                <a:cubicBezTo>
                  <a:pt x="170457" y="516796"/>
                  <a:pt x="197978" y="516395"/>
                  <a:pt x="225350" y="513907"/>
                </a:cubicBezTo>
                <a:cubicBezTo>
                  <a:pt x="229899" y="513493"/>
                  <a:pt x="235696" y="513291"/>
                  <a:pt x="238351" y="509574"/>
                </a:cubicBezTo>
                <a:cubicBezTo>
                  <a:pt x="243661" y="502140"/>
                  <a:pt x="240558" y="490033"/>
                  <a:pt x="247018" y="483572"/>
                </a:cubicBezTo>
                <a:cubicBezTo>
                  <a:pt x="249907" y="480683"/>
                  <a:pt x="251618" y="475298"/>
                  <a:pt x="255685" y="474904"/>
                </a:cubicBezTo>
                <a:cubicBezTo>
                  <a:pt x="297407" y="470866"/>
                  <a:pt x="339469" y="472015"/>
                  <a:pt x="381361" y="470571"/>
                </a:cubicBezTo>
                <a:cubicBezTo>
                  <a:pt x="390028" y="467682"/>
                  <a:pt x="398404" y="463695"/>
                  <a:pt x="407363" y="461903"/>
                </a:cubicBezTo>
                <a:cubicBezTo>
                  <a:pt x="415609" y="460254"/>
                  <a:pt x="433145" y="457679"/>
                  <a:pt x="442032" y="453236"/>
                </a:cubicBezTo>
                <a:cubicBezTo>
                  <a:pt x="446690" y="450907"/>
                  <a:pt x="450375" y="446898"/>
                  <a:pt x="455033" y="444569"/>
                </a:cubicBezTo>
                <a:cubicBezTo>
                  <a:pt x="459119" y="442526"/>
                  <a:pt x="463948" y="442278"/>
                  <a:pt x="468034" y="440235"/>
                </a:cubicBezTo>
                <a:cubicBezTo>
                  <a:pt x="472692" y="437906"/>
                  <a:pt x="476377" y="433897"/>
                  <a:pt x="481035" y="431568"/>
                </a:cubicBezTo>
                <a:cubicBezTo>
                  <a:pt x="516919" y="413626"/>
                  <a:pt x="469778" y="443405"/>
                  <a:pt x="507037" y="418567"/>
                </a:cubicBezTo>
                <a:cubicBezTo>
                  <a:pt x="509926" y="414233"/>
                  <a:pt x="513589" y="410325"/>
                  <a:pt x="515704" y="405566"/>
                </a:cubicBezTo>
                <a:cubicBezTo>
                  <a:pt x="519414" y="397217"/>
                  <a:pt x="517910" y="386024"/>
                  <a:pt x="524371" y="379564"/>
                </a:cubicBezTo>
                <a:cubicBezTo>
                  <a:pt x="531575" y="372361"/>
                  <a:pt x="536200" y="366603"/>
                  <a:pt x="546040" y="362230"/>
                </a:cubicBezTo>
                <a:cubicBezTo>
                  <a:pt x="554389" y="358519"/>
                  <a:pt x="563375" y="356451"/>
                  <a:pt x="572042" y="353562"/>
                </a:cubicBezTo>
                <a:cubicBezTo>
                  <a:pt x="604272" y="342819"/>
                  <a:pt x="580515" y="349552"/>
                  <a:pt x="645714" y="344895"/>
                </a:cubicBezTo>
                <a:cubicBezTo>
                  <a:pt x="651492" y="343450"/>
                  <a:pt x="657173" y="341540"/>
                  <a:pt x="663048" y="340561"/>
                </a:cubicBezTo>
                <a:cubicBezTo>
                  <a:pt x="674536" y="338646"/>
                  <a:pt x="687605" y="342006"/>
                  <a:pt x="697717" y="336228"/>
                </a:cubicBezTo>
                <a:cubicBezTo>
                  <a:pt x="701683" y="333962"/>
                  <a:pt x="697101" y="325882"/>
                  <a:pt x="693384" y="323227"/>
                </a:cubicBezTo>
                <a:cubicBezTo>
                  <a:pt x="685950" y="317916"/>
                  <a:pt x="676049" y="317448"/>
                  <a:pt x="667382" y="314559"/>
                </a:cubicBezTo>
                <a:lnTo>
                  <a:pt x="654381" y="310226"/>
                </a:lnTo>
                <a:cubicBezTo>
                  <a:pt x="650047" y="307337"/>
                  <a:pt x="644634" y="305625"/>
                  <a:pt x="641380" y="301558"/>
                </a:cubicBezTo>
                <a:cubicBezTo>
                  <a:pt x="638526" y="297991"/>
                  <a:pt x="639396" y="292475"/>
                  <a:pt x="637046" y="288558"/>
                </a:cubicBezTo>
                <a:cubicBezTo>
                  <a:pt x="634944" y="285054"/>
                  <a:pt x="631268" y="282779"/>
                  <a:pt x="628379" y="279890"/>
                </a:cubicBezTo>
                <a:cubicBezTo>
                  <a:pt x="626934" y="275556"/>
                  <a:pt x="624045" y="271457"/>
                  <a:pt x="624045" y="266889"/>
                </a:cubicBezTo>
                <a:cubicBezTo>
                  <a:pt x="624045" y="265000"/>
                  <a:pt x="630669" y="239960"/>
                  <a:pt x="632713" y="236554"/>
                </a:cubicBezTo>
                <a:cubicBezTo>
                  <a:pt x="634815" y="233050"/>
                  <a:pt x="638491" y="230775"/>
                  <a:pt x="641380" y="227886"/>
                </a:cubicBezTo>
                <a:cubicBezTo>
                  <a:pt x="642825" y="223552"/>
                  <a:pt x="645714" y="219453"/>
                  <a:pt x="645714" y="214885"/>
                </a:cubicBezTo>
                <a:cubicBezTo>
                  <a:pt x="645714" y="195395"/>
                  <a:pt x="635008" y="185950"/>
                  <a:pt x="645714" y="167215"/>
                </a:cubicBezTo>
                <a:cubicBezTo>
                  <a:pt x="648298" y="162693"/>
                  <a:pt x="654381" y="161437"/>
                  <a:pt x="658715" y="158548"/>
                </a:cubicBezTo>
                <a:cubicBezTo>
                  <a:pt x="661604" y="154214"/>
                  <a:pt x="665053" y="150205"/>
                  <a:pt x="667382" y="145547"/>
                </a:cubicBezTo>
                <a:cubicBezTo>
                  <a:pt x="674430" y="131450"/>
                  <a:pt x="667965" y="131963"/>
                  <a:pt x="680383" y="119545"/>
                </a:cubicBezTo>
                <a:cubicBezTo>
                  <a:pt x="684066" y="115862"/>
                  <a:pt x="689050" y="113767"/>
                  <a:pt x="693384" y="110878"/>
                </a:cubicBezTo>
                <a:cubicBezTo>
                  <a:pt x="699780" y="101284"/>
                  <a:pt x="705041" y="91550"/>
                  <a:pt x="715052" y="84876"/>
                </a:cubicBezTo>
                <a:cubicBezTo>
                  <a:pt x="718853" y="82342"/>
                  <a:pt x="723719" y="81987"/>
                  <a:pt x="728053" y="80542"/>
                </a:cubicBezTo>
                <a:cubicBezTo>
                  <a:pt x="729498" y="76208"/>
                  <a:pt x="732387" y="72109"/>
                  <a:pt x="732387" y="67541"/>
                </a:cubicBezTo>
                <a:cubicBezTo>
                  <a:pt x="732387" y="57327"/>
                  <a:pt x="733014" y="46135"/>
                  <a:pt x="728053" y="37206"/>
                </a:cubicBezTo>
                <a:cubicBezTo>
                  <a:pt x="724915" y="31559"/>
                  <a:pt x="717090" y="29601"/>
                  <a:pt x="710718" y="28539"/>
                </a:cubicBezTo>
                <a:cubicBezTo>
                  <a:pt x="690719" y="25206"/>
                  <a:pt x="670271" y="25650"/>
                  <a:pt x="650047" y="24205"/>
                </a:cubicBezTo>
                <a:cubicBezTo>
                  <a:pt x="577430" y="0"/>
                  <a:pt x="633177" y="15269"/>
                  <a:pt x="476701" y="19871"/>
                </a:cubicBezTo>
                <a:cubicBezTo>
                  <a:pt x="462117" y="24733"/>
                  <a:pt x="461358" y="24305"/>
                  <a:pt x="446366" y="32872"/>
                </a:cubicBezTo>
                <a:cubicBezTo>
                  <a:pt x="422844" y="46314"/>
                  <a:pt x="444200" y="37929"/>
                  <a:pt x="420364" y="45873"/>
                </a:cubicBezTo>
                <a:cubicBezTo>
                  <a:pt x="416030" y="48762"/>
                  <a:pt x="411317" y="51150"/>
                  <a:pt x="407363" y="54540"/>
                </a:cubicBezTo>
                <a:cubicBezTo>
                  <a:pt x="383353" y="75119"/>
                  <a:pt x="399002" y="69267"/>
                  <a:pt x="372694" y="80542"/>
                </a:cubicBezTo>
                <a:cubicBezTo>
                  <a:pt x="368495" y="82342"/>
                  <a:pt x="364248" y="84526"/>
                  <a:pt x="359693" y="84876"/>
                </a:cubicBezTo>
                <a:cubicBezTo>
                  <a:pt x="326535" y="87427"/>
                  <a:pt x="293244" y="87765"/>
                  <a:pt x="260019" y="89210"/>
                </a:cubicBezTo>
                <a:cubicBezTo>
                  <a:pt x="196459" y="87765"/>
                  <a:pt x="132786" y="88926"/>
                  <a:pt x="69338" y="84876"/>
                </a:cubicBezTo>
                <a:cubicBezTo>
                  <a:pt x="57554" y="84124"/>
                  <a:pt x="56398" y="71905"/>
                  <a:pt x="47670" y="67541"/>
                </a:cubicBezTo>
                <a:cubicBezTo>
                  <a:pt x="39498" y="63455"/>
                  <a:pt x="21668" y="58874"/>
                  <a:pt x="21668" y="58874"/>
                </a:cubicBezTo>
                <a:lnTo>
                  <a:pt x="26002" y="58874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3" name="TextBox 100"/>
          <p:cNvSpPr txBox="1">
            <a:spLocks noChangeArrowheads="1"/>
          </p:cNvSpPr>
          <p:nvPr/>
        </p:nvSpPr>
        <p:spPr bwMode="auto">
          <a:xfrm>
            <a:off x="5651506" y="5158323"/>
            <a:ext cx="7207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latin typeface="Ramabhadra" pitchFamily="2" charset="0"/>
                <a:cs typeface="Ramabhadra" pitchFamily="2" charset="0"/>
              </a:rPr>
              <a:t>బల్గేరియా</a:t>
            </a:r>
          </a:p>
        </p:txBody>
      </p:sp>
      <p:sp>
        <p:nvSpPr>
          <p:cNvPr id="145" name="Freeform 144"/>
          <p:cNvSpPr/>
          <p:nvPr/>
        </p:nvSpPr>
        <p:spPr>
          <a:xfrm>
            <a:off x="5341944" y="5488521"/>
            <a:ext cx="885825" cy="886883"/>
          </a:xfrm>
          <a:custGeom>
            <a:avLst/>
            <a:gdLst>
              <a:gd name="connsiteX0" fmla="*/ 2167 w 886231"/>
              <a:gd name="connsiteY0" fmla="*/ 379482 h 886519"/>
              <a:gd name="connsiteX1" fmla="*/ 19501 w 886231"/>
              <a:gd name="connsiteY1" fmla="*/ 375148 h 886519"/>
              <a:gd name="connsiteX2" fmla="*/ 32502 w 886231"/>
              <a:gd name="connsiteY2" fmla="*/ 366481 h 886519"/>
              <a:gd name="connsiteX3" fmla="*/ 45503 w 886231"/>
              <a:gd name="connsiteY3" fmla="*/ 362148 h 886519"/>
              <a:gd name="connsiteX4" fmla="*/ 88840 w 886231"/>
              <a:gd name="connsiteY4" fmla="*/ 366481 h 886519"/>
              <a:gd name="connsiteX5" fmla="*/ 80172 w 886231"/>
              <a:gd name="connsiteY5" fmla="*/ 353480 h 886519"/>
              <a:gd name="connsiteX6" fmla="*/ 71505 w 886231"/>
              <a:gd name="connsiteY6" fmla="*/ 327478 h 886519"/>
              <a:gd name="connsiteX7" fmla="*/ 75839 w 886231"/>
              <a:gd name="connsiteY7" fmla="*/ 314477 h 886519"/>
              <a:gd name="connsiteX8" fmla="*/ 106174 w 886231"/>
              <a:gd name="connsiteY8" fmla="*/ 305810 h 886519"/>
              <a:gd name="connsiteX9" fmla="*/ 132176 w 886231"/>
              <a:gd name="connsiteY9" fmla="*/ 297143 h 886519"/>
              <a:gd name="connsiteX10" fmla="*/ 145177 w 886231"/>
              <a:gd name="connsiteY10" fmla="*/ 292809 h 886519"/>
              <a:gd name="connsiteX11" fmla="*/ 158178 w 886231"/>
              <a:gd name="connsiteY11" fmla="*/ 266807 h 886519"/>
              <a:gd name="connsiteX12" fmla="*/ 175513 w 886231"/>
              <a:gd name="connsiteY12" fmla="*/ 245139 h 886519"/>
              <a:gd name="connsiteX13" fmla="*/ 184180 w 886231"/>
              <a:gd name="connsiteY13" fmla="*/ 219137 h 886519"/>
              <a:gd name="connsiteX14" fmla="*/ 188513 w 886231"/>
              <a:gd name="connsiteY14" fmla="*/ 193135 h 886519"/>
              <a:gd name="connsiteX15" fmla="*/ 210182 w 886231"/>
              <a:gd name="connsiteY15" fmla="*/ 180134 h 886519"/>
              <a:gd name="connsiteX16" fmla="*/ 223183 w 886231"/>
              <a:gd name="connsiteY16" fmla="*/ 171467 h 886519"/>
              <a:gd name="connsiteX17" fmla="*/ 249185 w 886231"/>
              <a:gd name="connsiteY17" fmla="*/ 162800 h 886519"/>
              <a:gd name="connsiteX18" fmla="*/ 262186 w 886231"/>
              <a:gd name="connsiteY18" fmla="*/ 158466 h 886519"/>
              <a:gd name="connsiteX19" fmla="*/ 275186 w 886231"/>
              <a:gd name="connsiteY19" fmla="*/ 149799 h 886519"/>
              <a:gd name="connsiteX20" fmla="*/ 283854 w 886231"/>
              <a:gd name="connsiteY20" fmla="*/ 141131 h 886519"/>
              <a:gd name="connsiteX21" fmla="*/ 301188 w 886231"/>
              <a:gd name="connsiteY21" fmla="*/ 136798 h 886519"/>
              <a:gd name="connsiteX22" fmla="*/ 335858 w 886231"/>
              <a:gd name="connsiteY22" fmla="*/ 110796 h 886519"/>
              <a:gd name="connsiteX23" fmla="*/ 366193 w 886231"/>
              <a:gd name="connsiteY23" fmla="*/ 115130 h 886519"/>
              <a:gd name="connsiteX24" fmla="*/ 379194 w 886231"/>
              <a:gd name="connsiteY24" fmla="*/ 119463 h 886519"/>
              <a:gd name="connsiteX25" fmla="*/ 413863 w 886231"/>
              <a:gd name="connsiteY25" fmla="*/ 115130 h 886519"/>
              <a:gd name="connsiteX26" fmla="*/ 422531 w 886231"/>
              <a:gd name="connsiteY26" fmla="*/ 106462 h 886519"/>
              <a:gd name="connsiteX27" fmla="*/ 426864 w 886231"/>
              <a:gd name="connsiteY27" fmla="*/ 93461 h 886519"/>
              <a:gd name="connsiteX28" fmla="*/ 439865 w 886231"/>
              <a:gd name="connsiteY28" fmla="*/ 89128 h 886519"/>
              <a:gd name="connsiteX29" fmla="*/ 569875 w 886231"/>
              <a:gd name="connsiteY29" fmla="*/ 84794 h 886519"/>
              <a:gd name="connsiteX30" fmla="*/ 578542 w 886231"/>
              <a:gd name="connsiteY30" fmla="*/ 71793 h 886519"/>
              <a:gd name="connsiteX31" fmla="*/ 617545 w 886231"/>
              <a:gd name="connsiteY31" fmla="*/ 67459 h 886519"/>
              <a:gd name="connsiteX32" fmla="*/ 643547 w 886231"/>
              <a:gd name="connsiteY32" fmla="*/ 63126 h 886519"/>
              <a:gd name="connsiteX33" fmla="*/ 721552 w 886231"/>
              <a:gd name="connsiteY33" fmla="*/ 50125 h 886519"/>
              <a:gd name="connsiteX34" fmla="*/ 751888 w 886231"/>
              <a:gd name="connsiteY34" fmla="*/ 41457 h 886519"/>
              <a:gd name="connsiteX35" fmla="*/ 764889 w 886231"/>
              <a:gd name="connsiteY35" fmla="*/ 37124 h 886519"/>
              <a:gd name="connsiteX36" fmla="*/ 799558 w 886231"/>
              <a:gd name="connsiteY36" fmla="*/ 28457 h 886519"/>
              <a:gd name="connsiteX37" fmla="*/ 825560 w 886231"/>
              <a:gd name="connsiteY37" fmla="*/ 19789 h 886519"/>
              <a:gd name="connsiteX38" fmla="*/ 838561 w 886231"/>
              <a:gd name="connsiteY38" fmla="*/ 15456 h 886519"/>
              <a:gd name="connsiteX39" fmla="*/ 877564 w 886231"/>
              <a:gd name="connsiteY39" fmla="*/ 11122 h 886519"/>
              <a:gd name="connsiteX40" fmla="*/ 886231 w 886231"/>
              <a:gd name="connsiteY40" fmla="*/ 24123 h 886519"/>
              <a:gd name="connsiteX41" fmla="*/ 877564 w 886231"/>
              <a:gd name="connsiteY41" fmla="*/ 67459 h 886519"/>
              <a:gd name="connsiteX42" fmla="*/ 851562 w 886231"/>
              <a:gd name="connsiteY42" fmla="*/ 102129 h 886519"/>
              <a:gd name="connsiteX43" fmla="*/ 847228 w 886231"/>
              <a:gd name="connsiteY43" fmla="*/ 115130 h 886519"/>
              <a:gd name="connsiteX44" fmla="*/ 838561 w 886231"/>
              <a:gd name="connsiteY44" fmla="*/ 128130 h 886519"/>
              <a:gd name="connsiteX45" fmla="*/ 821226 w 886231"/>
              <a:gd name="connsiteY45" fmla="*/ 162800 h 886519"/>
              <a:gd name="connsiteX46" fmla="*/ 769222 w 886231"/>
              <a:gd name="connsiteY46" fmla="*/ 158466 h 886519"/>
              <a:gd name="connsiteX47" fmla="*/ 712885 w 886231"/>
              <a:gd name="connsiteY47" fmla="*/ 149799 h 886519"/>
              <a:gd name="connsiteX48" fmla="*/ 691217 w 886231"/>
              <a:gd name="connsiteY48" fmla="*/ 136798 h 886519"/>
              <a:gd name="connsiteX49" fmla="*/ 665215 w 886231"/>
              <a:gd name="connsiteY49" fmla="*/ 145465 h 886519"/>
              <a:gd name="connsiteX50" fmla="*/ 652214 w 886231"/>
              <a:gd name="connsiteY50" fmla="*/ 149799 h 886519"/>
              <a:gd name="connsiteX51" fmla="*/ 621878 w 886231"/>
              <a:gd name="connsiteY51" fmla="*/ 154132 h 886519"/>
              <a:gd name="connsiteX52" fmla="*/ 595877 w 886231"/>
              <a:gd name="connsiteY52" fmla="*/ 162800 h 886519"/>
              <a:gd name="connsiteX53" fmla="*/ 587209 w 886231"/>
              <a:gd name="connsiteY53" fmla="*/ 171467 h 886519"/>
              <a:gd name="connsiteX54" fmla="*/ 543873 w 886231"/>
              <a:gd name="connsiteY54" fmla="*/ 175801 h 886519"/>
              <a:gd name="connsiteX55" fmla="*/ 530872 w 886231"/>
              <a:gd name="connsiteY55" fmla="*/ 180134 h 886519"/>
              <a:gd name="connsiteX56" fmla="*/ 530872 w 886231"/>
              <a:gd name="connsiteY56" fmla="*/ 206136 h 886519"/>
              <a:gd name="connsiteX57" fmla="*/ 543873 w 886231"/>
              <a:gd name="connsiteY57" fmla="*/ 214803 h 886519"/>
              <a:gd name="connsiteX58" fmla="*/ 548206 w 886231"/>
              <a:gd name="connsiteY58" fmla="*/ 227804 h 886519"/>
              <a:gd name="connsiteX59" fmla="*/ 561207 w 886231"/>
              <a:gd name="connsiteY59" fmla="*/ 232138 h 886519"/>
              <a:gd name="connsiteX60" fmla="*/ 569875 w 886231"/>
              <a:gd name="connsiteY60" fmla="*/ 240805 h 886519"/>
              <a:gd name="connsiteX61" fmla="*/ 582876 w 886231"/>
              <a:gd name="connsiteY61" fmla="*/ 249473 h 886519"/>
              <a:gd name="connsiteX62" fmla="*/ 574208 w 886231"/>
              <a:gd name="connsiteY62" fmla="*/ 266807 h 886519"/>
              <a:gd name="connsiteX63" fmla="*/ 569875 w 886231"/>
              <a:gd name="connsiteY63" fmla="*/ 292809 h 886519"/>
              <a:gd name="connsiteX64" fmla="*/ 565541 w 886231"/>
              <a:gd name="connsiteY64" fmla="*/ 305810 h 886519"/>
              <a:gd name="connsiteX65" fmla="*/ 474534 w 886231"/>
              <a:gd name="connsiteY65" fmla="*/ 297143 h 886519"/>
              <a:gd name="connsiteX66" fmla="*/ 461533 w 886231"/>
              <a:gd name="connsiteY66" fmla="*/ 288476 h 886519"/>
              <a:gd name="connsiteX67" fmla="*/ 448532 w 886231"/>
              <a:gd name="connsiteY67" fmla="*/ 266807 h 886519"/>
              <a:gd name="connsiteX68" fmla="*/ 439865 w 886231"/>
              <a:gd name="connsiteY68" fmla="*/ 253806 h 886519"/>
              <a:gd name="connsiteX69" fmla="*/ 413863 w 886231"/>
              <a:gd name="connsiteY69" fmla="*/ 245139 h 886519"/>
              <a:gd name="connsiteX70" fmla="*/ 400862 w 886231"/>
              <a:gd name="connsiteY70" fmla="*/ 240805 h 886519"/>
              <a:gd name="connsiteX71" fmla="*/ 400862 w 886231"/>
              <a:gd name="connsiteY71" fmla="*/ 314477 h 886519"/>
              <a:gd name="connsiteX72" fmla="*/ 405196 w 886231"/>
              <a:gd name="connsiteY72" fmla="*/ 331812 h 886519"/>
              <a:gd name="connsiteX73" fmla="*/ 418197 w 886231"/>
              <a:gd name="connsiteY73" fmla="*/ 344813 h 886519"/>
              <a:gd name="connsiteX74" fmla="*/ 435532 w 886231"/>
              <a:gd name="connsiteY74" fmla="*/ 362148 h 886519"/>
              <a:gd name="connsiteX75" fmla="*/ 457200 w 886231"/>
              <a:gd name="connsiteY75" fmla="*/ 383816 h 886519"/>
              <a:gd name="connsiteX76" fmla="*/ 470201 w 886231"/>
              <a:gd name="connsiteY76" fmla="*/ 392483 h 886519"/>
              <a:gd name="connsiteX77" fmla="*/ 478868 w 886231"/>
              <a:gd name="connsiteY77" fmla="*/ 405484 h 886519"/>
              <a:gd name="connsiteX78" fmla="*/ 487535 w 886231"/>
              <a:gd name="connsiteY78" fmla="*/ 431486 h 886519"/>
              <a:gd name="connsiteX79" fmla="*/ 474534 w 886231"/>
              <a:gd name="connsiteY79" fmla="*/ 435820 h 886519"/>
              <a:gd name="connsiteX80" fmla="*/ 418197 w 886231"/>
              <a:gd name="connsiteY80" fmla="*/ 444487 h 886519"/>
              <a:gd name="connsiteX81" fmla="*/ 409530 w 886231"/>
              <a:gd name="connsiteY81" fmla="*/ 470489 h 886519"/>
              <a:gd name="connsiteX82" fmla="*/ 405196 w 886231"/>
              <a:gd name="connsiteY82" fmla="*/ 483490 h 886519"/>
              <a:gd name="connsiteX83" fmla="*/ 418197 w 886231"/>
              <a:gd name="connsiteY83" fmla="*/ 496491 h 886519"/>
              <a:gd name="connsiteX84" fmla="*/ 448532 w 886231"/>
              <a:gd name="connsiteY84" fmla="*/ 505158 h 886519"/>
              <a:gd name="connsiteX85" fmla="*/ 457200 w 886231"/>
              <a:gd name="connsiteY85" fmla="*/ 496491 h 886519"/>
              <a:gd name="connsiteX86" fmla="*/ 470201 w 886231"/>
              <a:gd name="connsiteY86" fmla="*/ 470489 h 886519"/>
              <a:gd name="connsiteX87" fmla="*/ 509204 w 886231"/>
              <a:gd name="connsiteY87" fmla="*/ 474822 h 886519"/>
              <a:gd name="connsiteX88" fmla="*/ 526538 w 886231"/>
              <a:gd name="connsiteY88" fmla="*/ 496491 h 886519"/>
              <a:gd name="connsiteX89" fmla="*/ 587209 w 886231"/>
              <a:gd name="connsiteY89" fmla="*/ 513825 h 886519"/>
              <a:gd name="connsiteX90" fmla="*/ 600210 w 886231"/>
              <a:gd name="connsiteY90" fmla="*/ 518159 h 886519"/>
              <a:gd name="connsiteX91" fmla="*/ 608877 w 886231"/>
              <a:gd name="connsiteY91" fmla="*/ 544161 h 886519"/>
              <a:gd name="connsiteX92" fmla="*/ 613211 w 886231"/>
              <a:gd name="connsiteY92" fmla="*/ 557162 h 886519"/>
              <a:gd name="connsiteX93" fmla="*/ 617545 w 886231"/>
              <a:gd name="connsiteY93" fmla="*/ 574496 h 886519"/>
              <a:gd name="connsiteX94" fmla="*/ 626212 w 886231"/>
              <a:gd name="connsiteY94" fmla="*/ 587497 h 886519"/>
              <a:gd name="connsiteX95" fmla="*/ 630546 w 886231"/>
              <a:gd name="connsiteY95" fmla="*/ 600498 h 886519"/>
              <a:gd name="connsiteX96" fmla="*/ 621878 w 886231"/>
              <a:gd name="connsiteY96" fmla="*/ 609166 h 886519"/>
              <a:gd name="connsiteX97" fmla="*/ 608877 w 886231"/>
              <a:gd name="connsiteY97" fmla="*/ 613499 h 886519"/>
              <a:gd name="connsiteX98" fmla="*/ 595877 w 886231"/>
              <a:gd name="connsiteY98" fmla="*/ 622166 h 886519"/>
              <a:gd name="connsiteX99" fmla="*/ 595877 w 886231"/>
              <a:gd name="connsiteY99" fmla="*/ 678504 h 886519"/>
              <a:gd name="connsiteX100" fmla="*/ 587209 w 886231"/>
              <a:gd name="connsiteY100" fmla="*/ 687171 h 886519"/>
              <a:gd name="connsiteX101" fmla="*/ 565541 w 886231"/>
              <a:gd name="connsiteY101" fmla="*/ 682838 h 886519"/>
              <a:gd name="connsiteX102" fmla="*/ 561207 w 886231"/>
              <a:gd name="connsiteY102" fmla="*/ 669837 h 886519"/>
              <a:gd name="connsiteX103" fmla="*/ 539539 w 886231"/>
              <a:gd name="connsiteY103" fmla="*/ 652502 h 886519"/>
              <a:gd name="connsiteX104" fmla="*/ 535205 w 886231"/>
              <a:gd name="connsiteY104" fmla="*/ 639501 h 886519"/>
              <a:gd name="connsiteX105" fmla="*/ 491869 w 886231"/>
              <a:gd name="connsiteY105" fmla="*/ 648168 h 886519"/>
              <a:gd name="connsiteX106" fmla="*/ 487535 w 886231"/>
              <a:gd name="connsiteY106" fmla="*/ 661169 h 886519"/>
              <a:gd name="connsiteX107" fmla="*/ 474534 w 886231"/>
              <a:gd name="connsiteY107" fmla="*/ 682838 h 886519"/>
              <a:gd name="connsiteX108" fmla="*/ 478868 w 886231"/>
              <a:gd name="connsiteY108" fmla="*/ 695839 h 886519"/>
              <a:gd name="connsiteX109" fmla="*/ 491869 w 886231"/>
              <a:gd name="connsiteY109" fmla="*/ 704506 h 886519"/>
              <a:gd name="connsiteX110" fmla="*/ 500536 w 886231"/>
              <a:gd name="connsiteY110" fmla="*/ 717507 h 886519"/>
              <a:gd name="connsiteX111" fmla="*/ 496203 w 886231"/>
              <a:gd name="connsiteY111" fmla="*/ 734841 h 886519"/>
              <a:gd name="connsiteX112" fmla="*/ 487535 w 886231"/>
              <a:gd name="connsiteY112" fmla="*/ 743509 h 886519"/>
              <a:gd name="connsiteX113" fmla="*/ 444199 w 886231"/>
              <a:gd name="connsiteY113" fmla="*/ 752176 h 886519"/>
              <a:gd name="connsiteX114" fmla="*/ 448532 w 886231"/>
              <a:gd name="connsiteY114" fmla="*/ 782512 h 886519"/>
              <a:gd name="connsiteX115" fmla="*/ 457200 w 886231"/>
              <a:gd name="connsiteY115" fmla="*/ 791179 h 886519"/>
              <a:gd name="connsiteX116" fmla="*/ 465867 w 886231"/>
              <a:gd name="connsiteY116" fmla="*/ 817181 h 886519"/>
              <a:gd name="connsiteX117" fmla="*/ 470201 w 886231"/>
              <a:gd name="connsiteY117" fmla="*/ 847516 h 886519"/>
              <a:gd name="connsiteX118" fmla="*/ 474534 w 886231"/>
              <a:gd name="connsiteY118" fmla="*/ 873518 h 886519"/>
              <a:gd name="connsiteX119" fmla="*/ 465867 w 886231"/>
              <a:gd name="connsiteY119" fmla="*/ 886519 h 886519"/>
              <a:gd name="connsiteX120" fmla="*/ 435532 w 886231"/>
              <a:gd name="connsiteY120" fmla="*/ 882185 h 886519"/>
              <a:gd name="connsiteX121" fmla="*/ 418197 w 886231"/>
              <a:gd name="connsiteY121" fmla="*/ 877852 h 886519"/>
              <a:gd name="connsiteX122" fmla="*/ 370527 w 886231"/>
              <a:gd name="connsiteY122" fmla="*/ 873518 h 886519"/>
              <a:gd name="connsiteX123" fmla="*/ 366193 w 886231"/>
              <a:gd name="connsiteY123" fmla="*/ 860517 h 886519"/>
              <a:gd name="connsiteX124" fmla="*/ 361859 w 886231"/>
              <a:gd name="connsiteY124" fmla="*/ 843183 h 886519"/>
              <a:gd name="connsiteX125" fmla="*/ 353192 w 886231"/>
              <a:gd name="connsiteY125" fmla="*/ 834515 h 886519"/>
              <a:gd name="connsiteX126" fmla="*/ 327190 w 886231"/>
              <a:gd name="connsiteY126" fmla="*/ 821514 h 886519"/>
              <a:gd name="connsiteX127" fmla="*/ 305522 w 886231"/>
              <a:gd name="connsiteY127" fmla="*/ 843183 h 886519"/>
              <a:gd name="connsiteX128" fmla="*/ 279520 w 886231"/>
              <a:gd name="connsiteY128" fmla="*/ 851850 h 886519"/>
              <a:gd name="connsiteX129" fmla="*/ 279520 w 886231"/>
              <a:gd name="connsiteY129" fmla="*/ 799846 h 886519"/>
              <a:gd name="connsiteX130" fmla="*/ 292521 w 886231"/>
              <a:gd name="connsiteY130" fmla="*/ 791179 h 886519"/>
              <a:gd name="connsiteX131" fmla="*/ 279520 w 886231"/>
              <a:gd name="connsiteY131" fmla="*/ 752176 h 886519"/>
              <a:gd name="connsiteX132" fmla="*/ 275186 w 886231"/>
              <a:gd name="connsiteY132" fmla="*/ 739175 h 886519"/>
              <a:gd name="connsiteX133" fmla="*/ 262186 w 886231"/>
              <a:gd name="connsiteY133" fmla="*/ 730508 h 886519"/>
              <a:gd name="connsiteX134" fmla="*/ 244851 w 886231"/>
              <a:gd name="connsiteY134" fmla="*/ 713173 h 886519"/>
              <a:gd name="connsiteX135" fmla="*/ 218849 w 886231"/>
              <a:gd name="connsiteY135" fmla="*/ 695839 h 886519"/>
              <a:gd name="connsiteX136" fmla="*/ 214515 w 886231"/>
              <a:gd name="connsiteY136" fmla="*/ 682838 h 886519"/>
              <a:gd name="connsiteX137" fmla="*/ 205848 w 886231"/>
              <a:gd name="connsiteY137" fmla="*/ 674170 h 886519"/>
              <a:gd name="connsiteX138" fmla="*/ 210182 w 886231"/>
              <a:gd name="connsiteY138" fmla="*/ 643835 h 886519"/>
              <a:gd name="connsiteX139" fmla="*/ 275186 w 886231"/>
              <a:gd name="connsiteY139" fmla="*/ 630834 h 886519"/>
              <a:gd name="connsiteX140" fmla="*/ 283854 w 886231"/>
              <a:gd name="connsiteY140" fmla="*/ 622166 h 886519"/>
              <a:gd name="connsiteX141" fmla="*/ 296855 w 886231"/>
              <a:gd name="connsiteY141" fmla="*/ 613499 h 886519"/>
              <a:gd name="connsiteX142" fmla="*/ 309856 w 886231"/>
              <a:gd name="connsiteY142" fmla="*/ 609166 h 886519"/>
              <a:gd name="connsiteX143" fmla="*/ 396529 w 886231"/>
              <a:gd name="connsiteY143" fmla="*/ 604832 h 886519"/>
              <a:gd name="connsiteX144" fmla="*/ 392195 w 886231"/>
              <a:gd name="connsiteY144" fmla="*/ 578830 h 886519"/>
              <a:gd name="connsiteX145" fmla="*/ 379194 w 886231"/>
              <a:gd name="connsiteY145" fmla="*/ 574496 h 886519"/>
              <a:gd name="connsiteX146" fmla="*/ 344525 w 886231"/>
              <a:gd name="connsiteY146" fmla="*/ 570163 h 886519"/>
              <a:gd name="connsiteX147" fmla="*/ 201514 w 886231"/>
              <a:gd name="connsiteY147" fmla="*/ 565829 h 886519"/>
              <a:gd name="connsiteX148" fmla="*/ 188513 w 886231"/>
              <a:gd name="connsiteY148" fmla="*/ 557162 h 886519"/>
              <a:gd name="connsiteX149" fmla="*/ 166845 w 886231"/>
              <a:gd name="connsiteY149" fmla="*/ 539827 h 886519"/>
              <a:gd name="connsiteX150" fmla="*/ 158178 w 886231"/>
              <a:gd name="connsiteY150" fmla="*/ 513825 h 886519"/>
              <a:gd name="connsiteX151" fmla="*/ 153844 w 886231"/>
              <a:gd name="connsiteY151" fmla="*/ 500824 h 886519"/>
              <a:gd name="connsiteX152" fmla="*/ 149511 w 886231"/>
              <a:gd name="connsiteY152" fmla="*/ 483490 h 886519"/>
              <a:gd name="connsiteX153" fmla="*/ 145177 w 886231"/>
              <a:gd name="connsiteY153" fmla="*/ 470489 h 886519"/>
              <a:gd name="connsiteX154" fmla="*/ 127842 w 886231"/>
              <a:gd name="connsiteY154" fmla="*/ 466155 h 886519"/>
              <a:gd name="connsiteX155" fmla="*/ 101841 w 886231"/>
              <a:gd name="connsiteY155" fmla="*/ 457488 h 886519"/>
              <a:gd name="connsiteX156" fmla="*/ 88840 w 886231"/>
              <a:gd name="connsiteY156" fmla="*/ 453154 h 886519"/>
              <a:gd name="connsiteX157" fmla="*/ 80172 w 886231"/>
              <a:gd name="connsiteY157" fmla="*/ 444487 h 886519"/>
              <a:gd name="connsiteX158" fmla="*/ 75839 w 886231"/>
              <a:gd name="connsiteY158" fmla="*/ 431486 h 886519"/>
              <a:gd name="connsiteX159" fmla="*/ 45503 w 886231"/>
              <a:gd name="connsiteY159" fmla="*/ 427152 h 886519"/>
              <a:gd name="connsiteX160" fmla="*/ 32502 w 886231"/>
              <a:gd name="connsiteY160" fmla="*/ 418485 h 886519"/>
              <a:gd name="connsiteX161" fmla="*/ 28168 w 886231"/>
              <a:gd name="connsiteY161" fmla="*/ 405484 h 886519"/>
              <a:gd name="connsiteX162" fmla="*/ 19501 w 886231"/>
              <a:gd name="connsiteY162" fmla="*/ 392483 h 886519"/>
              <a:gd name="connsiteX163" fmla="*/ 6500 w 886231"/>
              <a:gd name="connsiteY163" fmla="*/ 370815 h 886519"/>
              <a:gd name="connsiteX164" fmla="*/ 2167 w 886231"/>
              <a:gd name="connsiteY164" fmla="*/ 379482 h 886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</a:cxnLst>
            <a:rect l="l" t="t" r="r" b="b"/>
            <a:pathLst>
              <a:path w="886231" h="886519">
                <a:moveTo>
                  <a:pt x="2167" y="379482"/>
                </a:moveTo>
                <a:cubicBezTo>
                  <a:pt x="4334" y="380204"/>
                  <a:pt x="14027" y="377494"/>
                  <a:pt x="19501" y="375148"/>
                </a:cubicBezTo>
                <a:cubicBezTo>
                  <a:pt x="24288" y="373096"/>
                  <a:pt x="27843" y="368810"/>
                  <a:pt x="32502" y="366481"/>
                </a:cubicBezTo>
                <a:cubicBezTo>
                  <a:pt x="36588" y="364438"/>
                  <a:pt x="41169" y="363592"/>
                  <a:pt x="45503" y="362148"/>
                </a:cubicBezTo>
                <a:cubicBezTo>
                  <a:pt x="77156" y="372698"/>
                  <a:pt x="62642" y="373031"/>
                  <a:pt x="88840" y="366481"/>
                </a:cubicBezTo>
                <a:cubicBezTo>
                  <a:pt x="85951" y="362147"/>
                  <a:pt x="82287" y="358240"/>
                  <a:pt x="80172" y="353480"/>
                </a:cubicBezTo>
                <a:cubicBezTo>
                  <a:pt x="76461" y="345131"/>
                  <a:pt x="71505" y="327478"/>
                  <a:pt x="71505" y="327478"/>
                </a:cubicBezTo>
                <a:cubicBezTo>
                  <a:pt x="72950" y="323144"/>
                  <a:pt x="72609" y="317707"/>
                  <a:pt x="75839" y="314477"/>
                </a:cubicBezTo>
                <a:cubicBezTo>
                  <a:pt x="77918" y="312398"/>
                  <a:pt x="106016" y="305857"/>
                  <a:pt x="106174" y="305810"/>
                </a:cubicBezTo>
                <a:cubicBezTo>
                  <a:pt x="114925" y="303185"/>
                  <a:pt x="123509" y="300032"/>
                  <a:pt x="132176" y="297143"/>
                </a:cubicBezTo>
                <a:lnTo>
                  <a:pt x="145177" y="292809"/>
                </a:lnTo>
                <a:cubicBezTo>
                  <a:pt x="170015" y="255550"/>
                  <a:pt x="140236" y="302691"/>
                  <a:pt x="158178" y="266807"/>
                </a:cubicBezTo>
                <a:cubicBezTo>
                  <a:pt x="163646" y="255871"/>
                  <a:pt x="167449" y="253202"/>
                  <a:pt x="175513" y="245139"/>
                </a:cubicBezTo>
                <a:cubicBezTo>
                  <a:pt x="178402" y="236472"/>
                  <a:pt x="182678" y="228149"/>
                  <a:pt x="184180" y="219137"/>
                </a:cubicBezTo>
                <a:cubicBezTo>
                  <a:pt x="185624" y="210470"/>
                  <a:pt x="185428" y="201362"/>
                  <a:pt x="188513" y="193135"/>
                </a:cubicBezTo>
                <a:cubicBezTo>
                  <a:pt x="192419" y="182719"/>
                  <a:pt x="202240" y="184105"/>
                  <a:pt x="210182" y="180134"/>
                </a:cubicBezTo>
                <a:cubicBezTo>
                  <a:pt x="214840" y="177805"/>
                  <a:pt x="218424" y="173582"/>
                  <a:pt x="223183" y="171467"/>
                </a:cubicBezTo>
                <a:cubicBezTo>
                  <a:pt x="231532" y="167757"/>
                  <a:pt x="240518" y="165689"/>
                  <a:pt x="249185" y="162800"/>
                </a:cubicBezTo>
                <a:cubicBezTo>
                  <a:pt x="253519" y="161355"/>
                  <a:pt x="258385" y="161000"/>
                  <a:pt x="262186" y="158466"/>
                </a:cubicBezTo>
                <a:cubicBezTo>
                  <a:pt x="266519" y="155577"/>
                  <a:pt x="271119" y="153053"/>
                  <a:pt x="275186" y="149799"/>
                </a:cubicBezTo>
                <a:cubicBezTo>
                  <a:pt x="278377" y="147246"/>
                  <a:pt x="280199" y="142958"/>
                  <a:pt x="283854" y="141131"/>
                </a:cubicBezTo>
                <a:cubicBezTo>
                  <a:pt x="289181" y="138467"/>
                  <a:pt x="295410" y="138242"/>
                  <a:pt x="301188" y="136798"/>
                </a:cubicBezTo>
                <a:cubicBezTo>
                  <a:pt x="326087" y="111900"/>
                  <a:pt x="313167" y="118360"/>
                  <a:pt x="335858" y="110796"/>
                </a:cubicBezTo>
                <a:cubicBezTo>
                  <a:pt x="345970" y="112241"/>
                  <a:pt x="356177" y="113127"/>
                  <a:pt x="366193" y="115130"/>
                </a:cubicBezTo>
                <a:cubicBezTo>
                  <a:pt x="370672" y="116026"/>
                  <a:pt x="374626" y="119463"/>
                  <a:pt x="379194" y="119463"/>
                </a:cubicBezTo>
                <a:cubicBezTo>
                  <a:pt x="390840" y="119463"/>
                  <a:pt x="402307" y="116574"/>
                  <a:pt x="413863" y="115130"/>
                </a:cubicBezTo>
                <a:cubicBezTo>
                  <a:pt x="416752" y="112241"/>
                  <a:pt x="420429" y="109966"/>
                  <a:pt x="422531" y="106462"/>
                </a:cubicBezTo>
                <a:cubicBezTo>
                  <a:pt x="424881" y="102545"/>
                  <a:pt x="423634" y="96691"/>
                  <a:pt x="426864" y="93461"/>
                </a:cubicBezTo>
                <a:cubicBezTo>
                  <a:pt x="430094" y="90231"/>
                  <a:pt x="435305" y="89404"/>
                  <a:pt x="439865" y="89128"/>
                </a:cubicBezTo>
                <a:cubicBezTo>
                  <a:pt x="483146" y="86505"/>
                  <a:pt x="526538" y="86239"/>
                  <a:pt x="569875" y="84794"/>
                </a:cubicBezTo>
                <a:cubicBezTo>
                  <a:pt x="572764" y="80460"/>
                  <a:pt x="573647" y="73573"/>
                  <a:pt x="578542" y="71793"/>
                </a:cubicBezTo>
                <a:cubicBezTo>
                  <a:pt x="590835" y="67323"/>
                  <a:pt x="604579" y="69188"/>
                  <a:pt x="617545" y="67459"/>
                </a:cubicBezTo>
                <a:cubicBezTo>
                  <a:pt x="626255" y="66298"/>
                  <a:pt x="634880" y="64570"/>
                  <a:pt x="643547" y="63126"/>
                </a:cubicBezTo>
                <a:cubicBezTo>
                  <a:pt x="686051" y="48957"/>
                  <a:pt x="660444" y="55217"/>
                  <a:pt x="721552" y="50125"/>
                </a:cubicBezTo>
                <a:cubicBezTo>
                  <a:pt x="752704" y="39740"/>
                  <a:pt x="713823" y="52332"/>
                  <a:pt x="751888" y="41457"/>
                </a:cubicBezTo>
                <a:cubicBezTo>
                  <a:pt x="756280" y="40202"/>
                  <a:pt x="760482" y="38326"/>
                  <a:pt x="764889" y="37124"/>
                </a:cubicBezTo>
                <a:cubicBezTo>
                  <a:pt x="776381" y="33990"/>
                  <a:pt x="788257" y="32224"/>
                  <a:pt x="799558" y="28457"/>
                </a:cubicBezTo>
                <a:lnTo>
                  <a:pt x="825560" y="19789"/>
                </a:lnTo>
                <a:lnTo>
                  <a:pt x="838561" y="15456"/>
                </a:lnTo>
                <a:cubicBezTo>
                  <a:pt x="853599" y="5430"/>
                  <a:pt x="855321" y="0"/>
                  <a:pt x="877564" y="11122"/>
                </a:cubicBezTo>
                <a:cubicBezTo>
                  <a:pt x="882222" y="13451"/>
                  <a:pt x="883342" y="19789"/>
                  <a:pt x="886231" y="24123"/>
                </a:cubicBezTo>
                <a:cubicBezTo>
                  <a:pt x="885688" y="27382"/>
                  <a:pt x="880795" y="60997"/>
                  <a:pt x="877564" y="67459"/>
                </a:cubicBezTo>
                <a:cubicBezTo>
                  <a:pt x="867765" y="87057"/>
                  <a:pt x="863750" y="89940"/>
                  <a:pt x="851562" y="102129"/>
                </a:cubicBezTo>
                <a:cubicBezTo>
                  <a:pt x="850117" y="106463"/>
                  <a:pt x="849271" y="111044"/>
                  <a:pt x="847228" y="115130"/>
                </a:cubicBezTo>
                <a:cubicBezTo>
                  <a:pt x="844899" y="119788"/>
                  <a:pt x="840676" y="123371"/>
                  <a:pt x="838561" y="128130"/>
                </a:cubicBezTo>
                <a:cubicBezTo>
                  <a:pt x="822626" y="163984"/>
                  <a:pt x="839027" y="144999"/>
                  <a:pt x="821226" y="162800"/>
                </a:cubicBezTo>
                <a:lnTo>
                  <a:pt x="769222" y="158466"/>
                </a:lnTo>
                <a:cubicBezTo>
                  <a:pt x="723137" y="154276"/>
                  <a:pt x="739093" y="158534"/>
                  <a:pt x="712885" y="149799"/>
                </a:cubicBezTo>
                <a:cubicBezTo>
                  <a:pt x="707025" y="143939"/>
                  <a:pt x="701345" y="135673"/>
                  <a:pt x="691217" y="136798"/>
                </a:cubicBezTo>
                <a:cubicBezTo>
                  <a:pt x="682137" y="137807"/>
                  <a:pt x="673882" y="142576"/>
                  <a:pt x="665215" y="145465"/>
                </a:cubicBezTo>
                <a:cubicBezTo>
                  <a:pt x="660881" y="146910"/>
                  <a:pt x="656736" y="149153"/>
                  <a:pt x="652214" y="149799"/>
                </a:cubicBezTo>
                <a:lnTo>
                  <a:pt x="621878" y="154132"/>
                </a:lnTo>
                <a:cubicBezTo>
                  <a:pt x="613211" y="157021"/>
                  <a:pt x="602337" y="156340"/>
                  <a:pt x="595877" y="162800"/>
                </a:cubicBezTo>
                <a:cubicBezTo>
                  <a:pt x="592988" y="165689"/>
                  <a:pt x="591173" y="170476"/>
                  <a:pt x="587209" y="171467"/>
                </a:cubicBezTo>
                <a:cubicBezTo>
                  <a:pt x="573125" y="174988"/>
                  <a:pt x="558318" y="174356"/>
                  <a:pt x="543873" y="175801"/>
                </a:cubicBezTo>
                <a:cubicBezTo>
                  <a:pt x="539539" y="177245"/>
                  <a:pt x="534102" y="176904"/>
                  <a:pt x="530872" y="180134"/>
                </a:cubicBezTo>
                <a:cubicBezTo>
                  <a:pt x="524451" y="186554"/>
                  <a:pt x="525735" y="199716"/>
                  <a:pt x="530872" y="206136"/>
                </a:cubicBezTo>
                <a:cubicBezTo>
                  <a:pt x="534126" y="210203"/>
                  <a:pt x="539539" y="211914"/>
                  <a:pt x="543873" y="214803"/>
                </a:cubicBezTo>
                <a:cubicBezTo>
                  <a:pt x="545317" y="219137"/>
                  <a:pt x="544976" y="224574"/>
                  <a:pt x="548206" y="227804"/>
                </a:cubicBezTo>
                <a:cubicBezTo>
                  <a:pt x="551436" y="231034"/>
                  <a:pt x="557290" y="229788"/>
                  <a:pt x="561207" y="232138"/>
                </a:cubicBezTo>
                <a:cubicBezTo>
                  <a:pt x="564711" y="234240"/>
                  <a:pt x="566684" y="238253"/>
                  <a:pt x="569875" y="240805"/>
                </a:cubicBezTo>
                <a:cubicBezTo>
                  <a:pt x="573942" y="244059"/>
                  <a:pt x="578542" y="246584"/>
                  <a:pt x="582876" y="249473"/>
                </a:cubicBezTo>
                <a:cubicBezTo>
                  <a:pt x="593823" y="282319"/>
                  <a:pt x="586373" y="245518"/>
                  <a:pt x="574208" y="266807"/>
                </a:cubicBezTo>
                <a:cubicBezTo>
                  <a:pt x="569849" y="274436"/>
                  <a:pt x="571781" y="284231"/>
                  <a:pt x="569875" y="292809"/>
                </a:cubicBezTo>
                <a:cubicBezTo>
                  <a:pt x="568884" y="297268"/>
                  <a:pt x="566986" y="301476"/>
                  <a:pt x="565541" y="305810"/>
                </a:cubicBezTo>
                <a:cubicBezTo>
                  <a:pt x="563601" y="305702"/>
                  <a:pt x="498098" y="308924"/>
                  <a:pt x="474534" y="297143"/>
                </a:cubicBezTo>
                <a:cubicBezTo>
                  <a:pt x="469875" y="294814"/>
                  <a:pt x="465867" y="291365"/>
                  <a:pt x="461533" y="288476"/>
                </a:cubicBezTo>
                <a:cubicBezTo>
                  <a:pt x="454008" y="265898"/>
                  <a:pt x="462129" y="283804"/>
                  <a:pt x="448532" y="266807"/>
                </a:cubicBezTo>
                <a:cubicBezTo>
                  <a:pt x="445278" y="262740"/>
                  <a:pt x="444282" y="256566"/>
                  <a:pt x="439865" y="253806"/>
                </a:cubicBezTo>
                <a:cubicBezTo>
                  <a:pt x="432118" y="248964"/>
                  <a:pt x="422530" y="248028"/>
                  <a:pt x="413863" y="245139"/>
                </a:cubicBezTo>
                <a:lnTo>
                  <a:pt x="400862" y="240805"/>
                </a:lnTo>
                <a:cubicBezTo>
                  <a:pt x="390556" y="271729"/>
                  <a:pt x="394262" y="255075"/>
                  <a:pt x="400862" y="314477"/>
                </a:cubicBezTo>
                <a:cubicBezTo>
                  <a:pt x="401520" y="320397"/>
                  <a:pt x="402241" y="326641"/>
                  <a:pt x="405196" y="331812"/>
                </a:cubicBezTo>
                <a:cubicBezTo>
                  <a:pt x="408237" y="337133"/>
                  <a:pt x="413863" y="340479"/>
                  <a:pt x="418197" y="344813"/>
                </a:cubicBezTo>
                <a:cubicBezTo>
                  <a:pt x="427186" y="371778"/>
                  <a:pt x="414987" y="346739"/>
                  <a:pt x="435532" y="362148"/>
                </a:cubicBezTo>
                <a:cubicBezTo>
                  <a:pt x="443703" y="368277"/>
                  <a:pt x="448701" y="378150"/>
                  <a:pt x="457200" y="383816"/>
                </a:cubicBezTo>
                <a:lnTo>
                  <a:pt x="470201" y="392483"/>
                </a:lnTo>
                <a:cubicBezTo>
                  <a:pt x="473090" y="396817"/>
                  <a:pt x="476753" y="400725"/>
                  <a:pt x="478868" y="405484"/>
                </a:cubicBezTo>
                <a:cubicBezTo>
                  <a:pt x="482578" y="413833"/>
                  <a:pt x="487535" y="431486"/>
                  <a:pt x="487535" y="431486"/>
                </a:cubicBezTo>
                <a:cubicBezTo>
                  <a:pt x="483201" y="432931"/>
                  <a:pt x="479024" y="434978"/>
                  <a:pt x="474534" y="435820"/>
                </a:cubicBezTo>
                <a:cubicBezTo>
                  <a:pt x="455860" y="439322"/>
                  <a:pt x="434962" y="435546"/>
                  <a:pt x="418197" y="444487"/>
                </a:cubicBezTo>
                <a:cubicBezTo>
                  <a:pt x="410136" y="448786"/>
                  <a:pt x="412419" y="461822"/>
                  <a:pt x="409530" y="470489"/>
                </a:cubicBezTo>
                <a:lnTo>
                  <a:pt x="405196" y="483490"/>
                </a:lnTo>
                <a:cubicBezTo>
                  <a:pt x="409530" y="487824"/>
                  <a:pt x="413098" y="493091"/>
                  <a:pt x="418197" y="496491"/>
                </a:cubicBezTo>
                <a:cubicBezTo>
                  <a:pt x="421924" y="498976"/>
                  <a:pt x="446225" y="504581"/>
                  <a:pt x="448532" y="505158"/>
                </a:cubicBezTo>
                <a:cubicBezTo>
                  <a:pt x="451421" y="502269"/>
                  <a:pt x="455373" y="500146"/>
                  <a:pt x="457200" y="496491"/>
                </a:cubicBezTo>
                <a:cubicBezTo>
                  <a:pt x="473174" y="464543"/>
                  <a:pt x="450015" y="490672"/>
                  <a:pt x="470201" y="470489"/>
                </a:cubicBezTo>
                <a:cubicBezTo>
                  <a:pt x="483202" y="471933"/>
                  <a:pt x="496584" y="471380"/>
                  <a:pt x="509204" y="474822"/>
                </a:cubicBezTo>
                <a:cubicBezTo>
                  <a:pt x="515100" y="476430"/>
                  <a:pt x="523832" y="493785"/>
                  <a:pt x="526538" y="496491"/>
                </a:cubicBezTo>
                <a:cubicBezTo>
                  <a:pt x="542079" y="512032"/>
                  <a:pt x="567718" y="511389"/>
                  <a:pt x="587209" y="513825"/>
                </a:cubicBezTo>
                <a:cubicBezTo>
                  <a:pt x="591543" y="515270"/>
                  <a:pt x="597555" y="514442"/>
                  <a:pt x="600210" y="518159"/>
                </a:cubicBezTo>
                <a:cubicBezTo>
                  <a:pt x="605520" y="525593"/>
                  <a:pt x="605988" y="535494"/>
                  <a:pt x="608877" y="544161"/>
                </a:cubicBezTo>
                <a:cubicBezTo>
                  <a:pt x="610322" y="548495"/>
                  <a:pt x="612103" y="552730"/>
                  <a:pt x="613211" y="557162"/>
                </a:cubicBezTo>
                <a:cubicBezTo>
                  <a:pt x="614656" y="562940"/>
                  <a:pt x="615199" y="569022"/>
                  <a:pt x="617545" y="574496"/>
                </a:cubicBezTo>
                <a:cubicBezTo>
                  <a:pt x="619597" y="579283"/>
                  <a:pt x="623883" y="582839"/>
                  <a:pt x="626212" y="587497"/>
                </a:cubicBezTo>
                <a:cubicBezTo>
                  <a:pt x="628255" y="591583"/>
                  <a:pt x="629101" y="596164"/>
                  <a:pt x="630546" y="600498"/>
                </a:cubicBezTo>
                <a:cubicBezTo>
                  <a:pt x="627657" y="603387"/>
                  <a:pt x="625382" y="607064"/>
                  <a:pt x="621878" y="609166"/>
                </a:cubicBezTo>
                <a:cubicBezTo>
                  <a:pt x="617961" y="611516"/>
                  <a:pt x="612963" y="611456"/>
                  <a:pt x="608877" y="613499"/>
                </a:cubicBezTo>
                <a:cubicBezTo>
                  <a:pt x="604219" y="615828"/>
                  <a:pt x="600210" y="619277"/>
                  <a:pt x="595877" y="622166"/>
                </a:cubicBezTo>
                <a:cubicBezTo>
                  <a:pt x="599042" y="644325"/>
                  <a:pt x="603962" y="656943"/>
                  <a:pt x="595877" y="678504"/>
                </a:cubicBezTo>
                <a:cubicBezTo>
                  <a:pt x="594442" y="682330"/>
                  <a:pt x="590098" y="684282"/>
                  <a:pt x="587209" y="687171"/>
                </a:cubicBezTo>
                <a:cubicBezTo>
                  <a:pt x="579986" y="685727"/>
                  <a:pt x="571670" y="686924"/>
                  <a:pt x="565541" y="682838"/>
                </a:cubicBezTo>
                <a:cubicBezTo>
                  <a:pt x="561740" y="680304"/>
                  <a:pt x="563250" y="673923"/>
                  <a:pt x="561207" y="669837"/>
                </a:cubicBezTo>
                <a:cubicBezTo>
                  <a:pt x="553366" y="654155"/>
                  <a:pt x="554534" y="657501"/>
                  <a:pt x="539539" y="652502"/>
                </a:cubicBezTo>
                <a:cubicBezTo>
                  <a:pt x="538094" y="648168"/>
                  <a:pt x="539637" y="640609"/>
                  <a:pt x="535205" y="639501"/>
                </a:cubicBezTo>
                <a:cubicBezTo>
                  <a:pt x="523826" y="636656"/>
                  <a:pt x="504061" y="644105"/>
                  <a:pt x="491869" y="648168"/>
                </a:cubicBezTo>
                <a:cubicBezTo>
                  <a:pt x="490424" y="652502"/>
                  <a:pt x="489885" y="657252"/>
                  <a:pt x="487535" y="661169"/>
                </a:cubicBezTo>
                <a:cubicBezTo>
                  <a:pt x="469689" y="690913"/>
                  <a:pt x="486811" y="646008"/>
                  <a:pt x="474534" y="682838"/>
                </a:cubicBezTo>
                <a:cubicBezTo>
                  <a:pt x="475979" y="687172"/>
                  <a:pt x="476014" y="692272"/>
                  <a:pt x="478868" y="695839"/>
                </a:cubicBezTo>
                <a:cubicBezTo>
                  <a:pt x="482122" y="699906"/>
                  <a:pt x="488186" y="700823"/>
                  <a:pt x="491869" y="704506"/>
                </a:cubicBezTo>
                <a:cubicBezTo>
                  <a:pt x="495552" y="708189"/>
                  <a:pt x="497647" y="713173"/>
                  <a:pt x="500536" y="717507"/>
                </a:cubicBezTo>
                <a:cubicBezTo>
                  <a:pt x="499092" y="723285"/>
                  <a:pt x="498867" y="729514"/>
                  <a:pt x="496203" y="734841"/>
                </a:cubicBezTo>
                <a:cubicBezTo>
                  <a:pt x="494376" y="738496"/>
                  <a:pt x="491039" y="741407"/>
                  <a:pt x="487535" y="743509"/>
                </a:cubicBezTo>
                <a:cubicBezTo>
                  <a:pt x="478083" y="749180"/>
                  <a:pt x="449453" y="751425"/>
                  <a:pt x="444199" y="752176"/>
                </a:cubicBezTo>
                <a:cubicBezTo>
                  <a:pt x="445643" y="762288"/>
                  <a:pt x="445302" y="772822"/>
                  <a:pt x="448532" y="782512"/>
                </a:cubicBezTo>
                <a:cubicBezTo>
                  <a:pt x="449824" y="786388"/>
                  <a:pt x="455373" y="787524"/>
                  <a:pt x="457200" y="791179"/>
                </a:cubicBezTo>
                <a:cubicBezTo>
                  <a:pt x="461286" y="799351"/>
                  <a:pt x="465867" y="817181"/>
                  <a:pt x="465867" y="817181"/>
                </a:cubicBezTo>
                <a:cubicBezTo>
                  <a:pt x="467312" y="827293"/>
                  <a:pt x="468648" y="837420"/>
                  <a:pt x="470201" y="847516"/>
                </a:cubicBezTo>
                <a:cubicBezTo>
                  <a:pt x="471537" y="856201"/>
                  <a:pt x="475504" y="864785"/>
                  <a:pt x="474534" y="873518"/>
                </a:cubicBezTo>
                <a:cubicBezTo>
                  <a:pt x="473959" y="878694"/>
                  <a:pt x="468756" y="882185"/>
                  <a:pt x="465867" y="886519"/>
                </a:cubicBezTo>
                <a:cubicBezTo>
                  <a:pt x="455755" y="885074"/>
                  <a:pt x="445582" y="884012"/>
                  <a:pt x="435532" y="882185"/>
                </a:cubicBezTo>
                <a:cubicBezTo>
                  <a:pt x="429672" y="881120"/>
                  <a:pt x="424101" y="878639"/>
                  <a:pt x="418197" y="877852"/>
                </a:cubicBezTo>
                <a:cubicBezTo>
                  <a:pt x="402381" y="875743"/>
                  <a:pt x="386417" y="874963"/>
                  <a:pt x="370527" y="873518"/>
                </a:cubicBezTo>
                <a:cubicBezTo>
                  <a:pt x="369082" y="869184"/>
                  <a:pt x="367448" y="864909"/>
                  <a:pt x="366193" y="860517"/>
                </a:cubicBezTo>
                <a:cubicBezTo>
                  <a:pt x="364557" y="854790"/>
                  <a:pt x="364523" y="848510"/>
                  <a:pt x="361859" y="843183"/>
                </a:cubicBezTo>
                <a:cubicBezTo>
                  <a:pt x="360032" y="839528"/>
                  <a:pt x="356383" y="837067"/>
                  <a:pt x="353192" y="834515"/>
                </a:cubicBezTo>
                <a:cubicBezTo>
                  <a:pt x="341193" y="824915"/>
                  <a:pt x="340920" y="826091"/>
                  <a:pt x="327190" y="821514"/>
                </a:cubicBezTo>
                <a:cubicBezTo>
                  <a:pt x="319967" y="828737"/>
                  <a:pt x="315212" y="839953"/>
                  <a:pt x="305522" y="843183"/>
                </a:cubicBezTo>
                <a:lnTo>
                  <a:pt x="279520" y="851850"/>
                </a:lnTo>
                <a:cubicBezTo>
                  <a:pt x="272886" y="831949"/>
                  <a:pt x="269422" y="827613"/>
                  <a:pt x="279520" y="799846"/>
                </a:cubicBezTo>
                <a:cubicBezTo>
                  <a:pt x="281300" y="794951"/>
                  <a:pt x="288187" y="794068"/>
                  <a:pt x="292521" y="791179"/>
                </a:cubicBezTo>
                <a:cubicBezTo>
                  <a:pt x="284475" y="742907"/>
                  <a:pt x="294754" y="782643"/>
                  <a:pt x="279520" y="752176"/>
                </a:cubicBezTo>
                <a:cubicBezTo>
                  <a:pt x="277477" y="748090"/>
                  <a:pt x="278040" y="742742"/>
                  <a:pt x="275186" y="739175"/>
                </a:cubicBezTo>
                <a:cubicBezTo>
                  <a:pt x="271933" y="735108"/>
                  <a:pt x="266519" y="733397"/>
                  <a:pt x="262186" y="730508"/>
                </a:cubicBezTo>
                <a:cubicBezTo>
                  <a:pt x="254832" y="708446"/>
                  <a:pt x="263761" y="723679"/>
                  <a:pt x="244851" y="713173"/>
                </a:cubicBezTo>
                <a:cubicBezTo>
                  <a:pt x="235745" y="708114"/>
                  <a:pt x="218849" y="695839"/>
                  <a:pt x="218849" y="695839"/>
                </a:cubicBezTo>
                <a:cubicBezTo>
                  <a:pt x="217404" y="691505"/>
                  <a:pt x="216865" y="686755"/>
                  <a:pt x="214515" y="682838"/>
                </a:cubicBezTo>
                <a:cubicBezTo>
                  <a:pt x="212413" y="679334"/>
                  <a:pt x="206299" y="678231"/>
                  <a:pt x="205848" y="674170"/>
                </a:cubicBezTo>
                <a:cubicBezTo>
                  <a:pt x="204720" y="664018"/>
                  <a:pt x="203911" y="651898"/>
                  <a:pt x="210182" y="643835"/>
                </a:cubicBezTo>
                <a:cubicBezTo>
                  <a:pt x="217450" y="634490"/>
                  <a:pt x="271692" y="631222"/>
                  <a:pt x="275186" y="630834"/>
                </a:cubicBezTo>
                <a:cubicBezTo>
                  <a:pt x="278075" y="627945"/>
                  <a:pt x="280663" y="624719"/>
                  <a:pt x="283854" y="622166"/>
                </a:cubicBezTo>
                <a:cubicBezTo>
                  <a:pt x="287921" y="618912"/>
                  <a:pt x="292196" y="615828"/>
                  <a:pt x="296855" y="613499"/>
                </a:cubicBezTo>
                <a:cubicBezTo>
                  <a:pt x="300941" y="611456"/>
                  <a:pt x="305305" y="609562"/>
                  <a:pt x="309856" y="609166"/>
                </a:cubicBezTo>
                <a:cubicBezTo>
                  <a:pt x="338674" y="606660"/>
                  <a:pt x="367638" y="606277"/>
                  <a:pt x="396529" y="604832"/>
                </a:cubicBezTo>
                <a:cubicBezTo>
                  <a:pt x="395084" y="596165"/>
                  <a:pt x="396555" y="586459"/>
                  <a:pt x="392195" y="578830"/>
                </a:cubicBezTo>
                <a:cubicBezTo>
                  <a:pt x="389929" y="574864"/>
                  <a:pt x="383688" y="575313"/>
                  <a:pt x="379194" y="574496"/>
                </a:cubicBezTo>
                <a:cubicBezTo>
                  <a:pt x="367736" y="572413"/>
                  <a:pt x="356157" y="570730"/>
                  <a:pt x="344525" y="570163"/>
                </a:cubicBezTo>
                <a:cubicBezTo>
                  <a:pt x="296889" y="567839"/>
                  <a:pt x="249184" y="567274"/>
                  <a:pt x="201514" y="565829"/>
                </a:cubicBezTo>
                <a:cubicBezTo>
                  <a:pt x="197180" y="562940"/>
                  <a:pt x="192580" y="560416"/>
                  <a:pt x="188513" y="557162"/>
                </a:cubicBezTo>
                <a:cubicBezTo>
                  <a:pt x="157638" y="532461"/>
                  <a:pt x="206860" y="566503"/>
                  <a:pt x="166845" y="539827"/>
                </a:cubicBezTo>
                <a:lnTo>
                  <a:pt x="158178" y="513825"/>
                </a:lnTo>
                <a:cubicBezTo>
                  <a:pt x="156733" y="509491"/>
                  <a:pt x="154952" y="505256"/>
                  <a:pt x="153844" y="500824"/>
                </a:cubicBezTo>
                <a:cubicBezTo>
                  <a:pt x="152400" y="495046"/>
                  <a:pt x="151147" y="489217"/>
                  <a:pt x="149511" y="483490"/>
                </a:cubicBezTo>
                <a:cubicBezTo>
                  <a:pt x="148256" y="479098"/>
                  <a:pt x="148744" y="473343"/>
                  <a:pt x="145177" y="470489"/>
                </a:cubicBezTo>
                <a:cubicBezTo>
                  <a:pt x="140526" y="466768"/>
                  <a:pt x="133547" y="467867"/>
                  <a:pt x="127842" y="466155"/>
                </a:cubicBezTo>
                <a:cubicBezTo>
                  <a:pt x="119091" y="463530"/>
                  <a:pt x="110508" y="460377"/>
                  <a:pt x="101841" y="457488"/>
                </a:cubicBezTo>
                <a:lnTo>
                  <a:pt x="88840" y="453154"/>
                </a:lnTo>
                <a:cubicBezTo>
                  <a:pt x="85951" y="450265"/>
                  <a:pt x="82274" y="447991"/>
                  <a:pt x="80172" y="444487"/>
                </a:cubicBezTo>
                <a:cubicBezTo>
                  <a:pt x="77822" y="440570"/>
                  <a:pt x="79925" y="433529"/>
                  <a:pt x="75839" y="431486"/>
                </a:cubicBezTo>
                <a:cubicBezTo>
                  <a:pt x="66703" y="426918"/>
                  <a:pt x="55615" y="428597"/>
                  <a:pt x="45503" y="427152"/>
                </a:cubicBezTo>
                <a:cubicBezTo>
                  <a:pt x="41169" y="424263"/>
                  <a:pt x="35756" y="422552"/>
                  <a:pt x="32502" y="418485"/>
                </a:cubicBezTo>
                <a:cubicBezTo>
                  <a:pt x="29648" y="414918"/>
                  <a:pt x="30211" y="409570"/>
                  <a:pt x="28168" y="405484"/>
                </a:cubicBezTo>
                <a:cubicBezTo>
                  <a:pt x="25839" y="400826"/>
                  <a:pt x="22390" y="396817"/>
                  <a:pt x="19501" y="392483"/>
                </a:cubicBezTo>
                <a:cubicBezTo>
                  <a:pt x="15776" y="381305"/>
                  <a:pt x="16699" y="377614"/>
                  <a:pt x="6500" y="370815"/>
                </a:cubicBezTo>
                <a:cubicBezTo>
                  <a:pt x="5298" y="370014"/>
                  <a:pt x="0" y="378760"/>
                  <a:pt x="2167" y="379482"/>
                </a:cubicBezTo>
                <a:close/>
              </a:path>
            </a:pathLst>
          </a:custGeom>
          <a:solidFill>
            <a:srgbClr val="CC99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6" name="Title 1"/>
          <p:cNvSpPr txBox="1">
            <a:spLocks/>
          </p:cNvSpPr>
          <p:nvPr/>
        </p:nvSpPr>
        <p:spPr>
          <a:xfrm rot="21418112">
            <a:off x="5429250" y="5744638"/>
            <a:ext cx="852488" cy="309033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1400" dirty="0" err="1">
                <a:latin typeface="Ramabhadra" pitchFamily="2" charset="0"/>
                <a:ea typeface="+mj-ea"/>
                <a:cs typeface="Ramabhadra" pitchFamily="2" charset="0"/>
              </a:rPr>
              <a:t>గ్రీస్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47" name="Freeform 146"/>
          <p:cNvSpPr/>
          <p:nvPr/>
        </p:nvSpPr>
        <p:spPr>
          <a:xfrm>
            <a:off x="5456238" y="5408084"/>
            <a:ext cx="334962" cy="268816"/>
          </a:xfrm>
          <a:custGeom>
            <a:avLst/>
            <a:gdLst>
              <a:gd name="connsiteX0" fmla="*/ 78006 w 335495"/>
              <a:gd name="connsiteY0" fmla="*/ 260019 h 268687"/>
              <a:gd name="connsiteX1" fmla="*/ 65005 w 335495"/>
              <a:gd name="connsiteY1" fmla="*/ 251352 h 268687"/>
              <a:gd name="connsiteX2" fmla="*/ 56338 w 335495"/>
              <a:gd name="connsiteY2" fmla="*/ 238351 h 268687"/>
              <a:gd name="connsiteX3" fmla="*/ 43337 w 335495"/>
              <a:gd name="connsiteY3" fmla="*/ 234017 h 268687"/>
              <a:gd name="connsiteX4" fmla="*/ 30336 w 335495"/>
              <a:gd name="connsiteY4" fmla="*/ 225350 h 268687"/>
              <a:gd name="connsiteX5" fmla="*/ 21669 w 335495"/>
              <a:gd name="connsiteY5" fmla="*/ 208015 h 268687"/>
              <a:gd name="connsiteX6" fmla="*/ 13001 w 335495"/>
              <a:gd name="connsiteY6" fmla="*/ 199348 h 268687"/>
              <a:gd name="connsiteX7" fmla="*/ 4334 w 335495"/>
              <a:gd name="connsiteY7" fmla="*/ 173346 h 268687"/>
              <a:gd name="connsiteX8" fmla="*/ 0 w 335495"/>
              <a:gd name="connsiteY8" fmla="*/ 160345 h 268687"/>
              <a:gd name="connsiteX9" fmla="*/ 4334 w 335495"/>
              <a:gd name="connsiteY9" fmla="*/ 134343 h 268687"/>
              <a:gd name="connsiteX10" fmla="*/ 8668 w 335495"/>
              <a:gd name="connsiteY10" fmla="*/ 121342 h 268687"/>
              <a:gd name="connsiteX11" fmla="*/ 13001 w 335495"/>
              <a:gd name="connsiteY11" fmla="*/ 104008 h 268687"/>
              <a:gd name="connsiteX12" fmla="*/ 17335 w 335495"/>
              <a:gd name="connsiteY12" fmla="*/ 91007 h 268687"/>
              <a:gd name="connsiteX13" fmla="*/ 30336 w 335495"/>
              <a:gd name="connsiteY13" fmla="*/ 82340 h 268687"/>
              <a:gd name="connsiteX14" fmla="*/ 60672 w 335495"/>
              <a:gd name="connsiteY14" fmla="*/ 73672 h 268687"/>
              <a:gd name="connsiteX15" fmla="*/ 86673 w 335495"/>
              <a:gd name="connsiteY15" fmla="*/ 65005 h 268687"/>
              <a:gd name="connsiteX16" fmla="*/ 99674 w 335495"/>
              <a:gd name="connsiteY16" fmla="*/ 60671 h 268687"/>
              <a:gd name="connsiteX17" fmla="*/ 108342 w 335495"/>
              <a:gd name="connsiteY17" fmla="*/ 52004 h 268687"/>
              <a:gd name="connsiteX18" fmla="*/ 117009 w 335495"/>
              <a:gd name="connsiteY18" fmla="*/ 39003 h 268687"/>
              <a:gd name="connsiteX19" fmla="*/ 156012 w 335495"/>
              <a:gd name="connsiteY19" fmla="*/ 4334 h 268687"/>
              <a:gd name="connsiteX20" fmla="*/ 169013 w 335495"/>
              <a:gd name="connsiteY20" fmla="*/ 0 h 268687"/>
              <a:gd name="connsiteX21" fmla="*/ 234018 w 335495"/>
              <a:gd name="connsiteY21" fmla="*/ 4334 h 268687"/>
              <a:gd name="connsiteX22" fmla="*/ 255686 w 335495"/>
              <a:gd name="connsiteY22" fmla="*/ 26002 h 268687"/>
              <a:gd name="connsiteX23" fmla="*/ 264353 w 335495"/>
              <a:gd name="connsiteY23" fmla="*/ 34670 h 268687"/>
              <a:gd name="connsiteX24" fmla="*/ 273020 w 335495"/>
              <a:gd name="connsiteY24" fmla="*/ 47670 h 268687"/>
              <a:gd name="connsiteX25" fmla="*/ 286021 w 335495"/>
              <a:gd name="connsiteY25" fmla="*/ 56338 h 268687"/>
              <a:gd name="connsiteX26" fmla="*/ 294689 w 335495"/>
              <a:gd name="connsiteY26" fmla="*/ 69339 h 268687"/>
              <a:gd name="connsiteX27" fmla="*/ 325024 w 335495"/>
              <a:gd name="connsiteY27" fmla="*/ 108342 h 268687"/>
              <a:gd name="connsiteX28" fmla="*/ 333691 w 335495"/>
              <a:gd name="connsiteY28" fmla="*/ 134343 h 268687"/>
              <a:gd name="connsiteX29" fmla="*/ 329358 w 335495"/>
              <a:gd name="connsiteY29" fmla="*/ 182014 h 268687"/>
              <a:gd name="connsiteX30" fmla="*/ 312023 w 335495"/>
              <a:gd name="connsiteY30" fmla="*/ 186347 h 268687"/>
              <a:gd name="connsiteX31" fmla="*/ 238351 w 335495"/>
              <a:gd name="connsiteY31" fmla="*/ 199348 h 268687"/>
              <a:gd name="connsiteX32" fmla="*/ 203682 w 335495"/>
              <a:gd name="connsiteY32" fmla="*/ 216683 h 268687"/>
              <a:gd name="connsiteX33" fmla="*/ 195015 w 335495"/>
              <a:gd name="connsiteY33" fmla="*/ 229684 h 268687"/>
              <a:gd name="connsiteX34" fmla="*/ 112675 w 335495"/>
              <a:gd name="connsiteY34" fmla="*/ 242685 h 268687"/>
              <a:gd name="connsiteX35" fmla="*/ 99674 w 335495"/>
              <a:gd name="connsiteY35" fmla="*/ 251352 h 268687"/>
              <a:gd name="connsiteX36" fmla="*/ 86673 w 335495"/>
              <a:gd name="connsiteY36" fmla="*/ 255686 h 268687"/>
              <a:gd name="connsiteX37" fmla="*/ 73672 w 335495"/>
              <a:gd name="connsiteY37" fmla="*/ 268687 h 268687"/>
              <a:gd name="connsiteX38" fmla="*/ 78006 w 335495"/>
              <a:gd name="connsiteY38" fmla="*/ 260019 h 268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335495" h="268687">
                <a:moveTo>
                  <a:pt x="78006" y="260019"/>
                </a:moveTo>
                <a:cubicBezTo>
                  <a:pt x="73672" y="257130"/>
                  <a:pt x="68688" y="255035"/>
                  <a:pt x="65005" y="251352"/>
                </a:cubicBezTo>
                <a:cubicBezTo>
                  <a:pt x="61322" y="247669"/>
                  <a:pt x="60405" y="241605"/>
                  <a:pt x="56338" y="238351"/>
                </a:cubicBezTo>
                <a:cubicBezTo>
                  <a:pt x="52771" y="235497"/>
                  <a:pt x="47423" y="236060"/>
                  <a:pt x="43337" y="234017"/>
                </a:cubicBezTo>
                <a:cubicBezTo>
                  <a:pt x="38679" y="231688"/>
                  <a:pt x="34670" y="228239"/>
                  <a:pt x="30336" y="225350"/>
                </a:cubicBezTo>
                <a:cubicBezTo>
                  <a:pt x="27447" y="219572"/>
                  <a:pt x="25253" y="213390"/>
                  <a:pt x="21669" y="208015"/>
                </a:cubicBezTo>
                <a:cubicBezTo>
                  <a:pt x="19403" y="204615"/>
                  <a:pt x="14828" y="203003"/>
                  <a:pt x="13001" y="199348"/>
                </a:cubicBezTo>
                <a:cubicBezTo>
                  <a:pt x="8915" y="191176"/>
                  <a:pt x="7223" y="182013"/>
                  <a:pt x="4334" y="173346"/>
                </a:cubicBezTo>
                <a:lnTo>
                  <a:pt x="0" y="160345"/>
                </a:lnTo>
                <a:cubicBezTo>
                  <a:pt x="1445" y="151678"/>
                  <a:pt x="2428" y="142921"/>
                  <a:pt x="4334" y="134343"/>
                </a:cubicBezTo>
                <a:cubicBezTo>
                  <a:pt x="5325" y="129884"/>
                  <a:pt x="7413" y="125734"/>
                  <a:pt x="8668" y="121342"/>
                </a:cubicBezTo>
                <a:cubicBezTo>
                  <a:pt x="10304" y="115615"/>
                  <a:pt x="11365" y="109735"/>
                  <a:pt x="13001" y="104008"/>
                </a:cubicBezTo>
                <a:cubicBezTo>
                  <a:pt x="14256" y="99616"/>
                  <a:pt x="14481" y="94574"/>
                  <a:pt x="17335" y="91007"/>
                </a:cubicBezTo>
                <a:cubicBezTo>
                  <a:pt x="20589" y="86940"/>
                  <a:pt x="25678" y="84669"/>
                  <a:pt x="30336" y="82340"/>
                </a:cubicBezTo>
                <a:cubicBezTo>
                  <a:pt x="37619" y="78698"/>
                  <a:pt x="53728" y="75755"/>
                  <a:pt x="60672" y="73672"/>
                </a:cubicBezTo>
                <a:cubicBezTo>
                  <a:pt x="69423" y="71047"/>
                  <a:pt x="78006" y="67894"/>
                  <a:pt x="86673" y="65005"/>
                </a:cubicBezTo>
                <a:lnTo>
                  <a:pt x="99674" y="60671"/>
                </a:lnTo>
                <a:cubicBezTo>
                  <a:pt x="102563" y="57782"/>
                  <a:pt x="105790" y="55195"/>
                  <a:pt x="108342" y="52004"/>
                </a:cubicBezTo>
                <a:cubicBezTo>
                  <a:pt x="111596" y="47937"/>
                  <a:pt x="113549" y="42896"/>
                  <a:pt x="117009" y="39003"/>
                </a:cubicBezTo>
                <a:cubicBezTo>
                  <a:pt x="126199" y="28664"/>
                  <a:pt x="141521" y="11580"/>
                  <a:pt x="156012" y="4334"/>
                </a:cubicBezTo>
                <a:cubicBezTo>
                  <a:pt x="160098" y="2291"/>
                  <a:pt x="164679" y="1445"/>
                  <a:pt x="169013" y="0"/>
                </a:cubicBezTo>
                <a:cubicBezTo>
                  <a:pt x="190681" y="1445"/>
                  <a:pt x="212597" y="764"/>
                  <a:pt x="234018" y="4334"/>
                </a:cubicBezTo>
                <a:cubicBezTo>
                  <a:pt x="246017" y="6334"/>
                  <a:pt x="249464" y="18225"/>
                  <a:pt x="255686" y="26002"/>
                </a:cubicBezTo>
                <a:cubicBezTo>
                  <a:pt x="258238" y="29193"/>
                  <a:pt x="261801" y="31479"/>
                  <a:pt x="264353" y="34670"/>
                </a:cubicBezTo>
                <a:cubicBezTo>
                  <a:pt x="267606" y="38737"/>
                  <a:pt x="269337" y="43987"/>
                  <a:pt x="273020" y="47670"/>
                </a:cubicBezTo>
                <a:cubicBezTo>
                  <a:pt x="276703" y="51353"/>
                  <a:pt x="281687" y="53449"/>
                  <a:pt x="286021" y="56338"/>
                </a:cubicBezTo>
                <a:cubicBezTo>
                  <a:pt x="288910" y="60672"/>
                  <a:pt x="291355" y="65338"/>
                  <a:pt x="294689" y="69339"/>
                </a:cubicBezTo>
                <a:cubicBezTo>
                  <a:pt x="307153" y="84296"/>
                  <a:pt x="317722" y="86436"/>
                  <a:pt x="325024" y="108342"/>
                </a:cubicBezTo>
                <a:lnTo>
                  <a:pt x="333691" y="134343"/>
                </a:lnTo>
                <a:cubicBezTo>
                  <a:pt x="332247" y="150233"/>
                  <a:pt x="335495" y="167285"/>
                  <a:pt x="329358" y="182014"/>
                </a:cubicBezTo>
                <a:cubicBezTo>
                  <a:pt x="327067" y="187512"/>
                  <a:pt x="317728" y="184636"/>
                  <a:pt x="312023" y="186347"/>
                </a:cubicBezTo>
                <a:cubicBezTo>
                  <a:pt x="264321" y="200658"/>
                  <a:pt x="306582" y="193146"/>
                  <a:pt x="238351" y="199348"/>
                </a:cubicBezTo>
                <a:cubicBezTo>
                  <a:pt x="226795" y="205126"/>
                  <a:pt x="210849" y="205932"/>
                  <a:pt x="203682" y="216683"/>
                </a:cubicBezTo>
                <a:cubicBezTo>
                  <a:pt x="200793" y="221017"/>
                  <a:pt x="199432" y="226924"/>
                  <a:pt x="195015" y="229684"/>
                </a:cubicBezTo>
                <a:cubicBezTo>
                  <a:pt x="174492" y="242511"/>
                  <a:pt x="129990" y="241353"/>
                  <a:pt x="112675" y="242685"/>
                </a:cubicBezTo>
                <a:cubicBezTo>
                  <a:pt x="108341" y="245574"/>
                  <a:pt x="104332" y="249023"/>
                  <a:pt x="99674" y="251352"/>
                </a:cubicBezTo>
                <a:cubicBezTo>
                  <a:pt x="95588" y="253395"/>
                  <a:pt x="90474" y="253152"/>
                  <a:pt x="86673" y="255686"/>
                </a:cubicBezTo>
                <a:cubicBezTo>
                  <a:pt x="81574" y="259086"/>
                  <a:pt x="78006" y="264353"/>
                  <a:pt x="73672" y="268687"/>
                </a:cubicBezTo>
                <a:lnTo>
                  <a:pt x="78006" y="260019"/>
                </a:ln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48" name="Straight Arrow Connector 147"/>
          <p:cNvCxnSpPr/>
          <p:nvPr/>
        </p:nvCxnSpPr>
        <p:spPr>
          <a:xfrm>
            <a:off x="5572126" y="5501222"/>
            <a:ext cx="655638" cy="664633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19"/>
          <p:cNvSpPr txBox="1">
            <a:spLocks noChangeArrowheads="1"/>
          </p:cNvSpPr>
          <p:nvPr/>
        </p:nvSpPr>
        <p:spPr bwMode="auto">
          <a:xfrm>
            <a:off x="5867406" y="6093886"/>
            <a:ext cx="164306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>
                <a:latin typeface="Ramabhadra" pitchFamily="2" charset="0"/>
                <a:cs typeface="Ramabhadra" pitchFamily="2" charset="0"/>
              </a:rPr>
              <a:t>మాసిడోనియా</a:t>
            </a:r>
          </a:p>
        </p:txBody>
      </p:sp>
      <p:sp>
        <p:nvSpPr>
          <p:cNvPr id="150" name="Freeform 149"/>
          <p:cNvSpPr/>
          <p:nvPr/>
        </p:nvSpPr>
        <p:spPr>
          <a:xfrm>
            <a:off x="5283206" y="5391155"/>
            <a:ext cx="252413" cy="463549"/>
          </a:xfrm>
          <a:custGeom>
            <a:avLst/>
            <a:gdLst>
              <a:gd name="connsiteX0" fmla="*/ 95341 w 252457"/>
              <a:gd name="connsiteY0" fmla="*/ 450699 h 464050"/>
              <a:gd name="connsiteX1" fmla="*/ 91007 w 252457"/>
              <a:gd name="connsiteY1" fmla="*/ 429031 h 464050"/>
              <a:gd name="connsiteX2" fmla="*/ 78006 w 252457"/>
              <a:gd name="connsiteY2" fmla="*/ 420364 h 464050"/>
              <a:gd name="connsiteX3" fmla="*/ 47671 w 252457"/>
              <a:gd name="connsiteY3" fmla="*/ 411696 h 464050"/>
              <a:gd name="connsiteX4" fmla="*/ 34670 w 252457"/>
              <a:gd name="connsiteY4" fmla="*/ 407363 h 464050"/>
              <a:gd name="connsiteX5" fmla="*/ 17335 w 252457"/>
              <a:gd name="connsiteY5" fmla="*/ 381361 h 464050"/>
              <a:gd name="connsiteX6" fmla="*/ 8668 w 252457"/>
              <a:gd name="connsiteY6" fmla="*/ 368360 h 464050"/>
              <a:gd name="connsiteX7" fmla="*/ 0 w 252457"/>
              <a:gd name="connsiteY7" fmla="*/ 342358 h 464050"/>
              <a:gd name="connsiteX8" fmla="*/ 4334 w 252457"/>
              <a:gd name="connsiteY8" fmla="*/ 312022 h 464050"/>
              <a:gd name="connsiteX9" fmla="*/ 17335 w 252457"/>
              <a:gd name="connsiteY9" fmla="*/ 273020 h 464050"/>
              <a:gd name="connsiteX10" fmla="*/ 26002 w 252457"/>
              <a:gd name="connsiteY10" fmla="*/ 247018 h 464050"/>
              <a:gd name="connsiteX11" fmla="*/ 30336 w 252457"/>
              <a:gd name="connsiteY11" fmla="*/ 234017 h 464050"/>
              <a:gd name="connsiteX12" fmla="*/ 30336 w 252457"/>
              <a:gd name="connsiteY12" fmla="*/ 169012 h 464050"/>
              <a:gd name="connsiteX13" fmla="*/ 39003 w 252457"/>
              <a:gd name="connsiteY13" fmla="*/ 156011 h 464050"/>
              <a:gd name="connsiteX14" fmla="*/ 39003 w 252457"/>
              <a:gd name="connsiteY14" fmla="*/ 82339 h 464050"/>
              <a:gd name="connsiteX15" fmla="*/ 30336 w 252457"/>
              <a:gd name="connsiteY15" fmla="*/ 69338 h 464050"/>
              <a:gd name="connsiteX16" fmla="*/ 21669 w 252457"/>
              <a:gd name="connsiteY16" fmla="*/ 43336 h 464050"/>
              <a:gd name="connsiteX17" fmla="*/ 26002 w 252457"/>
              <a:gd name="connsiteY17" fmla="*/ 26002 h 464050"/>
              <a:gd name="connsiteX18" fmla="*/ 30336 w 252457"/>
              <a:gd name="connsiteY18" fmla="*/ 13001 h 464050"/>
              <a:gd name="connsiteX19" fmla="*/ 56338 w 252457"/>
              <a:gd name="connsiteY19" fmla="*/ 4333 h 464050"/>
              <a:gd name="connsiteX20" fmla="*/ 69339 w 252457"/>
              <a:gd name="connsiteY20" fmla="*/ 0 h 464050"/>
              <a:gd name="connsiteX21" fmla="*/ 164679 w 252457"/>
              <a:gd name="connsiteY21" fmla="*/ 4333 h 464050"/>
              <a:gd name="connsiteX22" fmla="*/ 177680 w 252457"/>
              <a:gd name="connsiteY22" fmla="*/ 8667 h 464050"/>
              <a:gd name="connsiteX23" fmla="*/ 190681 w 252457"/>
              <a:gd name="connsiteY23" fmla="*/ 17334 h 464050"/>
              <a:gd name="connsiteX24" fmla="*/ 199348 w 252457"/>
              <a:gd name="connsiteY24" fmla="*/ 91006 h 464050"/>
              <a:gd name="connsiteX25" fmla="*/ 190681 w 252457"/>
              <a:gd name="connsiteY25" fmla="*/ 125676 h 464050"/>
              <a:gd name="connsiteX26" fmla="*/ 195015 w 252457"/>
              <a:gd name="connsiteY26" fmla="*/ 186347 h 464050"/>
              <a:gd name="connsiteX27" fmla="*/ 212349 w 252457"/>
              <a:gd name="connsiteY27" fmla="*/ 208015 h 464050"/>
              <a:gd name="connsiteX28" fmla="*/ 242685 w 252457"/>
              <a:gd name="connsiteY28" fmla="*/ 242684 h 464050"/>
              <a:gd name="connsiteX29" fmla="*/ 242685 w 252457"/>
              <a:gd name="connsiteY29" fmla="*/ 312022 h 464050"/>
              <a:gd name="connsiteX30" fmla="*/ 238351 w 252457"/>
              <a:gd name="connsiteY30" fmla="*/ 325023 h 464050"/>
              <a:gd name="connsiteX31" fmla="*/ 229684 w 252457"/>
              <a:gd name="connsiteY31" fmla="*/ 338024 h 464050"/>
              <a:gd name="connsiteX32" fmla="*/ 216683 w 252457"/>
              <a:gd name="connsiteY32" fmla="*/ 359693 h 464050"/>
              <a:gd name="connsiteX33" fmla="*/ 190681 w 252457"/>
              <a:gd name="connsiteY33" fmla="*/ 368360 h 464050"/>
              <a:gd name="connsiteX34" fmla="*/ 177680 w 252457"/>
              <a:gd name="connsiteY34" fmla="*/ 372694 h 464050"/>
              <a:gd name="connsiteX35" fmla="*/ 164679 w 252457"/>
              <a:gd name="connsiteY35" fmla="*/ 381361 h 464050"/>
              <a:gd name="connsiteX36" fmla="*/ 147345 w 252457"/>
              <a:gd name="connsiteY36" fmla="*/ 433365 h 464050"/>
              <a:gd name="connsiteX37" fmla="*/ 143011 w 252457"/>
              <a:gd name="connsiteY37" fmla="*/ 446366 h 464050"/>
              <a:gd name="connsiteX38" fmla="*/ 130010 w 252457"/>
              <a:gd name="connsiteY38" fmla="*/ 450699 h 464050"/>
              <a:gd name="connsiteX39" fmla="*/ 104008 w 252457"/>
              <a:gd name="connsiteY39" fmla="*/ 463700 h 464050"/>
              <a:gd name="connsiteX40" fmla="*/ 95341 w 252457"/>
              <a:gd name="connsiteY40" fmla="*/ 450699 h 464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252457" h="464050">
                <a:moveTo>
                  <a:pt x="95341" y="450699"/>
                </a:moveTo>
                <a:cubicBezTo>
                  <a:pt x="93174" y="444921"/>
                  <a:pt x="94662" y="435426"/>
                  <a:pt x="91007" y="429031"/>
                </a:cubicBezTo>
                <a:cubicBezTo>
                  <a:pt x="88423" y="424509"/>
                  <a:pt x="82664" y="422693"/>
                  <a:pt x="78006" y="420364"/>
                </a:cubicBezTo>
                <a:cubicBezTo>
                  <a:pt x="71079" y="416901"/>
                  <a:pt x="54151" y="413547"/>
                  <a:pt x="47671" y="411696"/>
                </a:cubicBezTo>
                <a:cubicBezTo>
                  <a:pt x="43279" y="410441"/>
                  <a:pt x="39004" y="408807"/>
                  <a:pt x="34670" y="407363"/>
                </a:cubicBezTo>
                <a:cubicBezTo>
                  <a:pt x="10026" y="382719"/>
                  <a:pt x="29878" y="406447"/>
                  <a:pt x="17335" y="381361"/>
                </a:cubicBezTo>
                <a:cubicBezTo>
                  <a:pt x="15006" y="376703"/>
                  <a:pt x="10783" y="373119"/>
                  <a:pt x="8668" y="368360"/>
                </a:cubicBezTo>
                <a:cubicBezTo>
                  <a:pt x="4957" y="360011"/>
                  <a:pt x="0" y="342358"/>
                  <a:pt x="0" y="342358"/>
                </a:cubicBezTo>
                <a:cubicBezTo>
                  <a:pt x="1445" y="332246"/>
                  <a:pt x="2037" y="321975"/>
                  <a:pt x="4334" y="312022"/>
                </a:cubicBezTo>
                <a:cubicBezTo>
                  <a:pt x="4336" y="312014"/>
                  <a:pt x="15167" y="279524"/>
                  <a:pt x="17335" y="273020"/>
                </a:cubicBezTo>
                <a:lnTo>
                  <a:pt x="26002" y="247018"/>
                </a:lnTo>
                <a:lnTo>
                  <a:pt x="30336" y="234017"/>
                </a:lnTo>
                <a:cubicBezTo>
                  <a:pt x="26350" y="206119"/>
                  <a:pt x="22460" y="197891"/>
                  <a:pt x="30336" y="169012"/>
                </a:cubicBezTo>
                <a:cubicBezTo>
                  <a:pt x="31706" y="163987"/>
                  <a:pt x="36114" y="160345"/>
                  <a:pt x="39003" y="156011"/>
                </a:cubicBezTo>
                <a:cubicBezTo>
                  <a:pt x="41039" y="131581"/>
                  <a:pt x="47981" y="106280"/>
                  <a:pt x="39003" y="82339"/>
                </a:cubicBezTo>
                <a:cubicBezTo>
                  <a:pt x="37174" y="77462"/>
                  <a:pt x="32451" y="74097"/>
                  <a:pt x="30336" y="69338"/>
                </a:cubicBezTo>
                <a:cubicBezTo>
                  <a:pt x="26626" y="60989"/>
                  <a:pt x="21669" y="43336"/>
                  <a:pt x="21669" y="43336"/>
                </a:cubicBezTo>
                <a:cubicBezTo>
                  <a:pt x="23113" y="37558"/>
                  <a:pt x="24366" y="31729"/>
                  <a:pt x="26002" y="26002"/>
                </a:cubicBezTo>
                <a:cubicBezTo>
                  <a:pt x="27257" y="21610"/>
                  <a:pt x="26619" y="15656"/>
                  <a:pt x="30336" y="13001"/>
                </a:cubicBezTo>
                <a:cubicBezTo>
                  <a:pt x="37770" y="7691"/>
                  <a:pt x="47671" y="7222"/>
                  <a:pt x="56338" y="4333"/>
                </a:cubicBezTo>
                <a:lnTo>
                  <a:pt x="69339" y="0"/>
                </a:lnTo>
                <a:cubicBezTo>
                  <a:pt x="101119" y="1444"/>
                  <a:pt x="132968" y="1796"/>
                  <a:pt x="164679" y="4333"/>
                </a:cubicBezTo>
                <a:cubicBezTo>
                  <a:pt x="169233" y="4697"/>
                  <a:pt x="173594" y="6624"/>
                  <a:pt x="177680" y="8667"/>
                </a:cubicBezTo>
                <a:cubicBezTo>
                  <a:pt x="182338" y="10996"/>
                  <a:pt x="186347" y="14445"/>
                  <a:pt x="190681" y="17334"/>
                </a:cubicBezTo>
                <a:cubicBezTo>
                  <a:pt x="200377" y="46421"/>
                  <a:pt x="199348" y="39753"/>
                  <a:pt x="199348" y="91006"/>
                </a:cubicBezTo>
                <a:cubicBezTo>
                  <a:pt x="199348" y="101469"/>
                  <a:pt x="194102" y="115414"/>
                  <a:pt x="190681" y="125676"/>
                </a:cubicBezTo>
                <a:cubicBezTo>
                  <a:pt x="192126" y="145900"/>
                  <a:pt x="192646" y="166211"/>
                  <a:pt x="195015" y="186347"/>
                </a:cubicBezTo>
                <a:cubicBezTo>
                  <a:pt x="197084" y="203938"/>
                  <a:pt x="200006" y="197215"/>
                  <a:pt x="212349" y="208015"/>
                </a:cubicBezTo>
                <a:cubicBezTo>
                  <a:pt x="232632" y="225762"/>
                  <a:pt x="230937" y="225061"/>
                  <a:pt x="242685" y="242684"/>
                </a:cubicBezTo>
                <a:cubicBezTo>
                  <a:pt x="252457" y="272004"/>
                  <a:pt x="249498" y="257519"/>
                  <a:pt x="242685" y="312022"/>
                </a:cubicBezTo>
                <a:cubicBezTo>
                  <a:pt x="242118" y="316555"/>
                  <a:pt x="240394" y="320937"/>
                  <a:pt x="238351" y="325023"/>
                </a:cubicBezTo>
                <a:cubicBezTo>
                  <a:pt x="236022" y="329681"/>
                  <a:pt x="232013" y="333366"/>
                  <a:pt x="229684" y="338024"/>
                </a:cubicBezTo>
                <a:cubicBezTo>
                  <a:pt x="224743" y="347907"/>
                  <a:pt x="227968" y="354051"/>
                  <a:pt x="216683" y="359693"/>
                </a:cubicBezTo>
                <a:cubicBezTo>
                  <a:pt x="208511" y="363779"/>
                  <a:pt x="199348" y="365471"/>
                  <a:pt x="190681" y="368360"/>
                </a:cubicBezTo>
                <a:cubicBezTo>
                  <a:pt x="186347" y="369805"/>
                  <a:pt x="181481" y="370160"/>
                  <a:pt x="177680" y="372694"/>
                </a:cubicBezTo>
                <a:lnTo>
                  <a:pt x="164679" y="381361"/>
                </a:lnTo>
                <a:lnTo>
                  <a:pt x="147345" y="433365"/>
                </a:lnTo>
                <a:cubicBezTo>
                  <a:pt x="145900" y="437699"/>
                  <a:pt x="147345" y="444922"/>
                  <a:pt x="143011" y="446366"/>
                </a:cubicBezTo>
                <a:lnTo>
                  <a:pt x="130010" y="450699"/>
                </a:lnTo>
                <a:cubicBezTo>
                  <a:pt x="117299" y="459174"/>
                  <a:pt x="118363" y="460112"/>
                  <a:pt x="104008" y="463700"/>
                </a:cubicBezTo>
                <a:cubicBezTo>
                  <a:pt x="102606" y="464050"/>
                  <a:pt x="97508" y="456477"/>
                  <a:pt x="95341" y="450699"/>
                </a:cubicBezTo>
                <a:close/>
              </a:path>
            </a:pathLst>
          </a:custGeom>
          <a:solidFill>
            <a:srgbClr val="FF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1" name="TextBox 121"/>
          <p:cNvSpPr txBox="1">
            <a:spLocks noChangeArrowheads="1"/>
          </p:cNvSpPr>
          <p:nvPr/>
        </p:nvSpPr>
        <p:spPr bwMode="auto">
          <a:xfrm rot="-4988139">
            <a:off x="5105403" y="5487978"/>
            <a:ext cx="6731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700">
                <a:latin typeface="Ramabhadra" pitchFamily="2" charset="0"/>
                <a:cs typeface="Ramabhadra" pitchFamily="2" charset="0"/>
              </a:rPr>
              <a:t>ఆల్బేనియా</a:t>
            </a:r>
          </a:p>
        </p:txBody>
      </p:sp>
      <p:sp>
        <p:nvSpPr>
          <p:cNvPr id="152" name="Freeform 151"/>
          <p:cNvSpPr/>
          <p:nvPr/>
        </p:nvSpPr>
        <p:spPr>
          <a:xfrm>
            <a:off x="5226051" y="4779437"/>
            <a:ext cx="503238" cy="719667"/>
          </a:xfrm>
          <a:custGeom>
            <a:avLst/>
            <a:gdLst>
              <a:gd name="connsiteX0" fmla="*/ 160345 w 502246"/>
              <a:gd name="connsiteY0" fmla="*/ 606711 h 719386"/>
              <a:gd name="connsiteX1" fmla="*/ 164679 w 502246"/>
              <a:gd name="connsiteY1" fmla="*/ 580709 h 719386"/>
              <a:gd name="connsiteX2" fmla="*/ 173346 w 502246"/>
              <a:gd name="connsiteY2" fmla="*/ 554707 h 719386"/>
              <a:gd name="connsiteX3" fmla="*/ 134343 w 502246"/>
              <a:gd name="connsiteY3" fmla="*/ 541706 h 719386"/>
              <a:gd name="connsiteX4" fmla="*/ 121342 w 502246"/>
              <a:gd name="connsiteY4" fmla="*/ 537373 h 719386"/>
              <a:gd name="connsiteX5" fmla="*/ 91007 w 502246"/>
              <a:gd name="connsiteY5" fmla="*/ 507037 h 719386"/>
              <a:gd name="connsiteX6" fmla="*/ 65005 w 502246"/>
              <a:gd name="connsiteY6" fmla="*/ 502703 h 719386"/>
              <a:gd name="connsiteX7" fmla="*/ 56337 w 502246"/>
              <a:gd name="connsiteY7" fmla="*/ 494036 h 719386"/>
              <a:gd name="connsiteX8" fmla="*/ 43337 w 502246"/>
              <a:gd name="connsiteY8" fmla="*/ 489703 h 719386"/>
              <a:gd name="connsiteX9" fmla="*/ 39003 w 502246"/>
              <a:gd name="connsiteY9" fmla="*/ 476702 h 719386"/>
              <a:gd name="connsiteX10" fmla="*/ 30336 w 502246"/>
              <a:gd name="connsiteY10" fmla="*/ 468034 h 719386"/>
              <a:gd name="connsiteX11" fmla="*/ 34669 w 502246"/>
              <a:gd name="connsiteY11" fmla="*/ 455033 h 719386"/>
              <a:gd name="connsiteX12" fmla="*/ 60671 w 502246"/>
              <a:gd name="connsiteY12" fmla="*/ 446366 h 719386"/>
              <a:gd name="connsiteX13" fmla="*/ 69338 w 502246"/>
              <a:gd name="connsiteY13" fmla="*/ 433365 h 719386"/>
              <a:gd name="connsiteX14" fmla="*/ 69338 w 502246"/>
              <a:gd name="connsiteY14" fmla="*/ 390029 h 719386"/>
              <a:gd name="connsiteX15" fmla="*/ 65005 w 502246"/>
              <a:gd name="connsiteY15" fmla="*/ 377028 h 719386"/>
              <a:gd name="connsiteX16" fmla="*/ 43337 w 502246"/>
              <a:gd name="connsiteY16" fmla="*/ 359693 h 719386"/>
              <a:gd name="connsiteX17" fmla="*/ 39003 w 502246"/>
              <a:gd name="connsiteY17" fmla="*/ 346692 h 719386"/>
              <a:gd name="connsiteX18" fmla="*/ 47670 w 502246"/>
              <a:gd name="connsiteY18" fmla="*/ 333691 h 719386"/>
              <a:gd name="connsiteX19" fmla="*/ 52004 w 502246"/>
              <a:gd name="connsiteY19" fmla="*/ 320690 h 719386"/>
              <a:gd name="connsiteX20" fmla="*/ 47670 w 502246"/>
              <a:gd name="connsiteY20" fmla="*/ 290355 h 719386"/>
              <a:gd name="connsiteX21" fmla="*/ 39003 w 502246"/>
              <a:gd name="connsiteY21" fmla="*/ 281687 h 719386"/>
              <a:gd name="connsiteX22" fmla="*/ 30336 w 502246"/>
              <a:gd name="connsiteY22" fmla="*/ 268686 h 719386"/>
              <a:gd name="connsiteX23" fmla="*/ 17335 w 502246"/>
              <a:gd name="connsiteY23" fmla="*/ 225350 h 719386"/>
              <a:gd name="connsiteX24" fmla="*/ 13001 w 502246"/>
              <a:gd name="connsiteY24" fmla="*/ 212349 h 719386"/>
              <a:gd name="connsiteX25" fmla="*/ 0 w 502246"/>
              <a:gd name="connsiteY25" fmla="*/ 203682 h 719386"/>
              <a:gd name="connsiteX26" fmla="*/ 17335 w 502246"/>
              <a:gd name="connsiteY26" fmla="*/ 186347 h 719386"/>
              <a:gd name="connsiteX27" fmla="*/ 39003 w 502246"/>
              <a:gd name="connsiteY27" fmla="*/ 169012 h 719386"/>
              <a:gd name="connsiteX28" fmla="*/ 39003 w 502246"/>
              <a:gd name="connsiteY28" fmla="*/ 138677 h 719386"/>
              <a:gd name="connsiteX29" fmla="*/ 26002 w 502246"/>
              <a:gd name="connsiteY29" fmla="*/ 130010 h 719386"/>
              <a:gd name="connsiteX30" fmla="*/ 17335 w 502246"/>
              <a:gd name="connsiteY30" fmla="*/ 104008 h 719386"/>
              <a:gd name="connsiteX31" fmla="*/ 13001 w 502246"/>
              <a:gd name="connsiteY31" fmla="*/ 86673 h 719386"/>
              <a:gd name="connsiteX32" fmla="*/ 4334 w 502246"/>
              <a:gd name="connsiteY32" fmla="*/ 60671 h 719386"/>
              <a:gd name="connsiteX33" fmla="*/ 13001 w 502246"/>
              <a:gd name="connsiteY33" fmla="*/ 30336 h 719386"/>
              <a:gd name="connsiteX34" fmla="*/ 26002 w 502246"/>
              <a:gd name="connsiteY34" fmla="*/ 26002 h 719386"/>
              <a:gd name="connsiteX35" fmla="*/ 39003 w 502246"/>
              <a:gd name="connsiteY35" fmla="*/ 17335 h 719386"/>
              <a:gd name="connsiteX36" fmla="*/ 65005 w 502246"/>
              <a:gd name="connsiteY36" fmla="*/ 8667 h 719386"/>
              <a:gd name="connsiteX37" fmla="*/ 82339 w 502246"/>
              <a:gd name="connsiteY37" fmla="*/ 0 h 719386"/>
              <a:gd name="connsiteX38" fmla="*/ 182013 w 502246"/>
              <a:gd name="connsiteY38" fmla="*/ 4334 h 719386"/>
              <a:gd name="connsiteX39" fmla="*/ 195014 w 502246"/>
              <a:gd name="connsiteY39" fmla="*/ 8667 h 719386"/>
              <a:gd name="connsiteX40" fmla="*/ 203682 w 502246"/>
              <a:gd name="connsiteY40" fmla="*/ 17335 h 719386"/>
              <a:gd name="connsiteX41" fmla="*/ 208015 w 502246"/>
              <a:gd name="connsiteY41" fmla="*/ 30336 h 719386"/>
              <a:gd name="connsiteX42" fmla="*/ 216683 w 502246"/>
              <a:gd name="connsiteY42" fmla="*/ 43337 h 719386"/>
              <a:gd name="connsiteX43" fmla="*/ 225350 w 502246"/>
              <a:gd name="connsiteY43" fmla="*/ 69339 h 719386"/>
              <a:gd name="connsiteX44" fmla="*/ 229683 w 502246"/>
              <a:gd name="connsiteY44" fmla="*/ 82340 h 719386"/>
              <a:gd name="connsiteX45" fmla="*/ 238351 w 502246"/>
              <a:gd name="connsiteY45" fmla="*/ 91007 h 719386"/>
              <a:gd name="connsiteX46" fmla="*/ 242684 w 502246"/>
              <a:gd name="connsiteY46" fmla="*/ 104008 h 719386"/>
              <a:gd name="connsiteX47" fmla="*/ 264353 w 502246"/>
              <a:gd name="connsiteY47" fmla="*/ 117009 h 719386"/>
              <a:gd name="connsiteX48" fmla="*/ 277354 w 502246"/>
              <a:gd name="connsiteY48" fmla="*/ 130010 h 719386"/>
              <a:gd name="connsiteX49" fmla="*/ 299022 w 502246"/>
              <a:gd name="connsiteY49" fmla="*/ 143011 h 719386"/>
              <a:gd name="connsiteX50" fmla="*/ 294688 w 502246"/>
              <a:gd name="connsiteY50" fmla="*/ 182013 h 719386"/>
              <a:gd name="connsiteX51" fmla="*/ 286021 w 502246"/>
              <a:gd name="connsiteY51" fmla="*/ 208015 h 719386"/>
              <a:gd name="connsiteX52" fmla="*/ 290355 w 502246"/>
              <a:gd name="connsiteY52" fmla="*/ 242685 h 719386"/>
              <a:gd name="connsiteX53" fmla="*/ 316356 w 502246"/>
              <a:gd name="connsiteY53" fmla="*/ 255685 h 719386"/>
              <a:gd name="connsiteX54" fmla="*/ 351026 w 502246"/>
              <a:gd name="connsiteY54" fmla="*/ 268686 h 719386"/>
              <a:gd name="connsiteX55" fmla="*/ 385695 w 502246"/>
              <a:gd name="connsiteY55" fmla="*/ 277354 h 719386"/>
              <a:gd name="connsiteX56" fmla="*/ 433365 w 502246"/>
              <a:gd name="connsiteY56" fmla="*/ 281687 h 719386"/>
              <a:gd name="connsiteX57" fmla="*/ 459367 w 502246"/>
              <a:gd name="connsiteY57" fmla="*/ 299022 h 719386"/>
              <a:gd name="connsiteX58" fmla="*/ 450700 w 502246"/>
              <a:gd name="connsiteY58" fmla="*/ 325024 h 719386"/>
              <a:gd name="connsiteX59" fmla="*/ 455033 w 502246"/>
              <a:gd name="connsiteY59" fmla="*/ 338025 h 719386"/>
              <a:gd name="connsiteX60" fmla="*/ 481035 w 502246"/>
              <a:gd name="connsiteY60" fmla="*/ 351026 h 719386"/>
              <a:gd name="connsiteX61" fmla="*/ 485369 w 502246"/>
              <a:gd name="connsiteY61" fmla="*/ 364027 h 719386"/>
              <a:gd name="connsiteX62" fmla="*/ 476701 w 502246"/>
              <a:gd name="connsiteY62" fmla="*/ 377028 h 719386"/>
              <a:gd name="connsiteX63" fmla="*/ 472368 w 502246"/>
              <a:gd name="connsiteY63" fmla="*/ 390029 h 719386"/>
              <a:gd name="connsiteX64" fmla="*/ 476701 w 502246"/>
              <a:gd name="connsiteY64" fmla="*/ 424698 h 719386"/>
              <a:gd name="connsiteX65" fmla="*/ 485369 w 502246"/>
              <a:gd name="connsiteY65" fmla="*/ 433365 h 719386"/>
              <a:gd name="connsiteX66" fmla="*/ 498370 w 502246"/>
              <a:gd name="connsiteY66" fmla="*/ 455033 h 719386"/>
              <a:gd name="connsiteX67" fmla="*/ 494036 w 502246"/>
              <a:gd name="connsiteY67" fmla="*/ 507037 h 719386"/>
              <a:gd name="connsiteX68" fmla="*/ 485369 w 502246"/>
              <a:gd name="connsiteY68" fmla="*/ 533039 h 719386"/>
              <a:gd name="connsiteX69" fmla="*/ 481035 w 502246"/>
              <a:gd name="connsiteY69" fmla="*/ 546040 h 719386"/>
              <a:gd name="connsiteX70" fmla="*/ 476701 w 502246"/>
              <a:gd name="connsiteY70" fmla="*/ 585043 h 719386"/>
              <a:gd name="connsiteX71" fmla="*/ 468034 w 502246"/>
              <a:gd name="connsiteY71" fmla="*/ 611045 h 719386"/>
              <a:gd name="connsiteX72" fmla="*/ 463701 w 502246"/>
              <a:gd name="connsiteY72" fmla="*/ 624046 h 719386"/>
              <a:gd name="connsiteX73" fmla="*/ 468034 w 502246"/>
              <a:gd name="connsiteY73" fmla="*/ 654381 h 719386"/>
              <a:gd name="connsiteX74" fmla="*/ 450700 w 502246"/>
              <a:gd name="connsiteY74" fmla="*/ 650048 h 719386"/>
              <a:gd name="connsiteX75" fmla="*/ 420364 w 502246"/>
              <a:gd name="connsiteY75" fmla="*/ 637047 h 719386"/>
              <a:gd name="connsiteX76" fmla="*/ 390028 w 502246"/>
              <a:gd name="connsiteY76" fmla="*/ 641380 h 719386"/>
              <a:gd name="connsiteX77" fmla="*/ 364027 w 502246"/>
              <a:gd name="connsiteY77" fmla="*/ 650048 h 719386"/>
              <a:gd name="connsiteX78" fmla="*/ 342358 w 502246"/>
              <a:gd name="connsiteY78" fmla="*/ 663049 h 719386"/>
              <a:gd name="connsiteX79" fmla="*/ 316356 w 502246"/>
              <a:gd name="connsiteY79" fmla="*/ 680383 h 719386"/>
              <a:gd name="connsiteX80" fmla="*/ 290355 w 502246"/>
              <a:gd name="connsiteY80" fmla="*/ 689050 h 719386"/>
              <a:gd name="connsiteX81" fmla="*/ 277354 w 502246"/>
              <a:gd name="connsiteY81" fmla="*/ 693384 h 719386"/>
              <a:gd name="connsiteX82" fmla="*/ 260019 w 502246"/>
              <a:gd name="connsiteY82" fmla="*/ 719386 h 719386"/>
              <a:gd name="connsiteX83" fmla="*/ 255685 w 502246"/>
              <a:gd name="connsiteY83" fmla="*/ 706385 h 719386"/>
              <a:gd name="connsiteX84" fmla="*/ 247018 w 502246"/>
              <a:gd name="connsiteY84" fmla="*/ 693384 h 719386"/>
              <a:gd name="connsiteX85" fmla="*/ 242684 w 502246"/>
              <a:gd name="connsiteY85" fmla="*/ 628379 h 719386"/>
              <a:gd name="connsiteX86" fmla="*/ 229683 w 502246"/>
              <a:gd name="connsiteY86" fmla="*/ 619712 h 719386"/>
              <a:gd name="connsiteX87" fmla="*/ 177680 w 502246"/>
              <a:gd name="connsiteY87" fmla="*/ 606711 h 719386"/>
              <a:gd name="connsiteX88" fmla="*/ 160345 w 502246"/>
              <a:gd name="connsiteY88" fmla="*/ 606711 h 719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502246" h="719386">
                <a:moveTo>
                  <a:pt x="160345" y="606711"/>
                </a:moveTo>
                <a:cubicBezTo>
                  <a:pt x="158178" y="602377"/>
                  <a:pt x="162548" y="589234"/>
                  <a:pt x="164679" y="580709"/>
                </a:cubicBezTo>
                <a:cubicBezTo>
                  <a:pt x="166895" y="571846"/>
                  <a:pt x="173346" y="554707"/>
                  <a:pt x="173346" y="554707"/>
                </a:cubicBezTo>
                <a:lnTo>
                  <a:pt x="134343" y="541706"/>
                </a:lnTo>
                <a:lnTo>
                  <a:pt x="121342" y="537373"/>
                </a:lnTo>
                <a:cubicBezTo>
                  <a:pt x="110591" y="505119"/>
                  <a:pt x="121436" y="512570"/>
                  <a:pt x="91007" y="507037"/>
                </a:cubicBezTo>
                <a:cubicBezTo>
                  <a:pt x="82362" y="505465"/>
                  <a:pt x="73672" y="504148"/>
                  <a:pt x="65005" y="502703"/>
                </a:cubicBezTo>
                <a:cubicBezTo>
                  <a:pt x="62116" y="499814"/>
                  <a:pt x="59841" y="496138"/>
                  <a:pt x="56337" y="494036"/>
                </a:cubicBezTo>
                <a:cubicBezTo>
                  <a:pt x="52420" y="491686"/>
                  <a:pt x="46567" y="492933"/>
                  <a:pt x="43337" y="489703"/>
                </a:cubicBezTo>
                <a:cubicBezTo>
                  <a:pt x="40107" y="486473"/>
                  <a:pt x="41353" y="480619"/>
                  <a:pt x="39003" y="476702"/>
                </a:cubicBezTo>
                <a:cubicBezTo>
                  <a:pt x="36901" y="473198"/>
                  <a:pt x="33225" y="470923"/>
                  <a:pt x="30336" y="468034"/>
                </a:cubicBezTo>
                <a:cubicBezTo>
                  <a:pt x="31780" y="463700"/>
                  <a:pt x="30952" y="457688"/>
                  <a:pt x="34669" y="455033"/>
                </a:cubicBezTo>
                <a:cubicBezTo>
                  <a:pt x="42103" y="449723"/>
                  <a:pt x="60671" y="446366"/>
                  <a:pt x="60671" y="446366"/>
                </a:cubicBezTo>
                <a:cubicBezTo>
                  <a:pt x="63560" y="442032"/>
                  <a:pt x="67009" y="438023"/>
                  <a:pt x="69338" y="433365"/>
                </a:cubicBezTo>
                <a:cubicBezTo>
                  <a:pt x="77347" y="417348"/>
                  <a:pt x="73325" y="409963"/>
                  <a:pt x="69338" y="390029"/>
                </a:cubicBezTo>
                <a:cubicBezTo>
                  <a:pt x="68442" y="385550"/>
                  <a:pt x="67355" y="380945"/>
                  <a:pt x="65005" y="377028"/>
                </a:cubicBezTo>
                <a:cubicBezTo>
                  <a:pt x="60889" y="370167"/>
                  <a:pt x="49242" y="363630"/>
                  <a:pt x="43337" y="359693"/>
                </a:cubicBezTo>
                <a:cubicBezTo>
                  <a:pt x="41892" y="355359"/>
                  <a:pt x="38252" y="351198"/>
                  <a:pt x="39003" y="346692"/>
                </a:cubicBezTo>
                <a:cubicBezTo>
                  <a:pt x="39859" y="341554"/>
                  <a:pt x="45341" y="338349"/>
                  <a:pt x="47670" y="333691"/>
                </a:cubicBezTo>
                <a:cubicBezTo>
                  <a:pt x="49713" y="329605"/>
                  <a:pt x="50559" y="325024"/>
                  <a:pt x="52004" y="320690"/>
                </a:cubicBezTo>
                <a:cubicBezTo>
                  <a:pt x="50559" y="310578"/>
                  <a:pt x="50900" y="300045"/>
                  <a:pt x="47670" y="290355"/>
                </a:cubicBezTo>
                <a:cubicBezTo>
                  <a:pt x="46378" y="286479"/>
                  <a:pt x="41555" y="284878"/>
                  <a:pt x="39003" y="281687"/>
                </a:cubicBezTo>
                <a:cubicBezTo>
                  <a:pt x="35750" y="277620"/>
                  <a:pt x="32451" y="273445"/>
                  <a:pt x="30336" y="268686"/>
                </a:cubicBezTo>
                <a:cubicBezTo>
                  <a:pt x="22091" y="250135"/>
                  <a:pt x="22380" y="243007"/>
                  <a:pt x="17335" y="225350"/>
                </a:cubicBezTo>
                <a:cubicBezTo>
                  <a:pt x="16080" y="220958"/>
                  <a:pt x="15855" y="215916"/>
                  <a:pt x="13001" y="212349"/>
                </a:cubicBezTo>
                <a:cubicBezTo>
                  <a:pt x="9747" y="208282"/>
                  <a:pt x="4334" y="206571"/>
                  <a:pt x="0" y="203682"/>
                </a:cubicBezTo>
                <a:cubicBezTo>
                  <a:pt x="5778" y="197904"/>
                  <a:pt x="10536" y="190880"/>
                  <a:pt x="17335" y="186347"/>
                </a:cubicBezTo>
                <a:cubicBezTo>
                  <a:pt x="33736" y="175414"/>
                  <a:pt x="26653" y="181363"/>
                  <a:pt x="39003" y="169012"/>
                </a:cubicBezTo>
                <a:cubicBezTo>
                  <a:pt x="42902" y="157316"/>
                  <a:pt x="47468" y="151375"/>
                  <a:pt x="39003" y="138677"/>
                </a:cubicBezTo>
                <a:cubicBezTo>
                  <a:pt x="36114" y="134343"/>
                  <a:pt x="30336" y="132899"/>
                  <a:pt x="26002" y="130010"/>
                </a:cubicBezTo>
                <a:cubicBezTo>
                  <a:pt x="23113" y="121343"/>
                  <a:pt x="19551" y="112871"/>
                  <a:pt x="17335" y="104008"/>
                </a:cubicBezTo>
                <a:cubicBezTo>
                  <a:pt x="15890" y="98230"/>
                  <a:pt x="14712" y="92378"/>
                  <a:pt x="13001" y="86673"/>
                </a:cubicBezTo>
                <a:cubicBezTo>
                  <a:pt x="10376" y="77922"/>
                  <a:pt x="4334" y="60671"/>
                  <a:pt x="4334" y="60671"/>
                </a:cubicBezTo>
                <a:cubicBezTo>
                  <a:pt x="4372" y="60519"/>
                  <a:pt x="10927" y="32410"/>
                  <a:pt x="13001" y="30336"/>
                </a:cubicBezTo>
                <a:cubicBezTo>
                  <a:pt x="16231" y="27106"/>
                  <a:pt x="21916" y="28045"/>
                  <a:pt x="26002" y="26002"/>
                </a:cubicBezTo>
                <a:cubicBezTo>
                  <a:pt x="30660" y="23673"/>
                  <a:pt x="34244" y="19450"/>
                  <a:pt x="39003" y="17335"/>
                </a:cubicBezTo>
                <a:cubicBezTo>
                  <a:pt x="47352" y="13624"/>
                  <a:pt x="56833" y="12753"/>
                  <a:pt x="65005" y="8667"/>
                </a:cubicBezTo>
                <a:lnTo>
                  <a:pt x="82339" y="0"/>
                </a:lnTo>
                <a:cubicBezTo>
                  <a:pt x="115564" y="1445"/>
                  <a:pt x="148855" y="1783"/>
                  <a:pt x="182013" y="4334"/>
                </a:cubicBezTo>
                <a:cubicBezTo>
                  <a:pt x="186568" y="4684"/>
                  <a:pt x="191097" y="6317"/>
                  <a:pt x="195014" y="8667"/>
                </a:cubicBezTo>
                <a:cubicBezTo>
                  <a:pt x="198518" y="10769"/>
                  <a:pt x="200793" y="14446"/>
                  <a:pt x="203682" y="17335"/>
                </a:cubicBezTo>
                <a:cubicBezTo>
                  <a:pt x="205126" y="21669"/>
                  <a:pt x="205972" y="26250"/>
                  <a:pt x="208015" y="30336"/>
                </a:cubicBezTo>
                <a:cubicBezTo>
                  <a:pt x="210344" y="34995"/>
                  <a:pt x="214568" y="38577"/>
                  <a:pt x="216683" y="43337"/>
                </a:cubicBezTo>
                <a:cubicBezTo>
                  <a:pt x="220394" y="51686"/>
                  <a:pt x="222461" y="60672"/>
                  <a:pt x="225350" y="69339"/>
                </a:cubicBezTo>
                <a:cubicBezTo>
                  <a:pt x="226794" y="73673"/>
                  <a:pt x="226453" y="79110"/>
                  <a:pt x="229683" y="82340"/>
                </a:cubicBezTo>
                <a:lnTo>
                  <a:pt x="238351" y="91007"/>
                </a:lnTo>
                <a:cubicBezTo>
                  <a:pt x="239795" y="95341"/>
                  <a:pt x="240334" y="100091"/>
                  <a:pt x="242684" y="104008"/>
                </a:cubicBezTo>
                <a:cubicBezTo>
                  <a:pt x="248632" y="113921"/>
                  <a:pt x="254128" y="113600"/>
                  <a:pt x="264353" y="117009"/>
                </a:cubicBezTo>
                <a:cubicBezTo>
                  <a:pt x="268687" y="121343"/>
                  <a:pt x="272255" y="126610"/>
                  <a:pt x="277354" y="130010"/>
                </a:cubicBezTo>
                <a:cubicBezTo>
                  <a:pt x="311103" y="152508"/>
                  <a:pt x="272034" y="116020"/>
                  <a:pt x="299022" y="143011"/>
                </a:cubicBezTo>
                <a:cubicBezTo>
                  <a:pt x="297577" y="156012"/>
                  <a:pt x="297253" y="169186"/>
                  <a:pt x="294688" y="182013"/>
                </a:cubicBezTo>
                <a:cubicBezTo>
                  <a:pt x="292896" y="190972"/>
                  <a:pt x="286021" y="208015"/>
                  <a:pt x="286021" y="208015"/>
                </a:cubicBezTo>
                <a:cubicBezTo>
                  <a:pt x="287466" y="219572"/>
                  <a:pt x="286030" y="231871"/>
                  <a:pt x="290355" y="242685"/>
                </a:cubicBezTo>
                <a:cubicBezTo>
                  <a:pt x="293063" y="249454"/>
                  <a:pt x="310775" y="253592"/>
                  <a:pt x="316356" y="255685"/>
                </a:cubicBezTo>
                <a:cubicBezTo>
                  <a:pt x="328054" y="260072"/>
                  <a:pt x="338990" y="265403"/>
                  <a:pt x="351026" y="268686"/>
                </a:cubicBezTo>
                <a:cubicBezTo>
                  <a:pt x="362518" y="271820"/>
                  <a:pt x="373832" y="276276"/>
                  <a:pt x="385695" y="277354"/>
                </a:cubicBezTo>
                <a:lnTo>
                  <a:pt x="433365" y="281687"/>
                </a:lnTo>
                <a:cubicBezTo>
                  <a:pt x="441013" y="284236"/>
                  <a:pt x="458118" y="287785"/>
                  <a:pt x="459367" y="299022"/>
                </a:cubicBezTo>
                <a:cubicBezTo>
                  <a:pt x="460376" y="308102"/>
                  <a:pt x="450700" y="325024"/>
                  <a:pt x="450700" y="325024"/>
                </a:cubicBezTo>
                <a:cubicBezTo>
                  <a:pt x="452144" y="329358"/>
                  <a:pt x="452179" y="334458"/>
                  <a:pt x="455033" y="338025"/>
                </a:cubicBezTo>
                <a:cubicBezTo>
                  <a:pt x="461142" y="345661"/>
                  <a:pt x="472472" y="348171"/>
                  <a:pt x="481035" y="351026"/>
                </a:cubicBezTo>
                <a:cubicBezTo>
                  <a:pt x="482480" y="355360"/>
                  <a:pt x="486120" y="359521"/>
                  <a:pt x="485369" y="364027"/>
                </a:cubicBezTo>
                <a:cubicBezTo>
                  <a:pt x="484513" y="369165"/>
                  <a:pt x="479030" y="372369"/>
                  <a:pt x="476701" y="377028"/>
                </a:cubicBezTo>
                <a:cubicBezTo>
                  <a:pt x="474658" y="381114"/>
                  <a:pt x="473812" y="385695"/>
                  <a:pt x="472368" y="390029"/>
                </a:cubicBezTo>
                <a:cubicBezTo>
                  <a:pt x="473812" y="401585"/>
                  <a:pt x="473354" y="413543"/>
                  <a:pt x="476701" y="424698"/>
                </a:cubicBezTo>
                <a:cubicBezTo>
                  <a:pt x="477875" y="428612"/>
                  <a:pt x="483267" y="429861"/>
                  <a:pt x="485369" y="433365"/>
                </a:cubicBezTo>
                <a:cubicBezTo>
                  <a:pt x="502246" y="461493"/>
                  <a:pt x="476407" y="433072"/>
                  <a:pt x="498370" y="455033"/>
                </a:cubicBezTo>
                <a:cubicBezTo>
                  <a:pt x="496925" y="472368"/>
                  <a:pt x="496896" y="489879"/>
                  <a:pt x="494036" y="507037"/>
                </a:cubicBezTo>
                <a:cubicBezTo>
                  <a:pt x="492534" y="516049"/>
                  <a:pt x="488258" y="524372"/>
                  <a:pt x="485369" y="533039"/>
                </a:cubicBezTo>
                <a:lnTo>
                  <a:pt x="481035" y="546040"/>
                </a:lnTo>
                <a:cubicBezTo>
                  <a:pt x="479590" y="559041"/>
                  <a:pt x="479266" y="572216"/>
                  <a:pt x="476701" y="585043"/>
                </a:cubicBezTo>
                <a:cubicBezTo>
                  <a:pt x="474909" y="594002"/>
                  <a:pt x="470923" y="602378"/>
                  <a:pt x="468034" y="611045"/>
                </a:cubicBezTo>
                <a:lnTo>
                  <a:pt x="463701" y="624046"/>
                </a:lnTo>
                <a:cubicBezTo>
                  <a:pt x="465145" y="634158"/>
                  <a:pt x="472602" y="645245"/>
                  <a:pt x="468034" y="654381"/>
                </a:cubicBezTo>
                <a:cubicBezTo>
                  <a:pt x="465370" y="659708"/>
                  <a:pt x="456174" y="652394"/>
                  <a:pt x="450700" y="650048"/>
                </a:cubicBezTo>
                <a:cubicBezTo>
                  <a:pt x="408804" y="632092"/>
                  <a:pt x="470127" y="649486"/>
                  <a:pt x="420364" y="637047"/>
                </a:cubicBezTo>
                <a:cubicBezTo>
                  <a:pt x="410252" y="638491"/>
                  <a:pt x="399981" y="639083"/>
                  <a:pt x="390028" y="641380"/>
                </a:cubicBezTo>
                <a:cubicBezTo>
                  <a:pt x="381126" y="643434"/>
                  <a:pt x="364027" y="650048"/>
                  <a:pt x="364027" y="650048"/>
                </a:cubicBezTo>
                <a:cubicBezTo>
                  <a:pt x="344580" y="669493"/>
                  <a:pt x="367675" y="648984"/>
                  <a:pt x="342358" y="663049"/>
                </a:cubicBezTo>
                <a:cubicBezTo>
                  <a:pt x="333252" y="668108"/>
                  <a:pt x="326238" y="677089"/>
                  <a:pt x="316356" y="680383"/>
                </a:cubicBezTo>
                <a:lnTo>
                  <a:pt x="290355" y="689050"/>
                </a:lnTo>
                <a:lnTo>
                  <a:pt x="277354" y="693384"/>
                </a:lnTo>
                <a:cubicBezTo>
                  <a:pt x="275115" y="700101"/>
                  <a:pt x="270839" y="719386"/>
                  <a:pt x="260019" y="719386"/>
                </a:cubicBezTo>
                <a:cubicBezTo>
                  <a:pt x="255451" y="719386"/>
                  <a:pt x="257728" y="710471"/>
                  <a:pt x="255685" y="706385"/>
                </a:cubicBezTo>
                <a:cubicBezTo>
                  <a:pt x="253356" y="701727"/>
                  <a:pt x="249907" y="697718"/>
                  <a:pt x="247018" y="693384"/>
                </a:cubicBezTo>
                <a:cubicBezTo>
                  <a:pt x="245573" y="671716"/>
                  <a:pt x="247658" y="649518"/>
                  <a:pt x="242684" y="628379"/>
                </a:cubicBezTo>
                <a:cubicBezTo>
                  <a:pt x="241491" y="623309"/>
                  <a:pt x="234442" y="621827"/>
                  <a:pt x="229683" y="619712"/>
                </a:cubicBezTo>
                <a:cubicBezTo>
                  <a:pt x="212860" y="612235"/>
                  <a:pt x="195849" y="608730"/>
                  <a:pt x="177680" y="606711"/>
                </a:cubicBezTo>
                <a:cubicBezTo>
                  <a:pt x="173373" y="606232"/>
                  <a:pt x="162512" y="611045"/>
                  <a:pt x="160345" y="606711"/>
                </a:cubicBezTo>
                <a:close/>
              </a:path>
            </a:pathLst>
          </a:custGeom>
          <a:solidFill>
            <a:srgbClr val="00C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3" name="TextBox 111"/>
          <p:cNvSpPr txBox="1">
            <a:spLocks noChangeArrowheads="1"/>
          </p:cNvSpPr>
          <p:nvPr/>
        </p:nvSpPr>
        <p:spPr bwMode="auto">
          <a:xfrm rot="2960353">
            <a:off x="4976025" y="4980090"/>
            <a:ext cx="9334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400">
                <a:latin typeface="Ramabhadra" pitchFamily="2" charset="0"/>
                <a:cs typeface="Ramabhadra" pitchFamily="2" charset="0"/>
              </a:rPr>
              <a:t>సెర్బియా</a:t>
            </a:r>
          </a:p>
        </p:txBody>
      </p:sp>
      <p:sp>
        <p:nvSpPr>
          <p:cNvPr id="154" name="Freeform 153"/>
          <p:cNvSpPr/>
          <p:nvPr/>
        </p:nvSpPr>
        <p:spPr>
          <a:xfrm>
            <a:off x="5184776" y="5283203"/>
            <a:ext cx="211138" cy="226484"/>
          </a:xfrm>
          <a:custGeom>
            <a:avLst/>
            <a:gdLst>
              <a:gd name="connsiteX0" fmla="*/ 127892 w 211106"/>
              <a:gd name="connsiteY0" fmla="*/ 216683 h 226072"/>
              <a:gd name="connsiteX1" fmla="*/ 54220 w 211106"/>
              <a:gd name="connsiteY1" fmla="*/ 212349 h 226072"/>
              <a:gd name="connsiteX2" fmla="*/ 45553 w 211106"/>
              <a:gd name="connsiteY2" fmla="*/ 199348 h 226072"/>
              <a:gd name="connsiteX3" fmla="*/ 36885 w 211106"/>
              <a:gd name="connsiteY3" fmla="*/ 173346 h 226072"/>
              <a:gd name="connsiteX4" fmla="*/ 10883 w 211106"/>
              <a:gd name="connsiteY4" fmla="*/ 156012 h 226072"/>
              <a:gd name="connsiteX5" fmla="*/ 2216 w 211106"/>
              <a:gd name="connsiteY5" fmla="*/ 130010 h 226072"/>
              <a:gd name="connsiteX6" fmla="*/ 10883 w 211106"/>
              <a:gd name="connsiteY6" fmla="*/ 99674 h 226072"/>
              <a:gd name="connsiteX7" fmla="*/ 19551 w 211106"/>
              <a:gd name="connsiteY7" fmla="*/ 91007 h 226072"/>
              <a:gd name="connsiteX8" fmla="*/ 28218 w 211106"/>
              <a:gd name="connsiteY8" fmla="*/ 65005 h 226072"/>
              <a:gd name="connsiteX9" fmla="*/ 32552 w 211106"/>
              <a:gd name="connsiteY9" fmla="*/ 21669 h 226072"/>
              <a:gd name="connsiteX10" fmla="*/ 45553 w 211106"/>
              <a:gd name="connsiteY10" fmla="*/ 13001 h 226072"/>
              <a:gd name="connsiteX11" fmla="*/ 75888 w 211106"/>
              <a:gd name="connsiteY11" fmla="*/ 0 h 226072"/>
              <a:gd name="connsiteX12" fmla="*/ 119225 w 211106"/>
              <a:gd name="connsiteY12" fmla="*/ 8668 h 226072"/>
              <a:gd name="connsiteX13" fmla="*/ 145227 w 211106"/>
              <a:gd name="connsiteY13" fmla="*/ 17335 h 226072"/>
              <a:gd name="connsiteX14" fmla="*/ 158228 w 211106"/>
              <a:gd name="connsiteY14" fmla="*/ 26002 h 226072"/>
              <a:gd name="connsiteX15" fmla="*/ 184229 w 211106"/>
              <a:gd name="connsiteY15" fmla="*/ 34670 h 226072"/>
              <a:gd name="connsiteX16" fmla="*/ 201564 w 211106"/>
              <a:gd name="connsiteY16" fmla="*/ 56338 h 226072"/>
              <a:gd name="connsiteX17" fmla="*/ 210231 w 211106"/>
              <a:gd name="connsiteY17" fmla="*/ 82340 h 226072"/>
              <a:gd name="connsiteX18" fmla="*/ 205898 w 211106"/>
              <a:gd name="connsiteY18" fmla="*/ 104008 h 226072"/>
              <a:gd name="connsiteX19" fmla="*/ 179896 w 211106"/>
              <a:gd name="connsiteY19" fmla="*/ 112675 h 226072"/>
              <a:gd name="connsiteX20" fmla="*/ 145227 w 211106"/>
              <a:gd name="connsiteY20" fmla="*/ 121343 h 226072"/>
              <a:gd name="connsiteX21" fmla="*/ 127892 w 211106"/>
              <a:gd name="connsiteY21" fmla="*/ 143011 h 226072"/>
              <a:gd name="connsiteX22" fmla="*/ 123558 w 211106"/>
              <a:gd name="connsiteY22" fmla="*/ 156012 h 226072"/>
              <a:gd name="connsiteX23" fmla="*/ 127892 w 211106"/>
              <a:gd name="connsiteY23" fmla="*/ 216683 h 226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11106" h="226072">
                <a:moveTo>
                  <a:pt x="127892" y="216683"/>
                </a:moveTo>
                <a:cubicBezTo>
                  <a:pt x="116336" y="226072"/>
                  <a:pt x="78292" y="217417"/>
                  <a:pt x="54220" y="212349"/>
                </a:cubicBezTo>
                <a:cubicBezTo>
                  <a:pt x="49123" y="211276"/>
                  <a:pt x="47668" y="204107"/>
                  <a:pt x="45553" y="199348"/>
                </a:cubicBezTo>
                <a:cubicBezTo>
                  <a:pt x="41842" y="190999"/>
                  <a:pt x="44487" y="178414"/>
                  <a:pt x="36885" y="173346"/>
                </a:cubicBezTo>
                <a:lnTo>
                  <a:pt x="10883" y="156012"/>
                </a:lnTo>
                <a:cubicBezTo>
                  <a:pt x="7994" y="147345"/>
                  <a:pt x="0" y="138873"/>
                  <a:pt x="2216" y="130010"/>
                </a:cubicBezTo>
                <a:cubicBezTo>
                  <a:pt x="3024" y="126777"/>
                  <a:pt x="8221" y="104111"/>
                  <a:pt x="10883" y="99674"/>
                </a:cubicBezTo>
                <a:cubicBezTo>
                  <a:pt x="12985" y="96170"/>
                  <a:pt x="16662" y="93896"/>
                  <a:pt x="19551" y="91007"/>
                </a:cubicBezTo>
                <a:cubicBezTo>
                  <a:pt x="22440" y="82340"/>
                  <a:pt x="27309" y="74096"/>
                  <a:pt x="28218" y="65005"/>
                </a:cubicBezTo>
                <a:cubicBezTo>
                  <a:pt x="29663" y="50560"/>
                  <a:pt x="27961" y="35441"/>
                  <a:pt x="32552" y="21669"/>
                </a:cubicBezTo>
                <a:cubicBezTo>
                  <a:pt x="34199" y="16728"/>
                  <a:pt x="41031" y="15585"/>
                  <a:pt x="45553" y="13001"/>
                </a:cubicBezTo>
                <a:cubicBezTo>
                  <a:pt x="60545" y="4434"/>
                  <a:pt x="61304" y="4862"/>
                  <a:pt x="75888" y="0"/>
                </a:cubicBezTo>
                <a:cubicBezTo>
                  <a:pt x="93462" y="2929"/>
                  <a:pt x="103061" y="3819"/>
                  <a:pt x="119225" y="8668"/>
                </a:cubicBezTo>
                <a:cubicBezTo>
                  <a:pt x="127976" y="11293"/>
                  <a:pt x="137625" y="12267"/>
                  <a:pt x="145227" y="17335"/>
                </a:cubicBezTo>
                <a:cubicBezTo>
                  <a:pt x="149561" y="20224"/>
                  <a:pt x="153469" y="23887"/>
                  <a:pt x="158228" y="26002"/>
                </a:cubicBezTo>
                <a:cubicBezTo>
                  <a:pt x="166576" y="29713"/>
                  <a:pt x="184229" y="34670"/>
                  <a:pt x="184229" y="34670"/>
                </a:cubicBezTo>
                <a:cubicBezTo>
                  <a:pt x="191434" y="41875"/>
                  <a:pt x="197190" y="46496"/>
                  <a:pt x="201564" y="56338"/>
                </a:cubicBezTo>
                <a:cubicBezTo>
                  <a:pt x="205274" y="64687"/>
                  <a:pt x="210231" y="82340"/>
                  <a:pt x="210231" y="82340"/>
                </a:cubicBezTo>
                <a:cubicBezTo>
                  <a:pt x="208787" y="89563"/>
                  <a:pt x="211106" y="98800"/>
                  <a:pt x="205898" y="104008"/>
                </a:cubicBezTo>
                <a:cubicBezTo>
                  <a:pt x="199438" y="110468"/>
                  <a:pt x="188563" y="109786"/>
                  <a:pt x="179896" y="112675"/>
                </a:cubicBezTo>
                <a:cubicBezTo>
                  <a:pt x="159903" y="119339"/>
                  <a:pt x="171381" y="116112"/>
                  <a:pt x="145227" y="121343"/>
                </a:cubicBezTo>
                <a:cubicBezTo>
                  <a:pt x="137163" y="129406"/>
                  <a:pt x="133360" y="132075"/>
                  <a:pt x="127892" y="143011"/>
                </a:cubicBezTo>
                <a:cubicBezTo>
                  <a:pt x="125849" y="147097"/>
                  <a:pt x="125003" y="151678"/>
                  <a:pt x="123558" y="156012"/>
                </a:cubicBezTo>
                <a:cubicBezTo>
                  <a:pt x="128898" y="209410"/>
                  <a:pt x="139448" y="207294"/>
                  <a:pt x="127892" y="216683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55" name="Straight Arrow Connector 154"/>
          <p:cNvCxnSpPr>
            <a:endCxn id="156" idx="0"/>
          </p:cNvCxnSpPr>
          <p:nvPr/>
        </p:nvCxnSpPr>
        <p:spPr>
          <a:xfrm rot="16200000" flipH="1">
            <a:off x="4918077" y="5685366"/>
            <a:ext cx="736605" cy="4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20"/>
          <p:cNvSpPr txBox="1">
            <a:spLocks noChangeArrowheads="1"/>
          </p:cNvSpPr>
          <p:nvPr/>
        </p:nvSpPr>
        <p:spPr bwMode="auto">
          <a:xfrm>
            <a:off x="4929193" y="6053671"/>
            <a:ext cx="7143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latin typeface="Ramabhadra" pitchFamily="2" charset="0"/>
                <a:cs typeface="Ramabhadra" pitchFamily="2" charset="0"/>
              </a:rPr>
              <a:t>మాంటినీగ్రొ</a:t>
            </a:r>
          </a:p>
        </p:txBody>
      </p:sp>
      <p:sp>
        <p:nvSpPr>
          <p:cNvPr id="158" name="Freeform 157"/>
          <p:cNvSpPr/>
          <p:nvPr/>
        </p:nvSpPr>
        <p:spPr>
          <a:xfrm>
            <a:off x="4857750" y="4931836"/>
            <a:ext cx="438150" cy="459317"/>
          </a:xfrm>
          <a:custGeom>
            <a:avLst/>
            <a:gdLst>
              <a:gd name="connsiteX0" fmla="*/ 338024 w 437698"/>
              <a:gd name="connsiteY0" fmla="*/ 448010 h 461011"/>
              <a:gd name="connsiteX1" fmla="*/ 320690 w 437698"/>
              <a:gd name="connsiteY1" fmla="*/ 435009 h 461011"/>
              <a:gd name="connsiteX2" fmla="*/ 307689 w 437698"/>
              <a:gd name="connsiteY2" fmla="*/ 430675 h 461011"/>
              <a:gd name="connsiteX3" fmla="*/ 294688 w 437698"/>
              <a:gd name="connsiteY3" fmla="*/ 422008 h 461011"/>
              <a:gd name="connsiteX4" fmla="*/ 286021 w 437698"/>
              <a:gd name="connsiteY4" fmla="*/ 409007 h 461011"/>
              <a:gd name="connsiteX5" fmla="*/ 268686 w 437698"/>
              <a:gd name="connsiteY5" fmla="*/ 391672 h 461011"/>
              <a:gd name="connsiteX6" fmla="*/ 260019 w 437698"/>
              <a:gd name="connsiteY6" fmla="*/ 378671 h 461011"/>
              <a:gd name="connsiteX7" fmla="*/ 234017 w 437698"/>
              <a:gd name="connsiteY7" fmla="*/ 370004 h 461011"/>
              <a:gd name="connsiteX8" fmla="*/ 221016 w 437698"/>
              <a:gd name="connsiteY8" fmla="*/ 365670 h 461011"/>
              <a:gd name="connsiteX9" fmla="*/ 208015 w 437698"/>
              <a:gd name="connsiteY9" fmla="*/ 361337 h 461011"/>
              <a:gd name="connsiteX10" fmla="*/ 190680 w 437698"/>
              <a:gd name="connsiteY10" fmla="*/ 344002 h 461011"/>
              <a:gd name="connsiteX11" fmla="*/ 182013 w 437698"/>
              <a:gd name="connsiteY11" fmla="*/ 313667 h 461011"/>
              <a:gd name="connsiteX12" fmla="*/ 169012 w 437698"/>
              <a:gd name="connsiteY12" fmla="*/ 291998 h 461011"/>
              <a:gd name="connsiteX13" fmla="*/ 143010 w 437698"/>
              <a:gd name="connsiteY13" fmla="*/ 283331 h 461011"/>
              <a:gd name="connsiteX14" fmla="*/ 130009 w 437698"/>
              <a:gd name="connsiteY14" fmla="*/ 278997 h 461011"/>
              <a:gd name="connsiteX15" fmla="*/ 117008 w 437698"/>
              <a:gd name="connsiteY15" fmla="*/ 274664 h 461011"/>
              <a:gd name="connsiteX16" fmla="*/ 78006 w 437698"/>
              <a:gd name="connsiteY16" fmla="*/ 252996 h 461011"/>
              <a:gd name="connsiteX17" fmla="*/ 69338 w 437698"/>
              <a:gd name="connsiteY17" fmla="*/ 244328 h 461011"/>
              <a:gd name="connsiteX18" fmla="*/ 60671 w 437698"/>
              <a:gd name="connsiteY18" fmla="*/ 231327 h 461011"/>
              <a:gd name="connsiteX19" fmla="*/ 47670 w 437698"/>
              <a:gd name="connsiteY19" fmla="*/ 213993 h 461011"/>
              <a:gd name="connsiteX20" fmla="*/ 39003 w 437698"/>
              <a:gd name="connsiteY20" fmla="*/ 187991 h 461011"/>
              <a:gd name="connsiteX21" fmla="*/ 34669 w 437698"/>
              <a:gd name="connsiteY21" fmla="*/ 170656 h 461011"/>
              <a:gd name="connsiteX22" fmla="*/ 26002 w 437698"/>
              <a:gd name="connsiteY22" fmla="*/ 144654 h 461011"/>
              <a:gd name="connsiteX23" fmla="*/ 21668 w 437698"/>
              <a:gd name="connsiteY23" fmla="*/ 131653 h 461011"/>
              <a:gd name="connsiteX24" fmla="*/ 13001 w 437698"/>
              <a:gd name="connsiteY24" fmla="*/ 109985 h 461011"/>
              <a:gd name="connsiteX25" fmla="*/ 8667 w 437698"/>
              <a:gd name="connsiteY25" fmla="*/ 83983 h 461011"/>
              <a:gd name="connsiteX26" fmla="*/ 0 w 437698"/>
              <a:gd name="connsiteY26" fmla="*/ 57981 h 461011"/>
              <a:gd name="connsiteX27" fmla="*/ 8667 w 437698"/>
              <a:gd name="connsiteY27" fmla="*/ 44980 h 461011"/>
              <a:gd name="connsiteX28" fmla="*/ 13001 w 437698"/>
              <a:gd name="connsiteY28" fmla="*/ 31979 h 461011"/>
              <a:gd name="connsiteX29" fmla="*/ 26002 w 437698"/>
              <a:gd name="connsiteY29" fmla="*/ 27646 h 461011"/>
              <a:gd name="connsiteX30" fmla="*/ 60671 w 437698"/>
              <a:gd name="connsiteY30" fmla="*/ 23312 h 461011"/>
              <a:gd name="connsiteX31" fmla="*/ 69338 w 437698"/>
              <a:gd name="connsiteY31" fmla="*/ 10311 h 461011"/>
              <a:gd name="connsiteX32" fmla="*/ 125676 w 437698"/>
              <a:gd name="connsiteY32" fmla="*/ 10311 h 461011"/>
              <a:gd name="connsiteX33" fmla="*/ 164679 w 437698"/>
              <a:gd name="connsiteY33" fmla="*/ 31979 h 461011"/>
              <a:gd name="connsiteX34" fmla="*/ 173346 w 437698"/>
              <a:gd name="connsiteY34" fmla="*/ 40647 h 461011"/>
              <a:gd name="connsiteX35" fmla="*/ 199348 w 437698"/>
              <a:gd name="connsiteY35" fmla="*/ 49314 h 461011"/>
              <a:gd name="connsiteX36" fmla="*/ 229683 w 437698"/>
              <a:gd name="connsiteY36" fmla="*/ 44980 h 461011"/>
              <a:gd name="connsiteX37" fmla="*/ 247018 w 437698"/>
              <a:gd name="connsiteY37" fmla="*/ 40647 h 461011"/>
              <a:gd name="connsiteX38" fmla="*/ 286021 w 437698"/>
              <a:gd name="connsiteY38" fmla="*/ 31979 h 461011"/>
              <a:gd name="connsiteX39" fmla="*/ 368360 w 437698"/>
              <a:gd name="connsiteY39" fmla="*/ 36313 h 461011"/>
              <a:gd name="connsiteX40" fmla="*/ 381361 w 437698"/>
              <a:gd name="connsiteY40" fmla="*/ 40647 h 461011"/>
              <a:gd name="connsiteX41" fmla="*/ 385695 w 437698"/>
              <a:gd name="connsiteY41" fmla="*/ 53648 h 461011"/>
              <a:gd name="connsiteX42" fmla="*/ 368360 w 437698"/>
              <a:gd name="connsiteY42" fmla="*/ 70982 h 461011"/>
              <a:gd name="connsiteX43" fmla="*/ 385695 w 437698"/>
              <a:gd name="connsiteY43" fmla="*/ 88317 h 461011"/>
              <a:gd name="connsiteX44" fmla="*/ 407363 w 437698"/>
              <a:gd name="connsiteY44" fmla="*/ 127320 h 461011"/>
              <a:gd name="connsiteX45" fmla="*/ 411697 w 437698"/>
              <a:gd name="connsiteY45" fmla="*/ 161989 h 461011"/>
              <a:gd name="connsiteX46" fmla="*/ 420364 w 437698"/>
              <a:gd name="connsiteY46" fmla="*/ 174990 h 461011"/>
              <a:gd name="connsiteX47" fmla="*/ 424697 w 437698"/>
              <a:gd name="connsiteY47" fmla="*/ 187991 h 461011"/>
              <a:gd name="connsiteX48" fmla="*/ 420364 w 437698"/>
              <a:gd name="connsiteY48" fmla="*/ 222660 h 461011"/>
              <a:gd name="connsiteX49" fmla="*/ 429031 w 437698"/>
              <a:gd name="connsiteY49" fmla="*/ 235661 h 461011"/>
              <a:gd name="connsiteX50" fmla="*/ 437698 w 437698"/>
              <a:gd name="connsiteY50" fmla="*/ 261663 h 461011"/>
              <a:gd name="connsiteX51" fmla="*/ 424697 w 437698"/>
              <a:gd name="connsiteY51" fmla="*/ 296332 h 461011"/>
              <a:gd name="connsiteX52" fmla="*/ 411697 w 437698"/>
              <a:gd name="connsiteY52" fmla="*/ 300666 h 461011"/>
              <a:gd name="connsiteX53" fmla="*/ 403029 w 437698"/>
              <a:gd name="connsiteY53" fmla="*/ 309333 h 461011"/>
              <a:gd name="connsiteX54" fmla="*/ 403029 w 437698"/>
              <a:gd name="connsiteY54" fmla="*/ 339669 h 461011"/>
              <a:gd name="connsiteX55" fmla="*/ 411697 w 437698"/>
              <a:gd name="connsiteY55" fmla="*/ 348336 h 461011"/>
              <a:gd name="connsiteX56" fmla="*/ 385695 w 437698"/>
              <a:gd name="connsiteY56" fmla="*/ 361337 h 461011"/>
              <a:gd name="connsiteX57" fmla="*/ 372694 w 437698"/>
              <a:gd name="connsiteY57" fmla="*/ 370004 h 461011"/>
              <a:gd name="connsiteX58" fmla="*/ 368360 w 437698"/>
              <a:gd name="connsiteY58" fmla="*/ 383005 h 461011"/>
              <a:gd name="connsiteX59" fmla="*/ 364026 w 437698"/>
              <a:gd name="connsiteY59" fmla="*/ 400340 h 461011"/>
              <a:gd name="connsiteX60" fmla="*/ 355359 w 437698"/>
              <a:gd name="connsiteY60" fmla="*/ 413341 h 461011"/>
              <a:gd name="connsiteX61" fmla="*/ 325024 w 437698"/>
              <a:gd name="connsiteY61" fmla="*/ 461011 h 461011"/>
              <a:gd name="connsiteX62" fmla="*/ 338024 w 437698"/>
              <a:gd name="connsiteY62" fmla="*/ 448010 h 461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437698" h="461011">
                <a:moveTo>
                  <a:pt x="338024" y="448010"/>
                </a:moveTo>
                <a:cubicBezTo>
                  <a:pt x="332246" y="443676"/>
                  <a:pt x="326961" y="438593"/>
                  <a:pt x="320690" y="435009"/>
                </a:cubicBezTo>
                <a:cubicBezTo>
                  <a:pt x="316724" y="432743"/>
                  <a:pt x="311775" y="432718"/>
                  <a:pt x="307689" y="430675"/>
                </a:cubicBezTo>
                <a:cubicBezTo>
                  <a:pt x="303031" y="428346"/>
                  <a:pt x="299022" y="424897"/>
                  <a:pt x="294688" y="422008"/>
                </a:cubicBezTo>
                <a:cubicBezTo>
                  <a:pt x="291799" y="417674"/>
                  <a:pt x="289411" y="412961"/>
                  <a:pt x="286021" y="409007"/>
                </a:cubicBezTo>
                <a:cubicBezTo>
                  <a:pt x="280703" y="402802"/>
                  <a:pt x="273219" y="398471"/>
                  <a:pt x="268686" y="391672"/>
                </a:cubicBezTo>
                <a:cubicBezTo>
                  <a:pt x="265797" y="387338"/>
                  <a:pt x="264436" y="381431"/>
                  <a:pt x="260019" y="378671"/>
                </a:cubicBezTo>
                <a:cubicBezTo>
                  <a:pt x="252272" y="373829"/>
                  <a:pt x="242684" y="372893"/>
                  <a:pt x="234017" y="370004"/>
                </a:cubicBezTo>
                <a:lnTo>
                  <a:pt x="221016" y="365670"/>
                </a:lnTo>
                <a:lnTo>
                  <a:pt x="208015" y="361337"/>
                </a:lnTo>
                <a:cubicBezTo>
                  <a:pt x="202237" y="355559"/>
                  <a:pt x="193264" y="351755"/>
                  <a:pt x="190680" y="344002"/>
                </a:cubicBezTo>
                <a:cubicBezTo>
                  <a:pt x="180284" y="312810"/>
                  <a:pt x="192905" y="351784"/>
                  <a:pt x="182013" y="313667"/>
                </a:cubicBezTo>
                <a:cubicBezTo>
                  <a:pt x="179542" y="305019"/>
                  <a:pt x="178087" y="296536"/>
                  <a:pt x="169012" y="291998"/>
                </a:cubicBezTo>
                <a:cubicBezTo>
                  <a:pt x="160840" y="287912"/>
                  <a:pt x="151677" y="286220"/>
                  <a:pt x="143010" y="283331"/>
                </a:cubicBezTo>
                <a:lnTo>
                  <a:pt x="130009" y="278997"/>
                </a:lnTo>
                <a:lnTo>
                  <a:pt x="117008" y="274664"/>
                </a:lnTo>
                <a:cubicBezTo>
                  <a:pt x="87205" y="254795"/>
                  <a:pt x="100888" y="260623"/>
                  <a:pt x="78006" y="252996"/>
                </a:cubicBezTo>
                <a:cubicBezTo>
                  <a:pt x="75117" y="250107"/>
                  <a:pt x="71891" y="247519"/>
                  <a:pt x="69338" y="244328"/>
                </a:cubicBezTo>
                <a:cubicBezTo>
                  <a:pt x="66084" y="240261"/>
                  <a:pt x="63698" y="235565"/>
                  <a:pt x="60671" y="231327"/>
                </a:cubicBezTo>
                <a:cubicBezTo>
                  <a:pt x="56473" y="225450"/>
                  <a:pt x="52004" y="219771"/>
                  <a:pt x="47670" y="213993"/>
                </a:cubicBezTo>
                <a:cubicBezTo>
                  <a:pt x="44781" y="205326"/>
                  <a:pt x="41219" y="196854"/>
                  <a:pt x="39003" y="187991"/>
                </a:cubicBezTo>
                <a:cubicBezTo>
                  <a:pt x="37558" y="182213"/>
                  <a:pt x="36380" y="176361"/>
                  <a:pt x="34669" y="170656"/>
                </a:cubicBezTo>
                <a:cubicBezTo>
                  <a:pt x="32044" y="161905"/>
                  <a:pt x="28891" y="153321"/>
                  <a:pt x="26002" y="144654"/>
                </a:cubicBezTo>
                <a:cubicBezTo>
                  <a:pt x="24557" y="140320"/>
                  <a:pt x="23365" y="135894"/>
                  <a:pt x="21668" y="131653"/>
                </a:cubicBezTo>
                <a:lnTo>
                  <a:pt x="13001" y="109985"/>
                </a:lnTo>
                <a:cubicBezTo>
                  <a:pt x="11556" y="101318"/>
                  <a:pt x="10798" y="92508"/>
                  <a:pt x="8667" y="83983"/>
                </a:cubicBezTo>
                <a:cubicBezTo>
                  <a:pt x="6451" y="75120"/>
                  <a:pt x="0" y="57981"/>
                  <a:pt x="0" y="57981"/>
                </a:cubicBezTo>
                <a:cubicBezTo>
                  <a:pt x="2889" y="53647"/>
                  <a:pt x="6338" y="49638"/>
                  <a:pt x="8667" y="44980"/>
                </a:cubicBezTo>
                <a:cubicBezTo>
                  <a:pt x="10710" y="40894"/>
                  <a:pt x="9771" y="35209"/>
                  <a:pt x="13001" y="31979"/>
                </a:cubicBezTo>
                <a:cubicBezTo>
                  <a:pt x="16231" y="28749"/>
                  <a:pt x="21508" y="28463"/>
                  <a:pt x="26002" y="27646"/>
                </a:cubicBezTo>
                <a:cubicBezTo>
                  <a:pt x="37460" y="25563"/>
                  <a:pt x="49115" y="24757"/>
                  <a:pt x="60671" y="23312"/>
                </a:cubicBezTo>
                <a:cubicBezTo>
                  <a:pt x="63560" y="18978"/>
                  <a:pt x="65271" y="13565"/>
                  <a:pt x="69338" y="10311"/>
                </a:cubicBezTo>
                <a:cubicBezTo>
                  <a:pt x="82228" y="0"/>
                  <a:pt x="121920" y="9935"/>
                  <a:pt x="125676" y="10311"/>
                </a:cubicBezTo>
                <a:cubicBezTo>
                  <a:pt x="142022" y="15760"/>
                  <a:pt x="149782" y="17080"/>
                  <a:pt x="164679" y="31979"/>
                </a:cubicBezTo>
                <a:cubicBezTo>
                  <a:pt x="167568" y="34868"/>
                  <a:pt x="169691" y="38820"/>
                  <a:pt x="173346" y="40647"/>
                </a:cubicBezTo>
                <a:cubicBezTo>
                  <a:pt x="181518" y="44733"/>
                  <a:pt x="199348" y="49314"/>
                  <a:pt x="199348" y="49314"/>
                </a:cubicBezTo>
                <a:cubicBezTo>
                  <a:pt x="209460" y="47869"/>
                  <a:pt x="219633" y="46807"/>
                  <a:pt x="229683" y="44980"/>
                </a:cubicBezTo>
                <a:cubicBezTo>
                  <a:pt x="235543" y="43915"/>
                  <a:pt x="241204" y="41939"/>
                  <a:pt x="247018" y="40647"/>
                </a:cubicBezTo>
                <a:cubicBezTo>
                  <a:pt x="296488" y="29654"/>
                  <a:pt x="243781" y="42540"/>
                  <a:pt x="286021" y="31979"/>
                </a:cubicBezTo>
                <a:cubicBezTo>
                  <a:pt x="313467" y="33424"/>
                  <a:pt x="340989" y="33824"/>
                  <a:pt x="368360" y="36313"/>
                </a:cubicBezTo>
                <a:cubicBezTo>
                  <a:pt x="372909" y="36727"/>
                  <a:pt x="378131" y="37417"/>
                  <a:pt x="381361" y="40647"/>
                </a:cubicBezTo>
                <a:cubicBezTo>
                  <a:pt x="384591" y="43877"/>
                  <a:pt x="384250" y="49314"/>
                  <a:pt x="385695" y="53648"/>
                </a:cubicBezTo>
                <a:cubicBezTo>
                  <a:pt x="379917" y="55574"/>
                  <a:pt x="362582" y="57499"/>
                  <a:pt x="368360" y="70982"/>
                </a:cubicBezTo>
                <a:cubicBezTo>
                  <a:pt x="371579" y="78493"/>
                  <a:pt x="381162" y="81518"/>
                  <a:pt x="385695" y="88317"/>
                </a:cubicBezTo>
                <a:cubicBezTo>
                  <a:pt x="405563" y="118120"/>
                  <a:pt x="399735" y="104437"/>
                  <a:pt x="407363" y="127320"/>
                </a:cubicBezTo>
                <a:cubicBezTo>
                  <a:pt x="408808" y="138876"/>
                  <a:pt x="408633" y="150753"/>
                  <a:pt x="411697" y="161989"/>
                </a:cubicBezTo>
                <a:cubicBezTo>
                  <a:pt x="413067" y="167014"/>
                  <a:pt x="418035" y="170331"/>
                  <a:pt x="420364" y="174990"/>
                </a:cubicBezTo>
                <a:cubicBezTo>
                  <a:pt x="422407" y="179076"/>
                  <a:pt x="423253" y="183657"/>
                  <a:pt x="424697" y="187991"/>
                </a:cubicBezTo>
                <a:cubicBezTo>
                  <a:pt x="404474" y="218327"/>
                  <a:pt x="398696" y="208215"/>
                  <a:pt x="420364" y="222660"/>
                </a:cubicBezTo>
                <a:cubicBezTo>
                  <a:pt x="423253" y="226994"/>
                  <a:pt x="426916" y="230902"/>
                  <a:pt x="429031" y="235661"/>
                </a:cubicBezTo>
                <a:cubicBezTo>
                  <a:pt x="432741" y="244010"/>
                  <a:pt x="437698" y="261663"/>
                  <a:pt x="437698" y="261663"/>
                </a:cubicBezTo>
                <a:cubicBezTo>
                  <a:pt x="435349" y="273412"/>
                  <a:pt x="435326" y="287828"/>
                  <a:pt x="424697" y="296332"/>
                </a:cubicBezTo>
                <a:cubicBezTo>
                  <a:pt x="421130" y="299186"/>
                  <a:pt x="416030" y="299221"/>
                  <a:pt x="411697" y="300666"/>
                </a:cubicBezTo>
                <a:cubicBezTo>
                  <a:pt x="408808" y="303555"/>
                  <a:pt x="405131" y="305829"/>
                  <a:pt x="403029" y="309333"/>
                </a:cubicBezTo>
                <a:cubicBezTo>
                  <a:pt x="396828" y="319667"/>
                  <a:pt x="397568" y="328747"/>
                  <a:pt x="403029" y="339669"/>
                </a:cubicBezTo>
                <a:cubicBezTo>
                  <a:pt x="404856" y="343324"/>
                  <a:pt x="408808" y="345447"/>
                  <a:pt x="411697" y="348336"/>
                </a:cubicBezTo>
                <a:cubicBezTo>
                  <a:pt x="394251" y="365780"/>
                  <a:pt x="413649" y="349356"/>
                  <a:pt x="385695" y="361337"/>
                </a:cubicBezTo>
                <a:cubicBezTo>
                  <a:pt x="380908" y="363389"/>
                  <a:pt x="377028" y="367115"/>
                  <a:pt x="372694" y="370004"/>
                </a:cubicBezTo>
                <a:cubicBezTo>
                  <a:pt x="371249" y="374338"/>
                  <a:pt x="369615" y="378613"/>
                  <a:pt x="368360" y="383005"/>
                </a:cubicBezTo>
                <a:cubicBezTo>
                  <a:pt x="366724" y="388732"/>
                  <a:pt x="366372" y="394865"/>
                  <a:pt x="364026" y="400340"/>
                </a:cubicBezTo>
                <a:cubicBezTo>
                  <a:pt x="361974" y="405127"/>
                  <a:pt x="357474" y="408582"/>
                  <a:pt x="355359" y="413341"/>
                </a:cubicBezTo>
                <a:cubicBezTo>
                  <a:pt x="350678" y="423874"/>
                  <a:pt x="345084" y="461011"/>
                  <a:pt x="325024" y="461011"/>
                </a:cubicBezTo>
                <a:lnTo>
                  <a:pt x="338024" y="44801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9" name="TextBox 107"/>
          <p:cNvSpPr txBox="1">
            <a:spLocks noChangeArrowheads="1"/>
          </p:cNvSpPr>
          <p:nvPr/>
        </p:nvSpPr>
        <p:spPr bwMode="auto">
          <a:xfrm>
            <a:off x="4294188" y="6286500"/>
            <a:ext cx="1357312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dirty="0" err="1">
                <a:latin typeface="Ramabhadra" pitchFamily="2" charset="0"/>
                <a:cs typeface="Ramabhadra" pitchFamily="2" charset="0"/>
              </a:rPr>
              <a:t>బోస్నియా</a:t>
            </a:r>
            <a:r>
              <a:rPr lang="en-US" sz="1050" dirty="0">
                <a:latin typeface="Ramabhadra" pitchFamily="2" charset="0"/>
                <a:cs typeface="Ramabhadra" pitchFamily="2" charset="0"/>
              </a:rPr>
              <a:t> &amp; </a:t>
            </a:r>
            <a:r>
              <a:rPr lang="en-US" sz="1050" dirty="0" err="1">
                <a:latin typeface="Ramabhadra" pitchFamily="2" charset="0"/>
                <a:cs typeface="Ramabhadra" pitchFamily="2" charset="0"/>
              </a:rPr>
              <a:t>హెర్జిగోవినా</a:t>
            </a:r>
            <a:endParaRPr lang="en-US" sz="1050" dirty="0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161" name="Straight Arrow Connector 160"/>
          <p:cNvCxnSpPr/>
          <p:nvPr/>
        </p:nvCxnSpPr>
        <p:spPr>
          <a:xfrm flipH="1">
            <a:off x="4859344" y="5084236"/>
            <a:ext cx="288925" cy="1297517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Freeform 161"/>
          <p:cNvSpPr/>
          <p:nvPr/>
        </p:nvSpPr>
        <p:spPr>
          <a:xfrm>
            <a:off x="4567241" y="4711704"/>
            <a:ext cx="700087" cy="704851"/>
          </a:xfrm>
          <a:custGeom>
            <a:avLst/>
            <a:gdLst>
              <a:gd name="connsiteX0" fmla="*/ 613178 w 700067"/>
              <a:gd name="connsiteY0" fmla="*/ 675640 h 705538"/>
              <a:gd name="connsiteX1" fmla="*/ 596628 w 700067"/>
              <a:gd name="connsiteY1" fmla="*/ 704603 h 705538"/>
              <a:gd name="connsiteX2" fmla="*/ 580077 w 700067"/>
              <a:gd name="connsiteY2" fmla="*/ 700465 h 705538"/>
              <a:gd name="connsiteX3" fmla="*/ 567665 w 700067"/>
              <a:gd name="connsiteY3" fmla="*/ 696327 h 705538"/>
              <a:gd name="connsiteX4" fmla="*/ 555252 w 700067"/>
              <a:gd name="connsiteY4" fmla="*/ 683915 h 705538"/>
              <a:gd name="connsiteX5" fmla="*/ 551114 w 700067"/>
              <a:gd name="connsiteY5" fmla="*/ 671502 h 705538"/>
              <a:gd name="connsiteX6" fmla="*/ 538702 w 700067"/>
              <a:gd name="connsiteY6" fmla="*/ 667365 h 705538"/>
              <a:gd name="connsiteX7" fmla="*/ 505601 w 700067"/>
              <a:gd name="connsiteY7" fmla="*/ 654952 h 705538"/>
              <a:gd name="connsiteX8" fmla="*/ 480776 w 700067"/>
              <a:gd name="connsiteY8" fmla="*/ 646677 h 705538"/>
              <a:gd name="connsiteX9" fmla="*/ 468363 w 700067"/>
              <a:gd name="connsiteY9" fmla="*/ 638402 h 705538"/>
              <a:gd name="connsiteX10" fmla="*/ 443538 w 700067"/>
              <a:gd name="connsiteY10" fmla="*/ 617714 h 705538"/>
              <a:gd name="connsiteX11" fmla="*/ 402162 w 700067"/>
              <a:gd name="connsiteY11" fmla="*/ 605301 h 705538"/>
              <a:gd name="connsiteX12" fmla="*/ 373200 w 700067"/>
              <a:gd name="connsiteY12" fmla="*/ 597026 h 705538"/>
              <a:gd name="connsiteX13" fmla="*/ 360787 w 700067"/>
              <a:gd name="connsiteY13" fmla="*/ 588751 h 705538"/>
              <a:gd name="connsiteX14" fmla="*/ 344237 w 700067"/>
              <a:gd name="connsiteY14" fmla="*/ 580476 h 705538"/>
              <a:gd name="connsiteX15" fmla="*/ 335962 w 700067"/>
              <a:gd name="connsiteY15" fmla="*/ 568063 h 705538"/>
              <a:gd name="connsiteX16" fmla="*/ 331824 w 700067"/>
              <a:gd name="connsiteY16" fmla="*/ 506000 h 705538"/>
              <a:gd name="connsiteX17" fmla="*/ 319411 w 700067"/>
              <a:gd name="connsiteY17" fmla="*/ 497725 h 705538"/>
              <a:gd name="connsiteX18" fmla="*/ 294586 w 700067"/>
              <a:gd name="connsiteY18" fmla="*/ 489450 h 705538"/>
              <a:gd name="connsiteX19" fmla="*/ 282173 w 700067"/>
              <a:gd name="connsiteY19" fmla="*/ 485312 h 705538"/>
              <a:gd name="connsiteX20" fmla="*/ 257348 w 700067"/>
              <a:gd name="connsiteY20" fmla="*/ 468762 h 705538"/>
              <a:gd name="connsiteX21" fmla="*/ 249073 w 700067"/>
              <a:gd name="connsiteY21" fmla="*/ 456349 h 705538"/>
              <a:gd name="connsiteX22" fmla="*/ 244935 w 700067"/>
              <a:gd name="connsiteY22" fmla="*/ 443936 h 705538"/>
              <a:gd name="connsiteX23" fmla="*/ 228385 w 700067"/>
              <a:gd name="connsiteY23" fmla="*/ 419111 h 705538"/>
              <a:gd name="connsiteX24" fmla="*/ 220110 w 700067"/>
              <a:gd name="connsiteY24" fmla="*/ 406698 h 705538"/>
              <a:gd name="connsiteX25" fmla="*/ 211835 w 700067"/>
              <a:gd name="connsiteY25" fmla="*/ 381873 h 705538"/>
              <a:gd name="connsiteX26" fmla="*/ 191147 w 700067"/>
              <a:gd name="connsiteY26" fmla="*/ 344635 h 705538"/>
              <a:gd name="connsiteX27" fmla="*/ 187009 w 700067"/>
              <a:gd name="connsiteY27" fmla="*/ 303260 h 705538"/>
              <a:gd name="connsiteX28" fmla="*/ 166322 w 700067"/>
              <a:gd name="connsiteY28" fmla="*/ 282572 h 705538"/>
              <a:gd name="connsiteX29" fmla="*/ 153909 w 700067"/>
              <a:gd name="connsiteY29" fmla="*/ 270159 h 705538"/>
              <a:gd name="connsiteX30" fmla="*/ 141496 w 700067"/>
              <a:gd name="connsiteY30" fmla="*/ 245334 h 705538"/>
              <a:gd name="connsiteX31" fmla="*/ 116671 w 700067"/>
              <a:gd name="connsiteY31" fmla="*/ 237059 h 705538"/>
              <a:gd name="connsiteX32" fmla="*/ 87708 w 700067"/>
              <a:gd name="connsiteY32" fmla="*/ 253609 h 705538"/>
              <a:gd name="connsiteX33" fmla="*/ 67020 w 700067"/>
              <a:gd name="connsiteY33" fmla="*/ 282572 h 705538"/>
              <a:gd name="connsiteX34" fmla="*/ 46333 w 700067"/>
              <a:gd name="connsiteY34" fmla="*/ 278434 h 705538"/>
              <a:gd name="connsiteX35" fmla="*/ 21507 w 700067"/>
              <a:gd name="connsiteY35" fmla="*/ 274297 h 705538"/>
              <a:gd name="connsiteX36" fmla="*/ 9095 w 700067"/>
              <a:gd name="connsiteY36" fmla="*/ 261884 h 705538"/>
              <a:gd name="connsiteX37" fmla="*/ 9095 w 700067"/>
              <a:gd name="connsiteY37" fmla="*/ 199821 h 705538"/>
              <a:gd name="connsiteX38" fmla="*/ 13232 w 700067"/>
              <a:gd name="connsiteY38" fmla="*/ 174995 h 705538"/>
              <a:gd name="connsiteX39" fmla="*/ 33920 w 700067"/>
              <a:gd name="connsiteY39" fmla="*/ 137757 h 705538"/>
              <a:gd name="connsiteX40" fmla="*/ 46333 w 700067"/>
              <a:gd name="connsiteY40" fmla="*/ 129482 h 705538"/>
              <a:gd name="connsiteX41" fmla="*/ 141496 w 700067"/>
              <a:gd name="connsiteY41" fmla="*/ 133620 h 705538"/>
              <a:gd name="connsiteX42" fmla="*/ 166322 w 700067"/>
              <a:gd name="connsiteY42" fmla="*/ 141895 h 705538"/>
              <a:gd name="connsiteX43" fmla="*/ 178734 w 700067"/>
              <a:gd name="connsiteY43" fmla="*/ 150170 h 705538"/>
              <a:gd name="connsiteX44" fmla="*/ 187009 w 700067"/>
              <a:gd name="connsiteY44" fmla="*/ 162583 h 705538"/>
              <a:gd name="connsiteX45" fmla="*/ 199422 w 700067"/>
              <a:gd name="connsiteY45" fmla="*/ 166720 h 705538"/>
              <a:gd name="connsiteX46" fmla="*/ 211835 w 700067"/>
              <a:gd name="connsiteY46" fmla="*/ 174995 h 705538"/>
              <a:gd name="connsiteX47" fmla="*/ 228385 w 700067"/>
              <a:gd name="connsiteY47" fmla="*/ 170858 h 705538"/>
              <a:gd name="connsiteX48" fmla="*/ 232523 w 700067"/>
              <a:gd name="connsiteY48" fmla="*/ 141895 h 705538"/>
              <a:gd name="connsiteX49" fmla="*/ 273898 w 700067"/>
              <a:gd name="connsiteY49" fmla="*/ 146032 h 705538"/>
              <a:gd name="connsiteX50" fmla="*/ 286311 w 700067"/>
              <a:gd name="connsiteY50" fmla="*/ 141895 h 705538"/>
              <a:gd name="connsiteX51" fmla="*/ 290448 w 700067"/>
              <a:gd name="connsiteY51" fmla="*/ 125345 h 705538"/>
              <a:gd name="connsiteX52" fmla="*/ 294586 w 700067"/>
              <a:gd name="connsiteY52" fmla="*/ 112932 h 705538"/>
              <a:gd name="connsiteX53" fmla="*/ 319411 w 700067"/>
              <a:gd name="connsiteY53" fmla="*/ 100519 h 705538"/>
              <a:gd name="connsiteX54" fmla="*/ 335962 w 700067"/>
              <a:gd name="connsiteY54" fmla="*/ 75694 h 705538"/>
              <a:gd name="connsiteX55" fmla="*/ 344237 w 700067"/>
              <a:gd name="connsiteY55" fmla="*/ 63281 h 705538"/>
              <a:gd name="connsiteX56" fmla="*/ 348374 w 700067"/>
              <a:gd name="connsiteY56" fmla="*/ 50869 h 705538"/>
              <a:gd name="connsiteX57" fmla="*/ 352512 w 700067"/>
              <a:gd name="connsiteY57" fmla="*/ 17768 h 705538"/>
              <a:gd name="connsiteX58" fmla="*/ 364924 w 700067"/>
              <a:gd name="connsiteY58" fmla="*/ 9493 h 705538"/>
              <a:gd name="connsiteX59" fmla="*/ 389750 w 700067"/>
              <a:gd name="connsiteY59" fmla="*/ 1218 h 705538"/>
              <a:gd name="connsiteX60" fmla="*/ 410438 w 700067"/>
              <a:gd name="connsiteY60" fmla="*/ 13631 h 705538"/>
              <a:gd name="connsiteX61" fmla="*/ 435263 w 700067"/>
              <a:gd name="connsiteY61" fmla="*/ 30181 h 705538"/>
              <a:gd name="connsiteX62" fmla="*/ 460088 w 700067"/>
              <a:gd name="connsiteY62" fmla="*/ 79831 h 705538"/>
              <a:gd name="connsiteX63" fmla="*/ 464226 w 700067"/>
              <a:gd name="connsiteY63" fmla="*/ 92244 h 705538"/>
              <a:gd name="connsiteX64" fmla="*/ 489051 w 700067"/>
              <a:gd name="connsiteY64" fmla="*/ 108794 h 705538"/>
              <a:gd name="connsiteX65" fmla="*/ 501464 w 700067"/>
              <a:gd name="connsiteY65" fmla="*/ 112932 h 705538"/>
              <a:gd name="connsiteX66" fmla="*/ 513876 w 700067"/>
              <a:gd name="connsiteY66" fmla="*/ 121207 h 705538"/>
              <a:gd name="connsiteX67" fmla="*/ 604903 w 700067"/>
              <a:gd name="connsiteY67" fmla="*/ 125345 h 705538"/>
              <a:gd name="connsiteX68" fmla="*/ 654553 w 700067"/>
              <a:gd name="connsiteY68" fmla="*/ 121207 h 705538"/>
              <a:gd name="connsiteX69" fmla="*/ 658691 w 700067"/>
              <a:gd name="connsiteY69" fmla="*/ 133620 h 705538"/>
              <a:gd name="connsiteX70" fmla="*/ 671104 w 700067"/>
              <a:gd name="connsiteY70" fmla="*/ 174995 h 705538"/>
              <a:gd name="connsiteX71" fmla="*/ 687654 w 700067"/>
              <a:gd name="connsiteY71" fmla="*/ 199821 h 705538"/>
              <a:gd name="connsiteX72" fmla="*/ 700067 w 700067"/>
              <a:gd name="connsiteY72" fmla="*/ 224646 h 705538"/>
              <a:gd name="connsiteX73" fmla="*/ 695929 w 700067"/>
              <a:gd name="connsiteY73" fmla="*/ 249471 h 705538"/>
              <a:gd name="connsiteX74" fmla="*/ 671104 w 700067"/>
              <a:gd name="connsiteY74" fmla="*/ 261884 h 705538"/>
              <a:gd name="connsiteX75" fmla="*/ 638003 w 700067"/>
              <a:gd name="connsiteY75" fmla="*/ 257746 h 705538"/>
              <a:gd name="connsiteX76" fmla="*/ 613178 w 700067"/>
              <a:gd name="connsiteY76" fmla="*/ 249471 h 705538"/>
              <a:gd name="connsiteX77" fmla="*/ 563527 w 700067"/>
              <a:gd name="connsiteY77" fmla="*/ 253609 h 705538"/>
              <a:gd name="connsiteX78" fmla="*/ 551114 w 700067"/>
              <a:gd name="connsiteY78" fmla="*/ 257746 h 705538"/>
              <a:gd name="connsiteX79" fmla="*/ 534564 w 700067"/>
              <a:gd name="connsiteY79" fmla="*/ 261884 h 705538"/>
              <a:gd name="connsiteX80" fmla="*/ 493189 w 700067"/>
              <a:gd name="connsiteY80" fmla="*/ 257746 h 705538"/>
              <a:gd name="connsiteX81" fmla="*/ 480776 w 700067"/>
              <a:gd name="connsiteY81" fmla="*/ 253609 h 705538"/>
              <a:gd name="connsiteX82" fmla="*/ 464226 w 700067"/>
              <a:gd name="connsiteY82" fmla="*/ 249471 h 705538"/>
              <a:gd name="connsiteX83" fmla="*/ 439400 w 700067"/>
              <a:gd name="connsiteY83" fmla="*/ 241196 h 705538"/>
              <a:gd name="connsiteX84" fmla="*/ 406300 w 700067"/>
              <a:gd name="connsiteY84" fmla="*/ 237059 h 705538"/>
              <a:gd name="connsiteX85" fmla="*/ 360787 w 700067"/>
              <a:gd name="connsiteY85" fmla="*/ 241196 h 705538"/>
              <a:gd name="connsiteX86" fmla="*/ 348374 w 700067"/>
              <a:gd name="connsiteY86" fmla="*/ 249471 h 705538"/>
              <a:gd name="connsiteX87" fmla="*/ 331824 w 700067"/>
              <a:gd name="connsiteY87" fmla="*/ 253609 h 705538"/>
              <a:gd name="connsiteX88" fmla="*/ 319411 w 700067"/>
              <a:gd name="connsiteY88" fmla="*/ 261884 h 705538"/>
              <a:gd name="connsiteX89" fmla="*/ 306999 w 700067"/>
              <a:gd name="connsiteY89" fmla="*/ 266022 h 705538"/>
              <a:gd name="connsiteX90" fmla="*/ 298724 w 700067"/>
              <a:gd name="connsiteY90" fmla="*/ 278434 h 705538"/>
              <a:gd name="connsiteX91" fmla="*/ 306999 w 700067"/>
              <a:gd name="connsiteY91" fmla="*/ 340498 h 705538"/>
              <a:gd name="connsiteX92" fmla="*/ 315274 w 700067"/>
              <a:gd name="connsiteY92" fmla="*/ 365323 h 705538"/>
              <a:gd name="connsiteX93" fmla="*/ 323549 w 700067"/>
              <a:gd name="connsiteY93" fmla="*/ 377736 h 705538"/>
              <a:gd name="connsiteX94" fmla="*/ 331824 w 700067"/>
              <a:gd name="connsiteY94" fmla="*/ 448074 h 705538"/>
              <a:gd name="connsiteX95" fmla="*/ 335962 w 700067"/>
              <a:gd name="connsiteY95" fmla="*/ 460487 h 705538"/>
              <a:gd name="connsiteX96" fmla="*/ 348374 w 700067"/>
              <a:gd name="connsiteY96" fmla="*/ 464624 h 705538"/>
              <a:gd name="connsiteX97" fmla="*/ 381475 w 700067"/>
              <a:gd name="connsiteY97" fmla="*/ 485312 h 705538"/>
              <a:gd name="connsiteX98" fmla="*/ 393887 w 700067"/>
              <a:gd name="connsiteY98" fmla="*/ 489450 h 705538"/>
              <a:gd name="connsiteX99" fmla="*/ 406300 w 700067"/>
              <a:gd name="connsiteY99" fmla="*/ 493587 h 705538"/>
              <a:gd name="connsiteX100" fmla="*/ 418713 w 700067"/>
              <a:gd name="connsiteY100" fmla="*/ 501862 h 705538"/>
              <a:gd name="connsiteX101" fmla="*/ 451813 w 700067"/>
              <a:gd name="connsiteY101" fmla="*/ 510137 h 705538"/>
              <a:gd name="connsiteX102" fmla="*/ 464226 w 700067"/>
              <a:gd name="connsiteY102" fmla="*/ 514275 h 705538"/>
              <a:gd name="connsiteX103" fmla="*/ 472501 w 700067"/>
              <a:gd name="connsiteY103" fmla="*/ 526688 h 705538"/>
              <a:gd name="connsiteX104" fmla="*/ 480776 w 700067"/>
              <a:gd name="connsiteY104" fmla="*/ 555651 h 705538"/>
              <a:gd name="connsiteX105" fmla="*/ 484914 w 700067"/>
              <a:gd name="connsiteY105" fmla="*/ 576338 h 705538"/>
              <a:gd name="connsiteX106" fmla="*/ 509739 w 700067"/>
              <a:gd name="connsiteY106" fmla="*/ 584613 h 705538"/>
              <a:gd name="connsiteX107" fmla="*/ 534564 w 700067"/>
              <a:gd name="connsiteY107" fmla="*/ 597026 h 705538"/>
              <a:gd name="connsiteX108" fmla="*/ 542839 w 700067"/>
              <a:gd name="connsiteY108" fmla="*/ 609439 h 705538"/>
              <a:gd name="connsiteX109" fmla="*/ 575940 w 700067"/>
              <a:gd name="connsiteY109" fmla="*/ 642539 h 705538"/>
              <a:gd name="connsiteX110" fmla="*/ 600765 w 700067"/>
              <a:gd name="connsiteY110" fmla="*/ 650814 h 705538"/>
              <a:gd name="connsiteX111" fmla="*/ 613178 w 700067"/>
              <a:gd name="connsiteY111" fmla="*/ 675640 h 7055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700067" h="705538">
                <a:moveTo>
                  <a:pt x="613178" y="675640"/>
                </a:moveTo>
                <a:cubicBezTo>
                  <a:pt x="612489" y="684605"/>
                  <a:pt x="605323" y="703154"/>
                  <a:pt x="596628" y="704603"/>
                </a:cubicBezTo>
                <a:cubicBezTo>
                  <a:pt x="591019" y="705538"/>
                  <a:pt x="585545" y="702027"/>
                  <a:pt x="580077" y="700465"/>
                </a:cubicBezTo>
                <a:cubicBezTo>
                  <a:pt x="575884" y="699267"/>
                  <a:pt x="571802" y="697706"/>
                  <a:pt x="567665" y="696327"/>
                </a:cubicBezTo>
                <a:cubicBezTo>
                  <a:pt x="563527" y="692190"/>
                  <a:pt x="558498" y="688783"/>
                  <a:pt x="555252" y="683915"/>
                </a:cubicBezTo>
                <a:cubicBezTo>
                  <a:pt x="552833" y="680286"/>
                  <a:pt x="554198" y="674586"/>
                  <a:pt x="551114" y="671502"/>
                </a:cubicBezTo>
                <a:cubicBezTo>
                  <a:pt x="548030" y="668418"/>
                  <a:pt x="542839" y="668744"/>
                  <a:pt x="538702" y="667365"/>
                </a:cubicBezTo>
                <a:cubicBezTo>
                  <a:pt x="517100" y="652963"/>
                  <a:pt x="535885" y="663211"/>
                  <a:pt x="505601" y="654952"/>
                </a:cubicBezTo>
                <a:cubicBezTo>
                  <a:pt x="497186" y="652657"/>
                  <a:pt x="480776" y="646677"/>
                  <a:pt x="480776" y="646677"/>
                </a:cubicBezTo>
                <a:cubicBezTo>
                  <a:pt x="476638" y="643919"/>
                  <a:pt x="472183" y="641586"/>
                  <a:pt x="468363" y="638402"/>
                </a:cubicBezTo>
                <a:cubicBezTo>
                  <a:pt x="457224" y="629120"/>
                  <a:pt x="456749" y="623586"/>
                  <a:pt x="443538" y="617714"/>
                </a:cubicBezTo>
                <a:cubicBezTo>
                  <a:pt x="425843" y="609850"/>
                  <a:pt x="419009" y="610114"/>
                  <a:pt x="402162" y="605301"/>
                </a:cubicBezTo>
                <a:cubicBezTo>
                  <a:pt x="360601" y="593427"/>
                  <a:pt x="424955" y="609966"/>
                  <a:pt x="373200" y="597026"/>
                </a:cubicBezTo>
                <a:cubicBezTo>
                  <a:pt x="369062" y="594268"/>
                  <a:pt x="365105" y="591218"/>
                  <a:pt x="360787" y="588751"/>
                </a:cubicBezTo>
                <a:cubicBezTo>
                  <a:pt x="355432" y="585691"/>
                  <a:pt x="348975" y="584425"/>
                  <a:pt x="344237" y="580476"/>
                </a:cubicBezTo>
                <a:cubicBezTo>
                  <a:pt x="340417" y="577292"/>
                  <a:pt x="338720" y="572201"/>
                  <a:pt x="335962" y="568063"/>
                </a:cubicBezTo>
                <a:cubicBezTo>
                  <a:pt x="334583" y="547375"/>
                  <a:pt x="336573" y="526182"/>
                  <a:pt x="331824" y="506000"/>
                </a:cubicBezTo>
                <a:cubicBezTo>
                  <a:pt x="330685" y="501159"/>
                  <a:pt x="323955" y="499745"/>
                  <a:pt x="319411" y="497725"/>
                </a:cubicBezTo>
                <a:cubicBezTo>
                  <a:pt x="311440" y="494182"/>
                  <a:pt x="302861" y="492208"/>
                  <a:pt x="294586" y="489450"/>
                </a:cubicBezTo>
                <a:cubicBezTo>
                  <a:pt x="290448" y="488071"/>
                  <a:pt x="285802" y="487731"/>
                  <a:pt x="282173" y="485312"/>
                </a:cubicBezTo>
                <a:lnTo>
                  <a:pt x="257348" y="468762"/>
                </a:lnTo>
                <a:cubicBezTo>
                  <a:pt x="254590" y="464624"/>
                  <a:pt x="251297" y="460797"/>
                  <a:pt x="249073" y="456349"/>
                </a:cubicBezTo>
                <a:cubicBezTo>
                  <a:pt x="247122" y="452448"/>
                  <a:pt x="247053" y="447749"/>
                  <a:pt x="244935" y="443936"/>
                </a:cubicBezTo>
                <a:cubicBezTo>
                  <a:pt x="240105" y="435242"/>
                  <a:pt x="233902" y="427386"/>
                  <a:pt x="228385" y="419111"/>
                </a:cubicBezTo>
                <a:cubicBezTo>
                  <a:pt x="225627" y="414973"/>
                  <a:pt x="221683" y="411416"/>
                  <a:pt x="220110" y="406698"/>
                </a:cubicBezTo>
                <a:cubicBezTo>
                  <a:pt x="217352" y="398423"/>
                  <a:pt x="216673" y="389131"/>
                  <a:pt x="211835" y="381873"/>
                </a:cubicBezTo>
                <a:cubicBezTo>
                  <a:pt x="192866" y="353419"/>
                  <a:pt x="198430" y="366483"/>
                  <a:pt x="191147" y="344635"/>
                </a:cubicBezTo>
                <a:cubicBezTo>
                  <a:pt x="189768" y="330843"/>
                  <a:pt x="190126" y="316765"/>
                  <a:pt x="187009" y="303260"/>
                </a:cubicBezTo>
                <a:cubicBezTo>
                  <a:pt x="184119" y="290737"/>
                  <a:pt x="174729" y="289578"/>
                  <a:pt x="166322" y="282572"/>
                </a:cubicBezTo>
                <a:cubicBezTo>
                  <a:pt x="161827" y="278826"/>
                  <a:pt x="158047" y="274297"/>
                  <a:pt x="153909" y="270159"/>
                </a:cubicBezTo>
                <a:cubicBezTo>
                  <a:pt x="151654" y="263396"/>
                  <a:pt x="148250" y="249555"/>
                  <a:pt x="141496" y="245334"/>
                </a:cubicBezTo>
                <a:cubicBezTo>
                  <a:pt x="134099" y="240711"/>
                  <a:pt x="116671" y="237059"/>
                  <a:pt x="116671" y="237059"/>
                </a:cubicBezTo>
                <a:cubicBezTo>
                  <a:pt x="114138" y="238326"/>
                  <a:pt x="90366" y="249356"/>
                  <a:pt x="87708" y="253609"/>
                </a:cubicBezTo>
                <a:cubicBezTo>
                  <a:pt x="67382" y="286129"/>
                  <a:pt x="93044" y="273897"/>
                  <a:pt x="67020" y="282572"/>
                </a:cubicBezTo>
                <a:lnTo>
                  <a:pt x="46333" y="278434"/>
                </a:lnTo>
                <a:cubicBezTo>
                  <a:pt x="38079" y="276933"/>
                  <a:pt x="29173" y="277704"/>
                  <a:pt x="21507" y="274297"/>
                </a:cubicBezTo>
                <a:cubicBezTo>
                  <a:pt x="16160" y="271921"/>
                  <a:pt x="13232" y="266022"/>
                  <a:pt x="9095" y="261884"/>
                </a:cubicBezTo>
                <a:cubicBezTo>
                  <a:pt x="0" y="234602"/>
                  <a:pt x="3470" y="250444"/>
                  <a:pt x="9095" y="199821"/>
                </a:cubicBezTo>
                <a:cubicBezTo>
                  <a:pt x="10021" y="191483"/>
                  <a:pt x="11197" y="183134"/>
                  <a:pt x="13232" y="174995"/>
                </a:cubicBezTo>
                <a:cubicBezTo>
                  <a:pt x="18702" y="153115"/>
                  <a:pt x="18462" y="150638"/>
                  <a:pt x="33920" y="137757"/>
                </a:cubicBezTo>
                <a:cubicBezTo>
                  <a:pt x="37740" y="134574"/>
                  <a:pt x="42195" y="132240"/>
                  <a:pt x="46333" y="129482"/>
                </a:cubicBezTo>
                <a:cubicBezTo>
                  <a:pt x="78054" y="130861"/>
                  <a:pt x="109914" y="130353"/>
                  <a:pt x="141496" y="133620"/>
                </a:cubicBezTo>
                <a:cubicBezTo>
                  <a:pt x="150173" y="134518"/>
                  <a:pt x="159064" y="137056"/>
                  <a:pt x="166322" y="141895"/>
                </a:cubicBezTo>
                <a:lnTo>
                  <a:pt x="178734" y="150170"/>
                </a:lnTo>
                <a:cubicBezTo>
                  <a:pt x="181492" y="154308"/>
                  <a:pt x="183126" y="159477"/>
                  <a:pt x="187009" y="162583"/>
                </a:cubicBezTo>
                <a:cubicBezTo>
                  <a:pt x="190415" y="165308"/>
                  <a:pt x="195521" y="164770"/>
                  <a:pt x="199422" y="166720"/>
                </a:cubicBezTo>
                <a:cubicBezTo>
                  <a:pt x="203870" y="168944"/>
                  <a:pt x="207697" y="172237"/>
                  <a:pt x="211835" y="174995"/>
                </a:cubicBezTo>
                <a:cubicBezTo>
                  <a:pt x="217352" y="173616"/>
                  <a:pt x="225371" y="175680"/>
                  <a:pt x="228385" y="170858"/>
                </a:cubicBezTo>
                <a:cubicBezTo>
                  <a:pt x="233554" y="162588"/>
                  <a:pt x="223961" y="146565"/>
                  <a:pt x="232523" y="141895"/>
                </a:cubicBezTo>
                <a:cubicBezTo>
                  <a:pt x="244691" y="135258"/>
                  <a:pt x="260106" y="144653"/>
                  <a:pt x="273898" y="146032"/>
                </a:cubicBezTo>
                <a:cubicBezTo>
                  <a:pt x="278036" y="144653"/>
                  <a:pt x="283586" y="145301"/>
                  <a:pt x="286311" y="141895"/>
                </a:cubicBezTo>
                <a:cubicBezTo>
                  <a:pt x="289863" y="137455"/>
                  <a:pt x="288886" y="130813"/>
                  <a:pt x="290448" y="125345"/>
                </a:cubicBezTo>
                <a:cubicBezTo>
                  <a:pt x="291646" y="121151"/>
                  <a:pt x="291861" y="116338"/>
                  <a:pt x="294586" y="112932"/>
                </a:cubicBezTo>
                <a:cubicBezTo>
                  <a:pt x="300419" y="105642"/>
                  <a:pt x="311235" y="103245"/>
                  <a:pt x="319411" y="100519"/>
                </a:cubicBezTo>
                <a:lnTo>
                  <a:pt x="335962" y="75694"/>
                </a:lnTo>
                <a:lnTo>
                  <a:pt x="344237" y="63281"/>
                </a:lnTo>
                <a:cubicBezTo>
                  <a:pt x="345616" y="59144"/>
                  <a:pt x="347594" y="55160"/>
                  <a:pt x="348374" y="50869"/>
                </a:cubicBezTo>
                <a:cubicBezTo>
                  <a:pt x="350363" y="39929"/>
                  <a:pt x="348382" y="28092"/>
                  <a:pt x="352512" y="17768"/>
                </a:cubicBezTo>
                <a:cubicBezTo>
                  <a:pt x="354359" y="13151"/>
                  <a:pt x="360380" y="11513"/>
                  <a:pt x="364924" y="9493"/>
                </a:cubicBezTo>
                <a:cubicBezTo>
                  <a:pt x="372895" y="5950"/>
                  <a:pt x="389750" y="1218"/>
                  <a:pt x="389750" y="1218"/>
                </a:cubicBezTo>
                <a:cubicBezTo>
                  <a:pt x="413481" y="9128"/>
                  <a:pt x="392263" y="0"/>
                  <a:pt x="410438" y="13631"/>
                </a:cubicBezTo>
                <a:cubicBezTo>
                  <a:pt x="418394" y="19598"/>
                  <a:pt x="435263" y="30181"/>
                  <a:pt x="435263" y="30181"/>
                </a:cubicBezTo>
                <a:cubicBezTo>
                  <a:pt x="456652" y="62265"/>
                  <a:pt x="448667" y="45570"/>
                  <a:pt x="460088" y="79831"/>
                </a:cubicBezTo>
                <a:cubicBezTo>
                  <a:pt x="461467" y="83969"/>
                  <a:pt x="460597" y="89825"/>
                  <a:pt x="464226" y="92244"/>
                </a:cubicBezTo>
                <a:cubicBezTo>
                  <a:pt x="472501" y="97761"/>
                  <a:pt x="479616" y="105649"/>
                  <a:pt x="489051" y="108794"/>
                </a:cubicBezTo>
                <a:cubicBezTo>
                  <a:pt x="493189" y="110173"/>
                  <a:pt x="497563" y="110981"/>
                  <a:pt x="501464" y="112932"/>
                </a:cubicBezTo>
                <a:cubicBezTo>
                  <a:pt x="505912" y="115156"/>
                  <a:pt x="508939" y="120615"/>
                  <a:pt x="513876" y="121207"/>
                </a:cubicBezTo>
                <a:cubicBezTo>
                  <a:pt x="544033" y="124826"/>
                  <a:pt x="574561" y="123966"/>
                  <a:pt x="604903" y="125345"/>
                </a:cubicBezTo>
                <a:cubicBezTo>
                  <a:pt x="621453" y="123966"/>
                  <a:pt x="638139" y="118682"/>
                  <a:pt x="654553" y="121207"/>
                </a:cubicBezTo>
                <a:cubicBezTo>
                  <a:pt x="658864" y="121870"/>
                  <a:pt x="657493" y="129426"/>
                  <a:pt x="658691" y="133620"/>
                </a:cubicBezTo>
                <a:cubicBezTo>
                  <a:pt x="671203" y="177412"/>
                  <a:pt x="651428" y="115968"/>
                  <a:pt x="671104" y="174995"/>
                </a:cubicBezTo>
                <a:cubicBezTo>
                  <a:pt x="678376" y="196811"/>
                  <a:pt x="670433" y="179156"/>
                  <a:pt x="687654" y="199821"/>
                </a:cubicBezTo>
                <a:cubicBezTo>
                  <a:pt x="696566" y="210515"/>
                  <a:pt x="695920" y="212206"/>
                  <a:pt x="700067" y="224646"/>
                </a:cubicBezTo>
                <a:cubicBezTo>
                  <a:pt x="698688" y="232921"/>
                  <a:pt x="699681" y="241968"/>
                  <a:pt x="695929" y="249471"/>
                </a:cubicBezTo>
                <a:cubicBezTo>
                  <a:pt x="692721" y="255886"/>
                  <a:pt x="676978" y="259926"/>
                  <a:pt x="671104" y="261884"/>
                </a:cubicBezTo>
                <a:cubicBezTo>
                  <a:pt x="660070" y="260505"/>
                  <a:pt x="648876" y="260076"/>
                  <a:pt x="638003" y="257746"/>
                </a:cubicBezTo>
                <a:cubicBezTo>
                  <a:pt x="629474" y="255918"/>
                  <a:pt x="613178" y="249471"/>
                  <a:pt x="613178" y="249471"/>
                </a:cubicBezTo>
                <a:cubicBezTo>
                  <a:pt x="596628" y="250850"/>
                  <a:pt x="579989" y="251414"/>
                  <a:pt x="563527" y="253609"/>
                </a:cubicBezTo>
                <a:cubicBezTo>
                  <a:pt x="559204" y="254185"/>
                  <a:pt x="555308" y="256548"/>
                  <a:pt x="551114" y="257746"/>
                </a:cubicBezTo>
                <a:cubicBezTo>
                  <a:pt x="545646" y="259308"/>
                  <a:pt x="540081" y="260505"/>
                  <a:pt x="534564" y="261884"/>
                </a:cubicBezTo>
                <a:cubicBezTo>
                  <a:pt x="520772" y="260505"/>
                  <a:pt x="506888" y="259854"/>
                  <a:pt x="493189" y="257746"/>
                </a:cubicBezTo>
                <a:cubicBezTo>
                  <a:pt x="488878" y="257083"/>
                  <a:pt x="484970" y="254807"/>
                  <a:pt x="480776" y="253609"/>
                </a:cubicBezTo>
                <a:cubicBezTo>
                  <a:pt x="475308" y="252047"/>
                  <a:pt x="469673" y="251105"/>
                  <a:pt x="464226" y="249471"/>
                </a:cubicBezTo>
                <a:cubicBezTo>
                  <a:pt x="455871" y="246964"/>
                  <a:pt x="448056" y="242278"/>
                  <a:pt x="439400" y="241196"/>
                </a:cubicBezTo>
                <a:lnTo>
                  <a:pt x="406300" y="237059"/>
                </a:lnTo>
                <a:cubicBezTo>
                  <a:pt x="391129" y="238438"/>
                  <a:pt x="375682" y="238004"/>
                  <a:pt x="360787" y="241196"/>
                </a:cubicBezTo>
                <a:cubicBezTo>
                  <a:pt x="355925" y="242238"/>
                  <a:pt x="352945" y="247512"/>
                  <a:pt x="348374" y="249471"/>
                </a:cubicBezTo>
                <a:cubicBezTo>
                  <a:pt x="343147" y="251711"/>
                  <a:pt x="337341" y="252230"/>
                  <a:pt x="331824" y="253609"/>
                </a:cubicBezTo>
                <a:cubicBezTo>
                  <a:pt x="327686" y="256367"/>
                  <a:pt x="323859" y="259660"/>
                  <a:pt x="319411" y="261884"/>
                </a:cubicBezTo>
                <a:cubicBezTo>
                  <a:pt x="315510" y="263834"/>
                  <a:pt x="310404" y="263298"/>
                  <a:pt x="306999" y="266022"/>
                </a:cubicBezTo>
                <a:cubicBezTo>
                  <a:pt x="303116" y="269128"/>
                  <a:pt x="301482" y="274297"/>
                  <a:pt x="298724" y="278434"/>
                </a:cubicBezTo>
                <a:cubicBezTo>
                  <a:pt x="300102" y="290841"/>
                  <a:pt x="303283" y="325635"/>
                  <a:pt x="306999" y="340498"/>
                </a:cubicBezTo>
                <a:cubicBezTo>
                  <a:pt x="309115" y="348960"/>
                  <a:pt x="310436" y="358065"/>
                  <a:pt x="315274" y="365323"/>
                </a:cubicBezTo>
                <a:lnTo>
                  <a:pt x="323549" y="377736"/>
                </a:lnTo>
                <a:cubicBezTo>
                  <a:pt x="334809" y="411520"/>
                  <a:pt x="322926" y="372449"/>
                  <a:pt x="331824" y="448074"/>
                </a:cubicBezTo>
                <a:cubicBezTo>
                  <a:pt x="332334" y="452406"/>
                  <a:pt x="332878" y="457403"/>
                  <a:pt x="335962" y="460487"/>
                </a:cubicBezTo>
                <a:cubicBezTo>
                  <a:pt x="339046" y="463571"/>
                  <a:pt x="344237" y="463245"/>
                  <a:pt x="348374" y="464624"/>
                </a:cubicBezTo>
                <a:cubicBezTo>
                  <a:pt x="361488" y="484295"/>
                  <a:pt x="351931" y="475464"/>
                  <a:pt x="381475" y="485312"/>
                </a:cubicBezTo>
                <a:lnTo>
                  <a:pt x="393887" y="489450"/>
                </a:lnTo>
                <a:lnTo>
                  <a:pt x="406300" y="493587"/>
                </a:lnTo>
                <a:cubicBezTo>
                  <a:pt x="410438" y="496345"/>
                  <a:pt x="414265" y="499638"/>
                  <a:pt x="418713" y="501862"/>
                </a:cubicBezTo>
                <a:cubicBezTo>
                  <a:pt x="428175" y="506593"/>
                  <a:pt x="442363" y="507774"/>
                  <a:pt x="451813" y="510137"/>
                </a:cubicBezTo>
                <a:cubicBezTo>
                  <a:pt x="456044" y="511195"/>
                  <a:pt x="460088" y="512896"/>
                  <a:pt x="464226" y="514275"/>
                </a:cubicBezTo>
                <a:cubicBezTo>
                  <a:pt x="466984" y="518413"/>
                  <a:pt x="470277" y="522240"/>
                  <a:pt x="472501" y="526688"/>
                </a:cubicBezTo>
                <a:cubicBezTo>
                  <a:pt x="475264" y="532215"/>
                  <a:pt x="479716" y="550882"/>
                  <a:pt x="480776" y="555651"/>
                </a:cubicBezTo>
                <a:cubicBezTo>
                  <a:pt x="482302" y="562516"/>
                  <a:pt x="479941" y="571366"/>
                  <a:pt x="484914" y="576338"/>
                </a:cubicBezTo>
                <a:cubicBezTo>
                  <a:pt x="491082" y="582506"/>
                  <a:pt x="501464" y="581855"/>
                  <a:pt x="509739" y="584613"/>
                </a:cubicBezTo>
                <a:cubicBezTo>
                  <a:pt x="526868" y="590323"/>
                  <a:pt x="518524" y="586332"/>
                  <a:pt x="534564" y="597026"/>
                </a:cubicBezTo>
                <a:cubicBezTo>
                  <a:pt x="537322" y="601164"/>
                  <a:pt x="540372" y="605121"/>
                  <a:pt x="542839" y="609439"/>
                </a:cubicBezTo>
                <a:cubicBezTo>
                  <a:pt x="553436" y="627984"/>
                  <a:pt x="549410" y="633696"/>
                  <a:pt x="575940" y="642539"/>
                </a:cubicBezTo>
                <a:lnTo>
                  <a:pt x="600765" y="650814"/>
                </a:lnTo>
                <a:cubicBezTo>
                  <a:pt x="625801" y="667504"/>
                  <a:pt x="613867" y="666675"/>
                  <a:pt x="613178" y="675640"/>
                </a:cubicBez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4" name="Freeform 163"/>
          <p:cNvSpPr/>
          <p:nvPr/>
        </p:nvSpPr>
        <p:spPr>
          <a:xfrm>
            <a:off x="4906963" y="4349751"/>
            <a:ext cx="787400" cy="497416"/>
          </a:xfrm>
          <a:custGeom>
            <a:avLst/>
            <a:gdLst>
              <a:gd name="connsiteX0" fmla="*/ 787302 w 787302"/>
              <a:gd name="connsiteY0" fmla="*/ 95324 h 497801"/>
              <a:gd name="connsiteX1" fmla="*/ 776710 w 787302"/>
              <a:gd name="connsiteY1" fmla="*/ 88263 h 497801"/>
              <a:gd name="connsiteX2" fmla="*/ 759058 w 787302"/>
              <a:gd name="connsiteY2" fmla="*/ 70610 h 497801"/>
              <a:gd name="connsiteX3" fmla="*/ 737875 w 787302"/>
              <a:gd name="connsiteY3" fmla="*/ 63549 h 497801"/>
              <a:gd name="connsiteX4" fmla="*/ 702570 w 787302"/>
              <a:gd name="connsiteY4" fmla="*/ 56488 h 497801"/>
              <a:gd name="connsiteX5" fmla="*/ 695509 w 787302"/>
              <a:gd name="connsiteY5" fmla="*/ 45897 h 497801"/>
              <a:gd name="connsiteX6" fmla="*/ 688448 w 787302"/>
              <a:gd name="connsiteY6" fmla="*/ 24714 h 497801"/>
              <a:gd name="connsiteX7" fmla="*/ 677856 w 787302"/>
              <a:gd name="connsiteY7" fmla="*/ 17653 h 497801"/>
              <a:gd name="connsiteX8" fmla="*/ 649612 w 787302"/>
              <a:gd name="connsiteY8" fmla="*/ 21183 h 497801"/>
              <a:gd name="connsiteX9" fmla="*/ 639021 w 787302"/>
              <a:gd name="connsiteY9" fmla="*/ 24714 h 497801"/>
              <a:gd name="connsiteX10" fmla="*/ 621368 w 787302"/>
              <a:gd name="connsiteY10" fmla="*/ 21183 h 497801"/>
              <a:gd name="connsiteX11" fmla="*/ 600185 w 787302"/>
              <a:gd name="connsiteY11" fmla="*/ 7061 h 497801"/>
              <a:gd name="connsiteX12" fmla="*/ 571941 w 787302"/>
              <a:gd name="connsiteY12" fmla="*/ 0 h 497801"/>
              <a:gd name="connsiteX13" fmla="*/ 540166 w 787302"/>
              <a:gd name="connsiteY13" fmla="*/ 7061 h 497801"/>
              <a:gd name="connsiteX14" fmla="*/ 529575 w 787302"/>
              <a:gd name="connsiteY14" fmla="*/ 10592 h 497801"/>
              <a:gd name="connsiteX15" fmla="*/ 515453 w 787302"/>
              <a:gd name="connsiteY15" fmla="*/ 14122 h 497801"/>
              <a:gd name="connsiteX16" fmla="*/ 494270 w 787302"/>
              <a:gd name="connsiteY16" fmla="*/ 21183 h 497801"/>
              <a:gd name="connsiteX17" fmla="*/ 483678 w 787302"/>
              <a:gd name="connsiteY17" fmla="*/ 24714 h 497801"/>
              <a:gd name="connsiteX18" fmla="*/ 458965 w 787302"/>
              <a:gd name="connsiteY18" fmla="*/ 35305 h 497801"/>
              <a:gd name="connsiteX19" fmla="*/ 437782 w 787302"/>
              <a:gd name="connsiteY19" fmla="*/ 42366 h 497801"/>
              <a:gd name="connsiteX20" fmla="*/ 427190 w 787302"/>
              <a:gd name="connsiteY20" fmla="*/ 45897 h 497801"/>
              <a:gd name="connsiteX21" fmla="*/ 413068 w 787302"/>
              <a:gd name="connsiteY21" fmla="*/ 49427 h 497801"/>
              <a:gd name="connsiteX22" fmla="*/ 395416 w 787302"/>
              <a:gd name="connsiteY22" fmla="*/ 67080 h 497801"/>
              <a:gd name="connsiteX23" fmla="*/ 384824 w 787302"/>
              <a:gd name="connsiteY23" fmla="*/ 77671 h 497801"/>
              <a:gd name="connsiteX24" fmla="*/ 374233 w 787302"/>
              <a:gd name="connsiteY24" fmla="*/ 81202 h 497801"/>
              <a:gd name="connsiteX25" fmla="*/ 363641 w 787302"/>
              <a:gd name="connsiteY25" fmla="*/ 88263 h 497801"/>
              <a:gd name="connsiteX26" fmla="*/ 356580 w 787302"/>
              <a:gd name="connsiteY26" fmla="*/ 98854 h 497801"/>
              <a:gd name="connsiteX27" fmla="*/ 317745 w 787302"/>
              <a:gd name="connsiteY27" fmla="*/ 112976 h 497801"/>
              <a:gd name="connsiteX28" fmla="*/ 303623 w 787302"/>
              <a:gd name="connsiteY28" fmla="*/ 116507 h 497801"/>
              <a:gd name="connsiteX29" fmla="*/ 293031 w 787302"/>
              <a:gd name="connsiteY29" fmla="*/ 123568 h 497801"/>
              <a:gd name="connsiteX30" fmla="*/ 278909 w 787302"/>
              <a:gd name="connsiteY30" fmla="*/ 144751 h 497801"/>
              <a:gd name="connsiteX31" fmla="*/ 243604 w 787302"/>
              <a:gd name="connsiteY31" fmla="*/ 162403 h 497801"/>
              <a:gd name="connsiteX32" fmla="*/ 151811 w 787302"/>
              <a:gd name="connsiteY32" fmla="*/ 158873 h 497801"/>
              <a:gd name="connsiteX33" fmla="*/ 141220 w 787302"/>
              <a:gd name="connsiteY33" fmla="*/ 151812 h 497801"/>
              <a:gd name="connsiteX34" fmla="*/ 120037 w 787302"/>
              <a:gd name="connsiteY34" fmla="*/ 141220 h 497801"/>
              <a:gd name="connsiteX35" fmla="*/ 95323 w 787302"/>
              <a:gd name="connsiteY35" fmla="*/ 144751 h 497801"/>
              <a:gd name="connsiteX36" fmla="*/ 88262 w 787302"/>
              <a:gd name="connsiteY36" fmla="*/ 165934 h 497801"/>
              <a:gd name="connsiteX37" fmla="*/ 84732 w 787302"/>
              <a:gd name="connsiteY37" fmla="*/ 176525 h 497801"/>
              <a:gd name="connsiteX38" fmla="*/ 81201 w 787302"/>
              <a:gd name="connsiteY38" fmla="*/ 187117 h 497801"/>
              <a:gd name="connsiteX39" fmla="*/ 74140 w 787302"/>
              <a:gd name="connsiteY39" fmla="*/ 211830 h 497801"/>
              <a:gd name="connsiteX40" fmla="*/ 52957 w 787302"/>
              <a:gd name="connsiteY40" fmla="*/ 225953 h 497801"/>
              <a:gd name="connsiteX41" fmla="*/ 38835 w 787302"/>
              <a:gd name="connsiteY41" fmla="*/ 247136 h 497801"/>
              <a:gd name="connsiteX42" fmla="*/ 28244 w 787302"/>
              <a:gd name="connsiteY42" fmla="*/ 293032 h 497801"/>
              <a:gd name="connsiteX43" fmla="*/ 17652 w 787302"/>
              <a:gd name="connsiteY43" fmla="*/ 303624 h 497801"/>
              <a:gd name="connsiteX44" fmla="*/ 14122 w 787302"/>
              <a:gd name="connsiteY44" fmla="*/ 314215 h 497801"/>
              <a:gd name="connsiteX45" fmla="*/ 7061 w 787302"/>
              <a:gd name="connsiteY45" fmla="*/ 324807 h 497801"/>
              <a:gd name="connsiteX46" fmla="*/ 0 w 787302"/>
              <a:gd name="connsiteY46" fmla="*/ 353051 h 497801"/>
              <a:gd name="connsiteX47" fmla="*/ 10591 w 787302"/>
              <a:gd name="connsiteY47" fmla="*/ 360112 h 497801"/>
              <a:gd name="connsiteX48" fmla="*/ 67079 w 787302"/>
              <a:gd name="connsiteY48" fmla="*/ 367173 h 497801"/>
              <a:gd name="connsiteX49" fmla="*/ 74140 w 787302"/>
              <a:gd name="connsiteY49" fmla="*/ 377764 h 497801"/>
              <a:gd name="connsiteX50" fmla="*/ 95323 w 787302"/>
              <a:gd name="connsiteY50" fmla="*/ 391886 h 497801"/>
              <a:gd name="connsiteX51" fmla="*/ 98854 w 787302"/>
              <a:gd name="connsiteY51" fmla="*/ 402478 h 497801"/>
              <a:gd name="connsiteX52" fmla="*/ 105915 w 787302"/>
              <a:gd name="connsiteY52" fmla="*/ 413069 h 497801"/>
              <a:gd name="connsiteX53" fmla="*/ 123567 w 787302"/>
              <a:gd name="connsiteY53" fmla="*/ 441313 h 497801"/>
              <a:gd name="connsiteX54" fmla="*/ 130628 w 787302"/>
              <a:gd name="connsiteY54" fmla="*/ 451905 h 497801"/>
              <a:gd name="connsiteX55" fmla="*/ 141220 w 787302"/>
              <a:gd name="connsiteY55" fmla="*/ 455435 h 497801"/>
              <a:gd name="connsiteX56" fmla="*/ 151811 w 787302"/>
              <a:gd name="connsiteY56" fmla="*/ 462496 h 497801"/>
              <a:gd name="connsiteX57" fmla="*/ 158872 w 787302"/>
              <a:gd name="connsiteY57" fmla="*/ 473088 h 497801"/>
              <a:gd name="connsiteX58" fmla="*/ 204769 w 787302"/>
              <a:gd name="connsiteY58" fmla="*/ 483679 h 497801"/>
              <a:gd name="connsiteX59" fmla="*/ 215360 w 787302"/>
              <a:gd name="connsiteY59" fmla="*/ 487210 h 497801"/>
              <a:gd name="connsiteX60" fmla="*/ 229482 w 787302"/>
              <a:gd name="connsiteY60" fmla="*/ 490740 h 497801"/>
              <a:gd name="connsiteX61" fmla="*/ 250665 w 787302"/>
              <a:gd name="connsiteY61" fmla="*/ 497801 h 497801"/>
              <a:gd name="connsiteX62" fmla="*/ 300092 w 787302"/>
              <a:gd name="connsiteY62" fmla="*/ 494271 h 497801"/>
              <a:gd name="connsiteX63" fmla="*/ 314214 w 787302"/>
              <a:gd name="connsiteY63" fmla="*/ 473088 h 497801"/>
              <a:gd name="connsiteX64" fmla="*/ 353050 w 787302"/>
              <a:gd name="connsiteY64" fmla="*/ 462496 h 497801"/>
              <a:gd name="connsiteX65" fmla="*/ 356580 w 787302"/>
              <a:gd name="connsiteY65" fmla="*/ 451905 h 497801"/>
              <a:gd name="connsiteX66" fmla="*/ 469556 w 787302"/>
              <a:gd name="connsiteY66" fmla="*/ 437783 h 497801"/>
              <a:gd name="connsiteX67" fmla="*/ 497800 w 787302"/>
              <a:gd name="connsiteY67" fmla="*/ 430722 h 497801"/>
              <a:gd name="connsiteX68" fmla="*/ 508392 w 787302"/>
              <a:gd name="connsiteY68" fmla="*/ 427191 h 497801"/>
              <a:gd name="connsiteX69" fmla="*/ 518983 w 787302"/>
              <a:gd name="connsiteY69" fmla="*/ 420130 h 497801"/>
              <a:gd name="connsiteX70" fmla="*/ 533105 w 787302"/>
              <a:gd name="connsiteY70" fmla="*/ 398947 h 497801"/>
              <a:gd name="connsiteX71" fmla="*/ 536636 w 787302"/>
              <a:gd name="connsiteY71" fmla="*/ 388356 h 497801"/>
              <a:gd name="connsiteX72" fmla="*/ 557819 w 787302"/>
              <a:gd name="connsiteY72" fmla="*/ 381295 h 497801"/>
              <a:gd name="connsiteX73" fmla="*/ 568410 w 787302"/>
              <a:gd name="connsiteY73" fmla="*/ 377764 h 497801"/>
              <a:gd name="connsiteX74" fmla="*/ 579002 w 787302"/>
              <a:gd name="connsiteY74" fmla="*/ 374234 h 497801"/>
              <a:gd name="connsiteX75" fmla="*/ 589594 w 787302"/>
              <a:gd name="connsiteY75" fmla="*/ 367173 h 497801"/>
              <a:gd name="connsiteX76" fmla="*/ 603716 w 787302"/>
              <a:gd name="connsiteY76" fmla="*/ 345990 h 497801"/>
              <a:gd name="connsiteX77" fmla="*/ 617838 w 787302"/>
              <a:gd name="connsiteY77" fmla="*/ 303624 h 497801"/>
              <a:gd name="connsiteX78" fmla="*/ 621368 w 787302"/>
              <a:gd name="connsiteY78" fmla="*/ 293032 h 497801"/>
              <a:gd name="connsiteX79" fmla="*/ 631960 w 787302"/>
              <a:gd name="connsiteY79" fmla="*/ 289502 h 497801"/>
              <a:gd name="connsiteX80" fmla="*/ 639021 w 787302"/>
              <a:gd name="connsiteY80" fmla="*/ 278910 h 497801"/>
              <a:gd name="connsiteX81" fmla="*/ 649612 w 787302"/>
              <a:gd name="connsiteY81" fmla="*/ 247136 h 497801"/>
              <a:gd name="connsiteX82" fmla="*/ 653143 w 787302"/>
              <a:gd name="connsiteY82" fmla="*/ 236544 h 497801"/>
              <a:gd name="connsiteX83" fmla="*/ 663734 w 787302"/>
              <a:gd name="connsiteY83" fmla="*/ 233014 h 497801"/>
              <a:gd name="connsiteX84" fmla="*/ 677856 w 787302"/>
              <a:gd name="connsiteY84" fmla="*/ 172995 h 497801"/>
              <a:gd name="connsiteX85" fmla="*/ 699039 w 787302"/>
              <a:gd name="connsiteY85" fmla="*/ 165934 h 497801"/>
              <a:gd name="connsiteX86" fmla="*/ 723753 w 787302"/>
              <a:gd name="connsiteY86" fmla="*/ 158873 h 497801"/>
              <a:gd name="connsiteX87" fmla="*/ 744936 w 787302"/>
              <a:gd name="connsiteY87" fmla="*/ 151812 h 497801"/>
              <a:gd name="connsiteX88" fmla="*/ 769649 w 787302"/>
              <a:gd name="connsiteY88" fmla="*/ 123568 h 497801"/>
              <a:gd name="connsiteX89" fmla="*/ 773180 w 787302"/>
              <a:gd name="connsiteY89" fmla="*/ 112976 h 497801"/>
              <a:gd name="connsiteX90" fmla="*/ 783771 w 787302"/>
              <a:gd name="connsiteY90" fmla="*/ 105915 h 497801"/>
              <a:gd name="connsiteX91" fmla="*/ 787302 w 787302"/>
              <a:gd name="connsiteY91" fmla="*/ 95324 h 497801"/>
              <a:gd name="connsiteX92" fmla="*/ 787302 w 787302"/>
              <a:gd name="connsiteY92" fmla="*/ 95324 h 49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787302" h="497801">
                <a:moveTo>
                  <a:pt x="787302" y="95324"/>
                </a:moveTo>
                <a:cubicBezTo>
                  <a:pt x="785537" y="94147"/>
                  <a:pt x="779903" y="91057"/>
                  <a:pt x="776710" y="88263"/>
                </a:cubicBezTo>
                <a:cubicBezTo>
                  <a:pt x="770448" y="82783"/>
                  <a:pt x="766078" y="75078"/>
                  <a:pt x="759058" y="70610"/>
                </a:cubicBezTo>
                <a:cubicBezTo>
                  <a:pt x="752779" y="66614"/>
                  <a:pt x="744936" y="65903"/>
                  <a:pt x="737875" y="63549"/>
                </a:cubicBezTo>
                <a:cubicBezTo>
                  <a:pt x="719393" y="57389"/>
                  <a:pt x="730958" y="60544"/>
                  <a:pt x="702570" y="56488"/>
                </a:cubicBezTo>
                <a:cubicBezTo>
                  <a:pt x="700216" y="52958"/>
                  <a:pt x="697232" y="49774"/>
                  <a:pt x="695509" y="45897"/>
                </a:cubicBezTo>
                <a:cubicBezTo>
                  <a:pt x="692486" y="39096"/>
                  <a:pt x="694641" y="28842"/>
                  <a:pt x="688448" y="24714"/>
                </a:cubicBezTo>
                <a:lnTo>
                  <a:pt x="677856" y="17653"/>
                </a:lnTo>
                <a:cubicBezTo>
                  <a:pt x="668441" y="18830"/>
                  <a:pt x="658947" y="19486"/>
                  <a:pt x="649612" y="21183"/>
                </a:cubicBezTo>
                <a:cubicBezTo>
                  <a:pt x="645951" y="21849"/>
                  <a:pt x="642742" y="24714"/>
                  <a:pt x="639021" y="24714"/>
                </a:cubicBezTo>
                <a:cubicBezTo>
                  <a:pt x="633020" y="24714"/>
                  <a:pt x="627252" y="22360"/>
                  <a:pt x="621368" y="21183"/>
                </a:cubicBezTo>
                <a:cubicBezTo>
                  <a:pt x="614307" y="16476"/>
                  <a:pt x="608418" y="9119"/>
                  <a:pt x="600185" y="7061"/>
                </a:cubicBezTo>
                <a:lnTo>
                  <a:pt x="571941" y="0"/>
                </a:lnTo>
                <a:cubicBezTo>
                  <a:pt x="559821" y="2424"/>
                  <a:pt x="551789" y="3740"/>
                  <a:pt x="540166" y="7061"/>
                </a:cubicBezTo>
                <a:cubicBezTo>
                  <a:pt x="536588" y="8083"/>
                  <a:pt x="533153" y="9570"/>
                  <a:pt x="529575" y="10592"/>
                </a:cubicBezTo>
                <a:cubicBezTo>
                  <a:pt x="524910" y="11925"/>
                  <a:pt x="520101" y="12728"/>
                  <a:pt x="515453" y="14122"/>
                </a:cubicBezTo>
                <a:cubicBezTo>
                  <a:pt x="508324" y="16261"/>
                  <a:pt x="501331" y="18829"/>
                  <a:pt x="494270" y="21183"/>
                </a:cubicBezTo>
                <a:cubicBezTo>
                  <a:pt x="490739" y="22360"/>
                  <a:pt x="486775" y="22650"/>
                  <a:pt x="483678" y="24714"/>
                </a:cubicBezTo>
                <a:cubicBezTo>
                  <a:pt x="466874" y="35917"/>
                  <a:pt x="479691" y="29087"/>
                  <a:pt x="458965" y="35305"/>
                </a:cubicBezTo>
                <a:cubicBezTo>
                  <a:pt x="451836" y="37444"/>
                  <a:pt x="444843" y="40012"/>
                  <a:pt x="437782" y="42366"/>
                </a:cubicBezTo>
                <a:cubicBezTo>
                  <a:pt x="434251" y="43543"/>
                  <a:pt x="430801" y="44994"/>
                  <a:pt x="427190" y="45897"/>
                </a:cubicBezTo>
                <a:lnTo>
                  <a:pt x="413068" y="49427"/>
                </a:lnTo>
                <a:cubicBezTo>
                  <a:pt x="400125" y="68843"/>
                  <a:pt x="413066" y="52372"/>
                  <a:pt x="395416" y="67080"/>
                </a:cubicBezTo>
                <a:cubicBezTo>
                  <a:pt x="391580" y="70276"/>
                  <a:pt x="388978" y="74901"/>
                  <a:pt x="384824" y="77671"/>
                </a:cubicBezTo>
                <a:cubicBezTo>
                  <a:pt x="381728" y="79735"/>
                  <a:pt x="377561" y="79538"/>
                  <a:pt x="374233" y="81202"/>
                </a:cubicBezTo>
                <a:cubicBezTo>
                  <a:pt x="370438" y="83100"/>
                  <a:pt x="367172" y="85909"/>
                  <a:pt x="363641" y="88263"/>
                </a:cubicBezTo>
                <a:cubicBezTo>
                  <a:pt x="361287" y="91793"/>
                  <a:pt x="359580" y="95854"/>
                  <a:pt x="356580" y="98854"/>
                </a:cubicBezTo>
                <a:cubicBezTo>
                  <a:pt x="346297" y="109137"/>
                  <a:pt x="330957" y="110040"/>
                  <a:pt x="317745" y="112976"/>
                </a:cubicBezTo>
                <a:cubicBezTo>
                  <a:pt x="313008" y="114029"/>
                  <a:pt x="308330" y="115330"/>
                  <a:pt x="303623" y="116507"/>
                </a:cubicBezTo>
                <a:cubicBezTo>
                  <a:pt x="300092" y="118861"/>
                  <a:pt x="295825" y="120375"/>
                  <a:pt x="293031" y="123568"/>
                </a:cubicBezTo>
                <a:cubicBezTo>
                  <a:pt x="287443" y="129955"/>
                  <a:pt x="285970" y="140044"/>
                  <a:pt x="278909" y="144751"/>
                </a:cubicBezTo>
                <a:cubicBezTo>
                  <a:pt x="253689" y="161564"/>
                  <a:pt x="265959" y="156815"/>
                  <a:pt x="243604" y="162403"/>
                </a:cubicBezTo>
                <a:cubicBezTo>
                  <a:pt x="213006" y="161226"/>
                  <a:pt x="182269" y="162024"/>
                  <a:pt x="151811" y="158873"/>
                </a:cubicBezTo>
                <a:cubicBezTo>
                  <a:pt x="147591" y="158436"/>
                  <a:pt x="145015" y="153710"/>
                  <a:pt x="141220" y="151812"/>
                </a:cubicBezTo>
                <a:cubicBezTo>
                  <a:pt x="111987" y="137195"/>
                  <a:pt x="150388" y="161455"/>
                  <a:pt x="120037" y="141220"/>
                </a:cubicBezTo>
                <a:cubicBezTo>
                  <a:pt x="111799" y="142397"/>
                  <a:pt x="101892" y="139642"/>
                  <a:pt x="95323" y="144751"/>
                </a:cubicBezTo>
                <a:cubicBezTo>
                  <a:pt x="89448" y="149321"/>
                  <a:pt x="90616" y="158873"/>
                  <a:pt x="88262" y="165934"/>
                </a:cubicBezTo>
                <a:lnTo>
                  <a:pt x="84732" y="176525"/>
                </a:lnTo>
                <a:cubicBezTo>
                  <a:pt x="83555" y="180056"/>
                  <a:pt x="82104" y="183506"/>
                  <a:pt x="81201" y="187117"/>
                </a:cubicBezTo>
                <a:cubicBezTo>
                  <a:pt x="80729" y="189005"/>
                  <a:pt x="76168" y="208788"/>
                  <a:pt x="74140" y="211830"/>
                </a:cubicBezTo>
                <a:cubicBezTo>
                  <a:pt x="66583" y="223165"/>
                  <a:pt x="64062" y="222251"/>
                  <a:pt x="52957" y="225953"/>
                </a:cubicBezTo>
                <a:cubicBezTo>
                  <a:pt x="48250" y="233014"/>
                  <a:pt x="40035" y="238735"/>
                  <a:pt x="38835" y="247136"/>
                </a:cubicBezTo>
                <a:cubicBezTo>
                  <a:pt x="37864" y="253933"/>
                  <a:pt x="34706" y="286570"/>
                  <a:pt x="28244" y="293032"/>
                </a:cubicBezTo>
                <a:lnTo>
                  <a:pt x="17652" y="303624"/>
                </a:lnTo>
                <a:cubicBezTo>
                  <a:pt x="16475" y="307154"/>
                  <a:pt x="15786" y="310887"/>
                  <a:pt x="14122" y="314215"/>
                </a:cubicBezTo>
                <a:cubicBezTo>
                  <a:pt x="12224" y="318010"/>
                  <a:pt x="8511" y="320819"/>
                  <a:pt x="7061" y="324807"/>
                </a:cubicBezTo>
                <a:cubicBezTo>
                  <a:pt x="3745" y="333927"/>
                  <a:pt x="0" y="353051"/>
                  <a:pt x="0" y="353051"/>
                </a:cubicBezTo>
                <a:cubicBezTo>
                  <a:pt x="3530" y="355405"/>
                  <a:pt x="6796" y="358215"/>
                  <a:pt x="10591" y="360112"/>
                </a:cubicBezTo>
                <a:cubicBezTo>
                  <a:pt x="25830" y="367731"/>
                  <a:pt x="58332" y="366500"/>
                  <a:pt x="67079" y="367173"/>
                </a:cubicBezTo>
                <a:cubicBezTo>
                  <a:pt x="69433" y="370703"/>
                  <a:pt x="70947" y="374970"/>
                  <a:pt x="74140" y="377764"/>
                </a:cubicBezTo>
                <a:cubicBezTo>
                  <a:pt x="80527" y="383352"/>
                  <a:pt x="95323" y="391886"/>
                  <a:pt x="95323" y="391886"/>
                </a:cubicBezTo>
                <a:cubicBezTo>
                  <a:pt x="96500" y="395417"/>
                  <a:pt x="97190" y="399149"/>
                  <a:pt x="98854" y="402478"/>
                </a:cubicBezTo>
                <a:cubicBezTo>
                  <a:pt x="100752" y="406273"/>
                  <a:pt x="104192" y="409192"/>
                  <a:pt x="105915" y="413069"/>
                </a:cubicBezTo>
                <a:cubicBezTo>
                  <a:pt x="118298" y="440931"/>
                  <a:pt x="104514" y="428610"/>
                  <a:pt x="123567" y="441313"/>
                </a:cubicBezTo>
                <a:cubicBezTo>
                  <a:pt x="125921" y="444844"/>
                  <a:pt x="127315" y="449254"/>
                  <a:pt x="130628" y="451905"/>
                </a:cubicBezTo>
                <a:cubicBezTo>
                  <a:pt x="133534" y="454230"/>
                  <a:pt x="137891" y="453771"/>
                  <a:pt x="141220" y="455435"/>
                </a:cubicBezTo>
                <a:cubicBezTo>
                  <a:pt x="145015" y="457332"/>
                  <a:pt x="148281" y="460142"/>
                  <a:pt x="151811" y="462496"/>
                </a:cubicBezTo>
                <a:cubicBezTo>
                  <a:pt x="154165" y="466027"/>
                  <a:pt x="155274" y="470839"/>
                  <a:pt x="158872" y="473088"/>
                </a:cubicBezTo>
                <a:cubicBezTo>
                  <a:pt x="170360" y="480268"/>
                  <a:pt x="192353" y="481906"/>
                  <a:pt x="204769" y="483679"/>
                </a:cubicBezTo>
                <a:cubicBezTo>
                  <a:pt x="208299" y="484856"/>
                  <a:pt x="211782" y="486188"/>
                  <a:pt x="215360" y="487210"/>
                </a:cubicBezTo>
                <a:cubicBezTo>
                  <a:pt x="220025" y="488543"/>
                  <a:pt x="224834" y="489346"/>
                  <a:pt x="229482" y="490740"/>
                </a:cubicBezTo>
                <a:cubicBezTo>
                  <a:pt x="236611" y="492879"/>
                  <a:pt x="250665" y="497801"/>
                  <a:pt x="250665" y="497801"/>
                </a:cubicBezTo>
                <a:lnTo>
                  <a:pt x="300092" y="494271"/>
                </a:lnTo>
                <a:cubicBezTo>
                  <a:pt x="308001" y="491195"/>
                  <a:pt x="306163" y="475772"/>
                  <a:pt x="314214" y="473088"/>
                </a:cubicBezTo>
                <a:cubicBezTo>
                  <a:pt x="341090" y="464129"/>
                  <a:pt x="328099" y="467487"/>
                  <a:pt x="353050" y="462496"/>
                </a:cubicBezTo>
                <a:cubicBezTo>
                  <a:pt x="354227" y="458966"/>
                  <a:pt x="354916" y="455233"/>
                  <a:pt x="356580" y="451905"/>
                </a:cubicBezTo>
                <a:cubicBezTo>
                  <a:pt x="376458" y="412147"/>
                  <a:pt x="415815" y="439574"/>
                  <a:pt x="469556" y="437783"/>
                </a:cubicBezTo>
                <a:cubicBezTo>
                  <a:pt x="478971" y="435429"/>
                  <a:pt x="488594" y="433791"/>
                  <a:pt x="497800" y="430722"/>
                </a:cubicBezTo>
                <a:cubicBezTo>
                  <a:pt x="501331" y="429545"/>
                  <a:pt x="505063" y="428855"/>
                  <a:pt x="508392" y="427191"/>
                </a:cubicBezTo>
                <a:cubicBezTo>
                  <a:pt x="512187" y="425293"/>
                  <a:pt x="515453" y="422484"/>
                  <a:pt x="518983" y="420130"/>
                </a:cubicBezTo>
                <a:cubicBezTo>
                  <a:pt x="527379" y="394947"/>
                  <a:pt x="515474" y="425393"/>
                  <a:pt x="533105" y="398947"/>
                </a:cubicBezTo>
                <a:cubicBezTo>
                  <a:pt x="535169" y="395851"/>
                  <a:pt x="533608" y="390519"/>
                  <a:pt x="536636" y="388356"/>
                </a:cubicBezTo>
                <a:cubicBezTo>
                  <a:pt x="542693" y="384030"/>
                  <a:pt x="550758" y="383649"/>
                  <a:pt x="557819" y="381295"/>
                </a:cubicBezTo>
                <a:lnTo>
                  <a:pt x="568410" y="377764"/>
                </a:lnTo>
                <a:lnTo>
                  <a:pt x="579002" y="374234"/>
                </a:lnTo>
                <a:cubicBezTo>
                  <a:pt x="582533" y="371880"/>
                  <a:pt x="586800" y="370366"/>
                  <a:pt x="589594" y="367173"/>
                </a:cubicBezTo>
                <a:cubicBezTo>
                  <a:pt x="595182" y="360786"/>
                  <a:pt x="603716" y="345990"/>
                  <a:pt x="603716" y="345990"/>
                </a:cubicBezTo>
                <a:lnTo>
                  <a:pt x="617838" y="303624"/>
                </a:lnTo>
                <a:cubicBezTo>
                  <a:pt x="619015" y="300093"/>
                  <a:pt x="617837" y="294209"/>
                  <a:pt x="621368" y="293032"/>
                </a:cubicBezTo>
                <a:lnTo>
                  <a:pt x="631960" y="289502"/>
                </a:lnTo>
                <a:cubicBezTo>
                  <a:pt x="634314" y="285971"/>
                  <a:pt x="637298" y="282788"/>
                  <a:pt x="639021" y="278910"/>
                </a:cubicBezTo>
                <a:cubicBezTo>
                  <a:pt x="639025" y="278900"/>
                  <a:pt x="647845" y="252437"/>
                  <a:pt x="649612" y="247136"/>
                </a:cubicBezTo>
                <a:cubicBezTo>
                  <a:pt x="650789" y="243605"/>
                  <a:pt x="649612" y="237721"/>
                  <a:pt x="653143" y="236544"/>
                </a:cubicBezTo>
                <a:lnTo>
                  <a:pt x="663734" y="233014"/>
                </a:lnTo>
                <a:cubicBezTo>
                  <a:pt x="696709" y="200039"/>
                  <a:pt x="638563" y="262810"/>
                  <a:pt x="677856" y="172995"/>
                </a:cubicBezTo>
                <a:cubicBezTo>
                  <a:pt x="680839" y="166176"/>
                  <a:pt x="691978" y="168288"/>
                  <a:pt x="699039" y="165934"/>
                </a:cubicBezTo>
                <a:cubicBezTo>
                  <a:pt x="734639" y="154067"/>
                  <a:pt x="679417" y="172173"/>
                  <a:pt x="723753" y="158873"/>
                </a:cubicBezTo>
                <a:cubicBezTo>
                  <a:pt x="730882" y="156734"/>
                  <a:pt x="744936" y="151812"/>
                  <a:pt x="744936" y="151812"/>
                </a:cubicBezTo>
                <a:cubicBezTo>
                  <a:pt x="757293" y="143574"/>
                  <a:pt x="763764" y="141220"/>
                  <a:pt x="769649" y="123568"/>
                </a:cubicBezTo>
                <a:cubicBezTo>
                  <a:pt x="770826" y="120037"/>
                  <a:pt x="770855" y="115882"/>
                  <a:pt x="773180" y="112976"/>
                </a:cubicBezTo>
                <a:cubicBezTo>
                  <a:pt x="775831" y="109663"/>
                  <a:pt x="780241" y="108269"/>
                  <a:pt x="783771" y="105915"/>
                </a:cubicBezTo>
                <a:cubicBezTo>
                  <a:pt x="784948" y="102385"/>
                  <a:pt x="784977" y="98230"/>
                  <a:pt x="787302" y="95324"/>
                </a:cubicBezTo>
                <a:lnTo>
                  <a:pt x="787302" y="95324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5" name="Title 1"/>
          <p:cNvSpPr txBox="1">
            <a:spLocks/>
          </p:cNvSpPr>
          <p:nvPr/>
        </p:nvSpPr>
        <p:spPr>
          <a:xfrm rot="20754117">
            <a:off x="4984756" y="4330704"/>
            <a:ext cx="912813" cy="501651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12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హంగరీ</a:t>
            </a:r>
            <a:endParaRPr lang="en-IN" sz="1200" dirty="0">
              <a:solidFill>
                <a:srgbClr val="FFFF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66" name="Freeform 165"/>
          <p:cNvSpPr/>
          <p:nvPr/>
        </p:nvSpPr>
        <p:spPr>
          <a:xfrm>
            <a:off x="4991105" y="4180422"/>
            <a:ext cx="620713" cy="334433"/>
          </a:xfrm>
          <a:custGeom>
            <a:avLst/>
            <a:gdLst>
              <a:gd name="connsiteX0" fmla="*/ 18490 w 620836"/>
              <a:gd name="connsiteY0" fmla="*/ 187117 h 335398"/>
              <a:gd name="connsiteX1" fmla="*/ 39673 w 620836"/>
              <a:gd name="connsiteY1" fmla="*/ 172995 h 335398"/>
              <a:gd name="connsiteX2" fmla="*/ 60856 w 620836"/>
              <a:gd name="connsiteY2" fmla="*/ 165934 h 335398"/>
              <a:gd name="connsiteX3" fmla="*/ 82039 w 620836"/>
              <a:gd name="connsiteY3" fmla="*/ 158873 h 335398"/>
              <a:gd name="connsiteX4" fmla="*/ 92631 w 620836"/>
              <a:gd name="connsiteY4" fmla="*/ 155342 h 335398"/>
              <a:gd name="connsiteX5" fmla="*/ 113814 w 620836"/>
              <a:gd name="connsiteY5" fmla="*/ 141220 h 335398"/>
              <a:gd name="connsiteX6" fmla="*/ 124405 w 620836"/>
              <a:gd name="connsiteY6" fmla="*/ 134159 h 335398"/>
              <a:gd name="connsiteX7" fmla="*/ 134997 w 620836"/>
              <a:gd name="connsiteY7" fmla="*/ 130629 h 335398"/>
              <a:gd name="connsiteX8" fmla="*/ 166771 w 620836"/>
              <a:gd name="connsiteY8" fmla="*/ 109446 h 335398"/>
              <a:gd name="connsiteX9" fmla="*/ 177363 w 620836"/>
              <a:gd name="connsiteY9" fmla="*/ 102385 h 335398"/>
              <a:gd name="connsiteX10" fmla="*/ 195015 w 620836"/>
              <a:gd name="connsiteY10" fmla="*/ 70610 h 335398"/>
              <a:gd name="connsiteX11" fmla="*/ 205607 w 620836"/>
              <a:gd name="connsiteY11" fmla="*/ 63549 h 335398"/>
              <a:gd name="connsiteX12" fmla="*/ 212668 w 620836"/>
              <a:gd name="connsiteY12" fmla="*/ 42366 h 335398"/>
              <a:gd name="connsiteX13" fmla="*/ 216198 w 620836"/>
              <a:gd name="connsiteY13" fmla="*/ 21183 h 335398"/>
              <a:gd name="connsiteX14" fmla="*/ 226790 w 620836"/>
              <a:gd name="connsiteY14" fmla="*/ 14122 h 335398"/>
              <a:gd name="connsiteX15" fmla="*/ 244442 w 620836"/>
              <a:gd name="connsiteY15" fmla="*/ 7061 h 335398"/>
              <a:gd name="connsiteX16" fmla="*/ 262095 w 620836"/>
              <a:gd name="connsiteY16" fmla="*/ 3531 h 335398"/>
              <a:gd name="connsiteX17" fmla="*/ 272686 w 620836"/>
              <a:gd name="connsiteY17" fmla="*/ 0 h 335398"/>
              <a:gd name="connsiteX18" fmla="*/ 300930 w 620836"/>
              <a:gd name="connsiteY18" fmla="*/ 7061 h 335398"/>
              <a:gd name="connsiteX19" fmla="*/ 311522 w 620836"/>
              <a:gd name="connsiteY19" fmla="*/ 14122 h 335398"/>
              <a:gd name="connsiteX20" fmla="*/ 329174 w 620836"/>
              <a:gd name="connsiteY20" fmla="*/ 38836 h 335398"/>
              <a:gd name="connsiteX21" fmla="*/ 360949 w 620836"/>
              <a:gd name="connsiteY21" fmla="*/ 35305 h 335398"/>
              <a:gd name="connsiteX22" fmla="*/ 382132 w 620836"/>
              <a:gd name="connsiteY22" fmla="*/ 17653 h 335398"/>
              <a:gd name="connsiteX23" fmla="*/ 396254 w 620836"/>
              <a:gd name="connsiteY23" fmla="*/ 14122 h 335398"/>
              <a:gd name="connsiteX24" fmla="*/ 463333 w 620836"/>
              <a:gd name="connsiteY24" fmla="*/ 17653 h 335398"/>
              <a:gd name="connsiteX25" fmla="*/ 498639 w 620836"/>
              <a:gd name="connsiteY25" fmla="*/ 28244 h 335398"/>
              <a:gd name="connsiteX26" fmla="*/ 512761 w 620836"/>
              <a:gd name="connsiteY26" fmla="*/ 31775 h 335398"/>
              <a:gd name="connsiteX27" fmla="*/ 523352 w 620836"/>
              <a:gd name="connsiteY27" fmla="*/ 35305 h 335398"/>
              <a:gd name="connsiteX28" fmla="*/ 544535 w 620836"/>
              <a:gd name="connsiteY28" fmla="*/ 38836 h 335398"/>
              <a:gd name="connsiteX29" fmla="*/ 565718 w 620836"/>
              <a:gd name="connsiteY29" fmla="*/ 45897 h 335398"/>
              <a:gd name="connsiteX30" fmla="*/ 576310 w 620836"/>
              <a:gd name="connsiteY30" fmla="*/ 49427 h 335398"/>
              <a:gd name="connsiteX31" fmla="*/ 586901 w 620836"/>
              <a:gd name="connsiteY31" fmla="*/ 56488 h 335398"/>
              <a:gd name="connsiteX32" fmla="*/ 601023 w 620836"/>
              <a:gd name="connsiteY32" fmla="*/ 60019 h 335398"/>
              <a:gd name="connsiteX33" fmla="*/ 611615 w 620836"/>
              <a:gd name="connsiteY33" fmla="*/ 63549 h 335398"/>
              <a:gd name="connsiteX34" fmla="*/ 618676 w 620836"/>
              <a:gd name="connsiteY34" fmla="*/ 74141 h 335398"/>
              <a:gd name="connsiteX35" fmla="*/ 611615 w 620836"/>
              <a:gd name="connsiteY35" fmla="*/ 116507 h 335398"/>
              <a:gd name="connsiteX36" fmla="*/ 604554 w 620836"/>
              <a:gd name="connsiteY36" fmla="*/ 137690 h 335398"/>
              <a:gd name="connsiteX37" fmla="*/ 562188 w 620836"/>
              <a:gd name="connsiteY37" fmla="*/ 194178 h 335398"/>
              <a:gd name="connsiteX38" fmla="*/ 548066 w 620836"/>
              <a:gd name="connsiteY38" fmla="*/ 190647 h 335398"/>
              <a:gd name="connsiteX39" fmla="*/ 526883 w 620836"/>
              <a:gd name="connsiteY39" fmla="*/ 176525 h 335398"/>
              <a:gd name="connsiteX40" fmla="*/ 505700 w 620836"/>
              <a:gd name="connsiteY40" fmla="*/ 169464 h 335398"/>
              <a:gd name="connsiteX41" fmla="*/ 480986 w 620836"/>
              <a:gd name="connsiteY41" fmla="*/ 172995 h 335398"/>
              <a:gd name="connsiteX42" fmla="*/ 449211 w 620836"/>
              <a:gd name="connsiteY42" fmla="*/ 183586 h 335398"/>
              <a:gd name="connsiteX43" fmla="*/ 413906 w 620836"/>
              <a:gd name="connsiteY43" fmla="*/ 194178 h 335398"/>
              <a:gd name="connsiteX44" fmla="*/ 392723 w 620836"/>
              <a:gd name="connsiteY44" fmla="*/ 201239 h 335398"/>
              <a:gd name="connsiteX45" fmla="*/ 371540 w 620836"/>
              <a:gd name="connsiteY45" fmla="*/ 215361 h 335398"/>
              <a:gd name="connsiteX46" fmla="*/ 329174 w 620836"/>
              <a:gd name="connsiteY46" fmla="*/ 229483 h 335398"/>
              <a:gd name="connsiteX47" fmla="*/ 318583 w 620836"/>
              <a:gd name="connsiteY47" fmla="*/ 233013 h 335398"/>
              <a:gd name="connsiteX48" fmla="*/ 307991 w 620836"/>
              <a:gd name="connsiteY48" fmla="*/ 236544 h 335398"/>
              <a:gd name="connsiteX49" fmla="*/ 286808 w 620836"/>
              <a:gd name="connsiteY49" fmla="*/ 254196 h 335398"/>
              <a:gd name="connsiteX50" fmla="*/ 276217 w 620836"/>
              <a:gd name="connsiteY50" fmla="*/ 257727 h 335398"/>
              <a:gd name="connsiteX51" fmla="*/ 265625 w 620836"/>
              <a:gd name="connsiteY51" fmla="*/ 268318 h 335398"/>
              <a:gd name="connsiteX52" fmla="*/ 244442 w 620836"/>
              <a:gd name="connsiteY52" fmla="*/ 285971 h 335398"/>
              <a:gd name="connsiteX53" fmla="*/ 237381 w 620836"/>
              <a:gd name="connsiteY53" fmla="*/ 296562 h 335398"/>
              <a:gd name="connsiteX54" fmla="*/ 205607 w 620836"/>
              <a:gd name="connsiteY54" fmla="*/ 303623 h 335398"/>
              <a:gd name="connsiteX55" fmla="*/ 184424 w 620836"/>
              <a:gd name="connsiteY55" fmla="*/ 314215 h 335398"/>
              <a:gd name="connsiteX56" fmla="*/ 173832 w 620836"/>
              <a:gd name="connsiteY56" fmla="*/ 317745 h 335398"/>
              <a:gd name="connsiteX57" fmla="*/ 163241 w 620836"/>
              <a:gd name="connsiteY57" fmla="*/ 324806 h 335398"/>
              <a:gd name="connsiteX58" fmla="*/ 149119 w 620836"/>
              <a:gd name="connsiteY58" fmla="*/ 328337 h 335398"/>
              <a:gd name="connsiteX59" fmla="*/ 134997 w 620836"/>
              <a:gd name="connsiteY59" fmla="*/ 335398 h 335398"/>
              <a:gd name="connsiteX60" fmla="*/ 50265 w 620836"/>
              <a:gd name="connsiteY60" fmla="*/ 331867 h 335398"/>
              <a:gd name="connsiteX61" fmla="*/ 39673 w 620836"/>
              <a:gd name="connsiteY61" fmla="*/ 328337 h 335398"/>
              <a:gd name="connsiteX62" fmla="*/ 32612 w 620836"/>
              <a:gd name="connsiteY62" fmla="*/ 317745 h 335398"/>
              <a:gd name="connsiteX63" fmla="*/ 29082 w 620836"/>
              <a:gd name="connsiteY63" fmla="*/ 307154 h 335398"/>
              <a:gd name="connsiteX64" fmla="*/ 25551 w 620836"/>
              <a:gd name="connsiteY64" fmla="*/ 275379 h 335398"/>
              <a:gd name="connsiteX65" fmla="*/ 14960 w 620836"/>
              <a:gd name="connsiteY65" fmla="*/ 264788 h 335398"/>
              <a:gd name="connsiteX66" fmla="*/ 11429 w 620836"/>
              <a:gd name="connsiteY66" fmla="*/ 250666 h 335398"/>
              <a:gd name="connsiteX67" fmla="*/ 14960 w 620836"/>
              <a:gd name="connsiteY67" fmla="*/ 211830 h 335398"/>
              <a:gd name="connsiteX68" fmla="*/ 18490 w 620836"/>
              <a:gd name="connsiteY68" fmla="*/ 187117 h 33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620836" h="335398">
                <a:moveTo>
                  <a:pt x="18490" y="187117"/>
                </a:moveTo>
                <a:cubicBezTo>
                  <a:pt x="22609" y="180645"/>
                  <a:pt x="0" y="195035"/>
                  <a:pt x="39673" y="172995"/>
                </a:cubicBezTo>
                <a:cubicBezTo>
                  <a:pt x="46179" y="169380"/>
                  <a:pt x="53795" y="168288"/>
                  <a:pt x="60856" y="165934"/>
                </a:cubicBezTo>
                <a:lnTo>
                  <a:pt x="82039" y="158873"/>
                </a:lnTo>
                <a:cubicBezTo>
                  <a:pt x="85570" y="157696"/>
                  <a:pt x="89534" y="157406"/>
                  <a:pt x="92631" y="155342"/>
                </a:cubicBezTo>
                <a:lnTo>
                  <a:pt x="113814" y="141220"/>
                </a:lnTo>
                <a:cubicBezTo>
                  <a:pt x="117344" y="138866"/>
                  <a:pt x="120380" y="135501"/>
                  <a:pt x="124405" y="134159"/>
                </a:cubicBezTo>
                <a:lnTo>
                  <a:pt x="134997" y="130629"/>
                </a:lnTo>
                <a:lnTo>
                  <a:pt x="166771" y="109446"/>
                </a:lnTo>
                <a:lnTo>
                  <a:pt x="177363" y="102385"/>
                </a:lnTo>
                <a:cubicBezTo>
                  <a:pt x="181042" y="91347"/>
                  <a:pt x="184608" y="77548"/>
                  <a:pt x="195015" y="70610"/>
                </a:cubicBezTo>
                <a:lnTo>
                  <a:pt x="205607" y="63549"/>
                </a:lnTo>
                <a:cubicBezTo>
                  <a:pt x="207961" y="56488"/>
                  <a:pt x="211445" y="49708"/>
                  <a:pt x="212668" y="42366"/>
                </a:cubicBezTo>
                <a:cubicBezTo>
                  <a:pt x="213845" y="35305"/>
                  <a:pt x="212997" y="27586"/>
                  <a:pt x="216198" y="21183"/>
                </a:cubicBezTo>
                <a:cubicBezTo>
                  <a:pt x="218096" y="17388"/>
                  <a:pt x="222995" y="16020"/>
                  <a:pt x="226790" y="14122"/>
                </a:cubicBezTo>
                <a:cubicBezTo>
                  <a:pt x="232458" y="11288"/>
                  <a:pt x="238372" y="8882"/>
                  <a:pt x="244442" y="7061"/>
                </a:cubicBezTo>
                <a:cubicBezTo>
                  <a:pt x="250190" y="5337"/>
                  <a:pt x="256273" y="4986"/>
                  <a:pt x="262095" y="3531"/>
                </a:cubicBezTo>
                <a:cubicBezTo>
                  <a:pt x="265705" y="2628"/>
                  <a:pt x="269156" y="1177"/>
                  <a:pt x="272686" y="0"/>
                </a:cubicBezTo>
                <a:cubicBezTo>
                  <a:pt x="279396" y="1342"/>
                  <a:pt x="293694" y="3443"/>
                  <a:pt x="300930" y="7061"/>
                </a:cubicBezTo>
                <a:cubicBezTo>
                  <a:pt x="304725" y="8959"/>
                  <a:pt x="307991" y="11768"/>
                  <a:pt x="311522" y="14122"/>
                </a:cubicBezTo>
                <a:cubicBezTo>
                  <a:pt x="319760" y="38835"/>
                  <a:pt x="311522" y="32951"/>
                  <a:pt x="329174" y="38836"/>
                </a:cubicBezTo>
                <a:cubicBezTo>
                  <a:pt x="339766" y="37659"/>
                  <a:pt x="350610" y="37890"/>
                  <a:pt x="360949" y="35305"/>
                </a:cubicBezTo>
                <a:cubicBezTo>
                  <a:pt x="371977" y="32548"/>
                  <a:pt x="372914" y="22920"/>
                  <a:pt x="382132" y="17653"/>
                </a:cubicBezTo>
                <a:cubicBezTo>
                  <a:pt x="386345" y="15246"/>
                  <a:pt x="391547" y="15299"/>
                  <a:pt x="396254" y="14122"/>
                </a:cubicBezTo>
                <a:cubicBezTo>
                  <a:pt x="418614" y="15299"/>
                  <a:pt x="441027" y="15713"/>
                  <a:pt x="463333" y="17653"/>
                </a:cubicBezTo>
                <a:cubicBezTo>
                  <a:pt x="471927" y="18400"/>
                  <a:pt x="492409" y="26686"/>
                  <a:pt x="498639" y="28244"/>
                </a:cubicBezTo>
                <a:cubicBezTo>
                  <a:pt x="503346" y="29421"/>
                  <a:pt x="508095" y="30442"/>
                  <a:pt x="512761" y="31775"/>
                </a:cubicBezTo>
                <a:cubicBezTo>
                  <a:pt x="516339" y="32797"/>
                  <a:pt x="519719" y="34498"/>
                  <a:pt x="523352" y="35305"/>
                </a:cubicBezTo>
                <a:cubicBezTo>
                  <a:pt x="530340" y="36858"/>
                  <a:pt x="537590" y="37100"/>
                  <a:pt x="544535" y="38836"/>
                </a:cubicBezTo>
                <a:cubicBezTo>
                  <a:pt x="551756" y="40641"/>
                  <a:pt x="558657" y="43543"/>
                  <a:pt x="565718" y="45897"/>
                </a:cubicBezTo>
                <a:lnTo>
                  <a:pt x="576310" y="49427"/>
                </a:lnTo>
                <a:cubicBezTo>
                  <a:pt x="579840" y="51781"/>
                  <a:pt x="583001" y="54817"/>
                  <a:pt x="586901" y="56488"/>
                </a:cubicBezTo>
                <a:cubicBezTo>
                  <a:pt x="591361" y="58400"/>
                  <a:pt x="596357" y="58686"/>
                  <a:pt x="601023" y="60019"/>
                </a:cubicBezTo>
                <a:cubicBezTo>
                  <a:pt x="604601" y="61041"/>
                  <a:pt x="608084" y="62372"/>
                  <a:pt x="611615" y="63549"/>
                </a:cubicBezTo>
                <a:cubicBezTo>
                  <a:pt x="613969" y="67080"/>
                  <a:pt x="618292" y="69915"/>
                  <a:pt x="618676" y="74141"/>
                </a:cubicBezTo>
                <a:cubicBezTo>
                  <a:pt x="619490" y="83102"/>
                  <a:pt x="614916" y="105504"/>
                  <a:pt x="611615" y="116507"/>
                </a:cubicBezTo>
                <a:cubicBezTo>
                  <a:pt x="609476" y="123636"/>
                  <a:pt x="604554" y="137690"/>
                  <a:pt x="604554" y="137690"/>
                </a:cubicBezTo>
                <a:cubicBezTo>
                  <a:pt x="600484" y="206867"/>
                  <a:pt x="620836" y="201998"/>
                  <a:pt x="562188" y="194178"/>
                </a:cubicBezTo>
                <a:cubicBezTo>
                  <a:pt x="557378" y="193537"/>
                  <a:pt x="552773" y="191824"/>
                  <a:pt x="548066" y="190647"/>
                </a:cubicBezTo>
                <a:cubicBezTo>
                  <a:pt x="541005" y="185940"/>
                  <a:pt x="534934" y="179209"/>
                  <a:pt x="526883" y="176525"/>
                </a:cubicBezTo>
                <a:lnTo>
                  <a:pt x="505700" y="169464"/>
                </a:lnTo>
                <a:cubicBezTo>
                  <a:pt x="497462" y="170641"/>
                  <a:pt x="489095" y="171124"/>
                  <a:pt x="480986" y="172995"/>
                </a:cubicBezTo>
                <a:cubicBezTo>
                  <a:pt x="435288" y="183541"/>
                  <a:pt x="477357" y="176549"/>
                  <a:pt x="449211" y="183586"/>
                </a:cubicBezTo>
                <a:cubicBezTo>
                  <a:pt x="427866" y="188923"/>
                  <a:pt x="439695" y="185582"/>
                  <a:pt x="413906" y="194178"/>
                </a:cubicBezTo>
                <a:cubicBezTo>
                  <a:pt x="413902" y="194179"/>
                  <a:pt x="392726" y="201237"/>
                  <a:pt x="392723" y="201239"/>
                </a:cubicBezTo>
                <a:cubicBezTo>
                  <a:pt x="385662" y="205946"/>
                  <a:pt x="379591" y="212677"/>
                  <a:pt x="371540" y="215361"/>
                </a:cubicBezTo>
                <a:lnTo>
                  <a:pt x="329174" y="229483"/>
                </a:lnTo>
                <a:lnTo>
                  <a:pt x="318583" y="233013"/>
                </a:lnTo>
                <a:lnTo>
                  <a:pt x="307991" y="236544"/>
                </a:lnTo>
                <a:cubicBezTo>
                  <a:pt x="300181" y="244354"/>
                  <a:pt x="296640" y="249280"/>
                  <a:pt x="286808" y="254196"/>
                </a:cubicBezTo>
                <a:cubicBezTo>
                  <a:pt x="283480" y="255860"/>
                  <a:pt x="279747" y="256550"/>
                  <a:pt x="276217" y="257727"/>
                </a:cubicBezTo>
                <a:cubicBezTo>
                  <a:pt x="272686" y="261257"/>
                  <a:pt x="269461" y="265122"/>
                  <a:pt x="265625" y="268318"/>
                </a:cubicBezTo>
                <a:cubicBezTo>
                  <a:pt x="250478" y="280940"/>
                  <a:pt x="258506" y="269094"/>
                  <a:pt x="244442" y="285971"/>
                </a:cubicBezTo>
                <a:cubicBezTo>
                  <a:pt x="241726" y="289231"/>
                  <a:pt x="240694" y="293911"/>
                  <a:pt x="237381" y="296562"/>
                </a:cubicBezTo>
                <a:cubicBezTo>
                  <a:pt x="232805" y="300223"/>
                  <a:pt x="205828" y="303586"/>
                  <a:pt x="205607" y="303623"/>
                </a:cubicBezTo>
                <a:cubicBezTo>
                  <a:pt x="178976" y="312501"/>
                  <a:pt x="211808" y="300524"/>
                  <a:pt x="184424" y="314215"/>
                </a:cubicBezTo>
                <a:cubicBezTo>
                  <a:pt x="181095" y="315879"/>
                  <a:pt x="177363" y="316568"/>
                  <a:pt x="173832" y="317745"/>
                </a:cubicBezTo>
                <a:cubicBezTo>
                  <a:pt x="170302" y="320099"/>
                  <a:pt x="167141" y="323135"/>
                  <a:pt x="163241" y="324806"/>
                </a:cubicBezTo>
                <a:cubicBezTo>
                  <a:pt x="158781" y="326718"/>
                  <a:pt x="153662" y="326633"/>
                  <a:pt x="149119" y="328337"/>
                </a:cubicBezTo>
                <a:cubicBezTo>
                  <a:pt x="144191" y="330185"/>
                  <a:pt x="139704" y="333044"/>
                  <a:pt x="134997" y="335398"/>
                </a:cubicBezTo>
                <a:cubicBezTo>
                  <a:pt x="106753" y="334221"/>
                  <a:pt x="78456" y="333955"/>
                  <a:pt x="50265" y="331867"/>
                </a:cubicBezTo>
                <a:cubicBezTo>
                  <a:pt x="46554" y="331592"/>
                  <a:pt x="42579" y="330662"/>
                  <a:pt x="39673" y="328337"/>
                </a:cubicBezTo>
                <a:cubicBezTo>
                  <a:pt x="36360" y="325686"/>
                  <a:pt x="34966" y="321276"/>
                  <a:pt x="32612" y="317745"/>
                </a:cubicBezTo>
                <a:cubicBezTo>
                  <a:pt x="31435" y="314215"/>
                  <a:pt x="29694" y="310825"/>
                  <a:pt x="29082" y="307154"/>
                </a:cubicBezTo>
                <a:cubicBezTo>
                  <a:pt x="27330" y="296642"/>
                  <a:pt x="28921" y="285489"/>
                  <a:pt x="25551" y="275379"/>
                </a:cubicBezTo>
                <a:cubicBezTo>
                  <a:pt x="23972" y="270643"/>
                  <a:pt x="18490" y="268318"/>
                  <a:pt x="14960" y="264788"/>
                </a:cubicBezTo>
                <a:cubicBezTo>
                  <a:pt x="13783" y="260081"/>
                  <a:pt x="11429" y="255518"/>
                  <a:pt x="11429" y="250666"/>
                </a:cubicBezTo>
                <a:cubicBezTo>
                  <a:pt x="11429" y="237667"/>
                  <a:pt x="14034" y="224796"/>
                  <a:pt x="14960" y="211830"/>
                </a:cubicBezTo>
                <a:cubicBezTo>
                  <a:pt x="15212" y="208309"/>
                  <a:pt x="14371" y="193589"/>
                  <a:pt x="18490" y="187117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7" name="TextBox 103"/>
          <p:cNvSpPr txBox="1">
            <a:spLocks noChangeArrowheads="1"/>
          </p:cNvSpPr>
          <p:nvPr/>
        </p:nvSpPr>
        <p:spPr bwMode="auto">
          <a:xfrm rot="-981287">
            <a:off x="4948238" y="4205480"/>
            <a:ext cx="965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000">
                <a:latin typeface="Ramabhadra" pitchFamily="2" charset="0"/>
                <a:cs typeface="Ramabhadra" pitchFamily="2" charset="0"/>
              </a:rPr>
              <a:t>స్లోవేకియా</a:t>
            </a:r>
          </a:p>
        </p:txBody>
      </p:sp>
      <p:sp>
        <p:nvSpPr>
          <p:cNvPr id="168" name="Freeform 167"/>
          <p:cNvSpPr/>
          <p:nvPr/>
        </p:nvSpPr>
        <p:spPr>
          <a:xfrm>
            <a:off x="4452938" y="3953933"/>
            <a:ext cx="760412" cy="416984"/>
          </a:xfrm>
          <a:custGeom>
            <a:avLst/>
            <a:gdLst>
              <a:gd name="connsiteX0" fmla="*/ 19896 w 760870"/>
              <a:gd name="connsiteY0" fmla="*/ 110518 h 417671"/>
              <a:gd name="connsiteX1" fmla="*/ 41079 w 760870"/>
              <a:gd name="connsiteY1" fmla="*/ 99926 h 417671"/>
              <a:gd name="connsiteX2" fmla="*/ 62262 w 760870"/>
              <a:gd name="connsiteY2" fmla="*/ 92865 h 417671"/>
              <a:gd name="connsiteX3" fmla="*/ 72853 w 760870"/>
              <a:gd name="connsiteY3" fmla="*/ 89335 h 417671"/>
              <a:gd name="connsiteX4" fmla="*/ 86975 w 760870"/>
              <a:gd name="connsiteY4" fmla="*/ 85804 h 417671"/>
              <a:gd name="connsiteX5" fmla="*/ 132872 w 760870"/>
              <a:gd name="connsiteY5" fmla="*/ 75213 h 417671"/>
              <a:gd name="connsiteX6" fmla="*/ 143464 w 760870"/>
              <a:gd name="connsiteY6" fmla="*/ 71682 h 417671"/>
              <a:gd name="connsiteX7" fmla="*/ 164647 w 760870"/>
              <a:gd name="connsiteY7" fmla="*/ 57560 h 417671"/>
              <a:gd name="connsiteX8" fmla="*/ 175238 w 760870"/>
              <a:gd name="connsiteY8" fmla="*/ 50499 h 417671"/>
              <a:gd name="connsiteX9" fmla="*/ 185830 w 760870"/>
              <a:gd name="connsiteY9" fmla="*/ 46969 h 417671"/>
              <a:gd name="connsiteX10" fmla="*/ 196421 w 760870"/>
              <a:gd name="connsiteY10" fmla="*/ 39908 h 417671"/>
              <a:gd name="connsiteX11" fmla="*/ 221135 w 760870"/>
              <a:gd name="connsiteY11" fmla="*/ 32847 h 417671"/>
              <a:gd name="connsiteX12" fmla="*/ 231726 w 760870"/>
              <a:gd name="connsiteY12" fmla="*/ 25786 h 417671"/>
              <a:gd name="connsiteX13" fmla="*/ 235257 w 760870"/>
              <a:gd name="connsiteY13" fmla="*/ 15194 h 417671"/>
              <a:gd name="connsiteX14" fmla="*/ 252909 w 760870"/>
              <a:gd name="connsiteY14" fmla="*/ 8133 h 417671"/>
              <a:gd name="connsiteX15" fmla="*/ 270562 w 760870"/>
              <a:gd name="connsiteY15" fmla="*/ 4603 h 417671"/>
              <a:gd name="connsiteX16" fmla="*/ 281153 w 760870"/>
              <a:gd name="connsiteY16" fmla="*/ 1072 h 417671"/>
              <a:gd name="connsiteX17" fmla="*/ 302336 w 760870"/>
              <a:gd name="connsiteY17" fmla="*/ 25786 h 417671"/>
              <a:gd name="connsiteX18" fmla="*/ 302336 w 760870"/>
              <a:gd name="connsiteY18" fmla="*/ 25786 h 417671"/>
              <a:gd name="connsiteX19" fmla="*/ 323519 w 760870"/>
              <a:gd name="connsiteY19" fmla="*/ 32847 h 417671"/>
              <a:gd name="connsiteX20" fmla="*/ 369416 w 760870"/>
              <a:gd name="connsiteY20" fmla="*/ 32847 h 417671"/>
              <a:gd name="connsiteX21" fmla="*/ 376477 w 760870"/>
              <a:gd name="connsiteY21" fmla="*/ 43438 h 417671"/>
              <a:gd name="connsiteX22" fmla="*/ 387068 w 760870"/>
              <a:gd name="connsiteY22" fmla="*/ 50499 h 417671"/>
              <a:gd name="connsiteX23" fmla="*/ 408251 w 760870"/>
              <a:gd name="connsiteY23" fmla="*/ 57560 h 417671"/>
              <a:gd name="connsiteX24" fmla="*/ 418843 w 760870"/>
              <a:gd name="connsiteY24" fmla="*/ 61091 h 417671"/>
              <a:gd name="connsiteX25" fmla="*/ 429434 w 760870"/>
              <a:gd name="connsiteY25" fmla="*/ 64621 h 417671"/>
              <a:gd name="connsiteX26" fmla="*/ 478861 w 760870"/>
              <a:gd name="connsiteY26" fmla="*/ 82274 h 417671"/>
              <a:gd name="connsiteX27" fmla="*/ 489453 w 760870"/>
              <a:gd name="connsiteY27" fmla="*/ 85804 h 417671"/>
              <a:gd name="connsiteX28" fmla="*/ 492983 w 760870"/>
              <a:gd name="connsiteY28" fmla="*/ 96396 h 417671"/>
              <a:gd name="connsiteX29" fmla="*/ 500044 w 760870"/>
              <a:gd name="connsiteY29" fmla="*/ 106987 h 417671"/>
              <a:gd name="connsiteX30" fmla="*/ 507105 w 760870"/>
              <a:gd name="connsiteY30" fmla="*/ 128170 h 417671"/>
              <a:gd name="connsiteX31" fmla="*/ 510636 w 760870"/>
              <a:gd name="connsiteY31" fmla="*/ 138762 h 417671"/>
              <a:gd name="connsiteX32" fmla="*/ 524758 w 760870"/>
              <a:gd name="connsiteY32" fmla="*/ 159945 h 417671"/>
              <a:gd name="connsiteX33" fmla="*/ 549471 w 760870"/>
              <a:gd name="connsiteY33" fmla="*/ 156414 h 417671"/>
              <a:gd name="connsiteX34" fmla="*/ 563593 w 760870"/>
              <a:gd name="connsiteY34" fmla="*/ 135231 h 417671"/>
              <a:gd name="connsiteX35" fmla="*/ 570654 w 760870"/>
              <a:gd name="connsiteY35" fmla="*/ 124640 h 417671"/>
              <a:gd name="connsiteX36" fmla="*/ 591837 w 760870"/>
              <a:gd name="connsiteY36" fmla="*/ 117579 h 417671"/>
              <a:gd name="connsiteX37" fmla="*/ 620081 w 760870"/>
              <a:gd name="connsiteY37" fmla="*/ 124640 h 417671"/>
              <a:gd name="connsiteX38" fmla="*/ 630673 w 760870"/>
              <a:gd name="connsiteY38" fmla="*/ 135231 h 417671"/>
              <a:gd name="connsiteX39" fmla="*/ 644795 w 760870"/>
              <a:gd name="connsiteY39" fmla="*/ 149353 h 417671"/>
              <a:gd name="connsiteX40" fmla="*/ 651856 w 760870"/>
              <a:gd name="connsiteY40" fmla="*/ 159945 h 417671"/>
              <a:gd name="connsiteX41" fmla="*/ 683630 w 760870"/>
              <a:gd name="connsiteY41" fmla="*/ 184658 h 417671"/>
              <a:gd name="connsiteX42" fmla="*/ 704813 w 760870"/>
              <a:gd name="connsiteY42" fmla="*/ 191719 h 417671"/>
              <a:gd name="connsiteX43" fmla="*/ 725996 w 760870"/>
              <a:gd name="connsiteY43" fmla="*/ 202311 h 417671"/>
              <a:gd name="connsiteX44" fmla="*/ 736588 w 760870"/>
              <a:gd name="connsiteY44" fmla="*/ 209372 h 417671"/>
              <a:gd name="connsiteX45" fmla="*/ 743649 w 760870"/>
              <a:gd name="connsiteY45" fmla="*/ 230555 h 417671"/>
              <a:gd name="connsiteX46" fmla="*/ 747179 w 760870"/>
              <a:gd name="connsiteY46" fmla="*/ 241146 h 417671"/>
              <a:gd name="connsiteX47" fmla="*/ 757771 w 760870"/>
              <a:gd name="connsiteY47" fmla="*/ 251738 h 417671"/>
              <a:gd name="connsiteX48" fmla="*/ 747179 w 760870"/>
              <a:gd name="connsiteY48" fmla="*/ 272921 h 417671"/>
              <a:gd name="connsiteX49" fmla="*/ 743649 w 760870"/>
              <a:gd name="connsiteY49" fmla="*/ 283512 h 417671"/>
              <a:gd name="connsiteX50" fmla="*/ 736588 w 760870"/>
              <a:gd name="connsiteY50" fmla="*/ 318817 h 417671"/>
              <a:gd name="connsiteX51" fmla="*/ 725996 w 760870"/>
              <a:gd name="connsiteY51" fmla="*/ 329409 h 417671"/>
              <a:gd name="connsiteX52" fmla="*/ 715405 w 760870"/>
              <a:gd name="connsiteY52" fmla="*/ 332939 h 417671"/>
              <a:gd name="connsiteX53" fmla="*/ 704813 w 760870"/>
              <a:gd name="connsiteY53" fmla="*/ 343531 h 417671"/>
              <a:gd name="connsiteX54" fmla="*/ 673039 w 760870"/>
              <a:gd name="connsiteY54" fmla="*/ 364714 h 417671"/>
              <a:gd name="connsiteX55" fmla="*/ 658917 w 760870"/>
              <a:gd name="connsiteY55" fmla="*/ 375305 h 417671"/>
              <a:gd name="connsiteX56" fmla="*/ 644795 w 760870"/>
              <a:gd name="connsiteY56" fmla="*/ 378836 h 417671"/>
              <a:gd name="connsiteX57" fmla="*/ 613020 w 760870"/>
              <a:gd name="connsiteY57" fmla="*/ 392958 h 417671"/>
              <a:gd name="connsiteX58" fmla="*/ 602429 w 760870"/>
              <a:gd name="connsiteY58" fmla="*/ 396488 h 417671"/>
              <a:gd name="connsiteX59" fmla="*/ 581246 w 760870"/>
              <a:gd name="connsiteY59" fmla="*/ 410610 h 417671"/>
              <a:gd name="connsiteX60" fmla="*/ 570654 w 760870"/>
              <a:gd name="connsiteY60" fmla="*/ 417671 h 417671"/>
              <a:gd name="connsiteX61" fmla="*/ 496514 w 760870"/>
              <a:gd name="connsiteY61" fmla="*/ 414141 h 417671"/>
              <a:gd name="connsiteX62" fmla="*/ 482392 w 760870"/>
              <a:gd name="connsiteY62" fmla="*/ 396488 h 417671"/>
              <a:gd name="connsiteX63" fmla="*/ 475331 w 760870"/>
              <a:gd name="connsiteY63" fmla="*/ 385897 h 417671"/>
              <a:gd name="connsiteX64" fmla="*/ 464739 w 760870"/>
              <a:gd name="connsiteY64" fmla="*/ 382366 h 417671"/>
              <a:gd name="connsiteX65" fmla="*/ 418843 w 760870"/>
              <a:gd name="connsiteY65" fmla="*/ 378836 h 417671"/>
              <a:gd name="connsiteX66" fmla="*/ 408251 w 760870"/>
              <a:gd name="connsiteY66" fmla="*/ 371775 h 417671"/>
              <a:gd name="connsiteX67" fmla="*/ 383538 w 760870"/>
              <a:gd name="connsiteY67" fmla="*/ 347061 h 417671"/>
              <a:gd name="connsiteX68" fmla="*/ 362355 w 760870"/>
              <a:gd name="connsiteY68" fmla="*/ 340000 h 417671"/>
              <a:gd name="connsiteX69" fmla="*/ 337641 w 760870"/>
              <a:gd name="connsiteY69" fmla="*/ 343531 h 417671"/>
              <a:gd name="connsiteX70" fmla="*/ 334111 w 760870"/>
              <a:gd name="connsiteY70" fmla="*/ 357653 h 417671"/>
              <a:gd name="connsiteX71" fmla="*/ 330580 w 760870"/>
              <a:gd name="connsiteY71" fmla="*/ 368244 h 417671"/>
              <a:gd name="connsiteX72" fmla="*/ 319989 w 760870"/>
              <a:gd name="connsiteY72" fmla="*/ 371775 h 417671"/>
              <a:gd name="connsiteX73" fmla="*/ 309397 w 760870"/>
              <a:gd name="connsiteY73" fmla="*/ 378836 h 417671"/>
              <a:gd name="connsiteX74" fmla="*/ 295275 w 760870"/>
              <a:gd name="connsiteY74" fmla="*/ 400019 h 417671"/>
              <a:gd name="connsiteX75" fmla="*/ 284684 w 760870"/>
              <a:gd name="connsiteY75" fmla="*/ 403549 h 417671"/>
              <a:gd name="connsiteX76" fmla="*/ 252909 w 760870"/>
              <a:gd name="connsiteY76" fmla="*/ 410610 h 417671"/>
              <a:gd name="connsiteX77" fmla="*/ 224665 w 760870"/>
              <a:gd name="connsiteY77" fmla="*/ 407080 h 417671"/>
              <a:gd name="connsiteX78" fmla="*/ 221135 w 760870"/>
              <a:gd name="connsiteY78" fmla="*/ 396488 h 417671"/>
              <a:gd name="connsiteX79" fmla="*/ 217604 w 760870"/>
              <a:gd name="connsiteY79" fmla="*/ 375305 h 417671"/>
              <a:gd name="connsiteX80" fmla="*/ 199952 w 760870"/>
              <a:gd name="connsiteY80" fmla="*/ 361183 h 417671"/>
              <a:gd name="connsiteX81" fmla="*/ 192891 w 760870"/>
              <a:gd name="connsiteY81" fmla="*/ 340000 h 417671"/>
              <a:gd name="connsiteX82" fmla="*/ 171708 w 760870"/>
              <a:gd name="connsiteY82" fmla="*/ 332939 h 417671"/>
              <a:gd name="connsiteX83" fmla="*/ 161116 w 760870"/>
              <a:gd name="connsiteY83" fmla="*/ 329409 h 417671"/>
              <a:gd name="connsiteX84" fmla="*/ 146994 w 760870"/>
              <a:gd name="connsiteY84" fmla="*/ 308226 h 417671"/>
              <a:gd name="connsiteX85" fmla="*/ 136403 w 760870"/>
              <a:gd name="connsiteY85" fmla="*/ 283512 h 417671"/>
              <a:gd name="connsiteX86" fmla="*/ 125811 w 760870"/>
              <a:gd name="connsiteY86" fmla="*/ 276451 h 417671"/>
              <a:gd name="connsiteX87" fmla="*/ 122281 w 760870"/>
              <a:gd name="connsiteY87" fmla="*/ 265860 h 417671"/>
              <a:gd name="connsiteX88" fmla="*/ 115219 w 760870"/>
              <a:gd name="connsiteY88" fmla="*/ 258799 h 417671"/>
              <a:gd name="connsiteX89" fmla="*/ 101097 w 760870"/>
              <a:gd name="connsiteY89" fmla="*/ 227024 h 417671"/>
              <a:gd name="connsiteX90" fmla="*/ 97567 w 760870"/>
              <a:gd name="connsiteY90" fmla="*/ 216433 h 417671"/>
              <a:gd name="connsiteX91" fmla="*/ 94036 w 760870"/>
              <a:gd name="connsiteY91" fmla="*/ 202311 h 417671"/>
              <a:gd name="connsiteX92" fmla="*/ 79914 w 760870"/>
              <a:gd name="connsiteY92" fmla="*/ 181128 h 417671"/>
              <a:gd name="connsiteX93" fmla="*/ 69323 w 760870"/>
              <a:gd name="connsiteY93" fmla="*/ 159945 h 417671"/>
              <a:gd name="connsiteX94" fmla="*/ 65792 w 760870"/>
              <a:gd name="connsiteY94" fmla="*/ 149353 h 417671"/>
              <a:gd name="connsiteX95" fmla="*/ 30487 w 760870"/>
              <a:gd name="connsiteY95" fmla="*/ 114048 h 417671"/>
              <a:gd name="connsiteX96" fmla="*/ 19896 w 760870"/>
              <a:gd name="connsiteY96" fmla="*/ 110518 h 417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60870" h="417671">
                <a:moveTo>
                  <a:pt x="19896" y="110518"/>
                </a:moveTo>
                <a:cubicBezTo>
                  <a:pt x="21661" y="108164"/>
                  <a:pt x="0" y="118183"/>
                  <a:pt x="41079" y="99926"/>
                </a:cubicBezTo>
                <a:cubicBezTo>
                  <a:pt x="47880" y="96903"/>
                  <a:pt x="55201" y="95219"/>
                  <a:pt x="62262" y="92865"/>
                </a:cubicBezTo>
                <a:cubicBezTo>
                  <a:pt x="65792" y="91688"/>
                  <a:pt x="69243" y="90238"/>
                  <a:pt x="72853" y="89335"/>
                </a:cubicBezTo>
                <a:cubicBezTo>
                  <a:pt x="77560" y="88158"/>
                  <a:pt x="82238" y="86857"/>
                  <a:pt x="86975" y="85804"/>
                </a:cubicBezTo>
                <a:cubicBezTo>
                  <a:pt x="103784" y="82069"/>
                  <a:pt x="115560" y="80984"/>
                  <a:pt x="132872" y="75213"/>
                </a:cubicBezTo>
                <a:cubicBezTo>
                  <a:pt x="136403" y="74036"/>
                  <a:pt x="140211" y="73489"/>
                  <a:pt x="143464" y="71682"/>
                </a:cubicBezTo>
                <a:cubicBezTo>
                  <a:pt x="150882" y="67561"/>
                  <a:pt x="157586" y="62267"/>
                  <a:pt x="164647" y="57560"/>
                </a:cubicBezTo>
                <a:cubicBezTo>
                  <a:pt x="168177" y="55206"/>
                  <a:pt x="171213" y="51841"/>
                  <a:pt x="175238" y="50499"/>
                </a:cubicBezTo>
                <a:lnTo>
                  <a:pt x="185830" y="46969"/>
                </a:lnTo>
                <a:cubicBezTo>
                  <a:pt x="189360" y="44615"/>
                  <a:pt x="192626" y="41806"/>
                  <a:pt x="196421" y="39908"/>
                </a:cubicBezTo>
                <a:cubicBezTo>
                  <a:pt x="201489" y="37374"/>
                  <a:pt x="216606" y="33979"/>
                  <a:pt x="221135" y="32847"/>
                </a:cubicBezTo>
                <a:cubicBezTo>
                  <a:pt x="224665" y="30493"/>
                  <a:pt x="229075" y="29099"/>
                  <a:pt x="231726" y="25786"/>
                </a:cubicBezTo>
                <a:cubicBezTo>
                  <a:pt x="234051" y="22880"/>
                  <a:pt x="232398" y="17577"/>
                  <a:pt x="235257" y="15194"/>
                </a:cubicBezTo>
                <a:cubicBezTo>
                  <a:pt x="240125" y="11137"/>
                  <a:pt x="246839" y="9954"/>
                  <a:pt x="252909" y="8133"/>
                </a:cubicBezTo>
                <a:cubicBezTo>
                  <a:pt x="258657" y="6409"/>
                  <a:pt x="264740" y="6058"/>
                  <a:pt x="270562" y="4603"/>
                </a:cubicBezTo>
                <a:cubicBezTo>
                  <a:pt x="274172" y="3700"/>
                  <a:pt x="277623" y="2249"/>
                  <a:pt x="281153" y="1072"/>
                </a:cubicBezTo>
                <a:cubicBezTo>
                  <a:pt x="302496" y="6408"/>
                  <a:pt x="293741" y="0"/>
                  <a:pt x="302336" y="25786"/>
                </a:cubicBezTo>
                <a:lnTo>
                  <a:pt x="302336" y="25786"/>
                </a:lnTo>
                <a:lnTo>
                  <a:pt x="323519" y="32847"/>
                </a:lnTo>
                <a:cubicBezTo>
                  <a:pt x="341035" y="27008"/>
                  <a:pt x="344059" y="24395"/>
                  <a:pt x="369416" y="32847"/>
                </a:cubicBezTo>
                <a:cubicBezTo>
                  <a:pt x="373441" y="34189"/>
                  <a:pt x="373477" y="40438"/>
                  <a:pt x="376477" y="43438"/>
                </a:cubicBezTo>
                <a:cubicBezTo>
                  <a:pt x="379477" y="46438"/>
                  <a:pt x="383191" y="48776"/>
                  <a:pt x="387068" y="50499"/>
                </a:cubicBezTo>
                <a:cubicBezTo>
                  <a:pt x="393869" y="53522"/>
                  <a:pt x="401190" y="55206"/>
                  <a:pt x="408251" y="57560"/>
                </a:cubicBezTo>
                <a:lnTo>
                  <a:pt x="418843" y="61091"/>
                </a:lnTo>
                <a:lnTo>
                  <a:pt x="429434" y="64621"/>
                </a:lnTo>
                <a:cubicBezTo>
                  <a:pt x="458511" y="84006"/>
                  <a:pt x="442196" y="77690"/>
                  <a:pt x="478861" y="82274"/>
                </a:cubicBezTo>
                <a:cubicBezTo>
                  <a:pt x="482392" y="83451"/>
                  <a:pt x="486821" y="83172"/>
                  <a:pt x="489453" y="85804"/>
                </a:cubicBezTo>
                <a:cubicBezTo>
                  <a:pt x="492085" y="88436"/>
                  <a:pt x="491319" y="93067"/>
                  <a:pt x="492983" y="96396"/>
                </a:cubicBezTo>
                <a:cubicBezTo>
                  <a:pt x="494880" y="100191"/>
                  <a:pt x="498321" y="103110"/>
                  <a:pt x="500044" y="106987"/>
                </a:cubicBezTo>
                <a:cubicBezTo>
                  <a:pt x="503067" y="113788"/>
                  <a:pt x="504751" y="121109"/>
                  <a:pt x="507105" y="128170"/>
                </a:cubicBezTo>
                <a:cubicBezTo>
                  <a:pt x="508282" y="131701"/>
                  <a:pt x="508572" y="135665"/>
                  <a:pt x="510636" y="138762"/>
                </a:cubicBezTo>
                <a:lnTo>
                  <a:pt x="524758" y="159945"/>
                </a:lnTo>
                <a:cubicBezTo>
                  <a:pt x="532996" y="158768"/>
                  <a:pt x="542451" y="160882"/>
                  <a:pt x="549471" y="156414"/>
                </a:cubicBezTo>
                <a:cubicBezTo>
                  <a:pt x="556630" y="151858"/>
                  <a:pt x="558886" y="142292"/>
                  <a:pt x="563593" y="135231"/>
                </a:cubicBezTo>
                <a:cubicBezTo>
                  <a:pt x="565947" y="131701"/>
                  <a:pt x="566629" y="125982"/>
                  <a:pt x="570654" y="124640"/>
                </a:cubicBezTo>
                <a:lnTo>
                  <a:pt x="591837" y="117579"/>
                </a:lnTo>
                <a:cubicBezTo>
                  <a:pt x="594388" y="118089"/>
                  <a:pt x="615425" y="121536"/>
                  <a:pt x="620081" y="124640"/>
                </a:cubicBezTo>
                <a:cubicBezTo>
                  <a:pt x="624235" y="127410"/>
                  <a:pt x="627142" y="131701"/>
                  <a:pt x="630673" y="135231"/>
                </a:cubicBezTo>
                <a:cubicBezTo>
                  <a:pt x="638375" y="158341"/>
                  <a:pt x="627677" y="135659"/>
                  <a:pt x="644795" y="149353"/>
                </a:cubicBezTo>
                <a:cubicBezTo>
                  <a:pt x="648108" y="152004"/>
                  <a:pt x="649140" y="156685"/>
                  <a:pt x="651856" y="159945"/>
                </a:cubicBezTo>
                <a:cubicBezTo>
                  <a:pt x="658885" y="168380"/>
                  <a:pt x="674546" y="181630"/>
                  <a:pt x="683630" y="184658"/>
                </a:cubicBezTo>
                <a:lnTo>
                  <a:pt x="704813" y="191719"/>
                </a:lnTo>
                <a:cubicBezTo>
                  <a:pt x="735169" y="211956"/>
                  <a:pt x="696762" y="187693"/>
                  <a:pt x="725996" y="202311"/>
                </a:cubicBezTo>
                <a:cubicBezTo>
                  <a:pt x="729791" y="204209"/>
                  <a:pt x="733057" y="207018"/>
                  <a:pt x="736588" y="209372"/>
                </a:cubicBezTo>
                <a:lnTo>
                  <a:pt x="743649" y="230555"/>
                </a:lnTo>
                <a:cubicBezTo>
                  <a:pt x="744826" y="234085"/>
                  <a:pt x="744548" y="238515"/>
                  <a:pt x="747179" y="241146"/>
                </a:cubicBezTo>
                <a:lnTo>
                  <a:pt x="757771" y="251738"/>
                </a:lnTo>
                <a:cubicBezTo>
                  <a:pt x="748894" y="278365"/>
                  <a:pt x="760870" y="245538"/>
                  <a:pt x="747179" y="272921"/>
                </a:cubicBezTo>
                <a:cubicBezTo>
                  <a:pt x="745515" y="276249"/>
                  <a:pt x="744826" y="279982"/>
                  <a:pt x="743649" y="283512"/>
                </a:cubicBezTo>
                <a:cubicBezTo>
                  <a:pt x="743351" y="285600"/>
                  <a:pt x="741068" y="312096"/>
                  <a:pt x="736588" y="318817"/>
                </a:cubicBezTo>
                <a:cubicBezTo>
                  <a:pt x="733818" y="322972"/>
                  <a:pt x="730151" y="326639"/>
                  <a:pt x="725996" y="329409"/>
                </a:cubicBezTo>
                <a:cubicBezTo>
                  <a:pt x="722900" y="331473"/>
                  <a:pt x="718935" y="331762"/>
                  <a:pt x="715405" y="332939"/>
                </a:cubicBezTo>
                <a:cubicBezTo>
                  <a:pt x="711874" y="336470"/>
                  <a:pt x="708754" y="340466"/>
                  <a:pt x="704813" y="343531"/>
                </a:cubicBezTo>
                <a:cubicBezTo>
                  <a:pt x="673136" y="368169"/>
                  <a:pt x="694173" y="348865"/>
                  <a:pt x="673039" y="364714"/>
                </a:cubicBezTo>
                <a:cubicBezTo>
                  <a:pt x="668332" y="368244"/>
                  <a:pt x="664180" y="372674"/>
                  <a:pt x="658917" y="375305"/>
                </a:cubicBezTo>
                <a:cubicBezTo>
                  <a:pt x="654577" y="377475"/>
                  <a:pt x="649502" y="377659"/>
                  <a:pt x="644795" y="378836"/>
                </a:cubicBezTo>
                <a:cubicBezTo>
                  <a:pt x="628010" y="390025"/>
                  <a:pt x="638228" y="384556"/>
                  <a:pt x="613020" y="392958"/>
                </a:cubicBezTo>
                <a:lnTo>
                  <a:pt x="602429" y="396488"/>
                </a:lnTo>
                <a:lnTo>
                  <a:pt x="581246" y="410610"/>
                </a:lnTo>
                <a:lnTo>
                  <a:pt x="570654" y="417671"/>
                </a:lnTo>
                <a:cubicBezTo>
                  <a:pt x="545941" y="416494"/>
                  <a:pt x="521064" y="417210"/>
                  <a:pt x="496514" y="414141"/>
                </a:cubicBezTo>
                <a:cubicBezTo>
                  <a:pt x="483816" y="412554"/>
                  <a:pt x="486395" y="404494"/>
                  <a:pt x="482392" y="396488"/>
                </a:cubicBezTo>
                <a:cubicBezTo>
                  <a:pt x="480495" y="392693"/>
                  <a:pt x="478644" y="388548"/>
                  <a:pt x="475331" y="385897"/>
                </a:cubicBezTo>
                <a:cubicBezTo>
                  <a:pt x="472425" y="383572"/>
                  <a:pt x="468432" y="382828"/>
                  <a:pt x="464739" y="382366"/>
                </a:cubicBezTo>
                <a:cubicBezTo>
                  <a:pt x="449514" y="380463"/>
                  <a:pt x="434142" y="380013"/>
                  <a:pt x="418843" y="378836"/>
                </a:cubicBezTo>
                <a:cubicBezTo>
                  <a:pt x="415312" y="376482"/>
                  <a:pt x="410902" y="375088"/>
                  <a:pt x="408251" y="371775"/>
                </a:cubicBezTo>
                <a:cubicBezTo>
                  <a:pt x="394045" y="354017"/>
                  <a:pt x="426044" y="361230"/>
                  <a:pt x="383538" y="347061"/>
                </a:cubicBezTo>
                <a:lnTo>
                  <a:pt x="362355" y="340000"/>
                </a:lnTo>
                <a:cubicBezTo>
                  <a:pt x="354117" y="341177"/>
                  <a:pt x="344698" y="339120"/>
                  <a:pt x="337641" y="343531"/>
                </a:cubicBezTo>
                <a:cubicBezTo>
                  <a:pt x="333526" y="346103"/>
                  <a:pt x="335444" y="352988"/>
                  <a:pt x="334111" y="357653"/>
                </a:cubicBezTo>
                <a:cubicBezTo>
                  <a:pt x="333089" y="361231"/>
                  <a:pt x="333211" y="365613"/>
                  <a:pt x="330580" y="368244"/>
                </a:cubicBezTo>
                <a:cubicBezTo>
                  <a:pt x="327949" y="370875"/>
                  <a:pt x="323317" y="370111"/>
                  <a:pt x="319989" y="371775"/>
                </a:cubicBezTo>
                <a:cubicBezTo>
                  <a:pt x="316194" y="373673"/>
                  <a:pt x="312928" y="376482"/>
                  <a:pt x="309397" y="378836"/>
                </a:cubicBezTo>
                <a:cubicBezTo>
                  <a:pt x="304690" y="385897"/>
                  <a:pt x="303326" y="397336"/>
                  <a:pt x="295275" y="400019"/>
                </a:cubicBezTo>
                <a:cubicBezTo>
                  <a:pt x="291745" y="401196"/>
                  <a:pt x="288262" y="402527"/>
                  <a:pt x="284684" y="403549"/>
                </a:cubicBezTo>
                <a:cubicBezTo>
                  <a:pt x="273039" y="406876"/>
                  <a:pt x="265056" y="408181"/>
                  <a:pt x="252909" y="410610"/>
                </a:cubicBezTo>
                <a:cubicBezTo>
                  <a:pt x="243494" y="409433"/>
                  <a:pt x="233335" y="410933"/>
                  <a:pt x="224665" y="407080"/>
                </a:cubicBezTo>
                <a:cubicBezTo>
                  <a:pt x="221264" y="405569"/>
                  <a:pt x="221942" y="400121"/>
                  <a:pt x="221135" y="396488"/>
                </a:cubicBezTo>
                <a:cubicBezTo>
                  <a:pt x="219582" y="389500"/>
                  <a:pt x="219868" y="382096"/>
                  <a:pt x="217604" y="375305"/>
                </a:cubicBezTo>
                <a:cubicBezTo>
                  <a:pt x="213612" y="363329"/>
                  <a:pt x="210066" y="364555"/>
                  <a:pt x="199952" y="361183"/>
                </a:cubicBezTo>
                <a:cubicBezTo>
                  <a:pt x="197598" y="354122"/>
                  <a:pt x="199952" y="342354"/>
                  <a:pt x="192891" y="340000"/>
                </a:cubicBezTo>
                <a:lnTo>
                  <a:pt x="171708" y="332939"/>
                </a:lnTo>
                <a:lnTo>
                  <a:pt x="161116" y="329409"/>
                </a:lnTo>
                <a:cubicBezTo>
                  <a:pt x="156409" y="322348"/>
                  <a:pt x="149052" y="316459"/>
                  <a:pt x="146994" y="308226"/>
                </a:cubicBezTo>
                <a:cubicBezTo>
                  <a:pt x="144294" y="297423"/>
                  <a:pt x="144530" y="291639"/>
                  <a:pt x="136403" y="283512"/>
                </a:cubicBezTo>
                <a:cubicBezTo>
                  <a:pt x="133403" y="280512"/>
                  <a:pt x="129342" y="278805"/>
                  <a:pt x="125811" y="276451"/>
                </a:cubicBezTo>
                <a:cubicBezTo>
                  <a:pt x="124634" y="272921"/>
                  <a:pt x="124196" y="269051"/>
                  <a:pt x="122281" y="265860"/>
                </a:cubicBezTo>
                <a:cubicBezTo>
                  <a:pt x="120568" y="263006"/>
                  <a:pt x="116708" y="261776"/>
                  <a:pt x="115219" y="258799"/>
                </a:cubicBezTo>
                <a:cubicBezTo>
                  <a:pt x="90001" y="208366"/>
                  <a:pt x="121873" y="258189"/>
                  <a:pt x="101097" y="227024"/>
                </a:cubicBezTo>
                <a:cubicBezTo>
                  <a:pt x="99920" y="223494"/>
                  <a:pt x="98589" y="220011"/>
                  <a:pt x="97567" y="216433"/>
                </a:cubicBezTo>
                <a:cubicBezTo>
                  <a:pt x="96234" y="211767"/>
                  <a:pt x="96206" y="206651"/>
                  <a:pt x="94036" y="202311"/>
                </a:cubicBezTo>
                <a:cubicBezTo>
                  <a:pt x="90241" y="194721"/>
                  <a:pt x="79914" y="181128"/>
                  <a:pt x="79914" y="181128"/>
                </a:cubicBezTo>
                <a:cubicBezTo>
                  <a:pt x="71043" y="154511"/>
                  <a:pt x="83008" y="187314"/>
                  <a:pt x="69323" y="159945"/>
                </a:cubicBezTo>
                <a:cubicBezTo>
                  <a:pt x="67659" y="156616"/>
                  <a:pt x="67599" y="152606"/>
                  <a:pt x="65792" y="149353"/>
                </a:cubicBezTo>
                <a:cubicBezTo>
                  <a:pt x="57233" y="133948"/>
                  <a:pt x="48460" y="120039"/>
                  <a:pt x="30487" y="114048"/>
                </a:cubicBezTo>
                <a:cubicBezTo>
                  <a:pt x="18779" y="110146"/>
                  <a:pt x="18131" y="112872"/>
                  <a:pt x="19896" y="110518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9" name="TextBox 101"/>
          <p:cNvSpPr txBox="1">
            <a:spLocks noChangeArrowheads="1"/>
          </p:cNvSpPr>
          <p:nvPr/>
        </p:nvSpPr>
        <p:spPr bwMode="auto">
          <a:xfrm rot="435422">
            <a:off x="4498981" y="4081654"/>
            <a:ext cx="7207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latin typeface="Ramabhadra" pitchFamily="2" charset="0"/>
                <a:cs typeface="Ramabhadra" pitchFamily="2" charset="0"/>
              </a:rPr>
              <a:t>చెక్ రిపబ్లిక్</a:t>
            </a:r>
          </a:p>
        </p:txBody>
      </p:sp>
      <p:sp>
        <p:nvSpPr>
          <p:cNvPr id="170" name="Freeform 169"/>
          <p:cNvSpPr/>
          <p:nvPr/>
        </p:nvSpPr>
        <p:spPr>
          <a:xfrm>
            <a:off x="4148144" y="4305306"/>
            <a:ext cx="884237" cy="436033"/>
          </a:xfrm>
          <a:custGeom>
            <a:avLst/>
            <a:gdLst>
              <a:gd name="connsiteX0" fmla="*/ 14122 w 883898"/>
              <a:gd name="connsiteY0" fmla="*/ 199091 h 435635"/>
              <a:gd name="connsiteX1" fmla="*/ 7061 w 883898"/>
              <a:gd name="connsiteY1" fmla="*/ 244988 h 435635"/>
              <a:gd name="connsiteX2" fmla="*/ 0 w 883898"/>
              <a:gd name="connsiteY2" fmla="*/ 255579 h 435635"/>
              <a:gd name="connsiteX3" fmla="*/ 3530 w 883898"/>
              <a:gd name="connsiteY3" fmla="*/ 276763 h 435635"/>
              <a:gd name="connsiteX4" fmla="*/ 24713 w 883898"/>
              <a:gd name="connsiteY4" fmla="*/ 294415 h 435635"/>
              <a:gd name="connsiteX5" fmla="*/ 35305 w 883898"/>
              <a:gd name="connsiteY5" fmla="*/ 297946 h 435635"/>
              <a:gd name="connsiteX6" fmla="*/ 56488 w 883898"/>
              <a:gd name="connsiteY6" fmla="*/ 308537 h 435635"/>
              <a:gd name="connsiteX7" fmla="*/ 67079 w 883898"/>
              <a:gd name="connsiteY7" fmla="*/ 315598 h 435635"/>
              <a:gd name="connsiteX8" fmla="*/ 109445 w 883898"/>
              <a:gd name="connsiteY8" fmla="*/ 322659 h 435635"/>
              <a:gd name="connsiteX9" fmla="*/ 120037 w 883898"/>
              <a:gd name="connsiteY9" fmla="*/ 326190 h 435635"/>
              <a:gd name="connsiteX10" fmla="*/ 141220 w 883898"/>
              <a:gd name="connsiteY10" fmla="*/ 340312 h 435635"/>
              <a:gd name="connsiteX11" fmla="*/ 172994 w 883898"/>
              <a:gd name="connsiteY11" fmla="*/ 333251 h 435635"/>
              <a:gd name="connsiteX12" fmla="*/ 194177 w 883898"/>
              <a:gd name="connsiteY12" fmla="*/ 322659 h 435635"/>
              <a:gd name="connsiteX13" fmla="*/ 282440 w 883898"/>
              <a:gd name="connsiteY13" fmla="*/ 326190 h 435635"/>
              <a:gd name="connsiteX14" fmla="*/ 303623 w 883898"/>
              <a:gd name="connsiteY14" fmla="*/ 333251 h 435635"/>
              <a:gd name="connsiteX15" fmla="*/ 321275 w 883898"/>
              <a:gd name="connsiteY15" fmla="*/ 347373 h 435635"/>
              <a:gd name="connsiteX16" fmla="*/ 342458 w 883898"/>
              <a:gd name="connsiteY16" fmla="*/ 361495 h 435635"/>
              <a:gd name="connsiteX17" fmla="*/ 353050 w 883898"/>
              <a:gd name="connsiteY17" fmla="*/ 368556 h 435635"/>
              <a:gd name="connsiteX18" fmla="*/ 363641 w 883898"/>
              <a:gd name="connsiteY18" fmla="*/ 375617 h 435635"/>
              <a:gd name="connsiteX19" fmla="*/ 374233 w 883898"/>
              <a:gd name="connsiteY19" fmla="*/ 379147 h 435635"/>
              <a:gd name="connsiteX20" fmla="*/ 423660 w 883898"/>
              <a:gd name="connsiteY20" fmla="*/ 389739 h 435635"/>
              <a:gd name="connsiteX21" fmla="*/ 455435 w 883898"/>
              <a:gd name="connsiteY21" fmla="*/ 403861 h 435635"/>
              <a:gd name="connsiteX22" fmla="*/ 469557 w 883898"/>
              <a:gd name="connsiteY22" fmla="*/ 407391 h 435635"/>
              <a:gd name="connsiteX23" fmla="*/ 518984 w 883898"/>
              <a:gd name="connsiteY23" fmla="*/ 414452 h 435635"/>
              <a:gd name="connsiteX24" fmla="*/ 554289 w 883898"/>
              <a:gd name="connsiteY24" fmla="*/ 428574 h 435635"/>
              <a:gd name="connsiteX25" fmla="*/ 564880 w 883898"/>
              <a:gd name="connsiteY25" fmla="*/ 432105 h 435635"/>
              <a:gd name="connsiteX26" fmla="*/ 575472 w 883898"/>
              <a:gd name="connsiteY26" fmla="*/ 435635 h 435635"/>
              <a:gd name="connsiteX27" fmla="*/ 600185 w 883898"/>
              <a:gd name="connsiteY27" fmla="*/ 432105 h 435635"/>
              <a:gd name="connsiteX28" fmla="*/ 621368 w 883898"/>
              <a:gd name="connsiteY28" fmla="*/ 425044 h 435635"/>
              <a:gd name="connsiteX29" fmla="*/ 639021 w 883898"/>
              <a:gd name="connsiteY29" fmla="*/ 410922 h 435635"/>
              <a:gd name="connsiteX30" fmla="*/ 649612 w 883898"/>
              <a:gd name="connsiteY30" fmla="*/ 400330 h 435635"/>
              <a:gd name="connsiteX31" fmla="*/ 695509 w 883898"/>
              <a:gd name="connsiteY31" fmla="*/ 389739 h 435635"/>
              <a:gd name="connsiteX32" fmla="*/ 748466 w 883898"/>
              <a:gd name="connsiteY32" fmla="*/ 386208 h 435635"/>
              <a:gd name="connsiteX33" fmla="*/ 759058 w 883898"/>
              <a:gd name="connsiteY33" fmla="*/ 393269 h 435635"/>
              <a:gd name="connsiteX34" fmla="*/ 762588 w 883898"/>
              <a:gd name="connsiteY34" fmla="*/ 379147 h 435635"/>
              <a:gd name="connsiteX35" fmla="*/ 766119 w 883898"/>
              <a:gd name="connsiteY35" fmla="*/ 368556 h 435635"/>
              <a:gd name="connsiteX36" fmla="*/ 776710 w 883898"/>
              <a:gd name="connsiteY36" fmla="*/ 365025 h 435635"/>
              <a:gd name="connsiteX37" fmla="*/ 787302 w 883898"/>
              <a:gd name="connsiteY37" fmla="*/ 357964 h 435635"/>
              <a:gd name="connsiteX38" fmla="*/ 787302 w 883898"/>
              <a:gd name="connsiteY38" fmla="*/ 308537 h 435635"/>
              <a:gd name="connsiteX39" fmla="*/ 790832 w 883898"/>
              <a:gd name="connsiteY39" fmla="*/ 297946 h 435635"/>
              <a:gd name="connsiteX40" fmla="*/ 812015 w 883898"/>
              <a:gd name="connsiteY40" fmla="*/ 290885 h 435635"/>
              <a:gd name="connsiteX41" fmla="*/ 829668 w 883898"/>
              <a:gd name="connsiteY41" fmla="*/ 266171 h 435635"/>
              <a:gd name="connsiteX42" fmla="*/ 840259 w 883898"/>
              <a:gd name="connsiteY42" fmla="*/ 230866 h 435635"/>
              <a:gd name="connsiteX43" fmla="*/ 850851 w 883898"/>
              <a:gd name="connsiteY43" fmla="*/ 223805 h 435635"/>
              <a:gd name="connsiteX44" fmla="*/ 854381 w 883898"/>
              <a:gd name="connsiteY44" fmla="*/ 213213 h 435635"/>
              <a:gd name="connsiteX45" fmla="*/ 854381 w 883898"/>
              <a:gd name="connsiteY45" fmla="*/ 192030 h 435635"/>
              <a:gd name="connsiteX46" fmla="*/ 868503 w 883898"/>
              <a:gd name="connsiteY46" fmla="*/ 188500 h 435635"/>
              <a:gd name="connsiteX47" fmla="*/ 879095 w 883898"/>
              <a:gd name="connsiteY47" fmla="*/ 184969 h 435635"/>
              <a:gd name="connsiteX48" fmla="*/ 879095 w 883898"/>
              <a:gd name="connsiteY48" fmla="*/ 160256 h 435635"/>
              <a:gd name="connsiteX49" fmla="*/ 875564 w 883898"/>
              <a:gd name="connsiteY49" fmla="*/ 149664 h 435635"/>
              <a:gd name="connsiteX50" fmla="*/ 854381 w 883898"/>
              <a:gd name="connsiteY50" fmla="*/ 142603 h 435635"/>
              <a:gd name="connsiteX51" fmla="*/ 854381 w 883898"/>
              <a:gd name="connsiteY51" fmla="*/ 68463 h 435635"/>
              <a:gd name="connsiteX52" fmla="*/ 836729 w 883898"/>
              <a:gd name="connsiteY52" fmla="*/ 71993 h 435635"/>
              <a:gd name="connsiteX53" fmla="*/ 801424 w 883898"/>
              <a:gd name="connsiteY53" fmla="*/ 68463 h 435635"/>
              <a:gd name="connsiteX54" fmla="*/ 794363 w 883898"/>
              <a:gd name="connsiteY54" fmla="*/ 57871 h 435635"/>
              <a:gd name="connsiteX55" fmla="*/ 783771 w 883898"/>
              <a:gd name="connsiteY55" fmla="*/ 47280 h 435635"/>
              <a:gd name="connsiteX56" fmla="*/ 773180 w 883898"/>
              <a:gd name="connsiteY56" fmla="*/ 43749 h 435635"/>
              <a:gd name="connsiteX57" fmla="*/ 723753 w 883898"/>
              <a:gd name="connsiteY57" fmla="*/ 36688 h 435635"/>
              <a:gd name="connsiteX58" fmla="*/ 716692 w 883898"/>
              <a:gd name="connsiteY58" fmla="*/ 26097 h 435635"/>
              <a:gd name="connsiteX59" fmla="*/ 702570 w 883898"/>
              <a:gd name="connsiteY59" fmla="*/ 8444 h 435635"/>
              <a:gd name="connsiteX60" fmla="*/ 681387 w 883898"/>
              <a:gd name="connsiteY60" fmla="*/ 1383 h 435635"/>
              <a:gd name="connsiteX61" fmla="*/ 639021 w 883898"/>
              <a:gd name="connsiteY61" fmla="*/ 11975 h 435635"/>
              <a:gd name="connsiteX62" fmla="*/ 624899 w 883898"/>
              <a:gd name="connsiteY62" fmla="*/ 33158 h 435635"/>
              <a:gd name="connsiteX63" fmla="*/ 607246 w 883898"/>
              <a:gd name="connsiteY63" fmla="*/ 50810 h 435635"/>
              <a:gd name="connsiteX64" fmla="*/ 586063 w 883898"/>
              <a:gd name="connsiteY64" fmla="*/ 57871 h 435635"/>
              <a:gd name="connsiteX65" fmla="*/ 508392 w 883898"/>
              <a:gd name="connsiteY65" fmla="*/ 64932 h 435635"/>
              <a:gd name="connsiteX66" fmla="*/ 476618 w 883898"/>
              <a:gd name="connsiteY66" fmla="*/ 82585 h 435635"/>
              <a:gd name="connsiteX67" fmla="*/ 469557 w 883898"/>
              <a:gd name="connsiteY67" fmla="*/ 93176 h 435635"/>
              <a:gd name="connsiteX68" fmla="*/ 458965 w 883898"/>
              <a:gd name="connsiteY68" fmla="*/ 103768 h 435635"/>
              <a:gd name="connsiteX69" fmla="*/ 455435 w 883898"/>
              <a:gd name="connsiteY69" fmla="*/ 114359 h 435635"/>
              <a:gd name="connsiteX70" fmla="*/ 434252 w 883898"/>
              <a:gd name="connsiteY70" fmla="*/ 132012 h 435635"/>
              <a:gd name="connsiteX71" fmla="*/ 430721 w 883898"/>
              <a:gd name="connsiteY71" fmla="*/ 237927 h 435635"/>
              <a:gd name="connsiteX72" fmla="*/ 413068 w 883898"/>
              <a:gd name="connsiteY72" fmla="*/ 234396 h 435635"/>
              <a:gd name="connsiteX73" fmla="*/ 384824 w 883898"/>
              <a:gd name="connsiteY73" fmla="*/ 220274 h 435635"/>
              <a:gd name="connsiteX74" fmla="*/ 374233 w 883898"/>
              <a:gd name="connsiteY74" fmla="*/ 216744 h 435635"/>
              <a:gd name="connsiteX75" fmla="*/ 363641 w 883898"/>
              <a:gd name="connsiteY75" fmla="*/ 209683 h 435635"/>
              <a:gd name="connsiteX76" fmla="*/ 285970 w 883898"/>
              <a:gd name="connsiteY76" fmla="*/ 209683 h 435635"/>
              <a:gd name="connsiteX77" fmla="*/ 254196 w 883898"/>
              <a:gd name="connsiteY77" fmla="*/ 223805 h 435635"/>
              <a:gd name="connsiteX78" fmla="*/ 243604 w 883898"/>
              <a:gd name="connsiteY78" fmla="*/ 227335 h 435635"/>
              <a:gd name="connsiteX79" fmla="*/ 208299 w 883898"/>
              <a:gd name="connsiteY79" fmla="*/ 223805 h 435635"/>
              <a:gd name="connsiteX80" fmla="*/ 176525 w 883898"/>
              <a:gd name="connsiteY80" fmla="*/ 220274 h 435635"/>
              <a:gd name="connsiteX81" fmla="*/ 155342 w 883898"/>
              <a:gd name="connsiteY81" fmla="*/ 227335 h 435635"/>
              <a:gd name="connsiteX82" fmla="*/ 144750 w 883898"/>
              <a:gd name="connsiteY82" fmla="*/ 230866 h 435635"/>
              <a:gd name="connsiteX83" fmla="*/ 134159 w 883898"/>
              <a:gd name="connsiteY83" fmla="*/ 237927 h 435635"/>
              <a:gd name="connsiteX84" fmla="*/ 102384 w 883898"/>
              <a:gd name="connsiteY84" fmla="*/ 244988 h 435635"/>
              <a:gd name="connsiteX85" fmla="*/ 88262 w 883898"/>
              <a:gd name="connsiteY85" fmla="*/ 223805 h 435635"/>
              <a:gd name="connsiteX86" fmla="*/ 81201 w 883898"/>
              <a:gd name="connsiteY86" fmla="*/ 213213 h 435635"/>
              <a:gd name="connsiteX87" fmla="*/ 70610 w 883898"/>
              <a:gd name="connsiteY87" fmla="*/ 206152 h 435635"/>
              <a:gd name="connsiteX88" fmla="*/ 14122 w 883898"/>
              <a:gd name="connsiteY88" fmla="*/ 199091 h 4356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883898" h="435635">
                <a:moveTo>
                  <a:pt x="14122" y="199091"/>
                </a:moveTo>
                <a:cubicBezTo>
                  <a:pt x="3531" y="205564"/>
                  <a:pt x="13421" y="232267"/>
                  <a:pt x="7061" y="244988"/>
                </a:cubicBezTo>
                <a:cubicBezTo>
                  <a:pt x="5164" y="248783"/>
                  <a:pt x="2354" y="252049"/>
                  <a:pt x="0" y="255579"/>
                </a:cubicBezTo>
                <a:cubicBezTo>
                  <a:pt x="1177" y="262640"/>
                  <a:pt x="623" y="270221"/>
                  <a:pt x="3530" y="276763"/>
                </a:cubicBezTo>
                <a:cubicBezTo>
                  <a:pt x="5760" y="281781"/>
                  <a:pt x="19624" y="291870"/>
                  <a:pt x="24713" y="294415"/>
                </a:cubicBezTo>
                <a:cubicBezTo>
                  <a:pt x="28042" y="296079"/>
                  <a:pt x="31976" y="296282"/>
                  <a:pt x="35305" y="297946"/>
                </a:cubicBezTo>
                <a:cubicBezTo>
                  <a:pt x="62674" y="311631"/>
                  <a:pt x="29871" y="299666"/>
                  <a:pt x="56488" y="308537"/>
                </a:cubicBezTo>
                <a:cubicBezTo>
                  <a:pt x="60018" y="310891"/>
                  <a:pt x="63284" y="313700"/>
                  <a:pt x="67079" y="315598"/>
                </a:cubicBezTo>
                <a:cubicBezTo>
                  <a:pt x="78910" y="321514"/>
                  <a:pt x="99372" y="321540"/>
                  <a:pt x="109445" y="322659"/>
                </a:cubicBezTo>
                <a:cubicBezTo>
                  <a:pt x="112976" y="323836"/>
                  <a:pt x="116784" y="324383"/>
                  <a:pt x="120037" y="326190"/>
                </a:cubicBezTo>
                <a:cubicBezTo>
                  <a:pt x="127455" y="330311"/>
                  <a:pt x="141220" y="340312"/>
                  <a:pt x="141220" y="340312"/>
                </a:cubicBezTo>
                <a:cubicBezTo>
                  <a:pt x="149352" y="338957"/>
                  <a:pt x="164305" y="337596"/>
                  <a:pt x="172994" y="333251"/>
                </a:cubicBezTo>
                <a:cubicBezTo>
                  <a:pt x="200377" y="319560"/>
                  <a:pt x="167550" y="331536"/>
                  <a:pt x="194177" y="322659"/>
                </a:cubicBezTo>
                <a:cubicBezTo>
                  <a:pt x="223598" y="323836"/>
                  <a:pt x="253132" y="323354"/>
                  <a:pt x="282440" y="326190"/>
                </a:cubicBezTo>
                <a:cubicBezTo>
                  <a:pt x="289848" y="326907"/>
                  <a:pt x="303623" y="333251"/>
                  <a:pt x="303623" y="333251"/>
                </a:cubicBezTo>
                <a:cubicBezTo>
                  <a:pt x="316669" y="352819"/>
                  <a:pt x="303220" y="337342"/>
                  <a:pt x="321275" y="347373"/>
                </a:cubicBezTo>
                <a:cubicBezTo>
                  <a:pt x="328693" y="351494"/>
                  <a:pt x="335397" y="356788"/>
                  <a:pt x="342458" y="361495"/>
                </a:cubicBezTo>
                <a:lnTo>
                  <a:pt x="353050" y="368556"/>
                </a:lnTo>
                <a:cubicBezTo>
                  <a:pt x="356580" y="370910"/>
                  <a:pt x="359616" y="374275"/>
                  <a:pt x="363641" y="375617"/>
                </a:cubicBezTo>
                <a:lnTo>
                  <a:pt x="374233" y="379147"/>
                </a:lnTo>
                <a:cubicBezTo>
                  <a:pt x="398093" y="395054"/>
                  <a:pt x="373083" y="380813"/>
                  <a:pt x="423660" y="389739"/>
                </a:cubicBezTo>
                <a:cubicBezTo>
                  <a:pt x="460992" y="396327"/>
                  <a:pt x="431739" y="393706"/>
                  <a:pt x="455435" y="403861"/>
                </a:cubicBezTo>
                <a:cubicBezTo>
                  <a:pt x="459895" y="405772"/>
                  <a:pt x="464892" y="406058"/>
                  <a:pt x="469557" y="407391"/>
                </a:cubicBezTo>
                <a:cubicBezTo>
                  <a:pt x="498089" y="415543"/>
                  <a:pt x="456848" y="408804"/>
                  <a:pt x="518984" y="414452"/>
                </a:cubicBezTo>
                <a:cubicBezTo>
                  <a:pt x="539766" y="424843"/>
                  <a:pt x="528110" y="419847"/>
                  <a:pt x="554289" y="428574"/>
                </a:cubicBezTo>
                <a:lnTo>
                  <a:pt x="564880" y="432105"/>
                </a:lnTo>
                <a:lnTo>
                  <a:pt x="575472" y="435635"/>
                </a:lnTo>
                <a:cubicBezTo>
                  <a:pt x="583710" y="434458"/>
                  <a:pt x="592077" y="433976"/>
                  <a:pt x="600185" y="432105"/>
                </a:cubicBezTo>
                <a:cubicBezTo>
                  <a:pt x="607437" y="430431"/>
                  <a:pt x="621368" y="425044"/>
                  <a:pt x="621368" y="425044"/>
                </a:cubicBezTo>
                <a:cubicBezTo>
                  <a:pt x="637161" y="401354"/>
                  <a:pt x="618556" y="424565"/>
                  <a:pt x="639021" y="410922"/>
                </a:cubicBezTo>
                <a:cubicBezTo>
                  <a:pt x="643175" y="408152"/>
                  <a:pt x="645247" y="402755"/>
                  <a:pt x="649612" y="400330"/>
                </a:cubicBezTo>
                <a:cubicBezTo>
                  <a:pt x="663032" y="392874"/>
                  <a:pt x="680932" y="391821"/>
                  <a:pt x="695509" y="389739"/>
                </a:cubicBezTo>
                <a:cubicBezTo>
                  <a:pt x="726802" y="379308"/>
                  <a:pt x="709295" y="381856"/>
                  <a:pt x="748466" y="386208"/>
                </a:cubicBezTo>
                <a:cubicBezTo>
                  <a:pt x="751997" y="388562"/>
                  <a:pt x="755263" y="395167"/>
                  <a:pt x="759058" y="393269"/>
                </a:cubicBezTo>
                <a:cubicBezTo>
                  <a:pt x="763398" y="391099"/>
                  <a:pt x="761255" y="383812"/>
                  <a:pt x="762588" y="379147"/>
                </a:cubicBezTo>
                <a:cubicBezTo>
                  <a:pt x="763610" y="375569"/>
                  <a:pt x="763488" y="371187"/>
                  <a:pt x="766119" y="368556"/>
                </a:cubicBezTo>
                <a:cubicBezTo>
                  <a:pt x="768750" y="365925"/>
                  <a:pt x="773382" y="366689"/>
                  <a:pt x="776710" y="365025"/>
                </a:cubicBezTo>
                <a:cubicBezTo>
                  <a:pt x="780505" y="363127"/>
                  <a:pt x="783771" y="360318"/>
                  <a:pt x="787302" y="357964"/>
                </a:cubicBezTo>
                <a:cubicBezTo>
                  <a:pt x="783378" y="330503"/>
                  <a:pt x="781810" y="335999"/>
                  <a:pt x="787302" y="308537"/>
                </a:cubicBezTo>
                <a:cubicBezTo>
                  <a:pt x="788032" y="304888"/>
                  <a:pt x="787804" y="300109"/>
                  <a:pt x="790832" y="297946"/>
                </a:cubicBezTo>
                <a:cubicBezTo>
                  <a:pt x="796889" y="293620"/>
                  <a:pt x="812015" y="290885"/>
                  <a:pt x="812015" y="290885"/>
                </a:cubicBezTo>
                <a:cubicBezTo>
                  <a:pt x="820253" y="266171"/>
                  <a:pt x="812015" y="272056"/>
                  <a:pt x="829668" y="266171"/>
                </a:cubicBezTo>
                <a:cubicBezTo>
                  <a:pt x="831081" y="260518"/>
                  <a:pt x="837679" y="232586"/>
                  <a:pt x="840259" y="230866"/>
                </a:cubicBezTo>
                <a:lnTo>
                  <a:pt x="850851" y="223805"/>
                </a:lnTo>
                <a:cubicBezTo>
                  <a:pt x="852028" y="220274"/>
                  <a:pt x="854381" y="216935"/>
                  <a:pt x="854381" y="213213"/>
                </a:cubicBezTo>
                <a:cubicBezTo>
                  <a:pt x="854381" y="205682"/>
                  <a:pt x="844967" y="199561"/>
                  <a:pt x="854381" y="192030"/>
                </a:cubicBezTo>
                <a:cubicBezTo>
                  <a:pt x="858170" y="188999"/>
                  <a:pt x="863838" y="189833"/>
                  <a:pt x="868503" y="188500"/>
                </a:cubicBezTo>
                <a:cubicBezTo>
                  <a:pt x="872081" y="187478"/>
                  <a:pt x="875564" y="186146"/>
                  <a:pt x="879095" y="184969"/>
                </a:cubicBezTo>
                <a:cubicBezTo>
                  <a:pt x="883898" y="170560"/>
                  <a:pt x="883869" y="176964"/>
                  <a:pt x="879095" y="160256"/>
                </a:cubicBezTo>
                <a:cubicBezTo>
                  <a:pt x="878073" y="156678"/>
                  <a:pt x="878592" y="151827"/>
                  <a:pt x="875564" y="149664"/>
                </a:cubicBezTo>
                <a:cubicBezTo>
                  <a:pt x="869507" y="145338"/>
                  <a:pt x="854381" y="142603"/>
                  <a:pt x="854381" y="142603"/>
                </a:cubicBezTo>
                <a:cubicBezTo>
                  <a:pt x="854901" y="136368"/>
                  <a:pt x="862407" y="79165"/>
                  <a:pt x="854381" y="68463"/>
                </a:cubicBezTo>
                <a:cubicBezTo>
                  <a:pt x="850781" y="63663"/>
                  <a:pt x="842613" y="70816"/>
                  <a:pt x="836729" y="71993"/>
                </a:cubicBezTo>
                <a:cubicBezTo>
                  <a:pt x="824961" y="70816"/>
                  <a:pt x="812644" y="72203"/>
                  <a:pt x="801424" y="68463"/>
                </a:cubicBezTo>
                <a:cubicBezTo>
                  <a:pt x="797398" y="67121"/>
                  <a:pt x="797080" y="61131"/>
                  <a:pt x="794363" y="57871"/>
                </a:cubicBezTo>
                <a:cubicBezTo>
                  <a:pt x="791167" y="54035"/>
                  <a:pt x="787925" y="50050"/>
                  <a:pt x="783771" y="47280"/>
                </a:cubicBezTo>
                <a:cubicBezTo>
                  <a:pt x="780675" y="45216"/>
                  <a:pt x="776758" y="44771"/>
                  <a:pt x="773180" y="43749"/>
                </a:cubicBezTo>
                <a:cubicBezTo>
                  <a:pt x="752512" y="37844"/>
                  <a:pt x="751874" y="39500"/>
                  <a:pt x="723753" y="36688"/>
                </a:cubicBezTo>
                <a:cubicBezTo>
                  <a:pt x="721399" y="33158"/>
                  <a:pt x="718590" y="29892"/>
                  <a:pt x="716692" y="26097"/>
                </a:cubicBezTo>
                <a:cubicBezTo>
                  <a:pt x="710402" y="13518"/>
                  <a:pt x="717873" y="15245"/>
                  <a:pt x="702570" y="8444"/>
                </a:cubicBezTo>
                <a:cubicBezTo>
                  <a:pt x="695769" y="5421"/>
                  <a:pt x="681387" y="1383"/>
                  <a:pt x="681387" y="1383"/>
                </a:cubicBezTo>
                <a:cubicBezTo>
                  <a:pt x="667950" y="2876"/>
                  <a:pt x="649499" y="0"/>
                  <a:pt x="639021" y="11975"/>
                </a:cubicBezTo>
                <a:cubicBezTo>
                  <a:pt x="633433" y="18362"/>
                  <a:pt x="629606" y="26097"/>
                  <a:pt x="624899" y="33158"/>
                </a:cubicBezTo>
                <a:cubicBezTo>
                  <a:pt x="618457" y="42820"/>
                  <a:pt x="618395" y="45855"/>
                  <a:pt x="607246" y="50810"/>
                </a:cubicBezTo>
                <a:cubicBezTo>
                  <a:pt x="600445" y="53833"/>
                  <a:pt x="593124" y="55517"/>
                  <a:pt x="586063" y="57871"/>
                </a:cubicBezTo>
                <a:cubicBezTo>
                  <a:pt x="554226" y="68484"/>
                  <a:pt x="579217" y="61205"/>
                  <a:pt x="508392" y="64932"/>
                </a:cubicBezTo>
                <a:cubicBezTo>
                  <a:pt x="484113" y="81118"/>
                  <a:pt x="495260" y="76370"/>
                  <a:pt x="476618" y="82585"/>
                </a:cubicBezTo>
                <a:cubicBezTo>
                  <a:pt x="474264" y="86115"/>
                  <a:pt x="472273" y="89916"/>
                  <a:pt x="469557" y="93176"/>
                </a:cubicBezTo>
                <a:cubicBezTo>
                  <a:pt x="466360" y="97012"/>
                  <a:pt x="461735" y="99613"/>
                  <a:pt x="458965" y="103768"/>
                </a:cubicBezTo>
                <a:cubicBezTo>
                  <a:pt x="456901" y="106864"/>
                  <a:pt x="457499" y="111263"/>
                  <a:pt x="455435" y="114359"/>
                </a:cubicBezTo>
                <a:cubicBezTo>
                  <a:pt x="449998" y="122514"/>
                  <a:pt x="442067" y="126802"/>
                  <a:pt x="434252" y="132012"/>
                </a:cubicBezTo>
                <a:cubicBezTo>
                  <a:pt x="433075" y="167317"/>
                  <a:pt x="437878" y="203335"/>
                  <a:pt x="430721" y="237927"/>
                </a:cubicBezTo>
                <a:cubicBezTo>
                  <a:pt x="429505" y="243803"/>
                  <a:pt x="418669" y="236550"/>
                  <a:pt x="413068" y="234396"/>
                </a:cubicBezTo>
                <a:cubicBezTo>
                  <a:pt x="403244" y="230617"/>
                  <a:pt x="394810" y="223602"/>
                  <a:pt x="384824" y="220274"/>
                </a:cubicBezTo>
                <a:lnTo>
                  <a:pt x="374233" y="216744"/>
                </a:lnTo>
                <a:cubicBezTo>
                  <a:pt x="370702" y="214390"/>
                  <a:pt x="367436" y="211581"/>
                  <a:pt x="363641" y="209683"/>
                </a:cubicBezTo>
                <a:cubicBezTo>
                  <a:pt x="341406" y="198565"/>
                  <a:pt x="299019" y="208996"/>
                  <a:pt x="285970" y="209683"/>
                </a:cubicBezTo>
                <a:cubicBezTo>
                  <a:pt x="269187" y="220872"/>
                  <a:pt x="279403" y="215403"/>
                  <a:pt x="254196" y="223805"/>
                </a:cubicBezTo>
                <a:lnTo>
                  <a:pt x="243604" y="227335"/>
                </a:lnTo>
                <a:cubicBezTo>
                  <a:pt x="231836" y="226158"/>
                  <a:pt x="219823" y="226464"/>
                  <a:pt x="208299" y="223805"/>
                </a:cubicBezTo>
                <a:cubicBezTo>
                  <a:pt x="173600" y="215798"/>
                  <a:pt x="232517" y="210943"/>
                  <a:pt x="176525" y="220274"/>
                </a:cubicBezTo>
                <a:lnTo>
                  <a:pt x="155342" y="227335"/>
                </a:lnTo>
                <a:cubicBezTo>
                  <a:pt x="151811" y="228512"/>
                  <a:pt x="147847" y="228802"/>
                  <a:pt x="144750" y="230866"/>
                </a:cubicBezTo>
                <a:lnTo>
                  <a:pt x="134159" y="237927"/>
                </a:lnTo>
                <a:cubicBezTo>
                  <a:pt x="125888" y="250333"/>
                  <a:pt x="124619" y="259137"/>
                  <a:pt x="102384" y="244988"/>
                </a:cubicBezTo>
                <a:cubicBezTo>
                  <a:pt x="95224" y="240432"/>
                  <a:pt x="92969" y="230866"/>
                  <a:pt x="88262" y="223805"/>
                </a:cubicBezTo>
                <a:cubicBezTo>
                  <a:pt x="85908" y="220274"/>
                  <a:pt x="84732" y="215567"/>
                  <a:pt x="81201" y="213213"/>
                </a:cubicBezTo>
                <a:cubicBezTo>
                  <a:pt x="77671" y="210859"/>
                  <a:pt x="74487" y="207875"/>
                  <a:pt x="70610" y="206152"/>
                </a:cubicBezTo>
                <a:cubicBezTo>
                  <a:pt x="45512" y="194997"/>
                  <a:pt x="24713" y="192618"/>
                  <a:pt x="14122" y="199091"/>
                </a:cubicBezTo>
                <a:close/>
              </a:path>
            </a:pathLst>
          </a:custGeom>
          <a:solidFill>
            <a:srgbClr val="FF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1" name="Title 1"/>
          <p:cNvSpPr txBox="1">
            <a:spLocks/>
          </p:cNvSpPr>
          <p:nvPr/>
        </p:nvSpPr>
        <p:spPr>
          <a:xfrm rot="354253">
            <a:off x="4359281" y="4612217"/>
            <a:ext cx="720725" cy="1016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00" dirty="0" err="1">
                <a:latin typeface="Ramabhadra" pitchFamily="2" charset="0"/>
                <a:ea typeface="+mj-ea"/>
                <a:cs typeface="Ramabhadra" pitchFamily="2" charset="0"/>
              </a:rPr>
              <a:t>ఆస్ట్రియా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72" name="Freeform 171"/>
          <p:cNvSpPr/>
          <p:nvPr/>
        </p:nvSpPr>
        <p:spPr>
          <a:xfrm>
            <a:off x="4576768" y="4692651"/>
            <a:ext cx="352425" cy="192616"/>
          </a:xfrm>
          <a:custGeom>
            <a:avLst/>
            <a:gdLst>
              <a:gd name="connsiteX0" fmla="*/ 5296 w 351285"/>
              <a:gd name="connsiteY0" fmla="*/ 14122 h 192029"/>
              <a:gd name="connsiteX1" fmla="*/ 12357 w 351285"/>
              <a:gd name="connsiteY1" fmla="*/ 38836 h 192029"/>
              <a:gd name="connsiteX2" fmla="*/ 22948 w 351285"/>
              <a:gd name="connsiteY2" fmla="*/ 81202 h 192029"/>
              <a:gd name="connsiteX3" fmla="*/ 26479 w 351285"/>
              <a:gd name="connsiteY3" fmla="*/ 116507 h 192029"/>
              <a:gd name="connsiteX4" fmla="*/ 33540 w 351285"/>
              <a:gd name="connsiteY4" fmla="*/ 144751 h 192029"/>
              <a:gd name="connsiteX5" fmla="*/ 37070 w 351285"/>
              <a:gd name="connsiteY5" fmla="*/ 162403 h 192029"/>
              <a:gd name="connsiteX6" fmla="*/ 139455 w 351285"/>
              <a:gd name="connsiteY6" fmla="*/ 162403 h 192029"/>
              <a:gd name="connsiteX7" fmla="*/ 164168 w 351285"/>
              <a:gd name="connsiteY7" fmla="*/ 169464 h 192029"/>
              <a:gd name="connsiteX8" fmla="*/ 185351 w 351285"/>
              <a:gd name="connsiteY8" fmla="*/ 172995 h 192029"/>
              <a:gd name="connsiteX9" fmla="*/ 195943 w 351285"/>
              <a:gd name="connsiteY9" fmla="*/ 180056 h 192029"/>
              <a:gd name="connsiteX10" fmla="*/ 203004 w 351285"/>
              <a:gd name="connsiteY10" fmla="*/ 190647 h 192029"/>
              <a:gd name="connsiteX11" fmla="*/ 213595 w 351285"/>
              <a:gd name="connsiteY11" fmla="*/ 187117 h 192029"/>
              <a:gd name="connsiteX12" fmla="*/ 220656 w 351285"/>
              <a:gd name="connsiteY12" fmla="*/ 176525 h 192029"/>
              <a:gd name="connsiteX13" fmla="*/ 266553 w 351285"/>
              <a:gd name="connsiteY13" fmla="*/ 165934 h 192029"/>
              <a:gd name="connsiteX14" fmla="*/ 273614 w 351285"/>
              <a:gd name="connsiteY14" fmla="*/ 155342 h 192029"/>
              <a:gd name="connsiteX15" fmla="*/ 294797 w 351285"/>
              <a:gd name="connsiteY15" fmla="*/ 144751 h 192029"/>
              <a:gd name="connsiteX16" fmla="*/ 319510 w 351285"/>
              <a:gd name="connsiteY16" fmla="*/ 116507 h 192029"/>
              <a:gd name="connsiteX17" fmla="*/ 326571 w 351285"/>
              <a:gd name="connsiteY17" fmla="*/ 105915 h 192029"/>
              <a:gd name="connsiteX18" fmla="*/ 337163 w 351285"/>
              <a:gd name="connsiteY18" fmla="*/ 63549 h 192029"/>
              <a:gd name="connsiteX19" fmla="*/ 347754 w 351285"/>
              <a:gd name="connsiteY19" fmla="*/ 42366 h 192029"/>
              <a:gd name="connsiteX20" fmla="*/ 351285 w 351285"/>
              <a:gd name="connsiteY20" fmla="*/ 31775 h 192029"/>
              <a:gd name="connsiteX21" fmla="*/ 340693 w 351285"/>
              <a:gd name="connsiteY21" fmla="*/ 24714 h 192029"/>
              <a:gd name="connsiteX22" fmla="*/ 330102 w 351285"/>
              <a:gd name="connsiteY22" fmla="*/ 21183 h 192029"/>
              <a:gd name="connsiteX23" fmla="*/ 312449 w 351285"/>
              <a:gd name="connsiteY23" fmla="*/ 0 h 192029"/>
              <a:gd name="connsiteX24" fmla="*/ 255961 w 351285"/>
              <a:gd name="connsiteY24" fmla="*/ 7061 h 192029"/>
              <a:gd name="connsiteX25" fmla="*/ 234778 w 351285"/>
              <a:gd name="connsiteY25" fmla="*/ 14122 h 192029"/>
              <a:gd name="connsiteX26" fmla="*/ 213595 w 351285"/>
              <a:gd name="connsiteY26" fmla="*/ 28244 h 192029"/>
              <a:gd name="connsiteX27" fmla="*/ 192412 w 351285"/>
              <a:gd name="connsiteY27" fmla="*/ 35305 h 192029"/>
              <a:gd name="connsiteX28" fmla="*/ 164168 w 351285"/>
              <a:gd name="connsiteY28" fmla="*/ 42366 h 192029"/>
              <a:gd name="connsiteX29" fmla="*/ 139455 w 351285"/>
              <a:gd name="connsiteY29" fmla="*/ 49427 h 192029"/>
              <a:gd name="connsiteX30" fmla="*/ 107680 w 351285"/>
              <a:gd name="connsiteY30" fmla="*/ 56488 h 192029"/>
              <a:gd name="connsiteX31" fmla="*/ 65314 w 351285"/>
              <a:gd name="connsiteY31" fmla="*/ 52958 h 192029"/>
              <a:gd name="connsiteX32" fmla="*/ 44131 w 351285"/>
              <a:gd name="connsiteY32" fmla="*/ 45897 h 192029"/>
              <a:gd name="connsiteX33" fmla="*/ 5296 w 351285"/>
              <a:gd name="connsiteY33" fmla="*/ 14122 h 192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51285" h="192029">
                <a:moveTo>
                  <a:pt x="5296" y="14122"/>
                </a:moveTo>
                <a:cubicBezTo>
                  <a:pt x="0" y="12945"/>
                  <a:pt x="11091" y="30610"/>
                  <a:pt x="12357" y="38836"/>
                </a:cubicBezTo>
                <a:cubicBezTo>
                  <a:pt x="18356" y="77828"/>
                  <a:pt x="9180" y="60548"/>
                  <a:pt x="22948" y="81202"/>
                </a:cubicBezTo>
                <a:cubicBezTo>
                  <a:pt x="24125" y="92970"/>
                  <a:pt x="24916" y="104784"/>
                  <a:pt x="26479" y="116507"/>
                </a:cubicBezTo>
                <a:cubicBezTo>
                  <a:pt x="30198" y="144402"/>
                  <a:pt x="28447" y="124377"/>
                  <a:pt x="33540" y="144751"/>
                </a:cubicBezTo>
                <a:cubicBezTo>
                  <a:pt x="34995" y="150572"/>
                  <a:pt x="35893" y="156519"/>
                  <a:pt x="37070" y="162403"/>
                </a:cubicBezTo>
                <a:cubicBezTo>
                  <a:pt x="78364" y="152081"/>
                  <a:pt x="54802" y="156565"/>
                  <a:pt x="139455" y="162403"/>
                </a:cubicBezTo>
                <a:cubicBezTo>
                  <a:pt x="150596" y="163171"/>
                  <a:pt x="154028" y="167211"/>
                  <a:pt x="164168" y="169464"/>
                </a:cubicBezTo>
                <a:cubicBezTo>
                  <a:pt x="171156" y="171017"/>
                  <a:pt x="178290" y="171818"/>
                  <a:pt x="185351" y="172995"/>
                </a:cubicBezTo>
                <a:cubicBezTo>
                  <a:pt x="188882" y="175349"/>
                  <a:pt x="192942" y="177056"/>
                  <a:pt x="195943" y="180056"/>
                </a:cubicBezTo>
                <a:cubicBezTo>
                  <a:pt x="198943" y="183056"/>
                  <a:pt x="199064" y="189071"/>
                  <a:pt x="203004" y="190647"/>
                </a:cubicBezTo>
                <a:cubicBezTo>
                  <a:pt x="206459" y="192029"/>
                  <a:pt x="210065" y="188294"/>
                  <a:pt x="213595" y="187117"/>
                </a:cubicBezTo>
                <a:cubicBezTo>
                  <a:pt x="215949" y="183586"/>
                  <a:pt x="217656" y="179525"/>
                  <a:pt x="220656" y="176525"/>
                </a:cubicBezTo>
                <a:cubicBezTo>
                  <a:pt x="233521" y="163660"/>
                  <a:pt x="248120" y="167777"/>
                  <a:pt x="266553" y="165934"/>
                </a:cubicBezTo>
                <a:cubicBezTo>
                  <a:pt x="268907" y="162403"/>
                  <a:pt x="270614" y="158343"/>
                  <a:pt x="273614" y="155342"/>
                </a:cubicBezTo>
                <a:cubicBezTo>
                  <a:pt x="280458" y="148497"/>
                  <a:pt x="286182" y="147622"/>
                  <a:pt x="294797" y="144751"/>
                </a:cubicBezTo>
                <a:cubicBezTo>
                  <a:pt x="311273" y="120038"/>
                  <a:pt x="301858" y="128275"/>
                  <a:pt x="319510" y="116507"/>
                </a:cubicBezTo>
                <a:cubicBezTo>
                  <a:pt x="321864" y="112976"/>
                  <a:pt x="324848" y="109793"/>
                  <a:pt x="326571" y="105915"/>
                </a:cubicBezTo>
                <a:cubicBezTo>
                  <a:pt x="336082" y="84515"/>
                  <a:pt x="332229" y="85750"/>
                  <a:pt x="337163" y="63549"/>
                </a:cubicBezTo>
                <a:cubicBezTo>
                  <a:pt x="340712" y="47577"/>
                  <a:pt x="340137" y="57600"/>
                  <a:pt x="347754" y="42366"/>
                </a:cubicBezTo>
                <a:cubicBezTo>
                  <a:pt x="349418" y="39038"/>
                  <a:pt x="350108" y="35305"/>
                  <a:pt x="351285" y="31775"/>
                </a:cubicBezTo>
                <a:cubicBezTo>
                  <a:pt x="347754" y="29421"/>
                  <a:pt x="344488" y="26612"/>
                  <a:pt x="340693" y="24714"/>
                </a:cubicBezTo>
                <a:cubicBezTo>
                  <a:pt x="337365" y="23050"/>
                  <a:pt x="333198" y="23247"/>
                  <a:pt x="330102" y="21183"/>
                </a:cubicBezTo>
                <a:cubicBezTo>
                  <a:pt x="321944" y="15745"/>
                  <a:pt x="317660" y="7817"/>
                  <a:pt x="312449" y="0"/>
                </a:cubicBezTo>
                <a:cubicBezTo>
                  <a:pt x="284041" y="2368"/>
                  <a:pt x="277396" y="631"/>
                  <a:pt x="255961" y="7061"/>
                </a:cubicBezTo>
                <a:cubicBezTo>
                  <a:pt x="248832" y="9200"/>
                  <a:pt x="234778" y="14122"/>
                  <a:pt x="234778" y="14122"/>
                </a:cubicBezTo>
                <a:cubicBezTo>
                  <a:pt x="227717" y="18829"/>
                  <a:pt x="221646" y="25560"/>
                  <a:pt x="213595" y="28244"/>
                </a:cubicBezTo>
                <a:cubicBezTo>
                  <a:pt x="206534" y="30598"/>
                  <a:pt x="199633" y="33500"/>
                  <a:pt x="192412" y="35305"/>
                </a:cubicBezTo>
                <a:cubicBezTo>
                  <a:pt x="182997" y="37659"/>
                  <a:pt x="173374" y="39297"/>
                  <a:pt x="164168" y="42366"/>
                </a:cubicBezTo>
                <a:cubicBezTo>
                  <a:pt x="152368" y="46300"/>
                  <a:pt x="152762" y="46470"/>
                  <a:pt x="139455" y="49427"/>
                </a:cubicBezTo>
                <a:cubicBezTo>
                  <a:pt x="99116" y="58391"/>
                  <a:pt x="142120" y="47879"/>
                  <a:pt x="107680" y="56488"/>
                </a:cubicBezTo>
                <a:cubicBezTo>
                  <a:pt x="93558" y="55311"/>
                  <a:pt x="79292" y="55288"/>
                  <a:pt x="65314" y="52958"/>
                </a:cubicBezTo>
                <a:cubicBezTo>
                  <a:pt x="57972" y="51734"/>
                  <a:pt x="51192" y="48251"/>
                  <a:pt x="44131" y="45897"/>
                </a:cubicBezTo>
                <a:cubicBezTo>
                  <a:pt x="31047" y="41535"/>
                  <a:pt x="10592" y="15299"/>
                  <a:pt x="5296" y="14122"/>
                </a:cubicBezTo>
                <a:close/>
              </a:path>
            </a:pathLst>
          </a:custGeom>
          <a:solidFill>
            <a:srgbClr val="FF33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3" name="TextBox 105"/>
          <p:cNvSpPr txBox="1">
            <a:spLocks noChangeArrowheads="1"/>
          </p:cNvSpPr>
          <p:nvPr/>
        </p:nvSpPr>
        <p:spPr bwMode="auto">
          <a:xfrm>
            <a:off x="3429004" y="6407152"/>
            <a:ext cx="107156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latin typeface="Ramabhadra" pitchFamily="2" charset="0"/>
                <a:cs typeface="Ramabhadra" pitchFamily="2" charset="0"/>
              </a:rPr>
              <a:t>స్లోవేనియా</a:t>
            </a:r>
          </a:p>
        </p:txBody>
      </p:sp>
      <p:cxnSp>
        <p:nvCxnSpPr>
          <p:cNvPr id="175" name="Straight Arrow Connector 174"/>
          <p:cNvCxnSpPr/>
          <p:nvPr/>
        </p:nvCxnSpPr>
        <p:spPr>
          <a:xfrm flipH="1">
            <a:off x="4140205" y="4798490"/>
            <a:ext cx="657225" cy="1655233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Freeform 177"/>
          <p:cNvSpPr/>
          <p:nvPr/>
        </p:nvSpPr>
        <p:spPr>
          <a:xfrm>
            <a:off x="3697288" y="4461939"/>
            <a:ext cx="563562" cy="311151"/>
          </a:xfrm>
          <a:custGeom>
            <a:avLst/>
            <a:gdLst>
              <a:gd name="connsiteX0" fmla="*/ 14630 w 563270"/>
              <a:gd name="connsiteY0" fmla="*/ 230429 h 311530"/>
              <a:gd name="connsiteX1" fmla="*/ 18288 w 563270"/>
              <a:gd name="connsiteY1" fmla="*/ 179222 h 311530"/>
              <a:gd name="connsiteX2" fmla="*/ 25603 w 563270"/>
              <a:gd name="connsiteY2" fmla="*/ 168250 h 311530"/>
              <a:gd name="connsiteX3" fmla="*/ 43891 w 563270"/>
              <a:gd name="connsiteY3" fmla="*/ 153619 h 311530"/>
              <a:gd name="connsiteX4" fmla="*/ 51206 w 563270"/>
              <a:gd name="connsiteY4" fmla="*/ 142646 h 311530"/>
              <a:gd name="connsiteX5" fmla="*/ 54864 w 563270"/>
              <a:gd name="connsiteY5" fmla="*/ 131674 h 311530"/>
              <a:gd name="connsiteX6" fmla="*/ 62179 w 563270"/>
              <a:gd name="connsiteY6" fmla="*/ 124358 h 311530"/>
              <a:gd name="connsiteX7" fmla="*/ 73152 w 563270"/>
              <a:gd name="connsiteY7" fmla="*/ 102413 h 311530"/>
              <a:gd name="connsiteX8" fmla="*/ 95097 w 563270"/>
              <a:gd name="connsiteY8" fmla="*/ 95098 h 311530"/>
              <a:gd name="connsiteX9" fmla="*/ 106070 w 563270"/>
              <a:gd name="connsiteY9" fmla="*/ 91440 h 311530"/>
              <a:gd name="connsiteX10" fmla="*/ 117043 w 563270"/>
              <a:gd name="connsiteY10" fmla="*/ 87782 h 311530"/>
              <a:gd name="connsiteX11" fmla="*/ 138988 w 563270"/>
              <a:gd name="connsiteY11" fmla="*/ 73152 h 311530"/>
              <a:gd name="connsiteX12" fmla="*/ 149961 w 563270"/>
              <a:gd name="connsiteY12" fmla="*/ 69494 h 311530"/>
              <a:gd name="connsiteX13" fmla="*/ 171907 w 563270"/>
              <a:gd name="connsiteY13" fmla="*/ 54864 h 311530"/>
              <a:gd name="connsiteX14" fmla="*/ 193852 w 563270"/>
              <a:gd name="connsiteY14" fmla="*/ 47549 h 311530"/>
              <a:gd name="connsiteX15" fmla="*/ 204825 w 563270"/>
              <a:gd name="connsiteY15" fmla="*/ 43891 h 311530"/>
              <a:gd name="connsiteX16" fmla="*/ 226771 w 563270"/>
              <a:gd name="connsiteY16" fmla="*/ 29261 h 311530"/>
              <a:gd name="connsiteX17" fmla="*/ 237744 w 563270"/>
              <a:gd name="connsiteY17" fmla="*/ 21946 h 311530"/>
              <a:gd name="connsiteX18" fmla="*/ 256032 w 563270"/>
              <a:gd name="connsiteY18" fmla="*/ 7315 h 311530"/>
              <a:gd name="connsiteX19" fmla="*/ 277977 w 563270"/>
              <a:gd name="connsiteY19" fmla="*/ 0 h 311530"/>
              <a:gd name="connsiteX20" fmla="*/ 398678 w 563270"/>
              <a:gd name="connsiteY20" fmla="*/ 3658 h 311530"/>
              <a:gd name="connsiteX21" fmla="*/ 420624 w 563270"/>
              <a:gd name="connsiteY21" fmla="*/ 14630 h 311530"/>
              <a:gd name="connsiteX22" fmla="*/ 431596 w 563270"/>
              <a:gd name="connsiteY22" fmla="*/ 18288 h 311530"/>
              <a:gd name="connsiteX23" fmla="*/ 446227 w 563270"/>
              <a:gd name="connsiteY23" fmla="*/ 47549 h 311530"/>
              <a:gd name="connsiteX24" fmla="*/ 449884 w 563270"/>
              <a:gd name="connsiteY24" fmla="*/ 58522 h 311530"/>
              <a:gd name="connsiteX25" fmla="*/ 453542 w 563270"/>
              <a:gd name="connsiteY25" fmla="*/ 120701 h 311530"/>
              <a:gd name="connsiteX26" fmla="*/ 464515 w 563270"/>
              <a:gd name="connsiteY26" fmla="*/ 124358 h 311530"/>
              <a:gd name="connsiteX27" fmla="*/ 471830 w 563270"/>
              <a:gd name="connsiteY27" fmla="*/ 131674 h 311530"/>
              <a:gd name="connsiteX28" fmla="*/ 493776 w 563270"/>
              <a:gd name="connsiteY28" fmla="*/ 138989 h 311530"/>
              <a:gd name="connsiteX29" fmla="*/ 504748 w 563270"/>
              <a:gd name="connsiteY29" fmla="*/ 142646 h 311530"/>
              <a:gd name="connsiteX30" fmla="*/ 523036 w 563270"/>
              <a:gd name="connsiteY30" fmla="*/ 160934 h 311530"/>
              <a:gd name="connsiteX31" fmla="*/ 534009 w 563270"/>
              <a:gd name="connsiteY31" fmla="*/ 164592 h 311530"/>
              <a:gd name="connsiteX32" fmla="*/ 563270 w 563270"/>
              <a:gd name="connsiteY32" fmla="*/ 186538 h 311530"/>
              <a:gd name="connsiteX33" fmla="*/ 559612 w 563270"/>
              <a:gd name="connsiteY33" fmla="*/ 197510 h 311530"/>
              <a:gd name="connsiteX34" fmla="*/ 534009 w 563270"/>
              <a:gd name="connsiteY34" fmla="*/ 208483 h 311530"/>
              <a:gd name="connsiteX35" fmla="*/ 523036 w 563270"/>
              <a:gd name="connsiteY35" fmla="*/ 212141 h 311530"/>
              <a:gd name="connsiteX36" fmla="*/ 497433 w 563270"/>
              <a:gd name="connsiteY36" fmla="*/ 230429 h 311530"/>
              <a:gd name="connsiteX37" fmla="*/ 486460 w 563270"/>
              <a:gd name="connsiteY37" fmla="*/ 234086 h 311530"/>
              <a:gd name="connsiteX38" fmla="*/ 475488 w 563270"/>
              <a:gd name="connsiteY38" fmla="*/ 241402 h 311530"/>
              <a:gd name="connsiteX39" fmla="*/ 398678 w 563270"/>
              <a:gd name="connsiteY39" fmla="*/ 245059 h 311530"/>
              <a:gd name="connsiteX40" fmla="*/ 395020 w 563270"/>
              <a:gd name="connsiteY40" fmla="*/ 267005 h 311530"/>
              <a:gd name="connsiteX41" fmla="*/ 387705 w 563270"/>
              <a:gd name="connsiteY41" fmla="*/ 277978 h 311530"/>
              <a:gd name="connsiteX42" fmla="*/ 365760 w 563270"/>
              <a:gd name="connsiteY42" fmla="*/ 292608 h 311530"/>
              <a:gd name="connsiteX43" fmla="*/ 362102 w 563270"/>
              <a:gd name="connsiteY43" fmla="*/ 303581 h 311530"/>
              <a:gd name="connsiteX44" fmla="*/ 351129 w 563270"/>
              <a:gd name="connsiteY44" fmla="*/ 310896 h 311530"/>
              <a:gd name="connsiteX45" fmla="*/ 340156 w 563270"/>
              <a:gd name="connsiteY45" fmla="*/ 307238 h 311530"/>
              <a:gd name="connsiteX46" fmla="*/ 321868 w 563270"/>
              <a:gd name="connsiteY46" fmla="*/ 292608 h 311530"/>
              <a:gd name="connsiteX47" fmla="*/ 303580 w 563270"/>
              <a:gd name="connsiteY47" fmla="*/ 226771 h 311530"/>
              <a:gd name="connsiteX48" fmla="*/ 285292 w 563270"/>
              <a:gd name="connsiteY48" fmla="*/ 230429 h 311530"/>
              <a:gd name="connsiteX49" fmla="*/ 277977 w 563270"/>
              <a:gd name="connsiteY49" fmla="*/ 252374 h 311530"/>
              <a:gd name="connsiteX50" fmla="*/ 274320 w 563270"/>
              <a:gd name="connsiteY50" fmla="*/ 263347 h 311530"/>
              <a:gd name="connsiteX51" fmla="*/ 256032 w 563270"/>
              <a:gd name="connsiteY51" fmla="*/ 277978 h 311530"/>
              <a:gd name="connsiteX52" fmla="*/ 252374 w 563270"/>
              <a:gd name="connsiteY52" fmla="*/ 288950 h 311530"/>
              <a:gd name="connsiteX53" fmla="*/ 208483 w 563270"/>
              <a:gd name="connsiteY53" fmla="*/ 281635 h 311530"/>
              <a:gd name="connsiteX54" fmla="*/ 175564 w 563270"/>
              <a:gd name="connsiteY54" fmla="*/ 285293 h 311530"/>
              <a:gd name="connsiteX55" fmla="*/ 160934 w 563270"/>
              <a:gd name="connsiteY55" fmla="*/ 288950 h 311530"/>
              <a:gd name="connsiteX56" fmla="*/ 146304 w 563270"/>
              <a:gd name="connsiteY56" fmla="*/ 285293 h 311530"/>
              <a:gd name="connsiteX57" fmla="*/ 138988 w 563270"/>
              <a:gd name="connsiteY57" fmla="*/ 263347 h 311530"/>
              <a:gd name="connsiteX58" fmla="*/ 124358 w 563270"/>
              <a:gd name="connsiteY58" fmla="*/ 241402 h 311530"/>
              <a:gd name="connsiteX59" fmla="*/ 113385 w 563270"/>
              <a:gd name="connsiteY59" fmla="*/ 237744 h 311530"/>
              <a:gd name="connsiteX60" fmla="*/ 106070 w 563270"/>
              <a:gd name="connsiteY60" fmla="*/ 226771 h 311530"/>
              <a:gd name="connsiteX61" fmla="*/ 14630 w 563270"/>
              <a:gd name="connsiteY61" fmla="*/ 230429 h 311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563270" h="311530">
                <a:moveTo>
                  <a:pt x="14630" y="230429"/>
                </a:moveTo>
                <a:cubicBezTo>
                  <a:pt x="0" y="222504"/>
                  <a:pt x="15314" y="196074"/>
                  <a:pt x="18288" y="179222"/>
                </a:cubicBezTo>
                <a:cubicBezTo>
                  <a:pt x="19052" y="174893"/>
                  <a:pt x="22857" y="171682"/>
                  <a:pt x="25603" y="168250"/>
                </a:cubicBezTo>
                <a:cubicBezTo>
                  <a:pt x="31561" y="160802"/>
                  <a:pt x="35740" y="159053"/>
                  <a:pt x="43891" y="153619"/>
                </a:cubicBezTo>
                <a:cubicBezTo>
                  <a:pt x="46329" y="149961"/>
                  <a:pt x="49240" y="146578"/>
                  <a:pt x="51206" y="142646"/>
                </a:cubicBezTo>
                <a:cubicBezTo>
                  <a:pt x="52930" y="139198"/>
                  <a:pt x="52880" y="134980"/>
                  <a:pt x="54864" y="131674"/>
                </a:cubicBezTo>
                <a:cubicBezTo>
                  <a:pt x="56638" y="128717"/>
                  <a:pt x="59741" y="126797"/>
                  <a:pt x="62179" y="124358"/>
                </a:cubicBezTo>
                <a:cubicBezTo>
                  <a:pt x="64172" y="118378"/>
                  <a:pt x="67180" y="106146"/>
                  <a:pt x="73152" y="102413"/>
                </a:cubicBezTo>
                <a:cubicBezTo>
                  <a:pt x="79691" y="98326"/>
                  <a:pt x="87782" y="97536"/>
                  <a:pt x="95097" y="95098"/>
                </a:cubicBezTo>
                <a:lnTo>
                  <a:pt x="106070" y="91440"/>
                </a:lnTo>
                <a:cubicBezTo>
                  <a:pt x="109728" y="90221"/>
                  <a:pt x="113835" y="89921"/>
                  <a:pt x="117043" y="87782"/>
                </a:cubicBezTo>
                <a:cubicBezTo>
                  <a:pt x="124358" y="82905"/>
                  <a:pt x="130648" y="75932"/>
                  <a:pt x="138988" y="73152"/>
                </a:cubicBezTo>
                <a:cubicBezTo>
                  <a:pt x="142646" y="71933"/>
                  <a:pt x="146591" y="71366"/>
                  <a:pt x="149961" y="69494"/>
                </a:cubicBezTo>
                <a:cubicBezTo>
                  <a:pt x="157646" y="65224"/>
                  <a:pt x="163566" y="57644"/>
                  <a:pt x="171907" y="54864"/>
                </a:cubicBezTo>
                <a:lnTo>
                  <a:pt x="193852" y="47549"/>
                </a:lnTo>
                <a:cubicBezTo>
                  <a:pt x="197510" y="46330"/>
                  <a:pt x="201617" y="46030"/>
                  <a:pt x="204825" y="43891"/>
                </a:cubicBezTo>
                <a:lnTo>
                  <a:pt x="226771" y="29261"/>
                </a:lnTo>
                <a:cubicBezTo>
                  <a:pt x="230429" y="26823"/>
                  <a:pt x="234636" y="25055"/>
                  <a:pt x="237744" y="21946"/>
                </a:cubicBezTo>
                <a:cubicBezTo>
                  <a:pt x="243825" y="15864"/>
                  <a:pt x="247725" y="11007"/>
                  <a:pt x="256032" y="7315"/>
                </a:cubicBezTo>
                <a:cubicBezTo>
                  <a:pt x="263078" y="4183"/>
                  <a:pt x="277977" y="0"/>
                  <a:pt x="277977" y="0"/>
                </a:cubicBezTo>
                <a:cubicBezTo>
                  <a:pt x="318211" y="1219"/>
                  <a:pt x="358488" y="1425"/>
                  <a:pt x="398678" y="3658"/>
                </a:cubicBezTo>
                <a:cubicBezTo>
                  <a:pt x="409022" y="4233"/>
                  <a:pt x="411916" y="10276"/>
                  <a:pt x="420624" y="14630"/>
                </a:cubicBezTo>
                <a:cubicBezTo>
                  <a:pt x="424072" y="16354"/>
                  <a:pt x="427939" y="17069"/>
                  <a:pt x="431596" y="18288"/>
                </a:cubicBezTo>
                <a:cubicBezTo>
                  <a:pt x="444365" y="31055"/>
                  <a:pt x="437822" y="22332"/>
                  <a:pt x="446227" y="47549"/>
                </a:cubicBezTo>
                <a:lnTo>
                  <a:pt x="449884" y="58522"/>
                </a:lnTo>
                <a:cubicBezTo>
                  <a:pt x="451103" y="79248"/>
                  <a:pt x="449038" y="100433"/>
                  <a:pt x="453542" y="120701"/>
                </a:cubicBezTo>
                <a:cubicBezTo>
                  <a:pt x="454378" y="124465"/>
                  <a:pt x="461209" y="122374"/>
                  <a:pt x="464515" y="124358"/>
                </a:cubicBezTo>
                <a:cubicBezTo>
                  <a:pt x="467472" y="126132"/>
                  <a:pt x="468746" y="130132"/>
                  <a:pt x="471830" y="131674"/>
                </a:cubicBezTo>
                <a:cubicBezTo>
                  <a:pt x="478727" y="135123"/>
                  <a:pt x="486461" y="136551"/>
                  <a:pt x="493776" y="138989"/>
                </a:cubicBezTo>
                <a:lnTo>
                  <a:pt x="504748" y="142646"/>
                </a:lnTo>
                <a:cubicBezTo>
                  <a:pt x="510844" y="148742"/>
                  <a:pt x="514857" y="158208"/>
                  <a:pt x="523036" y="160934"/>
                </a:cubicBezTo>
                <a:cubicBezTo>
                  <a:pt x="526694" y="162153"/>
                  <a:pt x="530639" y="162720"/>
                  <a:pt x="534009" y="164592"/>
                </a:cubicBezTo>
                <a:cubicBezTo>
                  <a:pt x="552624" y="174933"/>
                  <a:pt x="552171" y="175437"/>
                  <a:pt x="563270" y="186538"/>
                </a:cubicBezTo>
                <a:cubicBezTo>
                  <a:pt x="562051" y="190195"/>
                  <a:pt x="562020" y="194500"/>
                  <a:pt x="559612" y="197510"/>
                </a:cubicBezTo>
                <a:cubicBezTo>
                  <a:pt x="553011" y="205762"/>
                  <a:pt x="543123" y="205879"/>
                  <a:pt x="534009" y="208483"/>
                </a:cubicBezTo>
                <a:cubicBezTo>
                  <a:pt x="530302" y="209542"/>
                  <a:pt x="526694" y="210922"/>
                  <a:pt x="523036" y="212141"/>
                </a:cubicBezTo>
                <a:cubicBezTo>
                  <a:pt x="516941" y="230429"/>
                  <a:pt x="523036" y="221895"/>
                  <a:pt x="497433" y="230429"/>
                </a:cubicBezTo>
                <a:lnTo>
                  <a:pt x="486460" y="234086"/>
                </a:lnTo>
                <a:cubicBezTo>
                  <a:pt x="482803" y="236525"/>
                  <a:pt x="479850" y="240857"/>
                  <a:pt x="475488" y="241402"/>
                </a:cubicBezTo>
                <a:cubicBezTo>
                  <a:pt x="450054" y="244581"/>
                  <a:pt x="423104" y="237287"/>
                  <a:pt x="398678" y="245059"/>
                </a:cubicBezTo>
                <a:cubicBezTo>
                  <a:pt x="391611" y="247308"/>
                  <a:pt x="397365" y="259969"/>
                  <a:pt x="395020" y="267005"/>
                </a:cubicBezTo>
                <a:cubicBezTo>
                  <a:pt x="393630" y="271175"/>
                  <a:pt x="391013" y="275083"/>
                  <a:pt x="387705" y="277978"/>
                </a:cubicBezTo>
                <a:cubicBezTo>
                  <a:pt x="381089" y="283767"/>
                  <a:pt x="365760" y="292608"/>
                  <a:pt x="365760" y="292608"/>
                </a:cubicBezTo>
                <a:cubicBezTo>
                  <a:pt x="364541" y="296266"/>
                  <a:pt x="364511" y="300570"/>
                  <a:pt x="362102" y="303581"/>
                </a:cubicBezTo>
                <a:cubicBezTo>
                  <a:pt x="359356" y="307014"/>
                  <a:pt x="355465" y="310173"/>
                  <a:pt x="351129" y="310896"/>
                </a:cubicBezTo>
                <a:cubicBezTo>
                  <a:pt x="347326" y="311530"/>
                  <a:pt x="343604" y="308962"/>
                  <a:pt x="340156" y="307238"/>
                </a:cubicBezTo>
                <a:cubicBezTo>
                  <a:pt x="330930" y="302625"/>
                  <a:pt x="328671" y="299410"/>
                  <a:pt x="321868" y="292608"/>
                </a:cubicBezTo>
                <a:cubicBezTo>
                  <a:pt x="314008" y="229724"/>
                  <a:pt x="330911" y="244991"/>
                  <a:pt x="303580" y="226771"/>
                </a:cubicBezTo>
                <a:cubicBezTo>
                  <a:pt x="297484" y="227990"/>
                  <a:pt x="289688" y="226033"/>
                  <a:pt x="285292" y="230429"/>
                </a:cubicBezTo>
                <a:cubicBezTo>
                  <a:pt x="279840" y="235881"/>
                  <a:pt x="280415" y="245059"/>
                  <a:pt x="277977" y="252374"/>
                </a:cubicBezTo>
                <a:cubicBezTo>
                  <a:pt x="276758" y="256032"/>
                  <a:pt x="277528" y="261208"/>
                  <a:pt x="274320" y="263347"/>
                </a:cubicBezTo>
                <a:cubicBezTo>
                  <a:pt x="260478" y="272575"/>
                  <a:pt x="266455" y="267553"/>
                  <a:pt x="256032" y="277978"/>
                </a:cubicBezTo>
                <a:cubicBezTo>
                  <a:pt x="254813" y="281635"/>
                  <a:pt x="256154" y="288194"/>
                  <a:pt x="252374" y="288950"/>
                </a:cubicBezTo>
                <a:cubicBezTo>
                  <a:pt x="237059" y="292013"/>
                  <a:pt x="222444" y="286289"/>
                  <a:pt x="208483" y="281635"/>
                </a:cubicBezTo>
                <a:cubicBezTo>
                  <a:pt x="197510" y="282854"/>
                  <a:pt x="186476" y="283614"/>
                  <a:pt x="175564" y="285293"/>
                </a:cubicBezTo>
                <a:cubicBezTo>
                  <a:pt x="170596" y="286057"/>
                  <a:pt x="165961" y="288950"/>
                  <a:pt x="160934" y="288950"/>
                </a:cubicBezTo>
                <a:cubicBezTo>
                  <a:pt x="155907" y="288950"/>
                  <a:pt x="151181" y="286512"/>
                  <a:pt x="146304" y="285293"/>
                </a:cubicBezTo>
                <a:lnTo>
                  <a:pt x="138988" y="263347"/>
                </a:lnTo>
                <a:cubicBezTo>
                  <a:pt x="135153" y="251841"/>
                  <a:pt x="136102" y="249231"/>
                  <a:pt x="124358" y="241402"/>
                </a:cubicBezTo>
                <a:cubicBezTo>
                  <a:pt x="121150" y="239263"/>
                  <a:pt x="117043" y="238963"/>
                  <a:pt x="113385" y="237744"/>
                </a:cubicBezTo>
                <a:cubicBezTo>
                  <a:pt x="110947" y="234086"/>
                  <a:pt x="109447" y="229585"/>
                  <a:pt x="106070" y="226771"/>
                </a:cubicBezTo>
                <a:cubicBezTo>
                  <a:pt x="80935" y="205825"/>
                  <a:pt x="29260" y="238354"/>
                  <a:pt x="14630" y="230429"/>
                </a:cubicBezTo>
                <a:close/>
              </a:path>
            </a:pathLst>
          </a:custGeom>
          <a:solidFill>
            <a:srgbClr val="00CC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9" name="Title 1"/>
          <p:cNvSpPr txBox="1">
            <a:spLocks/>
          </p:cNvSpPr>
          <p:nvPr/>
        </p:nvSpPr>
        <p:spPr>
          <a:xfrm>
            <a:off x="3714744" y="4548723"/>
            <a:ext cx="785812" cy="213783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900" dirty="0" err="1"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Ramabhadra" pitchFamily="2" charset="0"/>
                <a:ea typeface="+mj-ea"/>
                <a:cs typeface="Ramabhadra" pitchFamily="2" charset="0"/>
              </a:rPr>
              <a:t>స్విట్జర్లాండ్</a:t>
            </a:r>
            <a:endParaRPr lang="en-IN" sz="900" dirty="0">
              <a:effectLst>
                <a:glow rad="101600">
                  <a:schemeClr val="bg1">
                    <a:alpha val="60000"/>
                  </a:schemeClr>
                </a:glow>
              </a:effectLst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80" name="Freeform 179"/>
          <p:cNvSpPr/>
          <p:nvPr/>
        </p:nvSpPr>
        <p:spPr>
          <a:xfrm>
            <a:off x="3767144" y="4637621"/>
            <a:ext cx="1411287" cy="1532467"/>
          </a:xfrm>
          <a:custGeom>
            <a:avLst/>
            <a:gdLst>
              <a:gd name="connsiteX0" fmla="*/ 102413 w 1411834"/>
              <a:gd name="connsiteY0" fmla="*/ 479363 h 1531003"/>
              <a:gd name="connsiteX1" fmla="*/ 91440 w 1411834"/>
              <a:gd name="connsiteY1" fmla="*/ 461075 h 1531003"/>
              <a:gd name="connsiteX2" fmla="*/ 80467 w 1411834"/>
              <a:gd name="connsiteY2" fmla="*/ 457418 h 1531003"/>
              <a:gd name="connsiteX3" fmla="*/ 62179 w 1411834"/>
              <a:gd name="connsiteY3" fmla="*/ 424499 h 1531003"/>
              <a:gd name="connsiteX4" fmla="*/ 47549 w 1411834"/>
              <a:gd name="connsiteY4" fmla="*/ 406211 h 1531003"/>
              <a:gd name="connsiteX5" fmla="*/ 36576 w 1411834"/>
              <a:gd name="connsiteY5" fmla="*/ 398896 h 1531003"/>
              <a:gd name="connsiteX6" fmla="*/ 32918 w 1411834"/>
              <a:gd name="connsiteY6" fmla="*/ 369635 h 1531003"/>
              <a:gd name="connsiteX7" fmla="*/ 25603 w 1411834"/>
              <a:gd name="connsiteY7" fmla="*/ 347690 h 1531003"/>
              <a:gd name="connsiteX8" fmla="*/ 14630 w 1411834"/>
              <a:gd name="connsiteY8" fmla="*/ 314771 h 1531003"/>
              <a:gd name="connsiteX9" fmla="*/ 3658 w 1411834"/>
              <a:gd name="connsiteY9" fmla="*/ 281853 h 1531003"/>
              <a:gd name="connsiteX10" fmla="*/ 0 w 1411834"/>
              <a:gd name="connsiteY10" fmla="*/ 270880 h 1531003"/>
              <a:gd name="connsiteX11" fmla="*/ 3658 w 1411834"/>
              <a:gd name="connsiteY11" fmla="*/ 241619 h 1531003"/>
              <a:gd name="connsiteX12" fmla="*/ 10973 w 1411834"/>
              <a:gd name="connsiteY12" fmla="*/ 230647 h 1531003"/>
              <a:gd name="connsiteX13" fmla="*/ 21946 w 1411834"/>
              <a:gd name="connsiteY13" fmla="*/ 226989 h 1531003"/>
              <a:gd name="connsiteX14" fmla="*/ 51206 w 1411834"/>
              <a:gd name="connsiteY14" fmla="*/ 223331 h 1531003"/>
              <a:gd name="connsiteX15" fmla="*/ 65837 w 1411834"/>
              <a:gd name="connsiteY15" fmla="*/ 161152 h 1531003"/>
              <a:gd name="connsiteX16" fmla="*/ 73152 w 1411834"/>
              <a:gd name="connsiteY16" fmla="*/ 150179 h 1531003"/>
              <a:gd name="connsiteX17" fmla="*/ 91440 w 1411834"/>
              <a:gd name="connsiteY17" fmla="*/ 124576 h 1531003"/>
              <a:gd name="connsiteX18" fmla="*/ 113386 w 1411834"/>
              <a:gd name="connsiteY18" fmla="*/ 120919 h 1531003"/>
              <a:gd name="connsiteX19" fmla="*/ 179222 w 1411834"/>
              <a:gd name="connsiteY19" fmla="*/ 109946 h 1531003"/>
              <a:gd name="connsiteX20" fmla="*/ 201168 w 1411834"/>
              <a:gd name="connsiteY20" fmla="*/ 98973 h 1531003"/>
              <a:gd name="connsiteX21" fmla="*/ 208483 w 1411834"/>
              <a:gd name="connsiteY21" fmla="*/ 88000 h 1531003"/>
              <a:gd name="connsiteX22" fmla="*/ 219456 w 1411834"/>
              <a:gd name="connsiteY22" fmla="*/ 77027 h 1531003"/>
              <a:gd name="connsiteX23" fmla="*/ 223114 w 1411834"/>
              <a:gd name="connsiteY23" fmla="*/ 66055 h 1531003"/>
              <a:gd name="connsiteX24" fmla="*/ 226771 w 1411834"/>
              <a:gd name="connsiteY24" fmla="*/ 51424 h 1531003"/>
              <a:gd name="connsiteX25" fmla="*/ 245059 w 1411834"/>
              <a:gd name="connsiteY25" fmla="*/ 55082 h 1531003"/>
              <a:gd name="connsiteX26" fmla="*/ 252374 w 1411834"/>
              <a:gd name="connsiteY26" fmla="*/ 77027 h 1531003"/>
              <a:gd name="connsiteX27" fmla="*/ 256032 w 1411834"/>
              <a:gd name="connsiteY27" fmla="*/ 88000 h 1531003"/>
              <a:gd name="connsiteX28" fmla="*/ 259690 w 1411834"/>
              <a:gd name="connsiteY28" fmla="*/ 102631 h 1531003"/>
              <a:gd name="connsiteX29" fmla="*/ 267005 w 1411834"/>
              <a:gd name="connsiteY29" fmla="*/ 124576 h 1531003"/>
              <a:gd name="connsiteX30" fmla="*/ 277978 w 1411834"/>
              <a:gd name="connsiteY30" fmla="*/ 131891 h 1531003"/>
              <a:gd name="connsiteX31" fmla="*/ 299923 w 1411834"/>
              <a:gd name="connsiteY31" fmla="*/ 128234 h 1531003"/>
              <a:gd name="connsiteX32" fmla="*/ 314554 w 1411834"/>
              <a:gd name="connsiteY32" fmla="*/ 109946 h 1531003"/>
              <a:gd name="connsiteX33" fmla="*/ 321869 w 1411834"/>
              <a:gd name="connsiteY33" fmla="*/ 98973 h 1531003"/>
              <a:gd name="connsiteX34" fmla="*/ 427939 w 1411834"/>
              <a:gd name="connsiteY34" fmla="*/ 73370 h 1531003"/>
              <a:gd name="connsiteX35" fmla="*/ 457200 w 1411834"/>
              <a:gd name="connsiteY35" fmla="*/ 58739 h 1531003"/>
              <a:gd name="connsiteX36" fmla="*/ 479146 w 1411834"/>
              <a:gd name="connsiteY36" fmla="*/ 44109 h 1531003"/>
              <a:gd name="connsiteX37" fmla="*/ 486461 w 1411834"/>
              <a:gd name="connsiteY37" fmla="*/ 33136 h 1531003"/>
              <a:gd name="connsiteX38" fmla="*/ 493776 w 1411834"/>
              <a:gd name="connsiteY38" fmla="*/ 11191 h 1531003"/>
              <a:gd name="connsiteX39" fmla="*/ 504749 w 1411834"/>
              <a:gd name="connsiteY39" fmla="*/ 7533 h 1531003"/>
              <a:gd name="connsiteX40" fmla="*/ 534010 w 1411834"/>
              <a:gd name="connsiteY40" fmla="*/ 11191 h 1531003"/>
              <a:gd name="connsiteX41" fmla="*/ 548640 w 1411834"/>
              <a:gd name="connsiteY41" fmla="*/ 14848 h 1531003"/>
              <a:gd name="connsiteX42" fmla="*/ 581558 w 1411834"/>
              <a:gd name="connsiteY42" fmla="*/ 11191 h 1531003"/>
              <a:gd name="connsiteX43" fmla="*/ 640080 w 1411834"/>
              <a:gd name="connsiteY43" fmla="*/ 7533 h 1531003"/>
              <a:gd name="connsiteX44" fmla="*/ 662026 w 1411834"/>
              <a:gd name="connsiteY44" fmla="*/ 14848 h 1531003"/>
              <a:gd name="connsiteX45" fmla="*/ 687629 w 1411834"/>
              <a:gd name="connsiteY45" fmla="*/ 22163 h 1531003"/>
              <a:gd name="connsiteX46" fmla="*/ 705917 w 1411834"/>
              <a:gd name="connsiteY46" fmla="*/ 36794 h 1531003"/>
              <a:gd name="connsiteX47" fmla="*/ 727862 w 1411834"/>
              <a:gd name="connsiteY47" fmla="*/ 44109 h 1531003"/>
              <a:gd name="connsiteX48" fmla="*/ 738835 w 1411834"/>
              <a:gd name="connsiteY48" fmla="*/ 47767 h 1531003"/>
              <a:gd name="connsiteX49" fmla="*/ 771754 w 1411834"/>
              <a:gd name="connsiteY49" fmla="*/ 58739 h 1531003"/>
              <a:gd name="connsiteX50" fmla="*/ 782726 w 1411834"/>
              <a:gd name="connsiteY50" fmla="*/ 62397 h 1531003"/>
              <a:gd name="connsiteX51" fmla="*/ 808330 w 1411834"/>
              <a:gd name="connsiteY51" fmla="*/ 69712 h 1531003"/>
              <a:gd name="connsiteX52" fmla="*/ 826618 w 1411834"/>
              <a:gd name="connsiteY52" fmla="*/ 102631 h 1531003"/>
              <a:gd name="connsiteX53" fmla="*/ 830275 w 1411834"/>
              <a:gd name="connsiteY53" fmla="*/ 183098 h 1531003"/>
              <a:gd name="connsiteX54" fmla="*/ 833933 w 1411834"/>
              <a:gd name="connsiteY54" fmla="*/ 194071 h 1531003"/>
              <a:gd name="connsiteX55" fmla="*/ 837590 w 1411834"/>
              <a:gd name="connsiteY55" fmla="*/ 208701 h 1531003"/>
              <a:gd name="connsiteX56" fmla="*/ 786384 w 1411834"/>
              <a:gd name="connsiteY56" fmla="*/ 216016 h 1531003"/>
              <a:gd name="connsiteX57" fmla="*/ 775411 w 1411834"/>
              <a:gd name="connsiteY57" fmla="*/ 223331 h 1531003"/>
              <a:gd name="connsiteX58" fmla="*/ 768096 w 1411834"/>
              <a:gd name="connsiteY58" fmla="*/ 230647 h 1531003"/>
              <a:gd name="connsiteX59" fmla="*/ 727862 w 1411834"/>
              <a:gd name="connsiteY59" fmla="*/ 241619 h 1531003"/>
              <a:gd name="connsiteX60" fmla="*/ 709574 w 1411834"/>
              <a:gd name="connsiteY60" fmla="*/ 256250 h 1531003"/>
              <a:gd name="connsiteX61" fmla="*/ 698602 w 1411834"/>
              <a:gd name="connsiteY61" fmla="*/ 259907 h 1531003"/>
              <a:gd name="connsiteX62" fmla="*/ 683971 w 1411834"/>
              <a:gd name="connsiteY62" fmla="*/ 281853 h 1531003"/>
              <a:gd name="connsiteX63" fmla="*/ 669341 w 1411834"/>
              <a:gd name="connsiteY63" fmla="*/ 303799 h 1531003"/>
              <a:gd name="connsiteX64" fmla="*/ 665683 w 1411834"/>
              <a:gd name="connsiteY64" fmla="*/ 384266 h 1531003"/>
              <a:gd name="connsiteX65" fmla="*/ 658368 w 1411834"/>
              <a:gd name="connsiteY65" fmla="*/ 395239 h 1531003"/>
              <a:gd name="connsiteX66" fmla="*/ 654710 w 1411834"/>
              <a:gd name="connsiteY66" fmla="*/ 406211 h 1531003"/>
              <a:gd name="connsiteX67" fmla="*/ 658368 w 1411834"/>
              <a:gd name="connsiteY67" fmla="*/ 424499 h 1531003"/>
              <a:gd name="connsiteX68" fmla="*/ 662026 w 1411834"/>
              <a:gd name="connsiteY68" fmla="*/ 435472 h 1531003"/>
              <a:gd name="connsiteX69" fmla="*/ 658368 w 1411834"/>
              <a:gd name="connsiteY69" fmla="*/ 450103 h 1531003"/>
              <a:gd name="connsiteX70" fmla="*/ 654710 w 1411834"/>
              <a:gd name="connsiteY70" fmla="*/ 461075 h 1531003"/>
              <a:gd name="connsiteX71" fmla="*/ 625450 w 1411834"/>
              <a:gd name="connsiteY71" fmla="*/ 486679 h 1531003"/>
              <a:gd name="connsiteX72" fmla="*/ 614477 w 1411834"/>
              <a:gd name="connsiteY72" fmla="*/ 490336 h 1531003"/>
              <a:gd name="connsiteX73" fmla="*/ 621792 w 1411834"/>
              <a:gd name="connsiteY73" fmla="*/ 504967 h 1531003"/>
              <a:gd name="connsiteX74" fmla="*/ 683971 w 1411834"/>
              <a:gd name="connsiteY74" fmla="*/ 508624 h 1531003"/>
              <a:gd name="connsiteX75" fmla="*/ 742493 w 1411834"/>
              <a:gd name="connsiteY75" fmla="*/ 515939 h 1531003"/>
              <a:gd name="connsiteX76" fmla="*/ 753466 w 1411834"/>
              <a:gd name="connsiteY76" fmla="*/ 519597 h 1531003"/>
              <a:gd name="connsiteX77" fmla="*/ 771754 w 1411834"/>
              <a:gd name="connsiteY77" fmla="*/ 534227 h 1531003"/>
              <a:gd name="connsiteX78" fmla="*/ 779069 w 1411834"/>
              <a:gd name="connsiteY78" fmla="*/ 556173 h 1531003"/>
              <a:gd name="connsiteX79" fmla="*/ 782726 w 1411834"/>
              <a:gd name="connsiteY79" fmla="*/ 567146 h 1531003"/>
              <a:gd name="connsiteX80" fmla="*/ 790042 w 1411834"/>
              <a:gd name="connsiteY80" fmla="*/ 574461 h 1531003"/>
              <a:gd name="connsiteX81" fmla="*/ 801014 w 1411834"/>
              <a:gd name="connsiteY81" fmla="*/ 596407 h 1531003"/>
              <a:gd name="connsiteX82" fmla="*/ 808330 w 1411834"/>
              <a:gd name="connsiteY82" fmla="*/ 603722 h 1531003"/>
              <a:gd name="connsiteX83" fmla="*/ 830275 w 1411834"/>
              <a:gd name="connsiteY83" fmla="*/ 632983 h 1531003"/>
              <a:gd name="connsiteX84" fmla="*/ 837590 w 1411834"/>
              <a:gd name="connsiteY84" fmla="*/ 654928 h 1531003"/>
              <a:gd name="connsiteX85" fmla="*/ 841248 w 1411834"/>
              <a:gd name="connsiteY85" fmla="*/ 665901 h 1531003"/>
              <a:gd name="connsiteX86" fmla="*/ 844906 w 1411834"/>
              <a:gd name="connsiteY86" fmla="*/ 717107 h 1531003"/>
              <a:gd name="connsiteX87" fmla="*/ 852221 w 1411834"/>
              <a:gd name="connsiteY87" fmla="*/ 724423 h 1531003"/>
              <a:gd name="connsiteX88" fmla="*/ 859536 w 1411834"/>
              <a:gd name="connsiteY88" fmla="*/ 735395 h 1531003"/>
              <a:gd name="connsiteX89" fmla="*/ 877824 w 1411834"/>
              <a:gd name="connsiteY89" fmla="*/ 750026 h 1531003"/>
              <a:gd name="connsiteX90" fmla="*/ 888797 w 1411834"/>
              <a:gd name="connsiteY90" fmla="*/ 753683 h 1531003"/>
              <a:gd name="connsiteX91" fmla="*/ 903427 w 1411834"/>
              <a:gd name="connsiteY91" fmla="*/ 771971 h 1531003"/>
              <a:gd name="connsiteX92" fmla="*/ 918058 w 1411834"/>
              <a:gd name="connsiteY92" fmla="*/ 786602 h 1531003"/>
              <a:gd name="connsiteX93" fmla="*/ 921715 w 1411834"/>
              <a:gd name="connsiteY93" fmla="*/ 797575 h 1531003"/>
              <a:gd name="connsiteX94" fmla="*/ 950976 w 1411834"/>
              <a:gd name="connsiteY94" fmla="*/ 823178 h 1531003"/>
              <a:gd name="connsiteX95" fmla="*/ 961949 w 1411834"/>
              <a:gd name="connsiteY95" fmla="*/ 826835 h 1531003"/>
              <a:gd name="connsiteX96" fmla="*/ 983894 w 1411834"/>
              <a:gd name="connsiteY96" fmla="*/ 837808 h 1531003"/>
              <a:gd name="connsiteX97" fmla="*/ 1005840 w 1411834"/>
              <a:gd name="connsiteY97" fmla="*/ 845123 h 1531003"/>
              <a:gd name="connsiteX98" fmla="*/ 1016813 w 1411834"/>
              <a:gd name="connsiteY98" fmla="*/ 848781 h 1531003"/>
              <a:gd name="connsiteX99" fmla="*/ 1031443 w 1411834"/>
              <a:gd name="connsiteY99" fmla="*/ 852439 h 1531003"/>
              <a:gd name="connsiteX100" fmla="*/ 1122883 w 1411834"/>
              <a:gd name="connsiteY100" fmla="*/ 856096 h 1531003"/>
              <a:gd name="connsiteX101" fmla="*/ 1133856 w 1411834"/>
              <a:gd name="connsiteY101" fmla="*/ 859754 h 1531003"/>
              <a:gd name="connsiteX102" fmla="*/ 1133856 w 1411834"/>
              <a:gd name="connsiteY102" fmla="*/ 889015 h 1531003"/>
              <a:gd name="connsiteX103" fmla="*/ 1122883 w 1411834"/>
              <a:gd name="connsiteY103" fmla="*/ 896330 h 1531003"/>
              <a:gd name="connsiteX104" fmla="*/ 1115568 w 1411834"/>
              <a:gd name="connsiteY104" fmla="*/ 907303 h 1531003"/>
              <a:gd name="connsiteX105" fmla="*/ 1108253 w 1411834"/>
              <a:gd name="connsiteY105" fmla="*/ 929248 h 1531003"/>
              <a:gd name="connsiteX106" fmla="*/ 1126541 w 1411834"/>
              <a:gd name="connsiteY106" fmla="*/ 962167 h 1531003"/>
              <a:gd name="connsiteX107" fmla="*/ 1155802 w 1411834"/>
              <a:gd name="connsiteY107" fmla="*/ 969482 h 1531003"/>
              <a:gd name="connsiteX108" fmla="*/ 1177747 w 1411834"/>
              <a:gd name="connsiteY108" fmla="*/ 980455 h 1531003"/>
              <a:gd name="connsiteX109" fmla="*/ 1203350 w 1411834"/>
              <a:gd name="connsiteY109" fmla="*/ 991427 h 1531003"/>
              <a:gd name="connsiteX110" fmla="*/ 1217981 w 1411834"/>
              <a:gd name="connsiteY110" fmla="*/ 995085 h 1531003"/>
              <a:gd name="connsiteX111" fmla="*/ 1239926 w 1411834"/>
              <a:gd name="connsiteY111" fmla="*/ 1002400 h 1531003"/>
              <a:gd name="connsiteX112" fmla="*/ 1269187 w 1411834"/>
              <a:gd name="connsiteY112" fmla="*/ 1024346 h 1531003"/>
              <a:gd name="connsiteX113" fmla="*/ 1280160 w 1411834"/>
              <a:gd name="connsiteY113" fmla="*/ 1028003 h 1531003"/>
              <a:gd name="connsiteX114" fmla="*/ 1302106 w 1411834"/>
              <a:gd name="connsiteY114" fmla="*/ 1042634 h 1531003"/>
              <a:gd name="connsiteX115" fmla="*/ 1313078 w 1411834"/>
              <a:gd name="connsiteY115" fmla="*/ 1049949 h 1531003"/>
              <a:gd name="connsiteX116" fmla="*/ 1324051 w 1411834"/>
              <a:gd name="connsiteY116" fmla="*/ 1053607 h 1531003"/>
              <a:gd name="connsiteX117" fmla="*/ 1345997 w 1411834"/>
              <a:gd name="connsiteY117" fmla="*/ 1071895 h 1531003"/>
              <a:gd name="connsiteX118" fmla="*/ 1360627 w 1411834"/>
              <a:gd name="connsiteY118" fmla="*/ 1075552 h 1531003"/>
              <a:gd name="connsiteX119" fmla="*/ 1375258 w 1411834"/>
              <a:gd name="connsiteY119" fmla="*/ 1108471 h 1531003"/>
              <a:gd name="connsiteX120" fmla="*/ 1378915 w 1411834"/>
              <a:gd name="connsiteY120" fmla="*/ 1119443 h 1531003"/>
              <a:gd name="connsiteX121" fmla="*/ 1393546 w 1411834"/>
              <a:gd name="connsiteY121" fmla="*/ 1134074 h 1531003"/>
              <a:gd name="connsiteX122" fmla="*/ 1397203 w 1411834"/>
              <a:gd name="connsiteY122" fmla="*/ 1145047 h 1531003"/>
              <a:gd name="connsiteX123" fmla="*/ 1404518 w 1411834"/>
              <a:gd name="connsiteY123" fmla="*/ 1156019 h 1531003"/>
              <a:gd name="connsiteX124" fmla="*/ 1411834 w 1411834"/>
              <a:gd name="connsiteY124" fmla="*/ 1177965 h 1531003"/>
              <a:gd name="connsiteX125" fmla="*/ 1408176 w 1411834"/>
              <a:gd name="connsiteY125" fmla="*/ 1199911 h 1531003"/>
              <a:gd name="connsiteX126" fmla="*/ 1397203 w 1411834"/>
              <a:gd name="connsiteY126" fmla="*/ 1207226 h 1531003"/>
              <a:gd name="connsiteX127" fmla="*/ 1353312 w 1411834"/>
              <a:gd name="connsiteY127" fmla="*/ 1203568 h 1531003"/>
              <a:gd name="connsiteX128" fmla="*/ 1349654 w 1411834"/>
              <a:gd name="connsiteY128" fmla="*/ 1192595 h 1531003"/>
              <a:gd name="connsiteX129" fmla="*/ 1342339 w 1411834"/>
              <a:gd name="connsiteY129" fmla="*/ 1163335 h 1531003"/>
              <a:gd name="connsiteX130" fmla="*/ 1335024 w 1411834"/>
              <a:gd name="connsiteY130" fmla="*/ 1156019 h 1531003"/>
              <a:gd name="connsiteX131" fmla="*/ 1287475 w 1411834"/>
              <a:gd name="connsiteY131" fmla="*/ 1145047 h 1531003"/>
              <a:gd name="connsiteX132" fmla="*/ 1280160 w 1411834"/>
              <a:gd name="connsiteY132" fmla="*/ 1137731 h 1531003"/>
              <a:gd name="connsiteX133" fmla="*/ 1272845 w 1411834"/>
              <a:gd name="connsiteY133" fmla="*/ 1126759 h 1531003"/>
              <a:gd name="connsiteX134" fmla="*/ 1236269 w 1411834"/>
              <a:gd name="connsiteY134" fmla="*/ 1104813 h 1531003"/>
              <a:gd name="connsiteX135" fmla="*/ 1214323 w 1411834"/>
              <a:gd name="connsiteY135" fmla="*/ 1108471 h 1531003"/>
              <a:gd name="connsiteX136" fmla="*/ 1210666 w 1411834"/>
              <a:gd name="connsiteY136" fmla="*/ 1119443 h 1531003"/>
              <a:gd name="connsiteX137" fmla="*/ 1207008 w 1411834"/>
              <a:gd name="connsiteY137" fmla="*/ 1145047 h 1531003"/>
              <a:gd name="connsiteX138" fmla="*/ 1188720 w 1411834"/>
              <a:gd name="connsiteY138" fmla="*/ 1148704 h 1531003"/>
              <a:gd name="connsiteX139" fmla="*/ 1177747 w 1411834"/>
              <a:gd name="connsiteY139" fmla="*/ 1152362 h 1531003"/>
              <a:gd name="connsiteX140" fmla="*/ 1170432 w 1411834"/>
              <a:gd name="connsiteY140" fmla="*/ 1163335 h 1531003"/>
              <a:gd name="connsiteX141" fmla="*/ 1170432 w 1411834"/>
              <a:gd name="connsiteY141" fmla="*/ 1243802 h 1531003"/>
              <a:gd name="connsiteX142" fmla="*/ 1188720 w 1411834"/>
              <a:gd name="connsiteY142" fmla="*/ 1269405 h 1531003"/>
              <a:gd name="connsiteX143" fmla="*/ 1199693 w 1411834"/>
              <a:gd name="connsiteY143" fmla="*/ 1280378 h 1531003"/>
              <a:gd name="connsiteX144" fmla="*/ 1221638 w 1411834"/>
              <a:gd name="connsiteY144" fmla="*/ 1295008 h 1531003"/>
              <a:gd name="connsiteX145" fmla="*/ 1225296 w 1411834"/>
              <a:gd name="connsiteY145" fmla="*/ 1305981 h 1531003"/>
              <a:gd name="connsiteX146" fmla="*/ 1232611 w 1411834"/>
              <a:gd name="connsiteY146" fmla="*/ 1338899 h 1531003"/>
              <a:gd name="connsiteX147" fmla="*/ 1217981 w 1411834"/>
              <a:gd name="connsiteY147" fmla="*/ 1360845 h 1531003"/>
              <a:gd name="connsiteX148" fmla="*/ 1196035 w 1411834"/>
              <a:gd name="connsiteY148" fmla="*/ 1368160 h 1531003"/>
              <a:gd name="connsiteX149" fmla="*/ 1177747 w 1411834"/>
              <a:gd name="connsiteY149" fmla="*/ 1390106 h 1531003"/>
              <a:gd name="connsiteX150" fmla="*/ 1159459 w 1411834"/>
              <a:gd name="connsiteY150" fmla="*/ 1415709 h 1531003"/>
              <a:gd name="connsiteX151" fmla="*/ 1155802 w 1411834"/>
              <a:gd name="connsiteY151" fmla="*/ 1426682 h 1531003"/>
              <a:gd name="connsiteX152" fmla="*/ 1152144 w 1411834"/>
              <a:gd name="connsiteY152" fmla="*/ 1452285 h 1531003"/>
              <a:gd name="connsiteX153" fmla="*/ 1144829 w 1411834"/>
              <a:gd name="connsiteY153" fmla="*/ 1463258 h 1531003"/>
              <a:gd name="connsiteX154" fmla="*/ 1130198 w 1411834"/>
              <a:gd name="connsiteY154" fmla="*/ 1485203 h 1531003"/>
              <a:gd name="connsiteX155" fmla="*/ 1104595 w 1411834"/>
              <a:gd name="connsiteY155" fmla="*/ 1510807 h 1531003"/>
              <a:gd name="connsiteX156" fmla="*/ 1093622 w 1411834"/>
              <a:gd name="connsiteY156" fmla="*/ 1521779 h 1531003"/>
              <a:gd name="connsiteX157" fmla="*/ 1038758 w 1411834"/>
              <a:gd name="connsiteY157" fmla="*/ 1521779 h 1531003"/>
              <a:gd name="connsiteX158" fmla="*/ 1035101 w 1411834"/>
              <a:gd name="connsiteY158" fmla="*/ 1510807 h 1531003"/>
              <a:gd name="connsiteX159" fmla="*/ 1042416 w 1411834"/>
              <a:gd name="connsiteY159" fmla="*/ 1481546 h 1531003"/>
              <a:gd name="connsiteX160" fmla="*/ 1049731 w 1411834"/>
              <a:gd name="connsiteY160" fmla="*/ 1470573 h 1531003"/>
              <a:gd name="connsiteX161" fmla="*/ 1057046 w 1411834"/>
              <a:gd name="connsiteY161" fmla="*/ 1448627 h 1531003"/>
              <a:gd name="connsiteX162" fmla="*/ 1060704 w 1411834"/>
              <a:gd name="connsiteY162" fmla="*/ 1430339 h 1531003"/>
              <a:gd name="connsiteX163" fmla="*/ 1100938 w 1411834"/>
              <a:gd name="connsiteY163" fmla="*/ 1415709 h 1531003"/>
              <a:gd name="connsiteX164" fmla="*/ 1108253 w 1411834"/>
              <a:gd name="connsiteY164" fmla="*/ 1404736 h 1531003"/>
              <a:gd name="connsiteX165" fmla="*/ 1104595 w 1411834"/>
              <a:gd name="connsiteY165" fmla="*/ 1320611 h 1531003"/>
              <a:gd name="connsiteX166" fmla="*/ 1093622 w 1411834"/>
              <a:gd name="connsiteY166" fmla="*/ 1287693 h 1531003"/>
              <a:gd name="connsiteX167" fmla="*/ 1089965 w 1411834"/>
              <a:gd name="connsiteY167" fmla="*/ 1269405 h 1531003"/>
              <a:gd name="connsiteX168" fmla="*/ 1086307 w 1411834"/>
              <a:gd name="connsiteY168" fmla="*/ 1243802 h 1531003"/>
              <a:gd name="connsiteX169" fmla="*/ 1060704 w 1411834"/>
              <a:gd name="connsiteY169" fmla="*/ 1214541 h 1531003"/>
              <a:gd name="connsiteX170" fmla="*/ 1049731 w 1411834"/>
              <a:gd name="connsiteY170" fmla="*/ 1192595 h 1531003"/>
              <a:gd name="connsiteX171" fmla="*/ 972922 w 1411834"/>
              <a:gd name="connsiteY171" fmla="*/ 1181623 h 1531003"/>
              <a:gd name="connsiteX172" fmla="*/ 958291 w 1411834"/>
              <a:gd name="connsiteY172" fmla="*/ 1152362 h 1531003"/>
              <a:gd name="connsiteX173" fmla="*/ 954634 w 1411834"/>
              <a:gd name="connsiteY173" fmla="*/ 1141389 h 1531003"/>
              <a:gd name="connsiteX174" fmla="*/ 950976 w 1411834"/>
              <a:gd name="connsiteY174" fmla="*/ 1130416 h 1531003"/>
              <a:gd name="connsiteX175" fmla="*/ 936346 w 1411834"/>
              <a:gd name="connsiteY175" fmla="*/ 1090183 h 1531003"/>
              <a:gd name="connsiteX176" fmla="*/ 925373 w 1411834"/>
              <a:gd name="connsiteY176" fmla="*/ 1086525 h 1531003"/>
              <a:gd name="connsiteX177" fmla="*/ 914400 w 1411834"/>
              <a:gd name="connsiteY177" fmla="*/ 1079210 h 1531003"/>
              <a:gd name="connsiteX178" fmla="*/ 892454 w 1411834"/>
              <a:gd name="connsiteY178" fmla="*/ 1071895 h 1531003"/>
              <a:gd name="connsiteX179" fmla="*/ 881482 w 1411834"/>
              <a:gd name="connsiteY179" fmla="*/ 1064579 h 1531003"/>
              <a:gd name="connsiteX180" fmla="*/ 874166 w 1411834"/>
              <a:gd name="connsiteY180" fmla="*/ 1057264 h 1531003"/>
              <a:gd name="connsiteX181" fmla="*/ 863194 w 1411834"/>
              <a:gd name="connsiteY181" fmla="*/ 1053607 h 1531003"/>
              <a:gd name="connsiteX182" fmla="*/ 855878 w 1411834"/>
              <a:gd name="connsiteY182" fmla="*/ 1042634 h 1531003"/>
              <a:gd name="connsiteX183" fmla="*/ 852221 w 1411834"/>
              <a:gd name="connsiteY183" fmla="*/ 1031661 h 1531003"/>
              <a:gd name="connsiteX184" fmla="*/ 841248 w 1411834"/>
              <a:gd name="connsiteY184" fmla="*/ 1028003 h 1531003"/>
              <a:gd name="connsiteX185" fmla="*/ 830275 w 1411834"/>
              <a:gd name="connsiteY185" fmla="*/ 1020688 h 1531003"/>
              <a:gd name="connsiteX186" fmla="*/ 822960 w 1411834"/>
              <a:gd name="connsiteY186" fmla="*/ 995085 h 1531003"/>
              <a:gd name="connsiteX187" fmla="*/ 811987 w 1411834"/>
              <a:gd name="connsiteY187" fmla="*/ 991427 h 1531003"/>
              <a:gd name="connsiteX188" fmla="*/ 775411 w 1411834"/>
              <a:gd name="connsiteY188" fmla="*/ 976797 h 1531003"/>
              <a:gd name="connsiteX189" fmla="*/ 764438 w 1411834"/>
              <a:gd name="connsiteY189" fmla="*/ 973139 h 1531003"/>
              <a:gd name="connsiteX190" fmla="*/ 746150 w 1411834"/>
              <a:gd name="connsiteY190" fmla="*/ 969482 h 1531003"/>
              <a:gd name="connsiteX191" fmla="*/ 713232 w 1411834"/>
              <a:gd name="connsiteY191" fmla="*/ 958509 h 1531003"/>
              <a:gd name="connsiteX192" fmla="*/ 702259 w 1411834"/>
              <a:gd name="connsiteY192" fmla="*/ 954851 h 1531003"/>
              <a:gd name="connsiteX193" fmla="*/ 691286 w 1411834"/>
              <a:gd name="connsiteY193" fmla="*/ 943879 h 1531003"/>
              <a:gd name="connsiteX194" fmla="*/ 687629 w 1411834"/>
              <a:gd name="connsiteY194" fmla="*/ 932906 h 1531003"/>
              <a:gd name="connsiteX195" fmla="*/ 665683 w 1411834"/>
              <a:gd name="connsiteY195" fmla="*/ 910960 h 1531003"/>
              <a:gd name="connsiteX196" fmla="*/ 662026 w 1411834"/>
              <a:gd name="connsiteY196" fmla="*/ 899987 h 1531003"/>
              <a:gd name="connsiteX197" fmla="*/ 651053 w 1411834"/>
              <a:gd name="connsiteY197" fmla="*/ 896330 h 1531003"/>
              <a:gd name="connsiteX198" fmla="*/ 640080 w 1411834"/>
              <a:gd name="connsiteY198" fmla="*/ 889015 h 1531003"/>
              <a:gd name="connsiteX199" fmla="*/ 632765 w 1411834"/>
              <a:gd name="connsiteY199" fmla="*/ 881699 h 1531003"/>
              <a:gd name="connsiteX200" fmla="*/ 610819 w 1411834"/>
              <a:gd name="connsiteY200" fmla="*/ 867069 h 1531003"/>
              <a:gd name="connsiteX201" fmla="*/ 588874 w 1411834"/>
              <a:gd name="connsiteY201" fmla="*/ 848781 h 1531003"/>
              <a:gd name="connsiteX202" fmla="*/ 581558 w 1411834"/>
              <a:gd name="connsiteY202" fmla="*/ 837808 h 1531003"/>
              <a:gd name="connsiteX203" fmla="*/ 563270 w 1411834"/>
              <a:gd name="connsiteY203" fmla="*/ 815863 h 1531003"/>
              <a:gd name="connsiteX204" fmla="*/ 544982 w 1411834"/>
              <a:gd name="connsiteY204" fmla="*/ 782944 h 1531003"/>
              <a:gd name="connsiteX205" fmla="*/ 537667 w 1411834"/>
              <a:gd name="connsiteY205" fmla="*/ 771971 h 1531003"/>
              <a:gd name="connsiteX206" fmla="*/ 526694 w 1411834"/>
              <a:gd name="connsiteY206" fmla="*/ 764656 h 1531003"/>
              <a:gd name="connsiteX207" fmla="*/ 519379 w 1411834"/>
              <a:gd name="connsiteY207" fmla="*/ 753683 h 1531003"/>
              <a:gd name="connsiteX208" fmla="*/ 501091 w 1411834"/>
              <a:gd name="connsiteY208" fmla="*/ 735395 h 1531003"/>
              <a:gd name="connsiteX209" fmla="*/ 479146 w 1411834"/>
              <a:gd name="connsiteY209" fmla="*/ 706135 h 1531003"/>
              <a:gd name="connsiteX210" fmla="*/ 460858 w 1411834"/>
              <a:gd name="connsiteY210" fmla="*/ 687847 h 1531003"/>
              <a:gd name="connsiteX211" fmla="*/ 453542 w 1411834"/>
              <a:gd name="connsiteY211" fmla="*/ 658586 h 1531003"/>
              <a:gd name="connsiteX212" fmla="*/ 449885 w 1411834"/>
              <a:gd name="connsiteY212" fmla="*/ 647613 h 1531003"/>
              <a:gd name="connsiteX213" fmla="*/ 442570 w 1411834"/>
              <a:gd name="connsiteY213" fmla="*/ 636640 h 1531003"/>
              <a:gd name="connsiteX214" fmla="*/ 431597 w 1411834"/>
              <a:gd name="connsiteY214" fmla="*/ 600064 h 1531003"/>
              <a:gd name="connsiteX215" fmla="*/ 427939 w 1411834"/>
              <a:gd name="connsiteY215" fmla="*/ 589091 h 1531003"/>
              <a:gd name="connsiteX216" fmla="*/ 424282 w 1411834"/>
              <a:gd name="connsiteY216" fmla="*/ 570803 h 1531003"/>
              <a:gd name="connsiteX217" fmla="*/ 416966 w 1411834"/>
              <a:gd name="connsiteY217" fmla="*/ 548858 h 1531003"/>
              <a:gd name="connsiteX218" fmla="*/ 413309 w 1411834"/>
              <a:gd name="connsiteY218" fmla="*/ 537885 h 1531003"/>
              <a:gd name="connsiteX219" fmla="*/ 405994 w 1411834"/>
              <a:gd name="connsiteY219" fmla="*/ 515939 h 1531003"/>
              <a:gd name="connsiteX220" fmla="*/ 402336 w 1411834"/>
              <a:gd name="connsiteY220" fmla="*/ 504967 h 1531003"/>
              <a:gd name="connsiteX221" fmla="*/ 395021 w 1411834"/>
              <a:gd name="connsiteY221" fmla="*/ 497651 h 1531003"/>
              <a:gd name="connsiteX222" fmla="*/ 384048 w 1411834"/>
              <a:gd name="connsiteY222" fmla="*/ 479363 h 1531003"/>
              <a:gd name="connsiteX223" fmla="*/ 376733 w 1411834"/>
              <a:gd name="connsiteY223" fmla="*/ 468391 h 1531003"/>
              <a:gd name="connsiteX224" fmla="*/ 365760 w 1411834"/>
              <a:gd name="connsiteY224" fmla="*/ 464733 h 1531003"/>
              <a:gd name="connsiteX225" fmla="*/ 343814 w 1411834"/>
              <a:gd name="connsiteY225" fmla="*/ 450103 h 1531003"/>
              <a:gd name="connsiteX226" fmla="*/ 336499 w 1411834"/>
              <a:gd name="connsiteY226" fmla="*/ 442787 h 1531003"/>
              <a:gd name="connsiteX227" fmla="*/ 314554 w 1411834"/>
              <a:gd name="connsiteY227" fmla="*/ 435472 h 1531003"/>
              <a:gd name="connsiteX228" fmla="*/ 292608 w 1411834"/>
              <a:gd name="connsiteY228" fmla="*/ 428157 h 1531003"/>
              <a:gd name="connsiteX229" fmla="*/ 281635 w 1411834"/>
              <a:gd name="connsiteY229" fmla="*/ 424499 h 1531003"/>
              <a:gd name="connsiteX230" fmla="*/ 259690 w 1411834"/>
              <a:gd name="connsiteY230" fmla="*/ 409869 h 1531003"/>
              <a:gd name="connsiteX231" fmla="*/ 237744 w 1411834"/>
              <a:gd name="connsiteY231" fmla="*/ 402554 h 1531003"/>
              <a:gd name="connsiteX232" fmla="*/ 201168 w 1411834"/>
              <a:gd name="connsiteY232" fmla="*/ 413527 h 1531003"/>
              <a:gd name="connsiteX233" fmla="*/ 182880 w 1411834"/>
              <a:gd name="connsiteY233" fmla="*/ 431815 h 1531003"/>
              <a:gd name="connsiteX234" fmla="*/ 168250 w 1411834"/>
              <a:gd name="connsiteY234" fmla="*/ 450103 h 1531003"/>
              <a:gd name="connsiteX235" fmla="*/ 157277 w 1411834"/>
              <a:gd name="connsiteY235" fmla="*/ 453760 h 1531003"/>
              <a:gd name="connsiteX236" fmla="*/ 146304 w 1411834"/>
              <a:gd name="connsiteY236" fmla="*/ 461075 h 1531003"/>
              <a:gd name="connsiteX237" fmla="*/ 128016 w 1411834"/>
              <a:gd name="connsiteY237" fmla="*/ 475706 h 1531003"/>
              <a:gd name="connsiteX238" fmla="*/ 106070 w 1411834"/>
              <a:gd name="connsiteY238" fmla="*/ 483021 h 1531003"/>
              <a:gd name="connsiteX239" fmla="*/ 95098 w 1411834"/>
              <a:gd name="connsiteY239" fmla="*/ 486679 h 1531003"/>
              <a:gd name="connsiteX240" fmla="*/ 102413 w 1411834"/>
              <a:gd name="connsiteY240" fmla="*/ 479363 h 153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</a:cxnLst>
            <a:rect l="l" t="t" r="r" b="b"/>
            <a:pathLst>
              <a:path w="1411834" h="1531003">
                <a:moveTo>
                  <a:pt x="102413" y="479363"/>
                </a:moveTo>
                <a:cubicBezTo>
                  <a:pt x="99536" y="470734"/>
                  <a:pt x="99806" y="466095"/>
                  <a:pt x="91440" y="461075"/>
                </a:cubicBezTo>
                <a:cubicBezTo>
                  <a:pt x="88134" y="459091"/>
                  <a:pt x="84125" y="458637"/>
                  <a:pt x="80467" y="457418"/>
                </a:cubicBezTo>
                <a:cubicBezTo>
                  <a:pt x="46024" y="422975"/>
                  <a:pt x="97989" y="478212"/>
                  <a:pt x="62179" y="424499"/>
                </a:cubicBezTo>
                <a:cubicBezTo>
                  <a:pt x="56749" y="416355"/>
                  <a:pt x="54992" y="412166"/>
                  <a:pt x="47549" y="406211"/>
                </a:cubicBezTo>
                <a:cubicBezTo>
                  <a:pt x="44116" y="403465"/>
                  <a:pt x="40234" y="401334"/>
                  <a:pt x="36576" y="398896"/>
                </a:cubicBezTo>
                <a:cubicBezTo>
                  <a:pt x="35357" y="389142"/>
                  <a:pt x="34978" y="379246"/>
                  <a:pt x="32918" y="369635"/>
                </a:cubicBezTo>
                <a:cubicBezTo>
                  <a:pt x="31302" y="362095"/>
                  <a:pt x="28041" y="355005"/>
                  <a:pt x="25603" y="347690"/>
                </a:cubicBezTo>
                <a:lnTo>
                  <a:pt x="14630" y="314771"/>
                </a:lnTo>
                <a:lnTo>
                  <a:pt x="3658" y="281853"/>
                </a:lnTo>
                <a:lnTo>
                  <a:pt x="0" y="270880"/>
                </a:lnTo>
                <a:cubicBezTo>
                  <a:pt x="1219" y="261126"/>
                  <a:pt x="1072" y="251102"/>
                  <a:pt x="3658" y="241619"/>
                </a:cubicBezTo>
                <a:cubicBezTo>
                  <a:pt x="4815" y="237378"/>
                  <a:pt x="7541" y="233393"/>
                  <a:pt x="10973" y="230647"/>
                </a:cubicBezTo>
                <a:cubicBezTo>
                  <a:pt x="13984" y="228238"/>
                  <a:pt x="18153" y="227679"/>
                  <a:pt x="21946" y="226989"/>
                </a:cubicBezTo>
                <a:cubicBezTo>
                  <a:pt x="31617" y="225230"/>
                  <a:pt x="41453" y="224550"/>
                  <a:pt x="51206" y="223331"/>
                </a:cubicBezTo>
                <a:cubicBezTo>
                  <a:pt x="81960" y="213081"/>
                  <a:pt x="55659" y="225615"/>
                  <a:pt x="65837" y="161152"/>
                </a:cubicBezTo>
                <a:cubicBezTo>
                  <a:pt x="66523" y="156810"/>
                  <a:pt x="71367" y="154196"/>
                  <a:pt x="73152" y="150179"/>
                </a:cubicBezTo>
                <a:cubicBezTo>
                  <a:pt x="82838" y="128386"/>
                  <a:pt x="72576" y="128768"/>
                  <a:pt x="91440" y="124576"/>
                </a:cubicBezTo>
                <a:cubicBezTo>
                  <a:pt x="98680" y="122967"/>
                  <a:pt x="106071" y="122138"/>
                  <a:pt x="113386" y="120919"/>
                </a:cubicBezTo>
                <a:cubicBezTo>
                  <a:pt x="149258" y="108960"/>
                  <a:pt x="127647" y="114243"/>
                  <a:pt x="179222" y="109946"/>
                </a:cubicBezTo>
                <a:cubicBezTo>
                  <a:pt x="188145" y="106971"/>
                  <a:pt x="194078" y="106063"/>
                  <a:pt x="201168" y="98973"/>
                </a:cubicBezTo>
                <a:cubicBezTo>
                  <a:pt x="204276" y="95865"/>
                  <a:pt x="205669" y="91377"/>
                  <a:pt x="208483" y="88000"/>
                </a:cubicBezTo>
                <a:cubicBezTo>
                  <a:pt x="211794" y="84026"/>
                  <a:pt x="215798" y="80685"/>
                  <a:pt x="219456" y="77027"/>
                </a:cubicBezTo>
                <a:cubicBezTo>
                  <a:pt x="220675" y="73370"/>
                  <a:pt x="222055" y="69762"/>
                  <a:pt x="223114" y="66055"/>
                </a:cubicBezTo>
                <a:cubicBezTo>
                  <a:pt x="224495" y="61221"/>
                  <a:pt x="222275" y="53672"/>
                  <a:pt x="226771" y="51424"/>
                </a:cubicBezTo>
                <a:cubicBezTo>
                  <a:pt x="232331" y="48644"/>
                  <a:pt x="238963" y="53863"/>
                  <a:pt x="245059" y="55082"/>
                </a:cubicBezTo>
                <a:lnTo>
                  <a:pt x="252374" y="77027"/>
                </a:lnTo>
                <a:cubicBezTo>
                  <a:pt x="253593" y="80685"/>
                  <a:pt x="255097" y="84260"/>
                  <a:pt x="256032" y="88000"/>
                </a:cubicBezTo>
                <a:cubicBezTo>
                  <a:pt x="257251" y="92877"/>
                  <a:pt x="258245" y="97816"/>
                  <a:pt x="259690" y="102631"/>
                </a:cubicBezTo>
                <a:cubicBezTo>
                  <a:pt x="261906" y="110016"/>
                  <a:pt x="260589" y="120299"/>
                  <a:pt x="267005" y="124576"/>
                </a:cubicBezTo>
                <a:lnTo>
                  <a:pt x="277978" y="131891"/>
                </a:lnTo>
                <a:cubicBezTo>
                  <a:pt x="285293" y="130672"/>
                  <a:pt x="292888" y="130579"/>
                  <a:pt x="299923" y="128234"/>
                </a:cubicBezTo>
                <a:cubicBezTo>
                  <a:pt x="314720" y="123302"/>
                  <a:pt x="308965" y="121124"/>
                  <a:pt x="314554" y="109946"/>
                </a:cubicBezTo>
                <a:cubicBezTo>
                  <a:pt x="316520" y="106014"/>
                  <a:pt x="319431" y="102631"/>
                  <a:pt x="321869" y="98973"/>
                </a:cubicBezTo>
                <a:cubicBezTo>
                  <a:pt x="339600" y="45776"/>
                  <a:pt x="321478" y="77312"/>
                  <a:pt x="427939" y="73370"/>
                </a:cubicBezTo>
                <a:cubicBezTo>
                  <a:pt x="470293" y="59253"/>
                  <a:pt x="436769" y="74062"/>
                  <a:pt x="457200" y="58739"/>
                </a:cubicBezTo>
                <a:cubicBezTo>
                  <a:pt x="464233" y="53464"/>
                  <a:pt x="479146" y="44109"/>
                  <a:pt x="479146" y="44109"/>
                </a:cubicBezTo>
                <a:cubicBezTo>
                  <a:pt x="481584" y="40451"/>
                  <a:pt x="484676" y="37153"/>
                  <a:pt x="486461" y="33136"/>
                </a:cubicBezTo>
                <a:cubicBezTo>
                  <a:pt x="489593" y="26090"/>
                  <a:pt x="486461" y="13630"/>
                  <a:pt x="493776" y="11191"/>
                </a:cubicBezTo>
                <a:lnTo>
                  <a:pt x="504749" y="7533"/>
                </a:lnTo>
                <a:cubicBezTo>
                  <a:pt x="514503" y="8752"/>
                  <a:pt x="524314" y="9575"/>
                  <a:pt x="534010" y="11191"/>
                </a:cubicBezTo>
                <a:cubicBezTo>
                  <a:pt x="538968" y="12017"/>
                  <a:pt x="543613" y="14848"/>
                  <a:pt x="548640" y="14848"/>
                </a:cubicBezTo>
                <a:cubicBezTo>
                  <a:pt x="559680" y="14848"/>
                  <a:pt x="570585" y="12410"/>
                  <a:pt x="581558" y="11191"/>
                </a:cubicBezTo>
                <a:cubicBezTo>
                  <a:pt x="615128" y="0"/>
                  <a:pt x="595831" y="3108"/>
                  <a:pt x="640080" y="7533"/>
                </a:cubicBezTo>
                <a:cubicBezTo>
                  <a:pt x="647395" y="9971"/>
                  <a:pt x="654545" y="12978"/>
                  <a:pt x="662026" y="14848"/>
                </a:cubicBezTo>
                <a:cubicBezTo>
                  <a:pt x="680396" y="19441"/>
                  <a:pt x="671887" y="16917"/>
                  <a:pt x="687629" y="22163"/>
                </a:cubicBezTo>
                <a:cubicBezTo>
                  <a:pt x="693710" y="28245"/>
                  <a:pt x="697610" y="33102"/>
                  <a:pt x="705917" y="36794"/>
                </a:cubicBezTo>
                <a:cubicBezTo>
                  <a:pt x="712963" y="39926"/>
                  <a:pt x="720547" y="41671"/>
                  <a:pt x="727862" y="44109"/>
                </a:cubicBezTo>
                <a:lnTo>
                  <a:pt x="738835" y="47767"/>
                </a:lnTo>
                <a:lnTo>
                  <a:pt x="771754" y="58739"/>
                </a:lnTo>
                <a:cubicBezTo>
                  <a:pt x="775411" y="59958"/>
                  <a:pt x="778986" y="61462"/>
                  <a:pt x="782726" y="62397"/>
                </a:cubicBezTo>
                <a:cubicBezTo>
                  <a:pt x="801097" y="66990"/>
                  <a:pt x="792588" y="64466"/>
                  <a:pt x="808330" y="69712"/>
                </a:cubicBezTo>
                <a:cubicBezTo>
                  <a:pt x="825099" y="94866"/>
                  <a:pt x="820180" y="83317"/>
                  <a:pt x="826618" y="102631"/>
                </a:cubicBezTo>
                <a:cubicBezTo>
                  <a:pt x="827837" y="129453"/>
                  <a:pt x="828134" y="156333"/>
                  <a:pt x="830275" y="183098"/>
                </a:cubicBezTo>
                <a:cubicBezTo>
                  <a:pt x="830582" y="186941"/>
                  <a:pt x="832874" y="190364"/>
                  <a:pt x="833933" y="194071"/>
                </a:cubicBezTo>
                <a:cubicBezTo>
                  <a:pt x="835314" y="198904"/>
                  <a:pt x="836371" y="203824"/>
                  <a:pt x="837590" y="208701"/>
                </a:cubicBezTo>
                <a:cubicBezTo>
                  <a:pt x="827319" y="209635"/>
                  <a:pt x="800455" y="208981"/>
                  <a:pt x="786384" y="216016"/>
                </a:cubicBezTo>
                <a:cubicBezTo>
                  <a:pt x="782452" y="217982"/>
                  <a:pt x="778844" y="220585"/>
                  <a:pt x="775411" y="223331"/>
                </a:cubicBezTo>
                <a:cubicBezTo>
                  <a:pt x="772718" y="225485"/>
                  <a:pt x="771180" y="229105"/>
                  <a:pt x="768096" y="230647"/>
                </a:cubicBezTo>
                <a:cubicBezTo>
                  <a:pt x="755721" y="236834"/>
                  <a:pt x="741240" y="238944"/>
                  <a:pt x="727862" y="241619"/>
                </a:cubicBezTo>
                <a:cubicBezTo>
                  <a:pt x="721057" y="248425"/>
                  <a:pt x="718804" y="251635"/>
                  <a:pt x="709574" y="256250"/>
                </a:cubicBezTo>
                <a:cubicBezTo>
                  <a:pt x="706126" y="257974"/>
                  <a:pt x="702259" y="258688"/>
                  <a:pt x="698602" y="259907"/>
                </a:cubicBezTo>
                <a:cubicBezTo>
                  <a:pt x="691606" y="280894"/>
                  <a:pt x="699954" y="261303"/>
                  <a:pt x="683971" y="281853"/>
                </a:cubicBezTo>
                <a:cubicBezTo>
                  <a:pt x="678573" y="288793"/>
                  <a:pt x="669341" y="303799"/>
                  <a:pt x="669341" y="303799"/>
                </a:cubicBezTo>
                <a:cubicBezTo>
                  <a:pt x="668122" y="330621"/>
                  <a:pt x="668882" y="357607"/>
                  <a:pt x="665683" y="384266"/>
                </a:cubicBezTo>
                <a:cubicBezTo>
                  <a:pt x="665159" y="388631"/>
                  <a:pt x="660334" y="391307"/>
                  <a:pt x="658368" y="395239"/>
                </a:cubicBezTo>
                <a:cubicBezTo>
                  <a:pt x="656644" y="398687"/>
                  <a:pt x="655929" y="402554"/>
                  <a:pt x="654710" y="406211"/>
                </a:cubicBezTo>
                <a:cubicBezTo>
                  <a:pt x="655929" y="412307"/>
                  <a:pt x="656860" y="418468"/>
                  <a:pt x="658368" y="424499"/>
                </a:cubicBezTo>
                <a:cubicBezTo>
                  <a:pt x="659303" y="428239"/>
                  <a:pt x="662026" y="431616"/>
                  <a:pt x="662026" y="435472"/>
                </a:cubicBezTo>
                <a:cubicBezTo>
                  <a:pt x="662026" y="440499"/>
                  <a:pt x="659749" y="445269"/>
                  <a:pt x="658368" y="450103"/>
                </a:cubicBezTo>
                <a:cubicBezTo>
                  <a:pt x="657309" y="453810"/>
                  <a:pt x="657023" y="457991"/>
                  <a:pt x="654710" y="461075"/>
                </a:cubicBezTo>
                <a:cubicBezTo>
                  <a:pt x="648994" y="468697"/>
                  <a:pt x="635600" y="481604"/>
                  <a:pt x="625450" y="486679"/>
                </a:cubicBezTo>
                <a:cubicBezTo>
                  <a:pt x="622002" y="488403"/>
                  <a:pt x="618135" y="489117"/>
                  <a:pt x="614477" y="490336"/>
                </a:cubicBezTo>
                <a:cubicBezTo>
                  <a:pt x="616915" y="495213"/>
                  <a:pt x="618301" y="500778"/>
                  <a:pt x="621792" y="504967"/>
                </a:cubicBezTo>
                <a:cubicBezTo>
                  <a:pt x="636427" y="522529"/>
                  <a:pt x="669551" y="509654"/>
                  <a:pt x="683971" y="508624"/>
                </a:cubicBezTo>
                <a:cubicBezTo>
                  <a:pt x="717975" y="511458"/>
                  <a:pt x="718720" y="509147"/>
                  <a:pt x="742493" y="515939"/>
                </a:cubicBezTo>
                <a:cubicBezTo>
                  <a:pt x="746200" y="516998"/>
                  <a:pt x="750018" y="517873"/>
                  <a:pt x="753466" y="519597"/>
                </a:cubicBezTo>
                <a:cubicBezTo>
                  <a:pt x="762692" y="524210"/>
                  <a:pt x="764951" y="527425"/>
                  <a:pt x="771754" y="534227"/>
                </a:cubicBezTo>
                <a:lnTo>
                  <a:pt x="779069" y="556173"/>
                </a:lnTo>
                <a:cubicBezTo>
                  <a:pt x="780288" y="559831"/>
                  <a:pt x="780000" y="564420"/>
                  <a:pt x="782726" y="567146"/>
                </a:cubicBezTo>
                <a:lnTo>
                  <a:pt x="790042" y="574461"/>
                </a:lnTo>
                <a:cubicBezTo>
                  <a:pt x="793904" y="586050"/>
                  <a:pt x="792911" y="586279"/>
                  <a:pt x="801014" y="596407"/>
                </a:cubicBezTo>
                <a:cubicBezTo>
                  <a:pt x="803168" y="599100"/>
                  <a:pt x="806261" y="600963"/>
                  <a:pt x="808330" y="603722"/>
                </a:cubicBezTo>
                <a:cubicBezTo>
                  <a:pt x="833152" y="636817"/>
                  <a:pt x="813496" y="616202"/>
                  <a:pt x="830275" y="632983"/>
                </a:cubicBezTo>
                <a:lnTo>
                  <a:pt x="837590" y="654928"/>
                </a:lnTo>
                <a:lnTo>
                  <a:pt x="841248" y="665901"/>
                </a:lnTo>
                <a:cubicBezTo>
                  <a:pt x="842467" y="682970"/>
                  <a:pt x="841752" y="700288"/>
                  <a:pt x="844906" y="717107"/>
                </a:cubicBezTo>
                <a:cubicBezTo>
                  <a:pt x="845542" y="720496"/>
                  <a:pt x="850067" y="721730"/>
                  <a:pt x="852221" y="724423"/>
                </a:cubicBezTo>
                <a:cubicBezTo>
                  <a:pt x="854967" y="727855"/>
                  <a:pt x="856790" y="731963"/>
                  <a:pt x="859536" y="735395"/>
                </a:cubicBezTo>
                <a:cubicBezTo>
                  <a:pt x="864073" y="741067"/>
                  <a:pt x="871484" y="746856"/>
                  <a:pt x="877824" y="750026"/>
                </a:cubicBezTo>
                <a:cubicBezTo>
                  <a:pt x="881272" y="751750"/>
                  <a:pt x="885139" y="752464"/>
                  <a:pt x="888797" y="753683"/>
                </a:cubicBezTo>
                <a:cubicBezTo>
                  <a:pt x="915538" y="771512"/>
                  <a:pt x="887365" y="749485"/>
                  <a:pt x="903427" y="771971"/>
                </a:cubicBezTo>
                <a:cubicBezTo>
                  <a:pt x="907436" y="777583"/>
                  <a:pt x="918058" y="786602"/>
                  <a:pt x="918058" y="786602"/>
                </a:cubicBezTo>
                <a:cubicBezTo>
                  <a:pt x="919277" y="790260"/>
                  <a:pt x="919402" y="794491"/>
                  <a:pt x="921715" y="797575"/>
                </a:cubicBezTo>
                <a:cubicBezTo>
                  <a:pt x="927435" y="805202"/>
                  <a:pt x="940823" y="818102"/>
                  <a:pt x="950976" y="823178"/>
                </a:cubicBezTo>
                <a:cubicBezTo>
                  <a:pt x="954424" y="824902"/>
                  <a:pt x="958291" y="825616"/>
                  <a:pt x="961949" y="826835"/>
                </a:cubicBezTo>
                <a:cubicBezTo>
                  <a:pt x="973699" y="838587"/>
                  <a:pt x="964634" y="832031"/>
                  <a:pt x="983894" y="837808"/>
                </a:cubicBezTo>
                <a:cubicBezTo>
                  <a:pt x="991280" y="840024"/>
                  <a:pt x="998525" y="842685"/>
                  <a:pt x="1005840" y="845123"/>
                </a:cubicBezTo>
                <a:cubicBezTo>
                  <a:pt x="1009498" y="846342"/>
                  <a:pt x="1013073" y="847846"/>
                  <a:pt x="1016813" y="848781"/>
                </a:cubicBezTo>
                <a:cubicBezTo>
                  <a:pt x="1021690" y="850000"/>
                  <a:pt x="1026428" y="852093"/>
                  <a:pt x="1031443" y="852439"/>
                </a:cubicBezTo>
                <a:cubicBezTo>
                  <a:pt x="1061875" y="854538"/>
                  <a:pt x="1092403" y="854877"/>
                  <a:pt x="1122883" y="856096"/>
                </a:cubicBezTo>
                <a:cubicBezTo>
                  <a:pt x="1126541" y="857315"/>
                  <a:pt x="1130845" y="857345"/>
                  <a:pt x="1133856" y="859754"/>
                </a:cubicBezTo>
                <a:cubicBezTo>
                  <a:pt x="1145304" y="868912"/>
                  <a:pt x="1142070" y="877515"/>
                  <a:pt x="1133856" y="889015"/>
                </a:cubicBezTo>
                <a:cubicBezTo>
                  <a:pt x="1131301" y="892592"/>
                  <a:pt x="1126541" y="893892"/>
                  <a:pt x="1122883" y="896330"/>
                </a:cubicBezTo>
                <a:cubicBezTo>
                  <a:pt x="1120445" y="899988"/>
                  <a:pt x="1117353" y="903286"/>
                  <a:pt x="1115568" y="907303"/>
                </a:cubicBezTo>
                <a:cubicBezTo>
                  <a:pt x="1112436" y="914349"/>
                  <a:pt x="1108253" y="929248"/>
                  <a:pt x="1108253" y="929248"/>
                </a:cubicBezTo>
                <a:cubicBezTo>
                  <a:pt x="1111957" y="940361"/>
                  <a:pt x="1113635" y="956301"/>
                  <a:pt x="1126541" y="962167"/>
                </a:cubicBezTo>
                <a:cubicBezTo>
                  <a:pt x="1135694" y="966327"/>
                  <a:pt x="1155802" y="969482"/>
                  <a:pt x="1155802" y="969482"/>
                </a:cubicBezTo>
                <a:cubicBezTo>
                  <a:pt x="1176884" y="983537"/>
                  <a:pt x="1156550" y="971371"/>
                  <a:pt x="1177747" y="980455"/>
                </a:cubicBezTo>
                <a:cubicBezTo>
                  <a:pt x="1197255" y="988815"/>
                  <a:pt x="1186195" y="986526"/>
                  <a:pt x="1203350" y="991427"/>
                </a:cubicBezTo>
                <a:cubicBezTo>
                  <a:pt x="1208184" y="992808"/>
                  <a:pt x="1213166" y="993640"/>
                  <a:pt x="1217981" y="995085"/>
                </a:cubicBezTo>
                <a:cubicBezTo>
                  <a:pt x="1225366" y="997301"/>
                  <a:pt x="1239926" y="1002400"/>
                  <a:pt x="1239926" y="1002400"/>
                </a:cubicBezTo>
                <a:cubicBezTo>
                  <a:pt x="1248590" y="1011063"/>
                  <a:pt x="1256785" y="1020213"/>
                  <a:pt x="1269187" y="1024346"/>
                </a:cubicBezTo>
                <a:lnTo>
                  <a:pt x="1280160" y="1028003"/>
                </a:lnTo>
                <a:lnTo>
                  <a:pt x="1302106" y="1042634"/>
                </a:lnTo>
                <a:cubicBezTo>
                  <a:pt x="1305763" y="1045072"/>
                  <a:pt x="1308908" y="1048559"/>
                  <a:pt x="1313078" y="1049949"/>
                </a:cubicBezTo>
                <a:lnTo>
                  <a:pt x="1324051" y="1053607"/>
                </a:lnTo>
                <a:cubicBezTo>
                  <a:pt x="1330640" y="1060196"/>
                  <a:pt x="1337088" y="1068077"/>
                  <a:pt x="1345997" y="1071895"/>
                </a:cubicBezTo>
                <a:cubicBezTo>
                  <a:pt x="1350617" y="1073875"/>
                  <a:pt x="1355750" y="1074333"/>
                  <a:pt x="1360627" y="1075552"/>
                </a:cubicBezTo>
                <a:cubicBezTo>
                  <a:pt x="1372219" y="1092940"/>
                  <a:pt x="1366553" y="1082356"/>
                  <a:pt x="1375258" y="1108471"/>
                </a:cubicBezTo>
                <a:cubicBezTo>
                  <a:pt x="1376477" y="1112128"/>
                  <a:pt x="1376189" y="1116717"/>
                  <a:pt x="1378915" y="1119443"/>
                </a:cubicBezTo>
                <a:lnTo>
                  <a:pt x="1393546" y="1134074"/>
                </a:lnTo>
                <a:cubicBezTo>
                  <a:pt x="1394765" y="1137732"/>
                  <a:pt x="1395479" y="1141599"/>
                  <a:pt x="1397203" y="1145047"/>
                </a:cubicBezTo>
                <a:cubicBezTo>
                  <a:pt x="1399169" y="1148979"/>
                  <a:pt x="1402733" y="1152002"/>
                  <a:pt x="1404518" y="1156019"/>
                </a:cubicBezTo>
                <a:cubicBezTo>
                  <a:pt x="1407650" y="1163065"/>
                  <a:pt x="1411834" y="1177965"/>
                  <a:pt x="1411834" y="1177965"/>
                </a:cubicBezTo>
                <a:cubicBezTo>
                  <a:pt x="1410615" y="1185280"/>
                  <a:pt x="1411493" y="1193278"/>
                  <a:pt x="1408176" y="1199911"/>
                </a:cubicBezTo>
                <a:cubicBezTo>
                  <a:pt x="1406210" y="1203843"/>
                  <a:pt x="1401589" y="1206934"/>
                  <a:pt x="1397203" y="1207226"/>
                </a:cubicBezTo>
                <a:cubicBezTo>
                  <a:pt x="1382554" y="1208202"/>
                  <a:pt x="1367942" y="1204787"/>
                  <a:pt x="1353312" y="1203568"/>
                </a:cubicBezTo>
                <a:cubicBezTo>
                  <a:pt x="1352093" y="1199910"/>
                  <a:pt x="1350589" y="1196335"/>
                  <a:pt x="1349654" y="1192595"/>
                </a:cubicBezTo>
                <a:cubicBezTo>
                  <a:pt x="1348529" y="1188093"/>
                  <a:pt x="1345924" y="1169311"/>
                  <a:pt x="1342339" y="1163335"/>
                </a:cubicBezTo>
                <a:cubicBezTo>
                  <a:pt x="1340565" y="1160378"/>
                  <a:pt x="1338108" y="1157561"/>
                  <a:pt x="1335024" y="1156019"/>
                </a:cubicBezTo>
                <a:cubicBezTo>
                  <a:pt x="1318959" y="1147986"/>
                  <a:pt x="1304993" y="1147549"/>
                  <a:pt x="1287475" y="1145047"/>
                </a:cubicBezTo>
                <a:cubicBezTo>
                  <a:pt x="1285037" y="1142608"/>
                  <a:pt x="1282314" y="1140424"/>
                  <a:pt x="1280160" y="1137731"/>
                </a:cubicBezTo>
                <a:cubicBezTo>
                  <a:pt x="1277414" y="1134299"/>
                  <a:pt x="1276153" y="1129654"/>
                  <a:pt x="1272845" y="1126759"/>
                </a:cubicBezTo>
                <a:cubicBezTo>
                  <a:pt x="1261074" y="1116459"/>
                  <a:pt x="1249640" y="1111498"/>
                  <a:pt x="1236269" y="1104813"/>
                </a:cubicBezTo>
                <a:cubicBezTo>
                  <a:pt x="1228954" y="1106032"/>
                  <a:pt x="1220762" y="1104792"/>
                  <a:pt x="1214323" y="1108471"/>
                </a:cubicBezTo>
                <a:cubicBezTo>
                  <a:pt x="1210976" y="1110384"/>
                  <a:pt x="1211422" y="1115663"/>
                  <a:pt x="1210666" y="1119443"/>
                </a:cubicBezTo>
                <a:cubicBezTo>
                  <a:pt x="1208975" y="1127897"/>
                  <a:pt x="1212181" y="1138150"/>
                  <a:pt x="1207008" y="1145047"/>
                </a:cubicBezTo>
                <a:cubicBezTo>
                  <a:pt x="1203278" y="1150020"/>
                  <a:pt x="1194751" y="1147196"/>
                  <a:pt x="1188720" y="1148704"/>
                </a:cubicBezTo>
                <a:cubicBezTo>
                  <a:pt x="1184980" y="1149639"/>
                  <a:pt x="1181405" y="1151143"/>
                  <a:pt x="1177747" y="1152362"/>
                </a:cubicBezTo>
                <a:cubicBezTo>
                  <a:pt x="1175309" y="1156020"/>
                  <a:pt x="1172398" y="1159403"/>
                  <a:pt x="1170432" y="1163335"/>
                </a:cubicBezTo>
                <a:cubicBezTo>
                  <a:pt x="1159036" y="1186126"/>
                  <a:pt x="1168986" y="1231753"/>
                  <a:pt x="1170432" y="1243802"/>
                </a:cubicBezTo>
                <a:cubicBezTo>
                  <a:pt x="1173277" y="1267508"/>
                  <a:pt x="1173277" y="1264257"/>
                  <a:pt x="1188720" y="1269405"/>
                </a:cubicBezTo>
                <a:cubicBezTo>
                  <a:pt x="1192378" y="1273063"/>
                  <a:pt x="1195610" y="1277202"/>
                  <a:pt x="1199693" y="1280378"/>
                </a:cubicBezTo>
                <a:cubicBezTo>
                  <a:pt x="1206633" y="1285775"/>
                  <a:pt x="1221638" y="1295008"/>
                  <a:pt x="1221638" y="1295008"/>
                </a:cubicBezTo>
                <a:cubicBezTo>
                  <a:pt x="1222857" y="1298666"/>
                  <a:pt x="1224237" y="1302274"/>
                  <a:pt x="1225296" y="1305981"/>
                </a:cubicBezTo>
                <a:cubicBezTo>
                  <a:pt x="1228742" y="1318040"/>
                  <a:pt x="1230096" y="1326320"/>
                  <a:pt x="1232611" y="1338899"/>
                </a:cubicBezTo>
                <a:cubicBezTo>
                  <a:pt x="1228971" y="1353462"/>
                  <a:pt x="1232190" y="1354530"/>
                  <a:pt x="1217981" y="1360845"/>
                </a:cubicBezTo>
                <a:cubicBezTo>
                  <a:pt x="1210935" y="1363977"/>
                  <a:pt x="1196035" y="1368160"/>
                  <a:pt x="1196035" y="1368160"/>
                </a:cubicBezTo>
                <a:cubicBezTo>
                  <a:pt x="1189143" y="1375052"/>
                  <a:pt x="1181821" y="1380939"/>
                  <a:pt x="1177747" y="1390106"/>
                </a:cubicBezTo>
                <a:cubicBezTo>
                  <a:pt x="1165873" y="1416822"/>
                  <a:pt x="1179417" y="1409056"/>
                  <a:pt x="1159459" y="1415709"/>
                </a:cubicBezTo>
                <a:cubicBezTo>
                  <a:pt x="1158240" y="1419367"/>
                  <a:pt x="1156558" y="1422901"/>
                  <a:pt x="1155802" y="1426682"/>
                </a:cubicBezTo>
                <a:cubicBezTo>
                  <a:pt x="1154111" y="1435136"/>
                  <a:pt x="1154621" y="1444028"/>
                  <a:pt x="1152144" y="1452285"/>
                </a:cubicBezTo>
                <a:cubicBezTo>
                  <a:pt x="1150881" y="1456496"/>
                  <a:pt x="1146795" y="1459326"/>
                  <a:pt x="1144829" y="1463258"/>
                </a:cubicBezTo>
                <a:cubicBezTo>
                  <a:pt x="1128040" y="1496836"/>
                  <a:pt x="1159319" y="1447762"/>
                  <a:pt x="1130198" y="1485203"/>
                </a:cubicBezTo>
                <a:cubicBezTo>
                  <a:pt x="1109655" y="1511615"/>
                  <a:pt x="1125564" y="1503817"/>
                  <a:pt x="1104595" y="1510807"/>
                </a:cubicBezTo>
                <a:cubicBezTo>
                  <a:pt x="1100937" y="1514464"/>
                  <a:pt x="1097926" y="1518910"/>
                  <a:pt x="1093622" y="1521779"/>
                </a:cubicBezTo>
                <a:cubicBezTo>
                  <a:pt x="1079787" y="1531003"/>
                  <a:pt x="1044357" y="1522246"/>
                  <a:pt x="1038758" y="1521779"/>
                </a:cubicBezTo>
                <a:cubicBezTo>
                  <a:pt x="1037539" y="1518122"/>
                  <a:pt x="1035101" y="1514662"/>
                  <a:pt x="1035101" y="1510807"/>
                </a:cubicBezTo>
                <a:cubicBezTo>
                  <a:pt x="1035101" y="1506630"/>
                  <a:pt x="1039529" y="1487320"/>
                  <a:pt x="1042416" y="1481546"/>
                </a:cubicBezTo>
                <a:cubicBezTo>
                  <a:pt x="1044382" y="1477614"/>
                  <a:pt x="1047946" y="1474590"/>
                  <a:pt x="1049731" y="1470573"/>
                </a:cubicBezTo>
                <a:cubicBezTo>
                  <a:pt x="1052863" y="1463527"/>
                  <a:pt x="1055534" y="1456188"/>
                  <a:pt x="1057046" y="1448627"/>
                </a:cubicBezTo>
                <a:cubicBezTo>
                  <a:pt x="1058265" y="1442531"/>
                  <a:pt x="1057409" y="1435611"/>
                  <a:pt x="1060704" y="1430339"/>
                </a:cubicBezTo>
                <a:cubicBezTo>
                  <a:pt x="1069673" y="1415988"/>
                  <a:pt x="1087060" y="1417692"/>
                  <a:pt x="1100938" y="1415709"/>
                </a:cubicBezTo>
                <a:cubicBezTo>
                  <a:pt x="1103376" y="1412051"/>
                  <a:pt x="1108084" y="1409129"/>
                  <a:pt x="1108253" y="1404736"/>
                </a:cubicBezTo>
                <a:cubicBezTo>
                  <a:pt x="1109332" y="1376689"/>
                  <a:pt x="1107483" y="1348530"/>
                  <a:pt x="1104595" y="1320611"/>
                </a:cubicBezTo>
                <a:cubicBezTo>
                  <a:pt x="1103026" y="1305440"/>
                  <a:pt x="1096236" y="1300765"/>
                  <a:pt x="1093622" y="1287693"/>
                </a:cubicBezTo>
                <a:cubicBezTo>
                  <a:pt x="1092403" y="1281597"/>
                  <a:pt x="1090987" y="1275537"/>
                  <a:pt x="1089965" y="1269405"/>
                </a:cubicBezTo>
                <a:cubicBezTo>
                  <a:pt x="1088548" y="1260901"/>
                  <a:pt x="1089402" y="1251848"/>
                  <a:pt x="1086307" y="1243802"/>
                </a:cubicBezTo>
                <a:cubicBezTo>
                  <a:pt x="1078949" y="1224672"/>
                  <a:pt x="1074137" y="1223496"/>
                  <a:pt x="1060704" y="1214541"/>
                </a:cubicBezTo>
                <a:cubicBezTo>
                  <a:pt x="1058711" y="1208563"/>
                  <a:pt x="1055701" y="1196326"/>
                  <a:pt x="1049731" y="1192595"/>
                </a:cubicBezTo>
                <a:cubicBezTo>
                  <a:pt x="1030945" y="1180854"/>
                  <a:pt x="986638" y="1182537"/>
                  <a:pt x="972922" y="1181623"/>
                </a:cubicBezTo>
                <a:cubicBezTo>
                  <a:pt x="960154" y="1168855"/>
                  <a:pt x="966696" y="1177578"/>
                  <a:pt x="958291" y="1152362"/>
                </a:cubicBezTo>
                <a:lnTo>
                  <a:pt x="954634" y="1141389"/>
                </a:lnTo>
                <a:lnTo>
                  <a:pt x="950976" y="1130416"/>
                </a:lnTo>
                <a:cubicBezTo>
                  <a:pt x="947825" y="1102064"/>
                  <a:pt x="956109" y="1100065"/>
                  <a:pt x="936346" y="1090183"/>
                </a:cubicBezTo>
                <a:cubicBezTo>
                  <a:pt x="932898" y="1088459"/>
                  <a:pt x="928822" y="1088249"/>
                  <a:pt x="925373" y="1086525"/>
                </a:cubicBezTo>
                <a:cubicBezTo>
                  <a:pt x="921441" y="1084559"/>
                  <a:pt x="918417" y="1080995"/>
                  <a:pt x="914400" y="1079210"/>
                </a:cubicBezTo>
                <a:cubicBezTo>
                  <a:pt x="907354" y="1076078"/>
                  <a:pt x="892454" y="1071895"/>
                  <a:pt x="892454" y="1071895"/>
                </a:cubicBezTo>
                <a:cubicBezTo>
                  <a:pt x="888797" y="1069456"/>
                  <a:pt x="884914" y="1067325"/>
                  <a:pt x="881482" y="1064579"/>
                </a:cubicBezTo>
                <a:cubicBezTo>
                  <a:pt x="878789" y="1062425"/>
                  <a:pt x="877123" y="1059038"/>
                  <a:pt x="874166" y="1057264"/>
                </a:cubicBezTo>
                <a:cubicBezTo>
                  <a:pt x="870860" y="1055281"/>
                  <a:pt x="866851" y="1054826"/>
                  <a:pt x="863194" y="1053607"/>
                </a:cubicBezTo>
                <a:cubicBezTo>
                  <a:pt x="860755" y="1049949"/>
                  <a:pt x="857844" y="1046566"/>
                  <a:pt x="855878" y="1042634"/>
                </a:cubicBezTo>
                <a:cubicBezTo>
                  <a:pt x="854154" y="1039186"/>
                  <a:pt x="854947" y="1034387"/>
                  <a:pt x="852221" y="1031661"/>
                </a:cubicBezTo>
                <a:cubicBezTo>
                  <a:pt x="849495" y="1028935"/>
                  <a:pt x="844697" y="1029727"/>
                  <a:pt x="841248" y="1028003"/>
                </a:cubicBezTo>
                <a:cubicBezTo>
                  <a:pt x="837316" y="1026037"/>
                  <a:pt x="833933" y="1023126"/>
                  <a:pt x="830275" y="1020688"/>
                </a:cubicBezTo>
                <a:cubicBezTo>
                  <a:pt x="830243" y="1020559"/>
                  <a:pt x="824710" y="996835"/>
                  <a:pt x="822960" y="995085"/>
                </a:cubicBezTo>
                <a:cubicBezTo>
                  <a:pt x="820234" y="992359"/>
                  <a:pt x="815531" y="992946"/>
                  <a:pt x="811987" y="991427"/>
                </a:cubicBezTo>
                <a:cubicBezTo>
                  <a:pt x="774316" y="975282"/>
                  <a:pt x="825361" y="993447"/>
                  <a:pt x="775411" y="976797"/>
                </a:cubicBezTo>
                <a:cubicBezTo>
                  <a:pt x="771753" y="975578"/>
                  <a:pt x="768219" y="973895"/>
                  <a:pt x="764438" y="973139"/>
                </a:cubicBezTo>
                <a:cubicBezTo>
                  <a:pt x="758342" y="971920"/>
                  <a:pt x="752148" y="971118"/>
                  <a:pt x="746150" y="969482"/>
                </a:cubicBezTo>
                <a:cubicBezTo>
                  <a:pt x="746137" y="969479"/>
                  <a:pt x="718724" y="960340"/>
                  <a:pt x="713232" y="958509"/>
                </a:cubicBezTo>
                <a:lnTo>
                  <a:pt x="702259" y="954851"/>
                </a:lnTo>
                <a:cubicBezTo>
                  <a:pt x="698601" y="951194"/>
                  <a:pt x="694155" y="948183"/>
                  <a:pt x="691286" y="943879"/>
                </a:cubicBezTo>
                <a:cubicBezTo>
                  <a:pt x="689147" y="940671"/>
                  <a:pt x="689996" y="935949"/>
                  <a:pt x="687629" y="932906"/>
                </a:cubicBezTo>
                <a:cubicBezTo>
                  <a:pt x="681278" y="924740"/>
                  <a:pt x="665683" y="910960"/>
                  <a:pt x="665683" y="910960"/>
                </a:cubicBezTo>
                <a:cubicBezTo>
                  <a:pt x="664464" y="907302"/>
                  <a:pt x="664752" y="902713"/>
                  <a:pt x="662026" y="899987"/>
                </a:cubicBezTo>
                <a:cubicBezTo>
                  <a:pt x="659300" y="897261"/>
                  <a:pt x="654501" y="898054"/>
                  <a:pt x="651053" y="896330"/>
                </a:cubicBezTo>
                <a:cubicBezTo>
                  <a:pt x="647121" y="894364"/>
                  <a:pt x="643513" y="891761"/>
                  <a:pt x="640080" y="889015"/>
                </a:cubicBezTo>
                <a:cubicBezTo>
                  <a:pt x="637387" y="886861"/>
                  <a:pt x="635524" y="883768"/>
                  <a:pt x="632765" y="881699"/>
                </a:cubicBezTo>
                <a:cubicBezTo>
                  <a:pt x="625732" y="876424"/>
                  <a:pt x="617036" y="873286"/>
                  <a:pt x="610819" y="867069"/>
                </a:cubicBezTo>
                <a:cubicBezTo>
                  <a:pt x="596738" y="852988"/>
                  <a:pt x="604150" y="858965"/>
                  <a:pt x="588874" y="848781"/>
                </a:cubicBezTo>
                <a:cubicBezTo>
                  <a:pt x="586435" y="845123"/>
                  <a:pt x="584372" y="841185"/>
                  <a:pt x="581558" y="837808"/>
                </a:cubicBezTo>
                <a:cubicBezTo>
                  <a:pt x="558085" y="809640"/>
                  <a:pt x="581438" y="843110"/>
                  <a:pt x="563270" y="815863"/>
                </a:cubicBezTo>
                <a:cubicBezTo>
                  <a:pt x="556833" y="796549"/>
                  <a:pt x="561752" y="808099"/>
                  <a:pt x="544982" y="782944"/>
                </a:cubicBezTo>
                <a:cubicBezTo>
                  <a:pt x="542544" y="779286"/>
                  <a:pt x="541325" y="774409"/>
                  <a:pt x="537667" y="771971"/>
                </a:cubicBezTo>
                <a:lnTo>
                  <a:pt x="526694" y="764656"/>
                </a:lnTo>
                <a:cubicBezTo>
                  <a:pt x="524256" y="760998"/>
                  <a:pt x="522274" y="756991"/>
                  <a:pt x="519379" y="753683"/>
                </a:cubicBezTo>
                <a:cubicBezTo>
                  <a:pt x="513702" y="747195"/>
                  <a:pt x="501091" y="735395"/>
                  <a:pt x="501091" y="735395"/>
                </a:cubicBezTo>
                <a:cubicBezTo>
                  <a:pt x="491577" y="706852"/>
                  <a:pt x="507161" y="748153"/>
                  <a:pt x="479146" y="706135"/>
                </a:cubicBezTo>
                <a:cubicBezTo>
                  <a:pt x="469392" y="691505"/>
                  <a:pt x="475488" y="697601"/>
                  <a:pt x="460858" y="687847"/>
                </a:cubicBezTo>
                <a:cubicBezTo>
                  <a:pt x="458419" y="678093"/>
                  <a:pt x="456721" y="668124"/>
                  <a:pt x="453542" y="658586"/>
                </a:cubicBezTo>
                <a:cubicBezTo>
                  <a:pt x="452323" y="654928"/>
                  <a:pt x="451609" y="651061"/>
                  <a:pt x="449885" y="647613"/>
                </a:cubicBezTo>
                <a:cubicBezTo>
                  <a:pt x="447919" y="643681"/>
                  <a:pt x="445008" y="640298"/>
                  <a:pt x="442570" y="636640"/>
                </a:cubicBezTo>
                <a:cubicBezTo>
                  <a:pt x="437042" y="614532"/>
                  <a:pt x="440500" y="626774"/>
                  <a:pt x="431597" y="600064"/>
                </a:cubicBezTo>
                <a:cubicBezTo>
                  <a:pt x="430378" y="596406"/>
                  <a:pt x="428695" y="592872"/>
                  <a:pt x="427939" y="589091"/>
                </a:cubicBezTo>
                <a:cubicBezTo>
                  <a:pt x="426720" y="582995"/>
                  <a:pt x="425918" y="576801"/>
                  <a:pt x="424282" y="570803"/>
                </a:cubicBezTo>
                <a:cubicBezTo>
                  <a:pt x="422253" y="563364"/>
                  <a:pt x="419404" y="556173"/>
                  <a:pt x="416966" y="548858"/>
                </a:cubicBezTo>
                <a:lnTo>
                  <a:pt x="413309" y="537885"/>
                </a:lnTo>
                <a:lnTo>
                  <a:pt x="405994" y="515939"/>
                </a:lnTo>
                <a:cubicBezTo>
                  <a:pt x="404775" y="512282"/>
                  <a:pt x="405062" y="507693"/>
                  <a:pt x="402336" y="504967"/>
                </a:cubicBezTo>
                <a:lnTo>
                  <a:pt x="395021" y="497651"/>
                </a:lnTo>
                <a:cubicBezTo>
                  <a:pt x="388669" y="478598"/>
                  <a:pt x="395523" y="493707"/>
                  <a:pt x="384048" y="479363"/>
                </a:cubicBezTo>
                <a:cubicBezTo>
                  <a:pt x="381302" y="475931"/>
                  <a:pt x="380165" y="471137"/>
                  <a:pt x="376733" y="468391"/>
                </a:cubicBezTo>
                <a:cubicBezTo>
                  <a:pt x="373722" y="465982"/>
                  <a:pt x="369418" y="465952"/>
                  <a:pt x="365760" y="464733"/>
                </a:cubicBezTo>
                <a:cubicBezTo>
                  <a:pt x="337852" y="436825"/>
                  <a:pt x="370284" y="465986"/>
                  <a:pt x="343814" y="450103"/>
                </a:cubicBezTo>
                <a:cubicBezTo>
                  <a:pt x="340857" y="448329"/>
                  <a:pt x="339583" y="444329"/>
                  <a:pt x="336499" y="442787"/>
                </a:cubicBezTo>
                <a:cubicBezTo>
                  <a:pt x="329602" y="439338"/>
                  <a:pt x="321869" y="437910"/>
                  <a:pt x="314554" y="435472"/>
                </a:cubicBezTo>
                <a:lnTo>
                  <a:pt x="292608" y="428157"/>
                </a:lnTo>
                <a:cubicBezTo>
                  <a:pt x="288950" y="426938"/>
                  <a:pt x="284843" y="426638"/>
                  <a:pt x="281635" y="424499"/>
                </a:cubicBezTo>
                <a:cubicBezTo>
                  <a:pt x="274320" y="419622"/>
                  <a:pt x="268030" y="412649"/>
                  <a:pt x="259690" y="409869"/>
                </a:cubicBezTo>
                <a:lnTo>
                  <a:pt x="237744" y="402554"/>
                </a:lnTo>
                <a:cubicBezTo>
                  <a:pt x="217912" y="405387"/>
                  <a:pt x="214152" y="402166"/>
                  <a:pt x="201168" y="413527"/>
                </a:cubicBezTo>
                <a:cubicBezTo>
                  <a:pt x="194680" y="419204"/>
                  <a:pt x="187662" y="424642"/>
                  <a:pt x="182880" y="431815"/>
                </a:cubicBezTo>
                <a:cubicBezTo>
                  <a:pt x="179559" y="436796"/>
                  <a:pt x="174039" y="446630"/>
                  <a:pt x="168250" y="450103"/>
                </a:cubicBezTo>
                <a:cubicBezTo>
                  <a:pt x="164944" y="452087"/>
                  <a:pt x="160935" y="452541"/>
                  <a:pt x="157277" y="453760"/>
                </a:cubicBezTo>
                <a:cubicBezTo>
                  <a:pt x="153619" y="456198"/>
                  <a:pt x="149737" y="458329"/>
                  <a:pt x="146304" y="461075"/>
                </a:cubicBezTo>
                <a:cubicBezTo>
                  <a:pt x="136801" y="468677"/>
                  <a:pt x="140685" y="470076"/>
                  <a:pt x="128016" y="475706"/>
                </a:cubicBezTo>
                <a:cubicBezTo>
                  <a:pt x="120970" y="478838"/>
                  <a:pt x="113385" y="480582"/>
                  <a:pt x="106070" y="483021"/>
                </a:cubicBezTo>
                <a:lnTo>
                  <a:pt x="95098" y="486679"/>
                </a:lnTo>
                <a:lnTo>
                  <a:pt x="102413" y="479363"/>
                </a:lnTo>
                <a:close/>
              </a:path>
            </a:pathLst>
          </a:custGeom>
          <a:solidFill>
            <a:srgbClr val="9966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1" name="Title 1"/>
          <p:cNvSpPr txBox="1">
            <a:spLocks/>
          </p:cNvSpPr>
          <p:nvPr/>
        </p:nvSpPr>
        <p:spPr>
          <a:xfrm rot="3083993">
            <a:off x="3597544" y="5065983"/>
            <a:ext cx="1312333" cy="22701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dirty="0" err="1">
                <a:latin typeface="Ramabhadra" pitchFamily="2" charset="0"/>
                <a:ea typeface="+mj-ea"/>
                <a:cs typeface="Ramabhadra" pitchFamily="2" charset="0"/>
              </a:rPr>
              <a:t>ఇటలీ</a:t>
            </a:r>
            <a:endParaRPr lang="en-IN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82" name="Freeform 181"/>
          <p:cNvSpPr/>
          <p:nvPr/>
        </p:nvSpPr>
        <p:spPr>
          <a:xfrm>
            <a:off x="3092450" y="5700188"/>
            <a:ext cx="158750" cy="82549"/>
          </a:xfrm>
          <a:custGeom>
            <a:avLst/>
            <a:gdLst>
              <a:gd name="connsiteX0" fmla="*/ 122421 w 158548"/>
              <a:gd name="connsiteY0" fmla="*/ 0 h 84125"/>
              <a:gd name="connsiteX1" fmla="*/ 5378 w 158548"/>
              <a:gd name="connsiteY1" fmla="*/ 3657 h 84125"/>
              <a:gd name="connsiteX2" fmla="*/ 12693 w 158548"/>
              <a:gd name="connsiteY2" fmla="*/ 18288 h 84125"/>
              <a:gd name="connsiteX3" fmla="*/ 23666 w 158548"/>
              <a:gd name="connsiteY3" fmla="*/ 25603 h 84125"/>
              <a:gd name="connsiteX4" fmla="*/ 34639 w 158548"/>
              <a:gd name="connsiteY4" fmla="*/ 36576 h 84125"/>
              <a:gd name="connsiteX5" fmla="*/ 45612 w 158548"/>
              <a:gd name="connsiteY5" fmla="*/ 43891 h 84125"/>
              <a:gd name="connsiteX6" fmla="*/ 67557 w 158548"/>
              <a:gd name="connsiteY6" fmla="*/ 65837 h 84125"/>
              <a:gd name="connsiteX7" fmla="*/ 71215 w 158548"/>
              <a:gd name="connsiteY7" fmla="*/ 76809 h 84125"/>
              <a:gd name="connsiteX8" fmla="*/ 93161 w 158548"/>
              <a:gd name="connsiteY8" fmla="*/ 84125 h 84125"/>
              <a:gd name="connsiteX9" fmla="*/ 129737 w 158548"/>
              <a:gd name="connsiteY9" fmla="*/ 80467 h 84125"/>
              <a:gd name="connsiteX10" fmla="*/ 144367 w 158548"/>
              <a:gd name="connsiteY10" fmla="*/ 62179 h 84125"/>
              <a:gd name="connsiteX11" fmla="*/ 155340 w 158548"/>
              <a:gd name="connsiteY11" fmla="*/ 40233 h 84125"/>
              <a:gd name="connsiteX12" fmla="*/ 140709 w 158548"/>
              <a:gd name="connsiteY12" fmla="*/ 21945 h 84125"/>
              <a:gd name="connsiteX13" fmla="*/ 118764 w 158548"/>
              <a:gd name="connsiteY13" fmla="*/ 14630 h 84125"/>
              <a:gd name="connsiteX14" fmla="*/ 122421 w 158548"/>
              <a:gd name="connsiteY14" fmla="*/ 0 h 84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58548" h="84125">
                <a:moveTo>
                  <a:pt x="122421" y="0"/>
                </a:moveTo>
                <a:lnTo>
                  <a:pt x="5378" y="3657"/>
                </a:lnTo>
                <a:cubicBezTo>
                  <a:pt x="0" y="4553"/>
                  <a:pt x="9202" y="14099"/>
                  <a:pt x="12693" y="18288"/>
                </a:cubicBezTo>
                <a:cubicBezTo>
                  <a:pt x="15507" y="21665"/>
                  <a:pt x="20289" y="22789"/>
                  <a:pt x="23666" y="25603"/>
                </a:cubicBezTo>
                <a:cubicBezTo>
                  <a:pt x="27640" y="28914"/>
                  <a:pt x="30665" y="33265"/>
                  <a:pt x="34639" y="36576"/>
                </a:cubicBezTo>
                <a:cubicBezTo>
                  <a:pt x="38016" y="39390"/>
                  <a:pt x="42326" y="40970"/>
                  <a:pt x="45612" y="43891"/>
                </a:cubicBezTo>
                <a:cubicBezTo>
                  <a:pt x="53344" y="50764"/>
                  <a:pt x="67557" y="65837"/>
                  <a:pt x="67557" y="65837"/>
                </a:cubicBezTo>
                <a:cubicBezTo>
                  <a:pt x="68776" y="69494"/>
                  <a:pt x="68078" y="74568"/>
                  <a:pt x="71215" y="76809"/>
                </a:cubicBezTo>
                <a:cubicBezTo>
                  <a:pt x="77490" y="81291"/>
                  <a:pt x="93161" y="84125"/>
                  <a:pt x="93161" y="84125"/>
                </a:cubicBezTo>
                <a:cubicBezTo>
                  <a:pt x="105353" y="82906"/>
                  <a:pt x="117798" y="83222"/>
                  <a:pt x="129737" y="80467"/>
                </a:cubicBezTo>
                <a:cubicBezTo>
                  <a:pt x="143675" y="77250"/>
                  <a:pt x="139531" y="71851"/>
                  <a:pt x="144367" y="62179"/>
                </a:cubicBezTo>
                <a:cubicBezTo>
                  <a:pt x="158548" y="33817"/>
                  <a:pt x="146145" y="67814"/>
                  <a:pt x="155340" y="40233"/>
                </a:cubicBezTo>
                <a:cubicBezTo>
                  <a:pt x="152755" y="36356"/>
                  <a:pt x="145921" y="24551"/>
                  <a:pt x="140709" y="21945"/>
                </a:cubicBezTo>
                <a:cubicBezTo>
                  <a:pt x="133812" y="18497"/>
                  <a:pt x="125661" y="18078"/>
                  <a:pt x="118764" y="14630"/>
                </a:cubicBezTo>
                <a:lnTo>
                  <a:pt x="122421" y="0"/>
                </a:ln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3" name="Freeform 182"/>
          <p:cNvSpPr/>
          <p:nvPr/>
        </p:nvSpPr>
        <p:spPr>
          <a:xfrm>
            <a:off x="3289300" y="5647267"/>
            <a:ext cx="95250" cy="63500"/>
          </a:xfrm>
          <a:custGeom>
            <a:avLst/>
            <a:gdLst>
              <a:gd name="connsiteX0" fmla="*/ 17827 w 96437"/>
              <a:gd name="connsiteY0" fmla="*/ 3657 h 62179"/>
              <a:gd name="connsiteX1" fmla="*/ 58061 w 96437"/>
              <a:gd name="connsiteY1" fmla="*/ 7315 h 62179"/>
              <a:gd name="connsiteX2" fmla="*/ 69034 w 96437"/>
              <a:gd name="connsiteY2" fmla="*/ 10972 h 62179"/>
              <a:gd name="connsiteX3" fmla="*/ 90979 w 96437"/>
              <a:gd name="connsiteY3" fmla="*/ 25603 h 62179"/>
              <a:gd name="connsiteX4" fmla="*/ 87322 w 96437"/>
              <a:gd name="connsiteY4" fmla="*/ 58521 h 62179"/>
              <a:gd name="connsiteX5" fmla="*/ 76349 w 96437"/>
              <a:gd name="connsiteY5" fmla="*/ 62179 h 62179"/>
              <a:gd name="connsiteX6" fmla="*/ 21485 w 96437"/>
              <a:gd name="connsiteY6" fmla="*/ 58521 h 62179"/>
              <a:gd name="connsiteX7" fmla="*/ 6855 w 96437"/>
              <a:gd name="connsiteY7" fmla="*/ 54863 h 62179"/>
              <a:gd name="connsiteX8" fmla="*/ 6855 w 96437"/>
              <a:gd name="connsiteY8" fmla="*/ 29260 h 62179"/>
              <a:gd name="connsiteX9" fmla="*/ 17827 w 96437"/>
              <a:gd name="connsiteY9" fmla="*/ 3657 h 62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6437" h="62179">
                <a:moveTo>
                  <a:pt x="17827" y="3657"/>
                </a:moveTo>
                <a:cubicBezTo>
                  <a:pt x="26361" y="0"/>
                  <a:pt x="44730" y="5411"/>
                  <a:pt x="58061" y="7315"/>
                </a:cubicBezTo>
                <a:cubicBezTo>
                  <a:pt x="61878" y="7860"/>
                  <a:pt x="65826" y="8833"/>
                  <a:pt x="69034" y="10972"/>
                </a:cubicBezTo>
                <a:cubicBezTo>
                  <a:pt x="96437" y="29240"/>
                  <a:pt x="64886" y="16904"/>
                  <a:pt x="90979" y="25603"/>
                </a:cubicBezTo>
                <a:cubicBezTo>
                  <a:pt x="89760" y="36576"/>
                  <a:pt x="91422" y="48270"/>
                  <a:pt x="87322" y="58521"/>
                </a:cubicBezTo>
                <a:cubicBezTo>
                  <a:pt x="85890" y="62101"/>
                  <a:pt x="80205" y="62179"/>
                  <a:pt x="76349" y="62179"/>
                </a:cubicBezTo>
                <a:cubicBezTo>
                  <a:pt x="58020" y="62179"/>
                  <a:pt x="39773" y="59740"/>
                  <a:pt x="21485" y="58521"/>
                </a:cubicBezTo>
                <a:cubicBezTo>
                  <a:pt x="16608" y="57302"/>
                  <a:pt x="10780" y="58003"/>
                  <a:pt x="6855" y="54863"/>
                </a:cubicBezTo>
                <a:cubicBezTo>
                  <a:pt x="0" y="49379"/>
                  <a:pt x="4357" y="34256"/>
                  <a:pt x="6855" y="29260"/>
                </a:cubicBezTo>
                <a:cubicBezTo>
                  <a:pt x="7400" y="28170"/>
                  <a:pt x="9293" y="7314"/>
                  <a:pt x="17827" y="3657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4" name="Freeform 183"/>
          <p:cNvSpPr/>
          <p:nvPr/>
        </p:nvSpPr>
        <p:spPr>
          <a:xfrm>
            <a:off x="3927480" y="5238757"/>
            <a:ext cx="136525" cy="298449"/>
          </a:xfrm>
          <a:custGeom>
            <a:avLst/>
            <a:gdLst>
              <a:gd name="connsiteX0" fmla="*/ 129479 w 137915"/>
              <a:gd name="connsiteY0" fmla="*/ 20117 h 298094"/>
              <a:gd name="connsiteX1" fmla="*/ 125822 w 137915"/>
              <a:gd name="connsiteY1" fmla="*/ 45720 h 298094"/>
              <a:gd name="connsiteX2" fmla="*/ 103876 w 137915"/>
              <a:gd name="connsiteY2" fmla="*/ 56693 h 298094"/>
              <a:gd name="connsiteX3" fmla="*/ 92903 w 137915"/>
              <a:gd name="connsiteY3" fmla="*/ 67666 h 298094"/>
              <a:gd name="connsiteX4" fmla="*/ 81931 w 137915"/>
              <a:gd name="connsiteY4" fmla="*/ 71323 h 298094"/>
              <a:gd name="connsiteX5" fmla="*/ 67300 w 137915"/>
              <a:gd name="connsiteY5" fmla="*/ 85954 h 298094"/>
              <a:gd name="connsiteX6" fmla="*/ 52670 w 137915"/>
              <a:gd name="connsiteY6" fmla="*/ 89611 h 298094"/>
              <a:gd name="connsiteX7" fmla="*/ 30724 w 137915"/>
              <a:gd name="connsiteY7" fmla="*/ 96926 h 298094"/>
              <a:gd name="connsiteX8" fmla="*/ 12436 w 137915"/>
              <a:gd name="connsiteY8" fmla="*/ 129845 h 298094"/>
              <a:gd name="connsiteX9" fmla="*/ 8779 w 137915"/>
              <a:gd name="connsiteY9" fmla="*/ 184709 h 298094"/>
              <a:gd name="connsiteX10" fmla="*/ 8779 w 137915"/>
              <a:gd name="connsiteY10" fmla="*/ 206654 h 298094"/>
              <a:gd name="connsiteX11" fmla="*/ 19751 w 137915"/>
              <a:gd name="connsiteY11" fmla="*/ 210312 h 298094"/>
              <a:gd name="connsiteX12" fmla="*/ 27067 w 137915"/>
              <a:gd name="connsiteY12" fmla="*/ 232258 h 298094"/>
              <a:gd name="connsiteX13" fmla="*/ 41697 w 137915"/>
              <a:gd name="connsiteY13" fmla="*/ 294437 h 298094"/>
              <a:gd name="connsiteX14" fmla="*/ 52670 w 137915"/>
              <a:gd name="connsiteY14" fmla="*/ 298094 h 298094"/>
              <a:gd name="connsiteX15" fmla="*/ 92903 w 137915"/>
              <a:gd name="connsiteY15" fmla="*/ 287122 h 298094"/>
              <a:gd name="connsiteX16" fmla="*/ 100219 w 137915"/>
              <a:gd name="connsiteY16" fmla="*/ 265176 h 298094"/>
              <a:gd name="connsiteX17" fmla="*/ 103876 w 137915"/>
              <a:gd name="connsiteY17" fmla="*/ 254203 h 298094"/>
              <a:gd name="connsiteX18" fmla="*/ 114849 w 137915"/>
              <a:gd name="connsiteY18" fmla="*/ 246888 h 298094"/>
              <a:gd name="connsiteX19" fmla="*/ 118507 w 137915"/>
              <a:gd name="connsiteY19" fmla="*/ 213970 h 298094"/>
              <a:gd name="connsiteX20" fmla="*/ 122164 w 137915"/>
              <a:gd name="connsiteY20" fmla="*/ 184709 h 298094"/>
              <a:gd name="connsiteX21" fmla="*/ 136795 w 137915"/>
              <a:gd name="connsiteY21" fmla="*/ 166421 h 298094"/>
              <a:gd name="connsiteX22" fmla="*/ 129479 w 137915"/>
              <a:gd name="connsiteY22" fmla="*/ 20117 h 298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37915" h="298094">
                <a:moveTo>
                  <a:pt x="129479" y="20117"/>
                </a:moveTo>
                <a:cubicBezTo>
                  <a:pt x="127650" y="0"/>
                  <a:pt x="129323" y="37842"/>
                  <a:pt x="125822" y="45720"/>
                </a:cubicBezTo>
                <a:cubicBezTo>
                  <a:pt x="123356" y="51268"/>
                  <a:pt x="108744" y="55070"/>
                  <a:pt x="103876" y="56693"/>
                </a:cubicBezTo>
                <a:cubicBezTo>
                  <a:pt x="100218" y="60351"/>
                  <a:pt x="97207" y="64797"/>
                  <a:pt x="92903" y="67666"/>
                </a:cubicBezTo>
                <a:cubicBezTo>
                  <a:pt x="89695" y="69804"/>
                  <a:pt x="85068" y="69082"/>
                  <a:pt x="81931" y="71323"/>
                </a:cubicBezTo>
                <a:cubicBezTo>
                  <a:pt x="76319" y="75332"/>
                  <a:pt x="73991" y="84281"/>
                  <a:pt x="67300" y="85954"/>
                </a:cubicBezTo>
                <a:cubicBezTo>
                  <a:pt x="62423" y="87173"/>
                  <a:pt x="57485" y="88167"/>
                  <a:pt x="52670" y="89611"/>
                </a:cubicBezTo>
                <a:cubicBezTo>
                  <a:pt x="45284" y="91827"/>
                  <a:pt x="30724" y="96926"/>
                  <a:pt x="30724" y="96926"/>
                </a:cubicBezTo>
                <a:cubicBezTo>
                  <a:pt x="13955" y="122080"/>
                  <a:pt x="18874" y="110531"/>
                  <a:pt x="12436" y="129845"/>
                </a:cubicBezTo>
                <a:cubicBezTo>
                  <a:pt x="11217" y="148133"/>
                  <a:pt x="10803" y="166493"/>
                  <a:pt x="8779" y="184709"/>
                </a:cubicBezTo>
                <a:cubicBezTo>
                  <a:pt x="7804" y="193488"/>
                  <a:pt x="0" y="197875"/>
                  <a:pt x="8779" y="206654"/>
                </a:cubicBezTo>
                <a:cubicBezTo>
                  <a:pt x="11505" y="209380"/>
                  <a:pt x="16094" y="209093"/>
                  <a:pt x="19751" y="210312"/>
                </a:cubicBezTo>
                <a:cubicBezTo>
                  <a:pt x="22190" y="217627"/>
                  <a:pt x="26518" y="224566"/>
                  <a:pt x="27067" y="232258"/>
                </a:cubicBezTo>
                <a:cubicBezTo>
                  <a:pt x="29184" y="261906"/>
                  <a:pt x="19201" y="279440"/>
                  <a:pt x="41697" y="294437"/>
                </a:cubicBezTo>
                <a:cubicBezTo>
                  <a:pt x="44905" y="296576"/>
                  <a:pt x="49012" y="296875"/>
                  <a:pt x="52670" y="298094"/>
                </a:cubicBezTo>
                <a:cubicBezTo>
                  <a:pt x="85671" y="289844"/>
                  <a:pt x="72393" y="293958"/>
                  <a:pt x="92903" y="287122"/>
                </a:cubicBezTo>
                <a:lnTo>
                  <a:pt x="100219" y="265176"/>
                </a:lnTo>
                <a:cubicBezTo>
                  <a:pt x="101438" y="261518"/>
                  <a:pt x="100668" y="256342"/>
                  <a:pt x="103876" y="254203"/>
                </a:cubicBezTo>
                <a:lnTo>
                  <a:pt x="114849" y="246888"/>
                </a:lnTo>
                <a:cubicBezTo>
                  <a:pt x="123383" y="221285"/>
                  <a:pt x="124602" y="232257"/>
                  <a:pt x="118507" y="213970"/>
                </a:cubicBezTo>
                <a:cubicBezTo>
                  <a:pt x="119726" y="204216"/>
                  <a:pt x="118513" y="193836"/>
                  <a:pt x="122164" y="184709"/>
                </a:cubicBezTo>
                <a:cubicBezTo>
                  <a:pt x="131426" y="161552"/>
                  <a:pt x="136061" y="193583"/>
                  <a:pt x="136795" y="166421"/>
                </a:cubicBezTo>
                <a:cubicBezTo>
                  <a:pt x="137915" y="124983"/>
                  <a:pt x="131308" y="40234"/>
                  <a:pt x="129479" y="20117"/>
                </a:cubicBezTo>
                <a:close/>
              </a:path>
            </a:pathLst>
          </a:custGeom>
          <a:solidFill>
            <a:srgbClr val="FF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5" name="Title 1"/>
          <p:cNvSpPr txBox="1">
            <a:spLocks/>
          </p:cNvSpPr>
          <p:nvPr/>
        </p:nvSpPr>
        <p:spPr>
          <a:xfrm>
            <a:off x="3429006" y="5285319"/>
            <a:ext cx="790575" cy="230716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200" dirty="0" err="1">
                <a:latin typeface="Ramabhadra" pitchFamily="2" charset="0"/>
                <a:ea typeface="+mj-ea"/>
                <a:cs typeface="Ramabhadra" pitchFamily="2" charset="0"/>
              </a:rPr>
              <a:t>కోర్సికా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86" name="Freeform 185"/>
          <p:cNvSpPr/>
          <p:nvPr/>
        </p:nvSpPr>
        <p:spPr>
          <a:xfrm>
            <a:off x="3870331" y="5547790"/>
            <a:ext cx="212725" cy="410633"/>
          </a:xfrm>
          <a:custGeom>
            <a:avLst/>
            <a:gdLst>
              <a:gd name="connsiteX0" fmla="*/ 142646 w 213151"/>
              <a:gd name="connsiteY0" fmla="*/ 0 h 409651"/>
              <a:gd name="connsiteX1" fmla="*/ 124358 w 213151"/>
              <a:gd name="connsiteY1" fmla="*/ 18288 h 409651"/>
              <a:gd name="connsiteX2" fmla="*/ 113385 w 213151"/>
              <a:gd name="connsiteY2" fmla="*/ 36576 h 409651"/>
              <a:gd name="connsiteX3" fmla="*/ 91440 w 213151"/>
              <a:gd name="connsiteY3" fmla="*/ 43891 h 409651"/>
              <a:gd name="connsiteX4" fmla="*/ 69494 w 213151"/>
              <a:gd name="connsiteY4" fmla="*/ 58522 h 409651"/>
              <a:gd name="connsiteX5" fmla="*/ 58521 w 213151"/>
              <a:gd name="connsiteY5" fmla="*/ 69495 h 409651"/>
              <a:gd name="connsiteX6" fmla="*/ 32918 w 213151"/>
              <a:gd name="connsiteY6" fmla="*/ 73152 h 409651"/>
              <a:gd name="connsiteX7" fmla="*/ 3657 w 213151"/>
              <a:gd name="connsiteY7" fmla="*/ 95098 h 409651"/>
              <a:gd name="connsiteX8" fmla="*/ 0 w 213151"/>
              <a:gd name="connsiteY8" fmla="*/ 106071 h 409651"/>
              <a:gd name="connsiteX9" fmla="*/ 10973 w 213151"/>
              <a:gd name="connsiteY9" fmla="*/ 128016 h 409651"/>
              <a:gd name="connsiteX10" fmla="*/ 10973 w 213151"/>
              <a:gd name="connsiteY10" fmla="*/ 245059 h 409651"/>
              <a:gd name="connsiteX11" fmla="*/ 7315 w 213151"/>
              <a:gd name="connsiteY11" fmla="*/ 318211 h 409651"/>
              <a:gd name="connsiteX12" fmla="*/ 10973 w 213151"/>
              <a:gd name="connsiteY12" fmla="*/ 369418 h 409651"/>
              <a:gd name="connsiteX13" fmla="*/ 14630 w 213151"/>
              <a:gd name="connsiteY13" fmla="*/ 380391 h 409651"/>
              <a:gd name="connsiteX14" fmla="*/ 18288 w 213151"/>
              <a:gd name="connsiteY14" fmla="*/ 398679 h 409651"/>
              <a:gd name="connsiteX15" fmla="*/ 40233 w 213151"/>
              <a:gd name="connsiteY15" fmla="*/ 409651 h 409651"/>
              <a:gd name="connsiteX16" fmla="*/ 76809 w 213151"/>
              <a:gd name="connsiteY16" fmla="*/ 402336 h 409651"/>
              <a:gd name="connsiteX17" fmla="*/ 84125 w 213151"/>
              <a:gd name="connsiteY17" fmla="*/ 395021 h 409651"/>
              <a:gd name="connsiteX18" fmla="*/ 95097 w 213151"/>
              <a:gd name="connsiteY18" fmla="*/ 387706 h 409651"/>
              <a:gd name="connsiteX19" fmla="*/ 109728 w 213151"/>
              <a:gd name="connsiteY19" fmla="*/ 373075 h 409651"/>
              <a:gd name="connsiteX20" fmla="*/ 131673 w 213151"/>
              <a:gd name="connsiteY20" fmla="*/ 376733 h 409651"/>
              <a:gd name="connsiteX21" fmla="*/ 142646 w 213151"/>
              <a:gd name="connsiteY21" fmla="*/ 380391 h 409651"/>
              <a:gd name="connsiteX22" fmla="*/ 164592 w 213151"/>
              <a:gd name="connsiteY22" fmla="*/ 373075 h 409651"/>
              <a:gd name="connsiteX23" fmla="*/ 175565 w 213151"/>
              <a:gd name="connsiteY23" fmla="*/ 336499 h 409651"/>
              <a:gd name="connsiteX24" fmla="*/ 182880 w 213151"/>
              <a:gd name="connsiteY24" fmla="*/ 314554 h 409651"/>
              <a:gd name="connsiteX25" fmla="*/ 186537 w 213151"/>
              <a:gd name="connsiteY25" fmla="*/ 303581 h 409651"/>
              <a:gd name="connsiteX26" fmla="*/ 182880 w 213151"/>
              <a:gd name="connsiteY26" fmla="*/ 212141 h 409651"/>
              <a:gd name="connsiteX27" fmla="*/ 204825 w 213151"/>
              <a:gd name="connsiteY27" fmla="*/ 179223 h 409651"/>
              <a:gd name="connsiteX28" fmla="*/ 212141 w 213151"/>
              <a:gd name="connsiteY28" fmla="*/ 157277 h 409651"/>
              <a:gd name="connsiteX29" fmla="*/ 208483 w 213151"/>
              <a:gd name="connsiteY29" fmla="*/ 54864 h 409651"/>
              <a:gd name="connsiteX30" fmla="*/ 197510 w 213151"/>
              <a:gd name="connsiteY30" fmla="*/ 51207 h 409651"/>
              <a:gd name="connsiteX31" fmla="*/ 179222 w 213151"/>
              <a:gd name="connsiteY31" fmla="*/ 40234 h 409651"/>
              <a:gd name="connsiteX32" fmla="*/ 171907 w 213151"/>
              <a:gd name="connsiteY32" fmla="*/ 29261 h 409651"/>
              <a:gd name="connsiteX33" fmla="*/ 149961 w 213151"/>
              <a:gd name="connsiteY33" fmla="*/ 18288 h 409651"/>
              <a:gd name="connsiteX34" fmla="*/ 142646 w 213151"/>
              <a:gd name="connsiteY34" fmla="*/ 0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213151" h="409651">
                <a:moveTo>
                  <a:pt x="142646" y="0"/>
                </a:moveTo>
                <a:cubicBezTo>
                  <a:pt x="138379" y="0"/>
                  <a:pt x="130454" y="6096"/>
                  <a:pt x="124358" y="18288"/>
                </a:cubicBezTo>
                <a:cubicBezTo>
                  <a:pt x="120186" y="26633"/>
                  <a:pt x="122913" y="31812"/>
                  <a:pt x="113385" y="36576"/>
                </a:cubicBezTo>
                <a:cubicBezTo>
                  <a:pt x="106488" y="40024"/>
                  <a:pt x="91440" y="43891"/>
                  <a:pt x="91440" y="43891"/>
                </a:cubicBezTo>
                <a:cubicBezTo>
                  <a:pt x="84125" y="48768"/>
                  <a:pt x="75711" y="52305"/>
                  <a:pt x="69494" y="58522"/>
                </a:cubicBezTo>
                <a:cubicBezTo>
                  <a:pt x="65836" y="62180"/>
                  <a:pt x="63324" y="67574"/>
                  <a:pt x="58521" y="69495"/>
                </a:cubicBezTo>
                <a:cubicBezTo>
                  <a:pt x="50517" y="72697"/>
                  <a:pt x="41452" y="71933"/>
                  <a:pt x="32918" y="73152"/>
                </a:cubicBezTo>
                <a:cubicBezTo>
                  <a:pt x="8104" y="89696"/>
                  <a:pt x="17190" y="81567"/>
                  <a:pt x="3657" y="95098"/>
                </a:cubicBezTo>
                <a:cubicBezTo>
                  <a:pt x="2438" y="98756"/>
                  <a:pt x="0" y="102216"/>
                  <a:pt x="0" y="106071"/>
                </a:cubicBezTo>
                <a:cubicBezTo>
                  <a:pt x="0" y="119554"/>
                  <a:pt x="3185" y="120229"/>
                  <a:pt x="10973" y="128016"/>
                </a:cubicBezTo>
                <a:cubicBezTo>
                  <a:pt x="25748" y="172349"/>
                  <a:pt x="15384" y="136998"/>
                  <a:pt x="10973" y="245059"/>
                </a:cubicBezTo>
                <a:cubicBezTo>
                  <a:pt x="9977" y="269453"/>
                  <a:pt x="8534" y="293827"/>
                  <a:pt x="7315" y="318211"/>
                </a:cubicBezTo>
                <a:cubicBezTo>
                  <a:pt x="8534" y="335280"/>
                  <a:pt x="8974" y="352423"/>
                  <a:pt x="10973" y="369418"/>
                </a:cubicBezTo>
                <a:cubicBezTo>
                  <a:pt x="11423" y="373247"/>
                  <a:pt x="13695" y="376651"/>
                  <a:pt x="14630" y="380391"/>
                </a:cubicBezTo>
                <a:cubicBezTo>
                  <a:pt x="16138" y="386422"/>
                  <a:pt x="15204" y="393281"/>
                  <a:pt x="18288" y="398679"/>
                </a:cubicBezTo>
                <a:cubicBezTo>
                  <a:pt x="21625" y="404518"/>
                  <a:pt x="34601" y="407774"/>
                  <a:pt x="40233" y="409651"/>
                </a:cubicBezTo>
                <a:cubicBezTo>
                  <a:pt x="44679" y="409016"/>
                  <a:pt x="68826" y="407126"/>
                  <a:pt x="76809" y="402336"/>
                </a:cubicBezTo>
                <a:cubicBezTo>
                  <a:pt x="79766" y="400562"/>
                  <a:pt x="81432" y="397175"/>
                  <a:pt x="84125" y="395021"/>
                </a:cubicBezTo>
                <a:cubicBezTo>
                  <a:pt x="87557" y="392275"/>
                  <a:pt x="91760" y="390567"/>
                  <a:pt x="95097" y="387706"/>
                </a:cubicBezTo>
                <a:cubicBezTo>
                  <a:pt x="100334" y="383217"/>
                  <a:pt x="109728" y="373075"/>
                  <a:pt x="109728" y="373075"/>
                </a:cubicBezTo>
                <a:cubicBezTo>
                  <a:pt x="117043" y="374294"/>
                  <a:pt x="124434" y="375124"/>
                  <a:pt x="131673" y="376733"/>
                </a:cubicBezTo>
                <a:cubicBezTo>
                  <a:pt x="135437" y="377569"/>
                  <a:pt x="138814" y="380817"/>
                  <a:pt x="142646" y="380391"/>
                </a:cubicBezTo>
                <a:cubicBezTo>
                  <a:pt x="150310" y="379539"/>
                  <a:pt x="164592" y="373075"/>
                  <a:pt x="164592" y="373075"/>
                </a:cubicBezTo>
                <a:cubicBezTo>
                  <a:pt x="178743" y="351850"/>
                  <a:pt x="167258" y="372495"/>
                  <a:pt x="175565" y="336499"/>
                </a:cubicBezTo>
                <a:cubicBezTo>
                  <a:pt x="177299" y="328986"/>
                  <a:pt x="180442" y="321869"/>
                  <a:pt x="182880" y="314554"/>
                </a:cubicBezTo>
                <a:lnTo>
                  <a:pt x="186537" y="303581"/>
                </a:lnTo>
                <a:cubicBezTo>
                  <a:pt x="177152" y="266041"/>
                  <a:pt x="172507" y="259857"/>
                  <a:pt x="182880" y="212141"/>
                </a:cubicBezTo>
                <a:cubicBezTo>
                  <a:pt x="189739" y="180588"/>
                  <a:pt x="197737" y="200485"/>
                  <a:pt x="204825" y="179223"/>
                </a:cubicBezTo>
                <a:lnTo>
                  <a:pt x="212141" y="157277"/>
                </a:lnTo>
                <a:cubicBezTo>
                  <a:pt x="210922" y="123139"/>
                  <a:pt x="213151" y="88703"/>
                  <a:pt x="208483" y="54864"/>
                </a:cubicBezTo>
                <a:cubicBezTo>
                  <a:pt x="207956" y="51045"/>
                  <a:pt x="200816" y="53191"/>
                  <a:pt x="197510" y="51207"/>
                </a:cubicBezTo>
                <a:cubicBezTo>
                  <a:pt x="172407" y="36145"/>
                  <a:pt x="210306" y="50593"/>
                  <a:pt x="179222" y="40234"/>
                </a:cubicBezTo>
                <a:cubicBezTo>
                  <a:pt x="176784" y="36576"/>
                  <a:pt x="175015" y="32369"/>
                  <a:pt x="171907" y="29261"/>
                </a:cubicBezTo>
                <a:cubicBezTo>
                  <a:pt x="166852" y="24206"/>
                  <a:pt x="157100" y="19478"/>
                  <a:pt x="149961" y="18288"/>
                </a:cubicBezTo>
                <a:cubicBezTo>
                  <a:pt x="146353" y="17687"/>
                  <a:pt x="146913" y="0"/>
                  <a:pt x="142646" y="0"/>
                </a:cubicBezTo>
                <a:close/>
              </a:path>
            </a:pathLst>
          </a:cu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7" name="Title 1"/>
          <p:cNvSpPr txBox="1">
            <a:spLocks/>
          </p:cNvSpPr>
          <p:nvPr/>
        </p:nvSpPr>
        <p:spPr>
          <a:xfrm>
            <a:off x="3562351" y="5947838"/>
            <a:ext cx="865188" cy="21801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00" dirty="0" err="1">
                <a:latin typeface="Ramabhadra" pitchFamily="2" charset="0"/>
                <a:ea typeface="+mj-ea"/>
                <a:cs typeface="Ramabhadra" pitchFamily="2" charset="0"/>
              </a:rPr>
              <a:t>సార్డీనియా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88" name="Freeform 187"/>
          <p:cNvSpPr/>
          <p:nvPr/>
        </p:nvSpPr>
        <p:spPr>
          <a:xfrm>
            <a:off x="4370394" y="6089655"/>
            <a:ext cx="414337" cy="260349"/>
          </a:xfrm>
          <a:custGeom>
            <a:avLst/>
            <a:gdLst>
              <a:gd name="connsiteX0" fmla="*/ 410251 w 413909"/>
              <a:gd name="connsiteY0" fmla="*/ 7315 h 260200"/>
              <a:gd name="connsiteX1" fmla="*/ 399278 w 413909"/>
              <a:gd name="connsiteY1" fmla="*/ 10973 h 260200"/>
              <a:gd name="connsiteX2" fmla="*/ 337099 w 413909"/>
              <a:gd name="connsiteY2" fmla="*/ 18288 h 260200"/>
              <a:gd name="connsiteX3" fmla="*/ 285893 w 413909"/>
              <a:gd name="connsiteY3" fmla="*/ 18288 h 260200"/>
              <a:gd name="connsiteX4" fmla="*/ 271262 w 413909"/>
              <a:gd name="connsiteY4" fmla="*/ 36576 h 260200"/>
              <a:gd name="connsiteX5" fmla="*/ 212741 w 413909"/>
              <a:gd name="connsiteY5" fmla="*/ 40234 h 260200"/>
              <a:gd name="connsiteX6" fmla="*/ 183480 w 413909"/>
              <a:gd name="connsiteY6" fmla="*/ 54864 h 260200"/>
              <a:gd name="connsiteX7" fmla="*/ 146904 w 413909"/>
              <a:gd name="connsiteY7" fmla="*/ 43891 h 260200"/>
              <a:gd name="connsiteX8" fmla="*/ 124958 w 413909"/>
              <a:gd name="connsiteY8" fmla="*/ 10973 h 260200"/>
              <a:gd name="connsiteX9" fmla="*/ 117643 w 413909"/>
              <a:gd name="connsiteY9" fmla="*/ 0 h 260200"/>
              <a:gd name="connsiteX10" fmla="*/ 77410 w 413909"/>
              <a:gd name="connsiteY10" fmla="*/ 7315 h 260200"/>
              <a:gd name="connsiteX11" fmla="*/ 66437 w 413909"/>
              <a:gd name="connsiteY11" fmla="*/ 14630 h 260200"/>
              <a:gd name="connsiteX12" fmla="*/ 44491 w 413909"/>
              <a:gd name="connsiteY12" fmla="*/ 21946 h 260200"/>
              <a:gd name="connsiteX13" fmla="*/ 7915 w 413909"/>
              <a:gd name="connsiteY13" fmla="*/ 25603 h 260200"/>
              <a:gd name="connsiteX14" fmla="*/ 600 w 413909"/>
              <a:gd name="connsiteY14" fmla="*/ 47549 h 260200"/>
              <a:gd name="connsiteX15" fmla="*/ 4258 w 413909"/>
              <a:gd name="connsiteY15" fmla="*/ 87782 h 260200"/>
              <a:gd name="connsiteX16" fmla="*/ 15230 w 413909"/>
              <a:gd name="connsiteY16" fmla="*/ 91440 h 260200"/>
              <a:gd name="connsiteX17" fmla="*/ 22546 w 413909"/>
              <a:gd name="connsiteY17" fmla="*/ 98755 h 260200"/>
              <a:gd name="connsiteX18" fmla="*/ 44491 w 413909"/>
              <a:gd name="connsiteY18" fmla="*/ 106070 h 260200"/>
              <a:gd name="connsiteX19" fmla="*/ 59122 w 413909"/>
              <a:gd name="connsiteY19" fmla="*/ 109728 h 260200"/>
              <a:gd name="connsiteX20" fmla="*/ 70094 w 413909"/>
              <a:gd name="connsiteY20" fmla="*/ 113386 h 260200"/>
              <a:gd name="connsiteX21" fmla="*/ 95698 w 413909"/>
              <a:gd name="connsiteY21" fmla="*/ 117043 h 260200"/>
              <a:gd name="connsiteX22" fmla="*/ 113986 w 413909"/>
              <a:gd name="connsiteY22" fmla="*/ 131674 h 260200"/>
              <a:gd name="connsiteX23" fmla="*/ 128616 w 413909"/>
              <a:gd name="connsiteY23" fmla="*/ 149962 h 260200"/>
              <a:gd name="connsiteX24" fmla="*/ 139589 w 413909"/>
              <a:gd name="connsiteY24" fmla="*/ 157277 h 260200"/>
              <a:gd name="connsiteX25" fmla="*/ 165192 w 413909"/>
              <a:gd name="connsiteY25" fmla="*/ 164592 h 260200"/>
              <a:gd name="connsiteX26" fmla="*/ 176165 w 413909"/>
              <a:gd name="connsiteY26" fmla="*/ 175565 h 260200"/>
              <a:gd name="connsiteX27" fmla="*/ 187138 w 413909"/>
              <a:gd name="connsiteY27" fmla="*/ 193853 h 260200"/>
              <a:gd name="connsiteX28" fmla="*/ 198110 w 413909"/>
              <a:gd name="connsiteY28" fmla="*/ 197510 h 260200"/>
              <a:gd name="connsiteX29" fmla="*/ 227371 w 413909"/>
              <a:gd name="connsiteY29" fmla="*/ 204826 h 260200"/>
              <a:gd name="connsiteX30" fmla="*/ 260290 w 413909"/>
              <a:gd name="connsiteY30" fmla="*/ 226771 h 260200"/>
              <a:gd name="connsiteX31" fmla="*/ 271262 w 413909"/>
              <a:gd name="connsiteY31" fmla="*/ 234086 h 260200"/>
              <a:gd name="connsiteX32" fmla="*/ 293208 w 413909"/>
              <a:gd name="connsiteY32" fmla="*/ 241402 h 260200"/>
              <a:gd name="connsiteX33" fmla="*/ 315154 w 413909"/>
              <a:gd name="connsiteY33" fmla="*/ 248717 h 260200"/>
              <a:gd name="connsiteX34" fmla="*/ 326126 w 413909"/>
              <a:gd name="connsiteY34" fmla="*/ 252374 h 260200"/>
              <a:gd name="connsiteX35" fmla="*/ 333442 w 413909"/>
              <a:gd name="connsiteY35" fmla="*/ 259690 h 260200"/>
              <a:gd name="connsiteX36" fmla="*/ 359045 w 413909"/>
              <a:gd name="connsiteY36" fmla="*/ 252374 h 260200"/>
              <a:gd name="connsiteX37" fmla="*/ 370018 w 413909"/>
              <a:gd name="connsiteY37" fmla="*/ 241402 h 260200"/>
              <a:gd name="connsiteX38" fmla="*/ 388306 w 413909"/>
              <a:gd name="connsiteY38" fmla="*/ 226771 h 260200"/>
              <a:gd name="connsiteX39" fmla="*/ 395621 w 413909"/>
              <a:gd name="connsiteY39" fmla="*/ 215798 h 260200"/>
              <a:gd name="connsiteX40" fmla="*/ 388306 w 413909"/>
              <a:gd name="connsiteY40" fmla="*/ 164592 h 260200"/>
              <a:gd name="connsiteX41" fmla="*/ 380990 w 413909"/>
              <a:gd name="connsiteY41" fmla="*/ 157277 h 260200"/>
              <a:gd name="connsiteX42" fmla="*/ 373675 w 413909"/>
              <a:gd name="connsiteY42" fmla="*/ 146304 h 260200"/>
              <a:gd name="connsiteX43" fmla="*/ 377333 w 413909"/>
              <a:gd name="connsiteY43" fmla="*/ 117043 h 260200"/>
              <a:gd name="connsiteX44" fmla="*/ 395621 w 413909"/>
              <a:gd name="connsiteY44" fmla="*/ 87782 h 260200"/>
              <a:gd name="connsiteX45" fmla="*/ 406594 w 413909"/>
              <a:gd name="connsiteY45" fmla="*/ 80467 h 260200"/>
              <a:gd name="connsiteX46" fmla="*/ 413909 w 413909"/>
              <a:gd name="connsiteY46" fmla="*/ 54864 h 260200"/>
              <a:gd name="connsiteX47" fmla="*/ 410251 w 413909"/>
              <a:gd name="connsiteY47" fmla="*/ 7315 h 26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13909" h="260200">
                <a:moveTo>
                  <a:pt x="410251" y="7315"/>
                </a:moveTo>
                <a:cubicBezTo>
                  <a:pt x="407813" y="0"/>
                  <a:pt x="403042" y="10137"/>
                  <a:pt x="399278" y="10973"/>
                </a:cubicBezTo>
                <a:cubicBezTo>
                  <a:pt x="378960" y="15488"/>
                  <a:pt x="357641" y="16420"/>
                  <a:pt x="337099" y="18288"/>
                </a:cubicBezTo>
                <a:cubicBezTo>
                  <a:pt x="320491" y="15915"/>
                  <a:pt x="302501" y="10906"/>
                  <a:pt x="285893" y="18288"/>
                </a:cubicBezTo>
                <a:cubicBezTo>
                  <a:pt x="281456" y="20260"/>
                  <a:pt x="277928" y="35465"/>
                  <a:pt x="271262" y="36576"/>
                </a:cubicBezTo>
                <a:cubicBezTo>
                  <a:pt x="251983" y="39789"/>
                  <a:pt x="232248" y="39015"/>
                  <a:pt x="212741" y="40234"/>
                </a:cubicBezTo>
                <a:cubicBezTo>
                  <a:pt x="209298" y="42300"/>
                  <a:pt x="191353" y="54864"/>
                  <a:pt x="183480" y="54864"/>
                </a:cubicBezTo>
                <a:cubicBezTo>
                  <a:pt x="171119" y="54864"/>
                  <a:pt x="157906" y="48292"/>
                  <a:pt x="146904" y="43891"/>
                </a:cubicBezTo>
                <a:lnTo>
                  <a:pt x="124958" y="10973"/>
                </a:lnTo>
                <a:lnTo>
                  <a:pt x="117643" y="0"/>
                </a:lnTo>
                <a:cubicBezTo>
                  <a:pt x="107561" y="1260"/>
                  <a:pt x="88685" y="1678"/>
                  <a:pt x="77410" y="7315"/>
                </a:cubicBezTo>
                <a:cubicBezTo>
                  <a:pt x="73478" y="9281"/>
                  <a:pt x="70454" y="12845"/>
                  <a:pt x="66437" y="14630"/>
                </a:cubicBezTo>
                <a:cubicBezTo>
                  <a:pt x="59391" y="17762"/>
                  <a:pt x="44491" y="21946"/>
                  <a:pt x="44491" y="21946"/>
                </a:cubicBezTo>
                <a:cubicBezTo>
                  <a:pt x="32368" y="19521"/>
                  <a:pt x="18665" y="13317"/>
                  <a:pt x="7915" y="25603"/>
                </a:cubicBezTo>
                <a:cubicBezTo>
                  <a:pt x="2837" y="31406"/>
                  <a:pt x="600" y="47549"/>
                  <a:pt x="600" y="47549"/>
                </a:cubicBezTo>
                <a:cubicBezTo>
                  <a:pt x="1819" y="60960"/>
                  <a:pt x="0" y="75007"/>
                  <a:pt x="4258" y="87782"/>
                </a:cubicBezTo>
                <a:cubicBezTo>
                  <a:pt x="5477" y="91439"/>
                  <a:pt x="11924" y="89456"/>
                  <a:pt x="15230" y="91440"/>
                </a:cubicBezTo>
                <a:cubicBezTo>
                  <a:pt x="18187" y="93214"/>
                  <a:pt x="19461" y="97213"/>
                  <a:pt x="22546" y="98755"/>
                </a:cubicBezTo>
                <a:cubicBezTo>
                  <a:pt x="29443" y="102203"/>
                  <a:pt x="37011" y="104200"/>
                  <a:pt x="44491" y="106070"/>
                </a:cubicBezTo>
                <a:cubicBezTo>
                  <a:pt x="49368" y="107289"/>
                  <a:pt x="54288" y="108347"/>
                  <a:pt x="59122" y="109728"/>
                </a:cubicBezTo>
                <a:cubicBezTo>
                  <a:pt x="62829" y="110787"/>
                  <a:pt x="66314" y="112630"/>
                  <a:pt x="70094" y="113386"/>
                </a:cubicBezTo>
                <a:cubicBezTo>
                  <a:pt x="78548" y="115077"/>
                  <a:pt x="87163" y="115824"/>
                  <a:pt x="95698" y="117043"/>
                </a:cubicBezTo>
                <a:cubicBezTo>
                  <a:pt x="103846" y="122475"/>
                  <a:pt x="108029" y="124228"/>
                  <a:pt x="113986" y="131674"/>
                </a:cubicBezTo>
                <a:cubicBezTo>
                  <a:pt x="122432" y="142232"/>
                  <a:pt x="118806" y="142114"/>
                  <a:pt x="128616" y="149962"/>
                </a:cubicBezTo>
                <a:cubicBezTo>
                  <a:pt x="132049" y="152708"/>
                  <a:pt x="135657" y="155311"/>
                  <a:pt x="139589" y="157277"/>
                </a:cubicBezTo>
                <a:cubicBezTo>
                  <a:pt x="144832" y="159898"/>
                  <a:pt x="160510" y="163421"/>
                  <a:pt x="165192" y="164592"/>
                </a:cubicBezTo>
                <a:cubicBezTo>
                  <a:pt x="168850" y="168250"/>
                  <a:pt x="173296" y="171261"/>
                  <a:pt x="176165" y="175565"/>
                </a:cubicBezTo>
                <a:cubicBezTo>
                  <a:pt x="183838" y="187075"/>
                  <a:pt x="174479" y="186258"/>
                  <a:pt x="187138" y="193853"/>
                </a:cubicBezTo>
                <a:cubicBezTo>
                  <a:pt x="190444" y="195836"/>
                  <a:pt x="194391" y="196496"/>
                  <a:pt x="198110" y="197510"/>
                </a:cubicBezTo>
                <a:cubicBezTo>
                  <a:pt x="207810" y="200155"/>
                  <a:pt x="227371" y="204826"/>
                  <a:pt x="227371" y="204826"/>
                </a:cubicBezTo>
                <a:lnTo>
                  <a:pt x="260290" y="226771"/>
                </a:lnTo>
                <a:cubicBezTo>
                  <a:pt x="263947" y="229209"/>
                  <a:pt x="267092" y="232696"/>
                  <a:pt x="271262" y="234086"/>
                </a:cubicBezTo>
                <a:lnTo>
                  <a:pt x="293208" y="241402"/>
                </a:lnTo>
                <a:lnTo>
                  <a:pt x="315154" y="248717"/>
                </a:lnTo>
                <a:lnTo>
                  <a:pt x="326126" y="252374"/>
                </a:lnTo>
                <a:cubicBezTo>
                  <a:pt x="328565" y="254813"/>
                  <a:pt x="330040" y="259123"/>
                  <a:pt x="333442" y="259690"/>
                </a:cubicBezTo>
                <a:cubicBezTo>
                  <a:pt x="336503" y="260200"/>
                  <a:pt x="355045" y="253707"/>
                  <a:pt x="359045" y="252374"/>
                </a:cubicBezTo>
                <a:cubicBezTo>
                  <a:pt x="362703" y="248717"/>
                  <a:pt x="366044" y="244713"/>
                  <a:pt x="370018" y="241402"/>
                </a:cubicBezTo>
                <a:cubicBezTo>
                  <a:pt x="381416" y="231903"/>
                  <a:pt x="379798" y="237406"/>
                  <a:pt x="388306" y="226771"/>
                </a:cubicBezTo>
                <a:cubicBezTo>
                  <a:pt x="391052" y="223338"/>
                  <a:pt x="393183" y="219456"/>
                  <a:pt x="395621" y="215798"/>
                </a:cubicBezTo>
                <a:cubicBezTo>
                  <a:pt x="395565" y="215186"/>
                  <a:pt x="395089" y="175897"/>
                  <a:pt x="388306" y="164592"/>
                </a:cubicBezTo>
                <a:cubicBezTo>
                  <a:pt x="386532" y="161635"/>
                  <a:pt x="383144" y="159970"/>
                  <a:pt x="380990" y="157277"/>
                </a:cubicBezTo>
                <a:cubicBezTo>
                  <a:pt x="378244" y="153844"/>
                  <a:pt x="376113" y="149962"/>
                  <a:pt x="373675" y="146304"/>
                </a:cubicBezTo>
                <a:cubicBezTo>
                  <a:pt x="374894" y="136550"/>
                  <a:pt x="375575" y="126714"/>
                  <a:pt x="377333" y="117043"/>
                </a:cubicBezTo>
                <a:cubicBezTo>
                  <a:pt x="379359" y="105898"/>
                  <a:pt x="386852" y="94798"/>
                  <a:pt x="395621" y="87782"/>
                </a:cubicBezTo>
                <a:cubicBezTo>
                  <a:pt x="399054" y="85036"/>
                  <a:pt x="402936" y="82905"/>
                  <a:pt x="406594" y="80467"/>
                </a:cubicBezTo>
                <a:cubicBezTo>
                  <a:pt x="408317" y="75296"/>
                  <a:pt x="413909" y="59452"/>
                  <a:pt x="413909" y="54864"/>
                </a:cubicBezTo>
                <a:cubicBezTo>
                  <a:pt x="413909" y="48647"/>
                  <a:pt x="412690" y="14630"/>
                  <a:pt x="410251" y="7315"/>
                </a:cubicBezTo>
                <a:close/>
              </a:path>
            </a:pathLst>
          </a:custGeom>
          <a:solidFill>
            <a:srgbClr val="FF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9" name="Title 1"/>
          <p:cNvSpPr txBox="1">
            <a:spLocks/>
          </p:cNvSpPr>
          <p:nvPr/>
        </p:nvSpPr>
        <p:spPr>
          <a:xfrm>
            <a:off x="4357688" y="6191257"/>
            <a:ext cx="501650" cy="95249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IN" sz="800" dirty="0" err="1">
                <a:latin typeface="Ramabhadra" pitchFamily="2" charset="0"/>
                <a:ea typeface="+mj-ea"/>
                <a:cs typeface="Ramabhadra" pitchFamily="2" charset="0"/>
              </a:rPr>
              <a:t>సిసిలీ</a:t>
            </a:r>
            <a:endParaRPr lang="en-IN" sz="8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91" name="Title 1"/>
          <p:cNvSpPr txBox="1">
            <a:spLocks/>
          </p:cNvSpPr>
          <p:nvPr/>
        </p:nvSpPr>
        <p:spPr>
          <a:xfrm>
            <a:off x="6659568" y="5806021"/>
            <a:ext cx="1127125" cy="28786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600" dirty="0" err="1">
                <a:latin typeface="Ramabhadra" pitchFamily="2" charset="0"/>
                <a:ea typeface="+mj-ea"/>
                <a:cs typeface="Ramabhadra" pitchFamily="2" charset="0"/>
              </a:rPr>
              <a:t>టర్కీ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92" name="Title 1"/>
          <p:cNvSpPr txBox="1">
            <a:spLocks/>
          </p:cNvSpPr>
          <p:nvPr/>
        </p:nvSpPr>
        <p:spPr>
          <a:xfrm>
            <a:off x="6572256" y="5071535"/>
            <a:ext cx="1196975" cy="302684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నల్ల</a:t>
            </a:r>
            <a:r>
              <a:rPr lang="en-US" sz="140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సముద్రము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93" name="Title 1"/>
          <p:cNvSpPr txBox="1">
            <a:spLocks/>
          </p:cNvSpPr>
          <p:nvPr/>
        </p:nvSpPr>
        <p:spPr>
          <a:xfrm rot="3641603">
            <a:off x="7721871" y="4643708"/>
            <a:ext cx="1991783" cy="30321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200" dirty="0" err="1">
                <a:latin typeface="Ramabhadra" pitchFamily="2" charset="0"/>
                <a:ea typeface="+mj-ea"/>
                <a:cs typeface="Ramabhadra" pitchFamily="2" charset="0"/>
              </a:rPr>
              <a:t>కాస్పియన్</a:t>
            </a:r>
            <a:r>
              <a:rPr lang="en-US" sz="120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US" sz="1200" dirty="0" err="1">
                <a:latin typeface="Ramabhadra" pitchFamily="2" charset="0"/>
                <a:ea typeface="+mj-ea"/>
                <a:cs typeface="Ramabhadra" pitchFamily="2" charset="0"/>
              </a:rPr>
              <a:t>సముద్రము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94" name="Freeform 193"/>
          <p:cNvSpPr/>
          <p:nvPr/>
        </p:nvSpPr>
        <p:spPr>
          <a:xfrm>
            <a:off x="982663" y="1018123"/>
            <a:ext cx="785812" cy="605367"/>
          </a:xfrm>
          <a:custGeom>
            <a:avLst/>
            <a:gdLst>
              <a:gd name="connsiteX0" fmla="*/ 4915 w 786111"/>
              <a:gd name="connsiteY0" fmla="*/ 126316 h 603961"/>
              <a:gd name="connsiteX1" fmla="*/ 21744 w 786111"/>
              <a:gd name="connsiteY1" fmla="*/ 117902 h 603961"/>
              <a:gd name="connsiteX2" fmla="*/ 44183 w 786111"/>
              <a:gd name="connsiteY2" fmla="*/ 112292 h 603961"/>
              <a:gd name="connsiteX3" fmla="*/ 55403 w 786111"/>
              <a:gd name="connsiteY3" fmla="*/ 106682 h 603961"/>
              <a:gd name="connsiteX4" fmla="*/ 63818 w 786111"/>
              <a:gd name="connsiteY4" fmla="*/ 103877 h 603961"/>
              <a:gd name="connsiteX5" fmla="*/ 75037 w 786111"/>
              <a:gd name="connsiteY5" fmla="*/ 87048 h 603961"/>
              <a:gd name="connsiteX6" fmla="*/ 77842 w 786111"/>
              <a:gd name="connsiteY6" fmla="*/ 73023 h 603961"/>
              <a:gd name="connsiteX7" fmla="*/ 86257 w 786111"/>
              <a:gd name="connsiteY7" fmla="*/ 67413 h 603961"/>
              <a:gd name="connsiteX8" fmla="*/ 91867 w 786111"/>
              <a:gd name="connsiteY8" fmla="*/ 58999 h 603961"/>
              <a:gd name="connsiteX9" fmla="*/ 94672 w 786111"/>
              <a:gd name="connsiteY9" fmla="*/ 50584 h 603961"/>
              <a:gd name="connsiteX10" fmla="*/ 97477 w 786111"/>
              <a:gd name="connsiteY10" fmla="*/ 28145 h 603961"/>
              <a:gd name="connsiteX11" fmla="*/ 117111 w 786111"/>
              <a:gd name="connsiteY11" fmla="*/ 30950 h 603961"/>
              <a:gd name="connsiteX12" fmla="*/ 125526 w 786111"/>
              <a:gd name="connsiteY12" fmla="*/ 36559 h 603961"/>
              <a:gd name="connsiteX13" fmla="*/ 128331 w 786111"/>
              <a:gd name="connsiteY13" fmla="*/ 44974 h 603961"/>
              <a:gd name="connsiteX14" fmla="*/ 133940 w 786111"/>
              <a:gd name="connsiteY14" fmla="*/ 53389 h 603961"/>
              <a:gd name="connsiteX15" fmla="*/ 136745 w 786111"/>
              <a:gd name="connsiteY15" fmla="*/ 61804 h 603961"/>
              <a:gd name="connsiteX16" fmla="*/ 150770 w 786111"/>
              <a:gd name="connsiteY16" fmla="*/ 78633 h 603961"/>
              <a:gd name="connsiteX17" fmla="*/ 142355 w 786111"/>
              <a:gd name="connsiteY17" fmla="*/ 53389 h 603961"/>
              <a:gd name="connsiteX18" fmla="*/ 136745 w 786111"/>
              <a:gd name="connsiteY18" fmla="*/ 36559 h 603961"/>
              <a:gd name="connsiteX19" fmla="*/ 156380 w 786111"/>
              <a:gd name="connsiteY19" fmla="*/ 5705 h 603961"/>
              <a:gd name="connsiteX20" fmla="*/ 173209 w 786111"/>
              <a:gd name="connsiteY20" fmla="*/ 96 h 603961"/>
              <a:gd name="connsiteX21" fmla="*/ 206868 w 786111"/>
              <a:gd name="connsiteY21" fmla="*/ 2901 h 603961"/>
              <a:gd name="connsiteX22" fmla="*/ 215283 w 786111"/>
              <a:gd name="connsiteY22" fmla="*/ 11315 h 603961"/>
              <a:gd name="connsiteX23" fmla="*/ 223697 w 786111"/>
              <a:gd name="connsiteY23" fmla="*/ 16925 h 603961"/>
              <a:gd name="connsiteX24" fmla="*/ 229307 w 786111"/>
              <a:gd name="connsiteY24" fmla="*/ 25340 h 603961"/>
              <a:gd name="connsiteX25" fmla="*/ 234917 w 786111"/>
              <a:gd name="connsiteY25" fmla="*/ 44974 h 603961"/>
              <a:gd name="connsiteX26" fmla="*/ 237722 w 786111"/>
              <a:gd name="connsiteY26" fmla="*/ 53389 h 603961"/>
              <a:gd name="connsiteX27" fmla="*/ 240527 w 786111"/>
              <a:gd name="connsiteY27" fmla="*/ 64608 h 603961"/>
              <a:gd name="connsiteX28" fmla="*/ 246137 w 786111"/>
              <a:gd name="connsiteY28" fmla="*/ 81438 h 603961"/>
              <a:gd name="connsiteX29" fmla="*/ 248942 w 786111"/>
              <a:gd name="connsiteY29" fmla="*/ 89853 h 603961"/>
              <a:gd name="connsiteX30" fmla="*/ 257356 w 786111"/>
              <a:gd name="connsiteY30" fmla="*/ 106682 h 603961"/>
              <a:gd name="connsiteX31" fmla="*/ 254551 w 786111"/>
              <a:gd name="connsiteY31" fmla="*/ 145951 h 603961"/>
              <a:gd name="connsiteX32" fmla="*/ 246137 w 786111"/>
              <a:gd name="connsiteY32" fmla="*/ 151561 h 603961"/>
              <a:gd name="connsiteX33" fmla="*/ 234917 w 786111"/>
              <a:gd name="connsiteY33" fmla="*/ 168390 h 603961"/>
              <a:gd name="connsiteX34" fmla="*/ 223697 w 786111"/>
              <a:gd name="connsiteY34" fmla="*/ 193634 h 603961"/>
              <a:gd name="connsiteX35" fmla="*/ 220893 w 786111"/>
              <a:gd name="connsiteY35" fmla="*/ 202049 h 603961"/>
              <a:gd name="connsiteX36" fmla="*/ 229307 w 786111"/>
              <a:gd name="connsiteY36" fmla="*/ 207659 h 603961"/>
              <a:gd name="connsiteX37" fmla="*/ 246137 w 786111"/>
              <a:gd name="connsiteY37" fmla="*/ 202049 h 603961"/>
              <a:gd name="connsiteX38" fmla="*/ 254551 w 786111"/>
              <a:gd name="connsiteY38" fmla="*/ 193634 h 603961"/>
              <a:gd name="connsiteX39" fmla="*/ 268576 w 786111"/>
              <a:gd name="connsiteY39" fmla="*/ 176805 h 603961"/>
              <a:gd name="connsiteX40" fmla="*/ 299430 w 786111"/>
              <a:gd name="connsiteY40" fmla="*/ 168390 h 603961"/>
              <a:gd name="connsiteX41" fmla="*/ 305040 w 786111"/>
              <a:gd name="connsiteY41" fmla="*/ 151561 h 603961"/>
              <a:gd name="connsiteX42" fmla="*/ 307845 w 786111"/>
              <a:gd name="connsiteY42" fmla="*/ 143146 h 603961"/>
              <a:gd name="connsiteX43" fmla="*/ 305040 w 786111"/>
              <a:gd name="connsiteY43" fmla="*/ 120707 h 603961"/>
              <a:gd name="connsiteX44" fmla="*/ 299430 w 786111"/>
              <a:gd name="connsiteY44" fmla="*/ 112292 h 603961"/>
              <a:gd name="connsiteX45" fmla="*/ 310650 w 786111"/>
              <a:gd name="connsiteY45" fmla="*/ 106682 h 603961"/>
              <a:gd name="connsiteX46" fmla="*/ 335894 w 786111"/>
              <a:gd name="connsiteY46" fmla="*/ 109487 h 603961"/>
              <a:gd name="connsiteX47" fmla="*/ 349918 w 786111"/>
              <a:gd name="connsiteY47" fmla="*/ 131926 h 603961"/>
              <a:gd name="connsiteX48" fmla="*/ 355528 w 786111"/>
              <a:gd name="connsiteY48" fmla="*/ 151561 h 603961"/>
              <a:gd name="connsiteX49" fmla="*/ 361138 w 786111"/>
              <a:gd name="connsiteY49" fmla="*/ 168390 h 603961"/>
              <a:gd name="connsiteX50" fmla="*/ 369553 w 786111"/>
              <a:gd name="connsiteY50" fmla="*/ 174000 h 603961"/>
              <a:gd name="connsiteX51" fmla="*/ 386382 w 786111"/>
              <a:gd name="connsiteY51" fmla="*/ 171195 h 603961"/>
              <a:gd name="connsiteX52" fmla="*/ 380772 w 786111"/>
              <a:gd name="connsiteY52" fmla="*/ 148756 h 603961"/>
              <a:gd name="connsiteX53" fmla="*/ 383577 w 786111"/>
              <a:gd name="connsiteY53" fmla="*/ 137536 h 603961"/>
              <a:gd name="connsiteX54" fmla="*/ 400407 w 786111"/>
              <a:gd name="connsiteY54" fmla="*/ 134731 h 603961"/>
              <a:gd name="connsiteX55" fmla="*/ 417236 w 786111"/>
              <a:gd name="connsiteY55" fmla="*/ 126316 h 603961"/>
              <a:gd name="connsiteX56" fmla="*/ 420041 w 786111"/>
              <a:gd name="connsiteY56" fmla="*/ 106682 h 603961"/>
              <a:gd name="connsiteX57" fmla="*/ 428456 w 786111"/>
              <a:gd name="connsiteY57" fmla="*/ 103877 h 603961"/>
              <a:gd name="connsiteX58" fmla="*/ 456505 w 786111"/>
              <a:gd name="connsiteY58" fmla="*/ 106682 h 603961"/>
              <a:gd name="connsiteX59" fmla="*/ 464920 w 786111"/>
              <a:gd name="connsiteY59" fmla="*/ 112292 h 603961"/>
              <a:gd name="connsiteX60" fmla="*/ 473334 w 786111"/>
              <a:gd name="connsiteY60" fmla="*/ 120707 h 603961"/>
              <a:gd name="connsiteX61" fmla="*/ 495774 w 786111"/>
              <a:gd name="connsiteY61" fmla="*/ 126316 h 603961"/>
              <a:gd name="connsiteX62" fmla="*/ 537847 w 786111"/>
              <a:gd name="connsiteY62" fmla="*/ 126316 h 603961"/>
              <a:gd name="connsiteX63" fmla="*/ 554677 w 786111"/>
              <a:gd name="connsiteY63" fmla="*/ 131926 h 603961"/>
              <a:gd name="connsiteX64" fmla="*/ 591140 w 786111"/>
              <a:gd name="connsiteY64" fmla="*/ 134731 h 603961"/>
              <a:gd name="connsiteX65" fmla="*/ 593945 w 786111"/>
              <a:gd name="connsiteY65" fmla="*/ 126316 h 603961"/>
              <a:gd name="connsiteX66" fmla="*/ 591140 w 786111"/>
              <a:gd name="connsiteY66" fmla="*/ 106682 h 603961"/>
              <a:gd name="connsiteX67" fmla="*/ 602360 w 786111"/>
              <a:gd name="connsiteY67" fmla="*/ 103877 h 603961"/>
              <a:gd name="connsiteX68" fmla="*/ 619189 w 786111"/>
              <a:gd name="connsiteY68" fmla="*/ 98267 h 603961"/>
              <a:gd name="connsiteX69" fmla="*/ 647239 w 786111"/>
              <a:gd name="connsiteY69" fmla="*/ 101072 h 603961"/>
              <a:gd name="connsiteX70" fmla="*/ 655653 w 786111"/>
              <a:gd name="connsiteY70" fmla="*/ 103877 h 603961"/>
              <a:gd name="connsiteX71" fmla="*/ 661263 w 786111"/>
              <a:gd name="connsiteY71" fmla="*/ 112292 h 603961"/>
              <a:gd name="connsiteX72" fmla="*/ 672483 w 786111"/>
              <a:gd name="connsiteY72" fmla="*/ 145951 h 603961"/>
              <a:gd name="connsiteX73" fmla="*/ 683702 w 786111"/>
              <a:gd name="connsiteY73" fmla="*/ 143146 h 603961"/>
              <a:gd name="connsiteX74" fmla="*/ 692117 w 786111"/>
              <a:gd name="connsiteY74" fmla="*/ 137536 h 603961"/>
              <a:gd name="connsiteX75" fmla="*/ 717361 w 786111"/>
              <a:gd name="connsiteY75" fmla="*/ 143146 h 603961"/>
              <a:gd name="connsiteX76" fmla="*/ 717361 w 786111"/>
              <a:gd name="connsiteY76" fmla="*/ 176805 h 603961"/>
              <a:gd name="connsiteX77" fmla="*/ 711751 w 786111"/>
              <a:gd name="connsiteY77" fmla="*/ 185220 h 603961"/>
              <a:gd name="connsiteX78" fmla="*/ 714556 w 786111"/>
              <a:gd name="connsiteY78" fmla="*/ 202049 h 603961"/>
              <a:gd name="connsiteX79" fmla="*/ 742605 w 786111"/>
              <a:gd name="connsiteY79" fmla="*/ 218878 h 603961"/>
              <a:gd name="connsiteX80" fmla="*/ 756630 w 786111"/>
              <a:gd name="connsiteY80" fmla="*/ 221683 h 603961"/>
              <a:gd name="connsiteX81" fmla="*/ 765045 w 786111"/>
              <a:gd name="connsiteY81" fmla="*/ 227293 h 603961"/>
              <a:gd name="connsiteX82" fmla="*/ 767850 w 786111"/>
              <a:gd name="connsiteY82" fmla="*/ 235708 h 603961"/>
              <a:gd name="connsiteX83" fmla="*/ 776264 w 786111"/>
              <a:gd name="connsiteY83" fmla="*/ 255342 h 603961"/>
              <a:gd name="connsiteX84" fmla="*/ 773459 w 786111"/>
              <a:gd name="connsiteY84" fmla="*/ 269367 h 603961"/>
              <a:gd name="connsiteX85" fmla="*/ 779069 w 786111"/>
              <a:gd name="connsiteY85" fmla="*/ 294611 h 603961"/>
              <a:gd name="connsiteX86" fmla="*/ 784679 w 786111"/>
              <a:gd name="connsiteY86" fmla="*/ 314245 h 603961"/>
              <a:gd name="connsiteX87" fmla="*/ 779069 w 786111"/>
              <a:gd name="connsiteY87" fmla="*/ 328270 h 603961"/>
              <a:gd name="connsiteX88" fmla="*/ 770654 w 786111"/>
              <a:gd name="connsiteY88" fmla="*/ 347904 h 603961"/>
              <a:gd name="connsiteX89" fmla="*/ 762240 w 786111"/>
              <a:gd name="connsiteY89" fmla="*/ 353514 h 603961"/>
              <a:gd name="connsiteX90" fmla="*/ 753825 w 786111"/>
              <a:gd name="connsiteY90" fmla="*/ 370343 h 603961"/>
              <a:gd name="connsiteX91" fmla="*/ 751020 w 786111"/>
              <a:gd name="connsiteY91" fmla="*/ 381563 h 603961"/>
              <a:gd name="connsiteX92" fmla="*/ 742605 w 786111"/>
              <a:gd name="connsiteY92" fmla="*/ 387173 h 603961"/>
              <a:gd name="connsiteX93" fmla="*/ 728581 w 786111"/>
              <a:gd name="connsiteY93" fmla="*/ 401197 h 603961"/>
              <a:gd name="connsiteX94" fmla="*/ 720166 w 786111"/>
              <a:gd name="connsiteY94" fmla="*/ 409612 h 603961"/>
              <a:gd name="connsiteX95" fmla="*/ 708947 w 786111"/>
              <a:gd name="connsiteY95" fmla="*/ 415222 h 603961"/>
              <a:gd name="connsiteX96" fmla="*/ 692117 w 786111"/>
              <a:gd name="connsiteY96" fmla="*/ 426442 h 603961"/>
              <a:gd name="connsiteX97" fmla="*/ 683702 w 786111"/>
              <a:gd name="connsiteY97" fmla="*/ 454491 h 603961"/>
              <a:gd name="connsiteX98" fmla="*/ 678093 w 786111"/>
              <a:gd name="connsiteY98" fmla="*/ 462905 h 603961"/>
              <a:gd name="connsiteX99" fmla="*/ 661263 w 786111"/>
              <a:gd name="connsiteY99" fmla="*/ 468515 h 603961"/>
              <a:gd name="connsiteX100" fmla="*/ 652848 w 786111"/>
              <a:gd name="connsiteY100" fmla="*/ 471320 h 603961"/>
              <a:gd name="connsiteX101" fmla="*/ 644434 w 786111"/>
              <a:gd name="connsiteY101" fmla="*/ 479735 h 603961"/>
              <a:gd name="connsiteX102" fmla="*/ 627604 w 786111"/>
              <a:gd name="connsiteY102" fmla="*/ 490954 h 603961"/>
              <a:gd name="connsiteX103" fmla="*/ 624799 w 786111"/>
              <a:gd name="connsiteY103" fmla="*/ 499369 h 603961"/>
              <a:gd name="connsiteX104" fmla="*/ 605165 w 786111"/>
              <a:gd name="connsiteY104" fmla="*/ 521808 h 603961"/>
              <a:gd name="connsiteX105" fmla="*/ 596750 w 786111"/>
              <a:gd name="connsiteY105" fmla="*/ 524613 h 603961"/>
              <a:gd name="connsiteX106" fmla="*/ 585531 w 786111"/>
              <a:gd name="connsiteY106" fmla="*/ 527418 h 603961"/>
              <a:gd name="connsiteX107" fmla="*/ 568701 w 786111"/>
              <a:gd name="connsiteY107" fmla="*/ 533028 h 603961"/>
              <a:gd name="connsiteX108" fmla="*/ 560286 w 786111"/>
              <a:gd name="connsiteY108" fmla="*/ 541443 h 603961"/>
              <a:gd name="connsiteX109" fmla="*/ 543457 w 786111"/>
              <a:gd name="connsiteY109" fmla="*/ 547053 h 603961"/>
              <a:gd name="connsiteX110" fmla="*/ 526627 w 786111"/>
              <a:gd name="connsiteY110" fmla="*/ 544248 h 603961"/>
              <a:gd name="connsiteX111" fmla="*/ 509798 w 786111"/>
              <a:gd name="connsiteY111" fmla="*/ 538638 h 603961"/>
              <a:gd name="connsiteX112" fmla="*/ 467724 w 786111"/>
              <a:gd name="connsiteY112" fmla="*/ 541443 h 603961"/>
              <a:gd name="connsiteX113" fmla="*/ 442480 w 786111"/>
              <a:gd name="connsiteY113" fmla="*/ 552662 h 603961"/>
              <a:gd name="connsiteX114" fmla="*/ 417236 w 786111"/>
              <a:gd name="connsiteY114" fmla="*/ 563882 h 603961"/>
              <a:gd name="connsiteX115" fmla="*/ 408821 w 786111"/>
              <a:gd name="connsiteY115" fmla="*/ 572297 h 603961"/>
              <a:gd name="connsiteX116" fmla="*/ 394797 w 786111"/>
              <a:gd name="connsiteY116" fmla="*/ 597541 h 603961"/>
              <a:gd name="connsiteX117" fmla="*/ 366748 w 786111"/>
              <a:gd name="connsiteY117" fmla="*/ 603151 h 603961"/>
              <a:gd name="connsiteX118" fmla="*/ 307845 w 786111"/>
              <a:gd name="connsiteY118" fmla="*/ 597541 h 603961"/>
              <a:gd name="connsiteX119" fmla="*/ 299430 w 786111"/>
              <a:gd name="connsiteY119" fmla="*/ 594736 h 603961"/>
              <a:gd name="connsiteX120" fmla="*/ 282600 w 786111"/>
              <a:gd name="connsiteY120" fmla="*/ 583516 h 603961"/>
              <a:gd name="connsiteX121" fmla="*/ 274186 w 786111"/>
              <a:gd name="connsiteY121" fmla="*/ 575102 h 603961"/>
              <a:gd name="connsiteX122" fmla="*/ 262966 w 786111"/>
              <a:gd name="connsiteY122" fmla="*/ 572297 h 603961"/>
              <a:gd name="connsiteX123" fmla="*/ 254551 w 786111"/>
              <a:gd name="connsiteY123" fmla="*/ 569492 h 603961"/>
              <a:gd name="connsiteX124" fmla="*/ 251747 w 786111"/>
              <a:gd name="connsiteY124" fmla="*/ 561077 h 603961"/>
              <a:gd name="connsiteX125" fmla="*/ 240527 w 786111"/>
              <a:gd name="connsiteY125" fmla="*/ 544248 h 603961"/>
              <a:gd name="connsiteX126" fmla="*/ 232112 w 786111"/>
              <a:gd name="connsiteY126" fmla="*/ 527418 h 603961"/>
              <a:gd name="connsiteX127" fmla="*/ 215283 w 786111"/>
              <a:gd name="connsiteY127" fmla="*/ 521808 h 603961"/>
              <a:gd name="connsiteX128" fmla="*/ 198453 w 786111"/>
              <a:gd name="connsiteY128" fmla="*/ 510589 h 603961"/>
              <a:gd name="connsiteX129" fmla="*/ 190039 w 786111"/>
              <a:gd name="connsiteY129" fmla="*/ 504979 h 603961"/>
              <a:gd name="connsiteX130" fmla="*/ 178819 w 786111"/>
              <a:gd name="connsiteY130" fmla="*/ 493759 h 603961"/>
              <a:gd name="connsiteX131" fmla="*/ 161989 w 786111"/>
              <a:gd name="connsiteY131" fmla="*/ 479735 h 603961"/>
              <a:gd name="connsiteX132" fmla="*/ 156380 w 786111"/>
              <a:gd name="connsiteY132" fmla="*/ 471320 h 603961"/>
              <a:gd name="connsiteX133" fmla="*/ 131135 w 786111"/>
              <a:gd name="connsiteY133" fmla="*/ 465710 h 603961"/>
              <a:gd name="connsiteX134" fmla="*/ 111501 w 786111"/>
              <a:gd name="connsiteY134" fmla="*/ 460101 h 603961"/>
              <a:gd name="connsiteX135" fmla="*/ 103086 w 786111"/>
              <a:gd name="connsiteY135" fmla="*/ 457296 h 603961"/>
              <a:gd name="connsiteX136" fmla="*/ 80647 w 786111"/>
              <a:gd name="connsiteY136" fmla="*/ 454491 h 603961"/>
              <a:gd name="connsiteX137" fmla="*/ 49793 w 786111"/>
              <a:gd name="connsiteY137" fmla="*/ 448881 h 603961"/>
              <a:gd name="connsiteX138" fmla="*/ 46988 w 786111"/>
              <a:gd name="connsiteY138" fmla="*/ 440466 h 603961"/>
              <a:gd name="connsiteX139" fmla="*/ 49793 w 786111"/>
              <a:gd name="connsiteY139" fmla="*/ 415222 h 603961"/>
              <a:gd name="connsiteX140" fmla="*/ 58208 w 786111"/>
              <a:gd name="connsiteY140" fmla="*/ 409612 h 603961"/>
              <a:gd name="connsiteX141" fmla="*/ 122721 w 786111"/>
              <a:gd name="connsiteY141" fmla="*/ 406807 h 603961"/>
              <a:gd name="connsiteX142" fmla="*/ 139550 w 786111"/>
              <a:gd name="connsiteY142" fmla="*/ 395588 h 603961"/>
              <a:gd name="connsiteX143" fmla="*/ 142355 w 786111"/>
              <a:gd name="connsiteY143" fmla="*/ 387173 h 603961"/>
              <a:gd name="connsiteX144" fmla="*/ 139550 w 786111"/>
              <a:gd name="connsiteY144" fmla="*/ 361929 h 603961"/>
              <a:gd name="connsiteX145" fmla="*/ 136745 w 786111"/>
              <a:gd name="connsiteY145" fmla="*/ 353514 h 603961"/>
              <a:gd name="connsiteX146" fmla="*/ 128331 w 786111"/>
              <a:gd name="connsiteY146" fmla="*/ 350709 h 603961"/>
              <a:gd name="connsiteX147" fmla="*/ 122721 w 786111"/>
              <a:gd name="connsiteY147" fmla="*/ 333880 h 603961"/>
              <a:gd name="connsiteX148" fmla="*/ 122721 w 786111"/>
              <a:gd name="connsiteY148" fmla="*/ 308635 h 603961"/>
              <a:gd name="connsiteX149" fmla="*/ 105891 w 786111"/>
              <a:gd name="connsiteY149" fmla="*/ 303026 h 603961"/>
              <a:gd name="connsiteX150" fmla="*/ 83452 w 786111"/>
              <a:gd name="connsiteY150" fmla="*/ 297416 h 603961"/>
              <a:gd name="connsiteX151" fmla="*/ 77842 w 786111"/>
              <a:gd name="connsiteY151" fmla="*/ 289001 h 603961"/>
              <a:gd name="connsiteX152" fmla="*/ 61013 w 786111"/>
              <a:gd name="connsiteY152" fmla="*/ 274977 h 603961"/>
              <a:gd name="connsiteX153" fmla="*/ 46988 w 786111"/>
              <a:gd name="connsiteY153" fmla="*/ 260952 h 603961"/>
              <a:gd name="connsiteX154" fmla="*/ 41378 w 786111"/>
              <a:gd name="connsiteY154" fmla="*/ 252537 h 603961"/>
              <a:gd name="connsiteX155" fmla="*/ 27354 w 786111"/>
              <a:gd name="connsiteY155" fmla="*/ 235708 h 603961"/>
              <a:gd name="connsiteX156" fmla="*/ 72232 w 786111"/>
              <a:gd name="connsiteY156" fmla="*/ 232903 h 603961"/>
              <a:gd name="connsiteX157" fmla="*/ 91867 w 786111"/>
              <a:gd name="connsiteY157" fmla="*/ 238513 h 603961"/>
              <a:gd name="connsiteX158" fmla="*/ 111501 w 786111"/>
              <a:gd name="connsiteY158" fmla="*/ 244123 h 603961"/>
              <a:gd name="connsiteX159" fmla="*/ 164794 w 786111"/>
              <a:gd name="connsiteY159" fmla="*/ 246927 h 603961"/>
              <a:gd name="connsiteX160" fmla="*/ 156380 w 786111"/>
              <a:gd name="connsiteY160" fmla="*/ 244123 h 603961"/>
              <a:gd name="connsiteX161" fmla="*/ 153575 w 786111"/>
              <a:gd name="connsiteY161" fmla="*/ 213269 h 603961"/>
              <a:gd name="connsiteX162" fmla="*/ 161989 w 786111"/>
              <a:gd name="connsiteY162" fmla="*/ 207659 h 603961"/>
              <a:gd name="connsiteX163" fmla="*/ 178819 w 786111"/>
              <a:gd name="connsiteY163" fmla="*/ 202049 h 603961"/>
              <a:gd name="connsiteX164" fmla="*/ 184429 w 786111"/>
              <a:gd name="connsiteY164" fmla="*/ 193634 h 603961"/>
              <a:gd name="connsiteX165" fmla="*/ 173209 w 786111"/>
              <a:gd name="connsiteY165" fmla="*/ 176805 h 603961"/>
              <a:gd name="connsiteX166" fmla="*/ 164794 w 786111"/>
              <a:gd name="connsiteY166" fmla="*/ 174000 h 603961"/>
              <a:gd name="connsiteX167" fmla="*/ 139550 w 786111"/>
              <a:gd name="connsiteY167" fmla="*/ 151561 h 603961"/>
              <a:gd name="connsiteX168" fmla="*/ 131135 w 786111"/>
              <a:gd name="connsiteY168" fmla="*/ 148756 h 603961"/>
              <a:gd name="connsiteX169" fmla="*/ 91867 w 786111"/>
              <a:gd name="connsiteY169" fmla="*/ 145951 h 603961"/>
              <a:gd name="connsiteX170" fmla="*/ 63818 w 786111"/>
              <a:gd name="connsiteY170" fmla="*/ 148756 h 603961"/>
              <a:gd name="connsiteX171" fmla="*/ 55403 w 786111"/>
              <a:gd name="connsiteY171" fmla="*/ 151561 h 603961"/>
              <a:gd name="connsiteX172" fmla="*/ 38574 w 786111"/>
              <a:gd name="connsiteY172" fmla="*/ 148756 h 603961"/>
              <a:gd name="connsiteX173" fmla="*/ 21744 w 786111"/>
              <a:gd name="connsiteY173" fmla="*/ 143146 h 603961"/>
              <a:gd name="connsiteX174" fmla="*/ 16134 w 786111"/>
              <a:gd name="connsiteY174" fmla="*/ 134731 h 603961"/>
              <a:gd name="connsiteX175" fmla="*/ 13329 w 786111"/>
              <a:gd name="connsiteY175" fmla="*/ 126316 h 603961"/>
              <a:gd name="connsiteX176" fmla="*/ 4915 w 786111"/>
              <a:gd name="connsiteY176" fmla="*/ 126316 h 603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</a:cxnLst>
            <a:rect l="l" t="t" r="r" b="b"/>
            <a:pathLst>
              <a:path w="786111" h="603961">
                <a:moveTo>
                  <a:pt x="4915" y="126316"/>
                </a:moveTo>
                <a:cubicBezTo>
                  <a:pt x="6318" y="124914"/>
                  <a:pt x="0" y="128774"/>
                  <a:pt x="21744" y="117902"/>
                </a:cubicBezTo>
                <a:cubicBezTo>
                  <a:pt x="27494" y="115027"/>
                  <a:pt x="38849" y="113359"/>
                  <a:pt x="44183" y="112292"/>
                </a:cubicBezTo>
                <a:cubicBezTo>
                  <a:pt x="47923" y="110422"/>
                  <a:pt x="51560" y="108329"/>
                  <a:pt x="55403" y="106682"/>
                </a:cubicBezTo>
                <a:cubicBezTo>
                  <a:pt x="58121" y="105517"/>
                  <a:pt x="61727" y="105968"/>
                  <a:pt x="63818" y="103877"/>
                </a:cubicBezTo>
                <a:cubicBezTo>
                  <a:pt x="68585" y="99110"/>
                  <a:pt x="75037" y="87048"/>
                  <a:pt x="75037" y="87048"/>
                </a:cubicBezTo>
                <a:cubicBezTo>
                  <a:pt x="75972" y="82373"/>
                  <a:pt x="75477" y="77162"/>
                  <a:pt x="77842" y="73023"/>
                </a:cubicBezTo>
                <a:cubicBezTo>
                  <a:pt x="79515" y="70096"/>
                  <a:pt x="83873" y="69797"/>
                  <a:pt x="86257" y="67413"/>
                </a:cubicBezTo>
                <a:cubicBezTo>
                  <a:pt x="88641" y="65029"/>
                  <a:pt x="89997" y="61804"/>
                  <a:pt x="91867" y="58999"/>
                </a:cubicBezTo>
                <a:cubicBezTo>
                  <a:pt x="92802" y="56194"/>
                  <a:pt x="94143" y="53493"/>
                  <a:pt x="94672" y="50584"/>
                </a:cubicBezTo>
                <a:cubicBezTo>
                  <a:pt x="96020" y="43168"/>
                  <a:pt x="91804" y="33109"/>
                  <a:pt x="97477" y="28145"/>
                </a:cubicBezTo>
                <a:cubicBezTo>
                  <a:pt x="102452" y="23792"/>
                  <a:pt x="110566" y="30015"/>
                  <a:pt x="117111" y="30950"/>
                </a:cubicBezTo>
                <a:cubicBezTo>
                  <a:pt x="119916" y="32820"/>
                  <a:pt x="123420" y="33927"/>
                  <a:pt x="125526" y="36559"/>
                </a:cubicBezTo>
                <a:cubicBezTo>
                  <a:pt x="127373" y="38868"/>
                  <a:pt x="127009" y="42329"/>
                  <a:pt x="128331" y="44974"/>
                </a:cubicBezTo>
                <a:cubicBezTo>
                  <a:pt x="129838" y="47989"/>
                  <a:pt x="132433" y="50374"/>
                  <a:pt x="133940" y="53389"/>
                </a:cubicBezTo>
                <a:cubicBezTo>
                  <a:pt x="135262" y="56034"/>
                  <a:pt x="135423" y="59159"/>
                  <a:pt x="136745" y="61804"/>
                </a:cubicBezTo>
                <a:cubicBezTo>
                  <a:pt x="140649" y="69612"/>
                  <a:pt x="144568" y="72431"/>
                  <a:pt x="150770" y="78633"/>
                </a:cubicBezTo>
                <a:lnTo>
                  <a:pt x="142355" y="53389"/>
                </a:lnTo>
                <a:lnTo>
                  <a:pt x="136745" y="36559"/>
                </a:lnTo>
                <a:cubicBezTo>
                  <a:pt x="139409" y="17915"/>
                  <a:pt x="135166" y="12776"/>
                  <a:pt x="156380" y="5705"/>
                </a:cubicBezTo>
                <a:lnTo>
                  <a:pt x="173209" y="96"/>
                </a:lnTo>
                <a:cubicBezTo>
                  <a:pt x="184429" y="1031"/>
                  <a:pt x="195990" y="0"/>
                  <a:pt x="206868" y="2901"/>
                </a:cubicBezTo>
                <a:cubicBezTo>
                  <a:pt x="210701" y="3923"/>
                  <a:pt x="212236" y="8776"/>
                  <a:pt x="215283" y="11315"/>
                </a:cubicBezTo>
                <a:cubicBezTo>
                  <a:pt x="217873" y="13473"/>
                  <a:pt x="220892" y="15055"/>
                  <a:pt x="223697" y="16925"/>
                </a:cubicBezTo>
                <a:cubicBezTo>
                  <a:pt x="225567" y="19730"/>
                  <a:pt x="227799" y="22325"/>
                  <a:pt x="229307" y="25340"/>
                </a:cubicBezTo>
                <a:cubicBezTo>
                  <a:pt x="231550" y="29825"/>
                  <a:pt x="233718" y="40778"/>
                  <a:pt x="234917" y="44974"/>
                </a:cubicBezTo>
                <a:cubicBezTo>
                  <a:pt x="235729" y="47817"/>
                  <a:pt x="236910" y="50546"/>
                  <a:pt x="237722" y="53389"/>
                </a:cubicBezTo>
                <a:cubicBezTo>
                  <a:pt x="238781" y="57095"/>
                  <a:pt x="239419" y="60916"/>
                  <a:pt x="240527" y="64608"/>
                </a:cubicBezTo>
                <a:cubicBezTo>
                  <a:pt x="242226" y="70272"/>
                  <a:pt x="244267" y="75828"/>
                  <a:pt x="246137" y="81438"/>
                </a:cubicBezTo>
                <a:cubicBezTo>
                  <a:pt x="247072" y="84243"/>
                  <a:pt x="247302" y="87393"/>
                  <a:pt x="248942" y="89853"/>
                </a:cubicBezTo>
                <a:cubicBezTo>
                  <a:pt x="256191" y="100727"/>
                  <a:pt x="253485" y="95069"/>
                  <a:pt x="257356" y="106682"/>
                </a:cubicBezTo>
                <a:cubicBezTo>
                  <a:pt x="256421" y="119772"/>
                  <a:pt x="257734" y="133220"/>
                  <a:pt x="254551" y="145951"/>
                </a:cubicBezTo>
                <a:cubicBezTo>
                  <a:pt x="253733" y="149221"/>
                  <a:pt x="248357" y="149024"/>
                  <a:pt x="246137" y="151561"/>
                </a:cubicBezTo>
                <a:cubicBezTo>
                  <a:pt x="241697" y="156635"/>
                  <a:pt x="238657" y="162780"/>
                  <a:pt x="234917" y="168390"/>
                </a:cubicBezTo>
                <a:cubicBezTo>
                  <a:pt x="226028" y="181722"/>
                  <a:pt x="230371" y="173611"/>
                  <a:pt x="223697" y="193634"/>
                </a:cubicBezTo>
                <a:lnTo>
                  <a:pt x="220893" y="202049"/>
                </a:lnTo>
                <a:cubicBezTo>
                  <a:pt x="223698" y="203919"/>
                  <a:pt x="225936" y="207659"/>
                  <a:pt x="229307" y="207659"/>
                </a:cubicBezTo>
                <a:cubicBezTo>
                  <a:pt x="235220" y="207659"/>
                  <a:pt x="246137" y="202049"/>
                  <a:pt x="246137" y="202049"/>
                </a:cubicBezTo>
                <a:cubicBezTo>
                  <a:pt x="248942" y="199244"/>
                  <a:pt x="252012" y="196681"/>
                  <a:pt x="254551" y="193634"/>
                </a:cubicBezTo>
                <a:cubicBezTo>
                  <a:pt x="259667" y="187495"/>
                  <a:pt x="260948" y="181043"/>
                  <a:pt x="268576" y="176805"/>
                </a:cubicBezTo>
                <a:cubicBezTo>
                  <a:pt x="276584" y="172356"/>
                  <a:pt x="290366" y="170203"/>
                  <a:pt x="299430" y="168390"/>
                </a:cubicBezTo>
                <a:lnTo>
                  <a:pt x="305040" y="151561"/>
                </a:lnTo>
                <a:lnTo>
                  <a:pt x="307845" y="143146"/>
                </a:lnTo>
                <a:cubicBezTo>
                  <a:pt x="306910" y="135666"/>
                  <a:pt x="307023" y="127979"/>
                  <a:pt x="305040" y="120707"/>
                </a:cubicBezTo>
                <a:cubicBezTo>
                  <a:pt x="304153" y="117455"/>
                  <a:pt x="298178" y="115422"/>
                  <a:pt x="299430" y="112292"/>
                </a:cubicBezTo>
                <a:cubicBezTo>
                  <a:pt x="300983" y="108410"/>
                  <a:pt x="306910" y="108552"/>
                  <a:pt x="310650" y="106682"/>
                </a:cubicBezTo>
                <a:cubicBezTo>
                  <a:pt x="319065" y="107617"/>
                  <a:pt x="327680" y="107433"/>
                  <a:pt x="335894" y="109487"/>
                </a:cubicBezTo>
                <a:cubicBezTo>
                  <a:pt x="347207" y="112315"/>
                  <a:pt x="346787" y="122533"/>
                  <a:pt x="349918" y="131926"/>
                </a:cubicBezTo>
                <a:cubicBezTo>
                  <a:pt x="359344" y="160204"/>
                  <a:pt x="344962" y="116343"/>
                  <a:pt x="355528" y="151561"/>
                </a:cubicBezTo>
                <a:cubicBezTo>
                  <a:pt x="357227" y="157225"/>
                  <a:pt x="356218" y="165110"/>
                  <a:pt x="361138" y="168390"/>
                </a:cubicBezTo>
                <a:lnTo>
                  <a:pt x="369553" y="174000"/>
                </a:lnTo>
                <a:cubicBezTo>
                  <a:pt x="375163" y="173065"/>
                  <a:pt x="382741" y="175564"/>
                  <a:pt x="386382" y="171195"/>
                </a:cubicBezTo>
                <a:cubicBezTo>
                  <a:pt x="387994" y="169260"/>
                  <a:pt x="381986" y="152398"/>
                  <a:pt x="380772" y="148756"/>
                </a:cubicBezTo>
                <a:cubicBezTo>
                  <a:pt x="381707" y="145016"/>
                  <a:pt x="380440" y="139777"/>
                  <a:pt x="383577" y="137536"/>
                </a:cubicBezTo>
                <a:cubicBezTo>
                  <a:pt x="388205" y="134230"/>
                  <a:pt x="394855" y="135965"/>
                  <a:pt x="400407" y="134731"/>
                </a:cubicBezTo>
                <a:cubicBezTo>
                  <a:pt x="409115" y="132796"/>
                  <a:pt x="409672" y="131358"/>
                  <a:pt x="417236" y="126316"/>
                </a:cubicBezTo>
                <a:cubicBezTo>
                  <a:pt x="418171" y="119771"/>
                  <a:pt x="417084" y="112595"/>
                  <a:pt x="420041" y="106682"/>
                </a:cubicBezTo>
                <a:cubicBezTo>
                  <a:pt x="421363" y="104037"/>
                  <a:pt x="425499" y="103877"/>
                  <a:pt x="428456" y="103877"/>
                </a:cubicBezTo>
                <a:cubicBezTo>
                  <a:pt x="437852" y="103877"/>
                  <a:pt x="447155" y="105747"/>
                  <a:pt x="456505" y="106682"/>
                </a:cubicBezTo>
                <a:cubicBezTo>
                  <a:pt x="459310" y="108552"/>
                  <a:pt x="462330" y="110134"/>
                  <a:pt x="464920" y="112292"/>
                </a:cubicBezTo>
                <a:cubicBezTo>
                  <a:pt x="467967" y="114831"/>
                  <a:pt x="470034" y="118507"/>
                  <a:pt x="473334" y="120707"/>
                </a:cubicBezTo>
                <a:cubicBezTo>
                  <a:pt x="477032" y="123172"/>
                  <a:pt x="493749" y="125911"/>
                  <a:pt x="495774" y="126316"/>
                </a:cubicBezTo>
                <a:cubicBezTo>
                  <a:pt x="518015" y="123846"/>
                  <a:pt x="518480" y="121475"/>
                  <a:pt x="537847" y="126316"/>
                </a:cubicBezTo>
                <a:cubicBezTo>
                  <a:pt x="543584" y="127750"/>
                  <a:pt x="554677" y="131926"/>
                  <a:pt x="554677" y="131926"/>
                </a:cubicBezTo>
                <a:cubicBezTo>
                  <a:pt x="568026" y="140827"/>
                  <a:pt x="567772" y="143229"/>
                  <a:pt x="591140" y="134731"/>
                </a:cubicBezTo>
                <a:cubicBezTo>
                  <a:pt x="593919" y="133721"/>
                  <a:pt x="593010" y="129121"/>
                  <a:pt x="593945" y="126316"/>
                </a:cubicBezTo>
                <a:cubicBezTo>
                  <a:pt x="589998" y="120396"/>
                  <a:pt x="583170" y="114652"/>
                  <a:pt x="591140" y="106682"/>
                </a:cubicBezTo>
                <a:cubicBezTo>
                  <a:pt x="593866" y="103956"/>
                  <a:pt x="598667" y="104985"/>
                  <a:pt x="602360" y="103877"/>
                </a:cubicBezTo>
                <a:cubicBezTo>
                  <a:pt x="608024" y="102178"/>
                  <a:pt x="619189" y="98267"/>
                  <a:pt x="619189" y="98267"/>
                </a:cubicBezTo>
                <a:cubicBezTo>
                  <a:pt x="628539" y="99202"/>
                  <a:pt x="637952" y="99643"/>
                  <a:pt x="647239" y="101072"/>
                </a:cubicBezTo>
                <a:cubicBezTo>
                  <a:pt x="650161" y="101522"/>
                  <a:pt x="653344" y="102030"/>
                  <a:pt x="655653" y="103877"/>
                </a:cubicBezTo>
                <a:cubicBezTo>
                  <a:pt x="658285" y="105983"/>
                  <a:pt x="659393" y="109487"/>
                  <a:pt x="661263" y="112292"/>
                </a:cubicBezTo>
                <a:cubicBezTo>
                  <a:pt x="662408" y="124887"/>
                  <a:pt x="654823" y="145951"/>
                  <a:pt x="672483" y="145951"/>
                </a:cubicBezTo>
                <a:cubicBezTo>
                  <a:pt x="676338" y="145951"/>
                  <a:pt x="679962" y="144081"/>
                  <a:pt x="683702" y="143146"/>
                </a:cubicBezTo>
                <a:cubicBezTo>
                  <a:pt x="686507" y="141276"/>
                  <a:pt x="688772" y="137954"/>
                  <a:pt x="692117" y="137536"/>
                </a:cubicBezTo>
                <a:cubicBezTo>
                  <a:pt x="694492" y="137239"/>
                  <a:pt x="713993" y="142304"/>
                  <a:pt x="717361" y="143146"/>
                </a:cubicBezTo>
                <a:cubicBezTo>
                  <a:pt x="721045" y="157883"/>
                  <a:pt x="722500" y="157963"/>
                  <a:pt x="717361" y="176805"/>
                </a:cubicBezTo>
                <a:cubicBezTo>
                  <a:pt x="716474" y="180057"/>
                  <a:pt x="713621" y="182415"/>
                  <a:pt x="711751" y="185220"/>
                </a:cubicBezTo>
                <a:cubicBezTo>
                  <a:pt x="712686" y="190830"/>
                  <a:pt x="711295" y="197390"/>
                  <a:pt x="714556" y="202049"/>
                </a:cubicBezTo>
                <a:cubicBezTo>
                  <a:pt x="716505" y="204833"/>
                  <a:pt x="736740" y="216923"/>
                  <a:pt x="742605" y="218878"/>
                </a:cubicBezTo>
                <a:cubicBezTo>
                  <a:pt x="747128" y="220386"/>
                  <a:pt x="751955" y="220748"/>
                  <a:pt x="756630" y="221683"/>
                </a:cubicBezTo>
                <a:cubicBezTo>
                  <a:pt x="759435" y="223553"/>
                  <a:pt x="762939" y="224661"/>
                  <a:pt x="765045" y="227293"/>
                </a:cubicBezTo>
                <a:cubicBezTo>
                  <a:pt x="766892" y="229602"/>
                  <a:pt x="766685" y="232990"/>
                  <a:pt x="767850" y="235708"/>
                </a:cubicBezTo>
                <a:cubicBezTo>
                  <a:pt x="778247" y="259970"/>
                  <a:pt x="769686" y="235607"/>
                  <a:pt x="776264" y="255342"/>
                </a:cubicBezTo>
                <a:cubicBezTo>
                  <a:pt x="775329" y="260017"/>
                  <a:pt x="773459" y="264599"/>
                  <a:pt x="773459" y="269367"/>
                </a:cubicBezTo>
                <a:cubicBezTo>
                  <a:pt x="773459" y="282021"/>
                  <a:pt x="776177" y="284488"/>
                  <a:pt x="779069" y="294611"/>
                </a:cubicBezTo>
                <a:cubicBezTo>
                  <a:pt x="786111" y="319256"/>
                  <a:pt x="777956" y="294078"/>
                  <a:pt x="784679" y="314245"/>
                </a:cubicBezTo>
                <a:cubicBezTo>
                  <a:pt x="782809" y="318920"/>
                  <a:pt x="780837" y="323555"/>
                  <a:pt x="779069" y="328270"/>
                </a:cubicBezTo>
                <a:cubicBezTo>
                  <a:pt x="776677" y="334648"/>
                  <a:pt x="775132" y="342530"/>
                  <a:pt x="770654" y="347904"/>
                </a:cubicBezTo>
                <a:cubicBezTo>
                  <a:pt x="768496" y="350494"/>
                  <a:pt x="765045" y="351644"/>
                  <a:pt x="762240" y="353514"/>
                </a:cubicBezTo>
                <a:cubicBezTo>
                  <a:pt x="756094" y="362733"/>
                  <a:pt x="756728" y="360183"/>
                  <a:pt x="753825" y="370343"/>
                </a:cubicBezTo>
                <a:cubicBezTo>
                  <a:pt x="752766" y="374050"/>
                  <a:pt x="753158" y="378355"/>
                  <a:pt x="751020" y="381563"/>
                </a:cubicBezTo>
                <a:cubicBezTo>
                  <a:pt x="749150" y="384368"/>
                  <a:pt x="745410" y="385303"/>
                  <a:pt x="742605" y="387173"/>
                </a:cubicBezTo>
                <a:cubicBezTo>
                  <a:pt x="732322" y="402601"/>
                  <a:pt x="742606" y="389511"/>
                  <a:pt x="728581" y="401197"/>
                </a:cubicBezTo>
                <a:cubicBezTo>
                  <a:pt x="725533" y="403736"/>
                  <a:pt x="723394" y="407306"/>
                  <a:pt x="720166" y="409612"/>
                </a:cubicBezTo>
                <a:cubicBezTo>
                  <a:pt x="716764" y="412042"/>
                  <a:pt x="712532" y="413071"/>
                  <a:pt x="708947" y="415222"/>
                </a:cubicBezTo>
                <a:cubicBezTo>
                  <a:pt x="703166" y="418691"/>
                  <a:pt x="692117" y="426442"/>
                  <a:pt x="692117" y="426442"/>
                </a:cubicBezTo>
                <a:cubicBezTo>
                  <a:pt x="690549" y="432714"/>
                  <a:pt x="686433" y="450394"/>
                  <a:pt x="683702" y="454491"/>
                </a:cubicBezTo>
                <a:cubicBezTo>
                  <a:pt x="681832" y="457296"/>
                  <a:pt x="680951" y="461119"/>
                  <a:pt x="678093" y="462905"/>
                </a:cubicBezTo>
                <a:cubicBezTo>
                  <a:pt x="673078" y="466039"/>
                  <a:pt x="666873" y="466645"/>
                  <a:pt x="661263" y="468515"/>
                </a:cubicBezTo>
                <a:lnTo>
                  <a:pt x="652848" y="471320"/>
                </a:lnTo>
                <a:cubicBezTo>
                  <a:pt x="650043" y="474125"/>
                  <a:pt x="647565" y="477300"/>
                  <a:pt x="644434" y="479735"/>
                </a:cubicBezTo>
                <a:cubicBezTo>
                  <a:pt x="639112" y="483874"/>
                  <a:pt x="627604" y="490954"/>
                  <a:pt x="627604" y="490954"/>
                </a:cubicBezTo>
                <a:cubicBezTo>
                  <a:pt x="626669" y="493759"/>
                  <a:pt x="626235" y="496784"/>
                  <a:pt x="624799" y="499369"/>
                </a:cubicBezTo>
                <a:cubicBezTo>
                  <a:pt x="618325" y="511024"/>
                  <a:pt x="615883" y="516450"/>
                  <a:pt x="605165" y="521808"/>
                </a:cubicBezTo>
                <a:cubicBezTo>
                  <a:pt x="602520" y="523130"/>
                  <a:pt x="599593" y="523801"/>
                  <a:pt x="596750" y="524613"/>
                </a:cubicBezTo>
                <a:cubicBezTo>
                  <a:pt x="593044" y="525672"/>
                  <a:pt x="589223" y="526310"/>
                  <a:pt x="585531" y="527418"/>
                </a:cubicBezTo>
                <a:cubicBezTo>
                  <a:pt x="579867" y="529117"/>
                  <a:pt x="568701" y="533028"/>
                  <a:pt x="568701" y="533028"/>
                </a:cubicBezTo>
                <a:cubicBezTo>
                  <a:pt x="565896" y="535833"/>
                  <a:pt x="563754" y="539516"/>
                  <a:pt x="560286" y="541443"/>
                </a:cubicBezTo>
                <a:cubicBezTo>
                  <a:pt x="555117" y="544315"/>
                  <a:pt x="543457" y="547053"/>
                  <a:pt x="543457" y="547053"/>
                </a:cubicBezTo>
                <a:cubicBezTo>
                  <a:pt x="537847" y="546118"/>
                  <a:pt x="532145" y="545627"/>
                  <a:pt x="526627" y="544248"/>
                </a:cubicBezTo>
                <a:cubicBezTo>
                  <a:pt x="520890" y="542814"/>
                  <a:pt x="509798" y="538638"/>
                  <a:pt x="509798" y="538638"/>
                </a:cubicBezTo>
                <a:cubicBezTo>
                  <a:pt x="495773" y="539573"/>
                  <a:pt x="481639" y="539455"/>
                  <a:pt x="467724" y="541443"/>
                </a:cubicBezTo>
                <a:cubicBezTo>
                  <a:pt x="443118" y="544958"/>
                  <a:pt x="458426" y="545575"/>
                  <a:pt x="442480" y="552662"/>
                </a:cubicBezTo>
                <a:cubicBezTo>
                  <a:pt x="426757" y="559650"/>
                  <a:pt x="428117" y="554814"/>
                  <a:pt x="417236" y="563882"/>
                </a:cubicBezTo>
                <a:cubicBezTo>
                  <a:pt x="414189" y="566422"/>
                  <a:pt x="411626" y="569492"/>
                  <a:pt x="408821" y="572297"/>
                </a:cubicBezTo>
                <a:cubicBezTo>
                  <a:pt x="406375" y="579636"/>
                  <a:pt x="404430" y="593836"/>
                  <a:pt x="394797" y="597541"/>
                </a:cubicBezTo>
                <a:cubicBezTo>
                  <a:pt x="385898" y="600964"/>
                  <a:pt x="366748" y="603151"/>
                  <a:pt x="366748" y="603151"/>
                </a:cubicBezTo>
                <a:cubicBezTo>
                  <a:pt x="332548" y="601139"/>
                  <a:pt x="330314" y="603961"/>
                  <a:pt x="307845" y="597541"/>
                </a:cubicBezTo>
                <a:cubicBezTo>
                  <a:pt x="305002" y="596729"/>
                  <a:pt x="302015" y="596172"/>
                  <a:pt x="299430" y="594736"/>
                </a:cubicBezTo>
                <a:cubicBezTo>
                  <a:pt x="293536" y="591462"/>
                  <a:pt x="287368" y="588284"/>
                  <a:pt x="282600" y="583516"/>
                </a:cubicBezTo>
                <a:cubicBezTo>
                  <a:pt x="279795" y="580711"/>
                  <a:pt x="277630" y="577070"/>
                  <a:pt x="274186" y="575102"/>
                </a:cubicBezTo>
                <a:cubicBezTo>
                  <a:pt x="270839" y="573189"/>
                  <a:pt x="266673" y="573356"/>
                  <a:pt x="262966" y="572297"/>
                </a:cubicBezTo>
                <a:cubicBezTo>
                  <a:pt x="260123" y="571485"/>
                  <a:pt x="257356" y="570427"/>
                  <a:pt x="254551" y="569492"/>
                </a:cubicBezTo>
                <a:cubicBezTo>
                  <a:pt x="253616" y="566687"/>
                  <a:pt x="253183" y="563662"/>
                  <a:pt x="251747" y="561077"/>
                </a:cubicBezTo>
                <a:cubicBezTo>
                  <a:pt x="248473" y="555183"/>
                  <a:pt x="240527" y="544248"/>
                  <a:pt x="240527" y="544248"/>
                </a:cubicBezTo>
                <a:cubicBezTo>
                  <a:pt x="238999" y="539663"/>
                  <a:pt x="236691" y="530280"/>
                  <a:pt x="232112" y="527418"/>
                </a:cubicBezTo>
                <a:cubicBezTo>
                  <a:pt x="227098" y="524284"/>
                  <a:pt x="220203" y="525088"/>
                  <a:pt x="215283" y="521808"/>
                </a:cubicBezTo>
                <a:lnTo>
                  <a:pt x="198453" y="510589"/>
                </a:lnTo>
                <a:cubicBezTo>
                  <a:pt x="195648" y="508719"/>
                  <a:pt x="192423" y="507363"/>
                  <a:pt x="190039" y="504979"/>
                </a:cubicBezTo>
                <a:cubicBezTo>
                  <a:pt x="186299" y="501239"/>
                  <a:pt x="182835" y="497201"/>
                  <a:pt x="178819" y="493759"/>
                </a:cubicBezTo>
                <a:cubicBezTo>
                  <a:pt x="165948" y="482727"/>
                  <a:pt x="174147" y="494326"/>
                  <a:pt x="161989" y="479735"/>
                </a:cubicBezTo>
                <a:cubicBezTo>
                  <a:pt x="159831" y="477145"/>
                  <a:pt x="159012" y="473426"/>
                  <a:pt x="156380" y="471320"/>
                </a:cubicBezTo>
                <a:cubicBezTo>
                  <a:pt x="152746" y="468413"/>
                  <a:pt x="131307" y="465739"/>
                  <a:pt x="131135" y="465710"/>
                </a:cubicBezTo>
                <a:cubicBezTo>
                  <a:pt x="110967" y="458987"/>
                  <a:pt x="136147" y="467141"/>
                  <a:pt x="111501" y="460101"/>
                </a:cubicBezTo>
                <a:cubicBezTo>
                  <a:pt x="108658" y="459289"/>
                  <a:pt x="105995" y="457825"/>
                  <a:pt x="103086" y="457296"/>
                </a:cubicBezTo>
                <a:cubicBezTo>
                  <a:pt x="95670" y="455948"/>
                  <a:pt x="88093" y="455667"/>
                  <a:pt x="80647" y="454491"/>
                </a:cubicBezTo>
                <a:cubicBezTo>
                  <a:pt x="70322" y="452861"/>
                  <a:pt x="60078" y="450751"/>
                  <a:pt x="49793" y="448881"/>
                </a:cubicBezTo>
                <a:cubicBezTo>
                  <a:pt x="48858" y="446076"/>
                  <a:pt x="46988" y="443423"/>
                  <a:pt x="46988" y="440466"/>
                </a:cubicBezTo>
                <a:cubicBezTo>
                  <a:pt x="46988" y="432000"/>
                  <a:pt x="46900" y="423179"/>
                  <a:pt x="49793" y="415222"/>
                </a:cubicBezTo>
                <a:cubicBezTo>
                  <a:pt x="50945" y="412054"/>
                  <a:pt x="54859" y="409998"/>
                  <a:pt x="58208" y="409612"/>
                </a:cubicBezTo>
                <a:cubicBezTo>
                  <a:pt x="79591" y="407145"/>
                  <a:pt x="101217" y="407742"/>
                  <a:pt x="122721" y="406807"/>
                </a:cubicBezTo>
                <a:cubicBezTo>
                  <a:pt x="131542" y="403866"/>
                  <a:pt x="133548" y="404591"/>
                  <a:pt x="139550" y="395588"/>
                </a:cubicBezTo>
                <a:cubicBezTo>
                  <a:pt x="141190" y="393128"/>
                  <a:pt x="141420" y="389978"/>
                  <a:pt x="142355" y="387173"/>
                </a:cubicBezTo>
                <a:cubicBezTo>
                  <a:pt x="141420" y="378758"/>
                  <a:pt x="140942" y="370280"/>
                  <a:pt x="139550" y="361929"/>
                </a:cubicBezTo>
                <a:cubicBezTo>
                  <a:pt x="139064" y="359013"/>
                  <a:pt x="138836" y="355605"/>
                  <a:pt x="136745" y="353514"/>
                </a:cubicBezTo>
                <a:cubicBezTo>
                  <a:pt x="134655" y="351423"/>
                  <a:pt x="131136" y="351644"/>
                  <a:pt x="128331" y="350709"/>
                </a:cubicBezTo>
                <a:cubicBezTo>
                  <a:pt x="126461" y="345099"/>
                  <a:pt x="123212" y="339773"/>
                  <a:pt x="122721" y="333880"/>
                </a:cubicBezTo>
                <a:cubicBezTo>
                  <a:pt x="122556" y="331906"/>
                  <a:pt x="129121" y="313206"/>
                  <a:pt x="122721" y="308635"/>
                </a:cubicBezTo>
                <a:cubicBezTo>
                  <a:pt x="117909" y="305198"/>
                  <a:pt x="111628" y="304460"/>
                  <a:pt x="105891" y="303026"/>
                </a:cubicBezTo>
                <a:lnTo>
                  <a:pt x="83452" y="297416"/>
                </a:lnTo>
                <a:cubicBezTo>
                  <a:pt x="81582" y="294611"/>
                  <a:pt x="80226" y="291385"/>
                  <a:pt x="77842" y="289001"/>
                </a:cubicBezTo>
                <a:cubicBezTo>
                  <a:pt x="55780" y="266939"/>
                  <a:pt x="83984" y="302543"/>
                  <a:pt x="61013" y="274977"/>
                </a:cubicBezTo>
                <a:cubicBezTo>
                  <a:pt x="49326" y="260952"/>
                  <a:pt x="62415" y="271237"/>
                  <a:pt x="46988" y="260952"/>
                </a:cubicBezTo>
                <a:cubicBezTo>
                  <a:pt x="45118" y="258147"/>
                  <a:pt x="43536" y="255127"/>
                  <a:pt x="41378" y="252537"/>
                </a:cubicBezTo>
                <a:cubicBezTo>
                  <a:pt x="23381" y="230940"/>
                  <a:pt x="41283" y="256602"/>
                  <a:pt x="27354" y="235708"/>
                </a:cubicBezTo>
                <a:cubicBezTo>
                  <a:pt x="53097" y="227126"/>
                  <a:pt x="38299" y="229510"/>
                  <a:pt x="72232" y="232903"/>
                </a:cubicBezTo>
                <a:cubicBezTo>
                  <a:pt x="92414" y="239630"/>
                  <a:pt x="67205" y="231466"/>
                  <a:pt x="91867" y="238513"/>
                </a:cubicBezTo>
                <a:cubicBezTo>
                  <a:pt x="97969" y="240257"/>
                  <a:pt x="105196" y="243575"/>
                  <a:pt x="111501" y="244123"/>
                </a:cubicBezTo>
                <a:cubicBezTo>
                  <a:pt x="129223" y="245664"/>
                  <a:pt x="147030" y="245992"/>
                  <a:pt x="164794" y="246927"/>
                </a:cubicBezTo>
                <a:cubicBezTo>
                  <a:pt x="161989" y="245992"/>
                  <a:pt x="158689" y="245970"/>
                  <a:pt x="156380" y="244123"/>
                </a:cubicBezTo>
                <a:cubicBezTo>
                  <a:pt x="146914" y="236550"/>
                  <a:pt x="149624" y="223146"/>
                  <a:pt x="153575" y="213269"/>
                </a:cubicBezTo>
                <a:cubicBezTo>
                  <a:pt x="154827" y="210139"/>
                  <a:pt x="158909" y="209028"/>
                  <a:pt x="161989" y="207659"/>
                </a:cubicBezTo>
                <a:cubicBezTo>
                  <a:pt x="167393" y="205257"/>
                  <a:pt x="178819" y="202049"/>
                  <a:pt x="178819" y="202049"/>
                </a:cubicBezTo>
                <a:cubicBezTo>
                  <a:pt x="180689" y="199244"/>
                  <a:pt x="183952" y="196971"/>
                  <a:pt x="184429" y="193634"/>
                </a:cubicBezTo>
                <a:cubicBezTo>
                  <a:pt x="185824" y="183868"/>
                  <a:pt x="180443" y="180422"/>
                  <a:pt x="173209" y="176805"/>
                </a:cubicBezTo>
                <a:cubicBezTo>
                  <a:pt x="170564" y="175483"/>
                  <a:pt x="167599" y="174935"/>
                  <a:pt x="164794" y="174000"/>
                </a:cubicBezTo>
                <a:cubicBezTo>
                  <a:pt x="157355" y="166560"/>
                  <a:pt x="149564" y="156567"/>
                  <a:pt x="139550" y="151561"/>
                </a:cubicBezTo>
                <a:cubicBezTo>
                  <a:pt x="136905" y="150239"/>
                  <a:pt x="134071" y="149101"/>
                  <a:pt x="131135" y="148756"/>
                </a:cubicBezTo>
                <a:cubicBezTo>
                  <a:pt x="118102" y="147223"/>
                  <a:pt x="104956" y="146886"/>
                  <a:pt x="91867" y="145951"/>
                </a:cubicBezTo>
                <a:cubicBezTo>
                  <a:pt x="82517" y="146886"/>
                  <a:pt x="73105" y="147327"/>
                  <a:pt x="63818" y="148756"/>
                </a:cubicBezTo>
                <a:cubicBezTo>
                  <a:pt x="60896" y="149206"/>
                  <a:pt x="58360" y="151561"/>
                  <a:pt x="55403" y="151561"/>
                </a:cubicBezTo>
                <a:cubicBezTo>
                  <a:pt x="49716" y="151561"/>
                  <a:pt x="44091" y="150135"/>
                  <a:pt x="38574" y="148756"/>
                </a:cubicBezTo>
                <a:cubicBezTo>
                  <a:pt x="32837" y="147322"/>
                  <a:pt x="21744" y="143146"/>
                  <a:pt x="21744" y="143146"/>
                </a:cubicBezTo>
                <a:cubicBezTo>
                  <a:pt x="19874" y="140341"/>
                  <a:pt x="17642" y="137746"/>
                  <a:pt x="16134" y="134731"/>
                </a:cubicBezTo>
                <a:cubicBezTo>
                  <a:pt x="14812" y="132086"/>
                  <a:pt x="14969" y="128776"/>
                  <a:pt x="13329" y="126316"/>
                </a:cubicBezTo>
                <a:cubicBezTo>
                  <a:pt x="12810" y="125538"/>
                  <a:pt x="3513" y="127718"/>
                  <a:pt x="4915" y="126316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5" name="Title 1"/>
          <p:cNvSpPr txBox="1">
            <a:spLocks/>
          </p:cNvSpPr>
          <p:nvPr/>
        </p:nvSpPr>
        <p:spPr>
          <a:xfrm>
            <a:off x="1116013" y="1267887"/>
            <a:ext cx="792162" cy="2159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ఐస్</a:t>
            </a:r>
            <a:r>
              <a:rPr lang="en-US" sz="1100" dirty="0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US" sz="11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లాండ్</a:t>
            </a:r>
            <a:endParaRPr lang="en-IN" sz="1100" dirty="0">
              <a:solidFill>
                <a:srgbClr val="FFFF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96" name="Title 1"/>
          <p:cNvSpPr txBox="1">
            <a:spLocks/>
          </p:cNvSpPr>
          <p:nvPr/>
        </p:nvSpPr>
        <p:spPr>
          <a:xfrm rot="17939994">
            <a:off x="4709256" y="2630085"/>
            <a:ext cx="1133584" cy="3683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1050" dirty="0" err="1"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Ramabhadra" pitchFamily="2" charset="0"/>
                <a:ea typeface="+mj-ea"/>
                <a:cs typeface="Ramabhadra" pitchFamily="2" charset="0"/>
              </a:rPr>
              <a:t>బాల్టిక్</a:t>
            </a:r>
            <a:r>
              <a:rPr lang="en-US" sz="1050" dirty="0"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US" sz="1050" dirty="0" err="1"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Ramabhadra" pitchFamily="2" charset="0"/>
                <a:ea typeface="+mj-ea"/>
                <a:cs typeface="Ramabhadra" pitchFamily="2" charset="0"/>
              </a:rPr>
              <a:t>సముద్రము</a:t>
            </a:r>
            <a:endParaRPr lang="en-IN" sz="1050" dirty="0">
              <a:effectLst>
                <a:glow rad="101600">
                  <a:schemeClr val="bg1">
                    <a:alpha val="60000"/>
                  </a:schemeClr>
                </a:glow>
              </a:effectLst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97" name="Rectangle 1"/>
          <p:cNvSpPr>
            <a:spLocks noChangeArrowheads="1"/>
          </p:cNvSpPr>
          <p:nvPr/>
        </p:nvSpPr>
        <p:spPr bwMode="auto">
          <a:xfrm>
            <a:off x="6538918" y="285751"/>
            <a:ext cx="78579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 eaLnBrk="0" hangingPunct="0"/>
            <a:r>
              <a:rPr lang="en-US">
                <a:latin typeface="Ramabhadra" pitchFamily="2" charset="0"/>
                <a:ea typeface="Calibri" pitchFamily="34" charset="0"/>
                <a:cs typeface="Ramabhadra" pitchFamily="2" charset="0"/>
              </a:rPr>
              <a:t>ఆర్కిటిక్</a:t>
            </a:r>
          </a:p>
        </p:txBody>
      </p:sp>
      <p:sp>
        <p:nvSpPr>
          <p:cNvPr id="198" name="Rectangle 2"/>
          <p:cNvSpPr>
            <a:spLocks noChangeArrowheads="1"/>
          </p:cNvSpPr>
          <p:nvPr/>
        </p:nvSpPr>
        <p:spPr bwMode="auto">
          <a:xfrm>
            <a:off x="857250" y="6053671"/>
            <a:ext cx="17859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000">
                <a:latin typeface="Ramabhadra" pitchFamily="2" charset="0"/>
                <a:cs typeface="Ramabhadra" pitchFamily="2" charset="0"/>
              </a:rPr>
              <a:t>జీబ్రాల్టర్ జలసంధి</a:t>
            </a:r>
          </a:p>
        </p:txBody>
      </p:sp>
      <p:sp>
        <p:nvSpPr>
          <p:cNvPr id="199" name="Rectangle 1"/>
          <p:cNvSpPr>
            <a:spLocks noChangeArrowheads="1"/>
          </p:cNvSpPr>
          <p:nvPr/>
        </p:nvSpPr>
        <p:spPr bwMode="auto">
          <a:xfrm>
            <a:off x="3357569" y="2381255"/>
            <a:ext cx="71437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100">
                <a:latin typeface="Ramabhadra" pitchFamily="2" charset="0"/>
                <a:ea typeface="Calibri" pitchFamily="34" charset="0"/>
                <a:cs typeface="Ramabhadra" pitchFamily="2" charset="0"/>
              </a:rPr>
              <a:t>ఉత్తర సముద్రము</a:t>
            </a:r>
          </a:p>
        </p:txBody>
      </p:sp>
      <p:sp>
        <p:nvSpPr>
          <p:cNvPr id="200" name="Rectangle 1"/>
          <p:cNvSpPr>
            <a:spLocks noChangeArrowheads="1"/>
          </p:cNvSpPr>
          <p:nvPr/>
        </p:nvSpPr>
        <p:spPr bwMode="auto">
          <a:xfrm rot="1035189">
            <a:off x="1973263" y="4332046"/>
            <a:ext cx="8636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500">
                <a:latin typeface="Ramabhadra" pitchFamily="2" charset="0"/>
                <a:ea typeface="Calibri" pitchFamily="34" charset="0"/>
                <a:cs typeface="Ramabhadra" pitchFamily="2" charset="0"/>
              </a:rPr>
              <a:t>బిస్కే అఖాతము</a:t>
            </a:r>
          </a:p>
        </p:txBody>
      </p:sp>
      <p:sp>
        <p:nvSpPr>
          <p:cNvPr id="111" name="Title 1"/>
          <p:cNvSpPr txBox="1">
            <a:spLocks/>
          </p:cNvSpPr>
          <p:nvPr/>
        </p:nvSpPr>
        <p:spPr bwMode="auto">
          <a:xfrm>
            <a:off x="2500319" y="6096000"/>
            <a:ext cx="15716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n-US" sz="160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మధ్యదరా సముద్రము</a:t>
            </a:r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2197105" y="952501"/>
            <a:ext cx="201771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FF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66 ½° ఉత్తర అక్షాంశం ఆర్కిటిక్ వలయం</a:t>
            </a:r>
          </a:p>
        </p:txBody>
      </p:sp>
      <p:sp>
        <p:nvSpPr>
          <p:cNvPr id="118" name="Rectangle 1"/>
          <p:cNvSpPr>
            <a:spLocks noChangeArrowheads="1"/>
          </p:cNvSpPr>
          <p:nvPr/>
        </p:nvSpPr>
        <p:spPr bwMode="auto">
          <a:xfrm rot="16200000">
            <a:off x="-895348" y="3598936"/>
            <a:ext cx="390524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n-US" sz="2000" spc="6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ఉత్తర</a:t>
            </a:r>
            <a:r>
              <a:rPr lang="en-US" sz="2000" spc="6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2000" spc="6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అట్లాంటిక్</a:t>
            </a:r>
            <a:r>
              <a:rPr lang="en-US" sz="2000" spc="6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2000" spc="6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2000" spc="6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2000" spc="6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2000" spc="600" dirty="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74" name="Straight Connector 73"/>
          <p:cNvCxnSpPr/>
          <p:nvPr/>
        </p:nvCxnSpPr>
        <p:spPr>
          <a:xfrm>
            <a:off x="-571500" y="1524004"/>
            <a:ext cx="10001250" cy="2117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Footer Placeholder 6"/>
          <p:cNvSpPr>
            <a:spLocks noGrp="1"/>
          </p:cNvSpPr>
          <p:nvPr>
            <p:ph type="ftr" sz="quarter" idx="11"/>
          </p:nvPr>
        </p:nvSpPr>
        <p:spPr>
          <a:xfrm rot="5400000">
            <a:off x="-1567656" y="3317081"/>
            <a:ext cx="3860800" cy="274638"/>
          </a:xfrm>
        </p:spPr>
        <p:txBody>
          <a:bodyPr/>
          <a:lstStyle/>
          <a:p>
            <a:pPr>
              <a:defRPr/>
            </a:pPr>
            <a:r>
              <a:rPr lang="en-US" dirty="0">
                <a:latin typeface="Ramabhadra" pitchFamily="2" charset="0"/>
                <a:cs typeface="Ramabhadra" pitchFamily="2" charset="0"/>
              </a:rPr>
              <a:t>K. SURESH - SRIKALAHASTI</a:t>
            </a:r>
          </a:p>
        </p:txBody>
      </p:sp>
      <p:sp>
        <p:nvSpPr>
          <p:cNvPr id="160" name="Title 1"/>
          <p:cNvSpPr txBox="1">
            <a:spLocks/>
          </p:cNvSpPr>
          <p:nvPr/>
        </p:nvSpPr>
        <p:spPr>
          <a:xfrm>
            <a:off x="6500813" y="2381251"/>
            <a:ext cx="1363662" cy="2794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400" dirty="0" err="1">
                <a:latin typeface="Ramabhadra" pitchFamily="2" charset="0"/>
                <a:ea typeface="+mj-ea"/>
                <a:cs typeface="Ramabhadra" pitchFamily="2" charset="0"/>
              </a:rPr>
              <a:t>మాస్కో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63" name="Title 1"/>
          <p:cNvSpPr txBox="1">
            <a:spLocks/>
          </p:cNvSpPr>
          <p:nvPr/>
        </p:nvSpPr>
        <p:spPr>
          <a:xfrm>
            <a:off x="4284669" y="5403851"/>
            <a:ext cx="644525" cy="2159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1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రోమ్</a:t>
            </a:r>
            <a:endParaRPr lang="en-IN" sz="1100" dirty="0">
              <a:solidFill>
                <a:srgbClr val="FFFF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74" name="Title 1"/>
          <p:cNvSpPr txBox="1">
            <a:spLocks/>
          </p:cNvSpPr>
          <p:nvPr/>
        </p:nvSpPr>
        <p:spPr>
          <a:xfrm>
            <a:off x="2863850" y="3619503"/>
            <a:ext cx="565150" cy="1905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100" dirty="0" err="1">
                <a:latin typeface="Ramabhadra" pitchFamily="2" charset="0"/>
                <a:ea typeface="+mj-ea"/>
                <a:cs typeface="Ramabhadra" pitchFamily="2" charset="0"/>
              </a:rPr>
              <a:t>లండన్</a:t>
            </a:r>
            <a:endParaRPr lang="en-IN" sz="11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76" name="Title 1"/>
          <p:cNvSpPr txBox="1">
            <a:spLocks/>
          </p:cNvSpPr>
          <p:nvPr/>
        </p:nvSpPr>
        <p:spPr>
          <a:xfrm>
            <a:off x="3363919" y="4239687"/>
            <a:ext cx="720725" cy="2159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200" dirty="0" err="1">
                <a:latin typeface="Ramabhadra" pitchFamily="2" charset="0"/>
                <a:ea typeface="+mj-ea"/>
                <a:cs typeface="Ramabhadra" pitchFamily="2" charset="0"/>
              </a:rPr>
              <a:t>పారిస్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77" name="Title 1"/>
          <p:cNvSpPr txBox="1">
            <a:spLocks/>
          </p:cNvSpPr>
          <p:nvPr/>
        </p:nvSpPr>
        <p:spPr>
          <a:xfrm rot="15754015">
            <a:off x="3048267" y="3019165"/>
            <a:ext cx="1242484" cy="131763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1000" dirty="0" err="1">
                <a:latin typeface="Ramabhadra" pitchFamily="2" charset="0"/>
                <a:ea typeface="+mj-ea"/>
                <a:cs typeface="Ramabhadra" pitchFamily="2" charset="0"/>
              </a:rPr>
              <a:t>ది</a:t>
            </a:r>
            <a:r>
              <a:rPr lang="en-US" sz="100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US" sz="1000" dirty="0" err="1">
                <a:latin typeface="Ramabhadra" pitchFamily="2" charset="0"/>
                <a:ea typeface="+mj-ea"/>
                <a:cs typeface="Ramabhadra" pitchFamily="2" charset="0"/>
              </a:rPr>
              <a:t>హేగ్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01" name="Title 1"/>
          <p:cNvSpPr txBox="1">
            <a:spLocks/>
          </p:cNvSpPr>
          <p:nvPr/>
        </p:nvSpPr>
        <p:spPr>
          <a:xfrm>
            <a:off x="3136906" y="4000500"/>
            <a:ext cx="792163" cy="285751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1000" dirty="0" err="1">
                <a:latin typeface="Ramabhadra" pitchFamily="2" charset="0"/>
                <a:ea typeface="+mj-ea"/>
                <a:cs typeface="Ramabhadra" pitchFamily="2" charset="0"/>
              </a:rPr>
              <a:t>వర్సెయిల్స్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02" name="Title 1"/>
          <p:cNvSpPr txBox="1">
            <a:spLocks/>
          </p:cNvSpPr>
          <p:nvPr/>
        </p:nvSpPr>
        <p:spPr>
          <a:xfrm>
            <a:off x="3935413" y="3524255"/>
            <a:ext cx="857250" cy="21378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en-IN" sz="1050" dirty="0" err="1">
                <a:solidFill>
                  <a:srgbClr val="0000FF"/>
                </a:solidFill>
                <a:latin typeface="Ramabhadra" pitchFamily="2" charset="0"/>
                <a:ea typeface="+mj-ea"/>
                <a:cs typeface="Ramabhadra" pitchFamily="2" charset="0"/>
              </a:rPr>
              <a:t>బెర్లిన్</a:t>
            </a:r>
            <a:endParaRPr lang="en-IN" sz="1050" dirty="0">
              <a:solidFill>
                <a:srgbClr val="0000FF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03" name="Oval 202"/>
          <p:cNvSpPr/>
          <p:nvPr/>
        </p:nvSpPr>
        <p:spPr>
          <a:xfrm>
            <a:off x="4292601" y="5397504"/>
            <a:ext cx="71438" cy="14393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4" name="Oval 203"/>
          <p:cNvSpPr/>
          <p:nvPr/>
        </p:nvSpPr>
        <p:spPr>
          <a:xfrm>
            <a:off x="3363919" y="4167723"/>
            <a:ext cx="46037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5" name="Oval 204"/>
          <p:cNvSpPr/>
          <p:nvPr/>
        </p:nvSpPr>
        <p:spPr>
          <a:xfrm>
            <a:off x="3221044" y="3738039"/>
            <a:ext cx="71437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solidFill>
                <a:schemeClr val="tx1"/>
              </a:solidFill>
              <a:latin typeface="Ramabhadra" pitchFamily="2" charset="0"/>
              <a:ea typeface="+mj-ea"/>
              <a:cs typeface="Ramabhadra" pitchFamily="2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6" name="Oval 205"/>
          <p:cNvSpPr/>
          <p:nvPr/>
        </p:nvSpPr>
        <p:spPr>
          <a:xfrm>
            <a:off x="4506919" y="3670300"/>
            <a:ext cx="6508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7" name="Oval 206"/>
          <p:cNvSpPr/>
          <p:nvPr/>
        </p:nvSpPr>
        <p:spPr>
          <a:xfrm>
            <a:off x="6450019" y="2444755"/>
            <a:ext cx="73025" cy="14393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8" name="Oval 207"/>
          <p:cNvSpPr/>
          <p:nvPr/>
        </p:nvSpPr>
        <p:spPr>
          <a:xfrm>
            <a:off x="3722688" y="3638551"/>
            <a:ext cx="63500" cy="7831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0" name="Oval 209"/>
          <p:cNvSpPr/>
          <p:nvPr/>
        </p:nvSpPr>
        <p:spPr>
          <a:xfrm>
            <a:off x="3363919" y="4239690"/>
            <a:ext cx="46037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1" name="Oval 210"/>
          <p:cNvSpPr/>
          <p:nvPr/>
        </p:nvSpPr>
        <p:spPr>
          <a:xfrm>
            <a:off x="5364169" y="3714757"/>
            <a:ext cx="65087" cy="9524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2" name="Title 1"/>
          <p:cNvSpPr txBox="1">
            <a:spLocks/>
          </p:cNvSpPr>
          <p:nvPr/>
        </p:nvSpPr>
        <p:spPr>
          <a:xfrm>
            <a:off x="5143500" y="3810006"/>
            <a:ext cx="857250" cy="285751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వార్సా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15" name="TextBox 96"/>
          <p:cNvSpPr txBox="1">
            <a:spLocks noChangeArrowheads="1"/>
          </p:cNvSpPr>
          <p:nvPr/>
        </p:nvSpPr>
        <p:spPr bwMode="auto">
          <a:xfrm>
            <a:off x="3714750" y="2762255"/>
            <a:ext cx="6556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>
                <a:latin typeface="Ramabhadra" pitchFamily="2" charset="0"/>
                <a:cs typeface="Ramabhadra" pitchFamily="2" charset="0"/>
              </a:rPr>
              <a:t>డెన్మార్క్</a:t>
            </a:r>
          </a:p>
        </p:txBody>
      </p:sp>
      <p:sp>
        <p:nvSpPr>
          <p:cNvPr id="136" name="TextBox 120"/>
          <p:cNvSpPr txBox="1">
            <a:spLocks noChangeArrowheads="1"/>
          </p:cNvSpPr>
          <p:nvPr/>
        </p:nvSpPr>
        <p:spPr bwMode="auto">
          <a:xfrm rot="229757">
            <a:off x="4792663" y="4815159"/>
            <a:ext cx="50006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600">
                <a:latin typeface="Ramabhadra" pitchFamily="2" charset="0"/>
                <a:cs typeface="Ramabhadra" pitchFamily="2" charset="0"/>
              </a:rPr>
              <a:t>క్రోయేషియా</a:t>
            </a:r>
          </a:p>
        </p:txBody>
      </p:sp>
      <p:sp>
        <p:nvSpPr>
          <p:cNvPr id="209" name="Title 1"/>
          <p:cNvSpPr txBox="1">
            <a:spLocks/>
          </p:cNvSpPr>
          <p:nvPr/>
        </p:nvSpPr>
        <p:spPr>
          <a:xfrm>
            <a:off x="6143630" y="5429253"/>
            <a:ext cx="1127125" cy="287867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800" dirty="0" err="1">
                <a:latin typeface="Ramabhadra" pitchFamily="2" charset="0"/>
                <a:ea typeface="+mj-ea"/>
                <a:cs typeface="Ramabhadra" pitchFamily="2" charset="0"/>
              </a:rPr>
              <a:t>టర్కీ</a:t>
            </a:r>
            <a:endParaRPr lang="en-IN" sz="8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13" name="Title 1"/>
          <p:cNvSpPr txBox="1">
            <a:spLocks/>
          </p:cNvSpPr>
          <p:nvPr/>
        </p:nvSpPr>
        <p:spPr>
          <a:xfrm rot="2292588">
            <a:off x="6054725" y="4447119"/>
            <a:ext cx="623888" cy="266700"/>
          </a:xfrm>
          <a:prstGeom prst="rect">
            <a:avLst/>
          </a:prstGeom>
        </p:spPr>
        <p:txBody>
          <a:bodyPr anchor="ctr"/>
          <a:lstStyle/>
          <a:p>
            <a:pPr fontAlgn="auto">
              <a:spcAft>
                <a:spcPts val="0"/>
              </a:spcAft>
              <a:defRPr/>
            </a:pPr>
            <a:r>
              <a:rPr lang="en-US" sz="700" dirty="0" err="1">
                <a:latin typeface="Ramabhadra" pitchFamily="2" charset="0"/>
                <a:ea typeface="+mj-ea"/>
                <a:cs typeface="Ramabhadra" pitchFamily="2" charset="0"/>
              </a:rPr>
              <a:t>మాల్డోవా</a:t>
            </a:r>
            <a:endParaRPr lang="en-IN" sz="7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32" name="Title 1"/>
          <p:cNvSpPr txBox="1">
            <a:spLocks/>
          </p:cNvSpPr>
          <p:nvPr/>
        </p:nvSpPr>
        <p:spPr>
          <a:xfrm>
            <a:off x="3857631" y="4286255"/>
            <a:ext cx="714375" cy="21378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te-IN" sz="900" dirty="0">
                <a:solidFill>
                  <a:srgbClr val="0000FF"/>
                </a:solidFill>
                <a:latin typeface="Ramabhadra" pitchFamily="2" charset="0"/>
                <a:ea typeface="+mj-ea"/>
                <a:cs typeface="Ramabhadra" pitchFamily="2" charset="0"/>
              </a:rPr>
              <a:t>జెనీవా</a:t>
            </a:r>
            <a:endParaRPr lang="en-IN" sz="900" dirty="0">
              <a:solidFill>
                <a:srgbClr val="0000FF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4000500" y="4504267"/>
            <a:ext cx="6508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b="1" dirty="0">
              <a:latin typeface="AvantGarde Bk BT" pitchFamily="34" charset="0"/>
            </a:endParaRPr>
          </a:p>
        </p:txBody>
      </p:sp>
      <p:sp>
        <p:nvSpPr>
          <p:cNvPr id="217" name="Oval 216"/>
          <p:cNvSpPr/>
          <p:nvPr/>
        </p:nvSpPr>
        <p:spPr>
          <a:xfrm>
            <a:off x="4721225" y="4510622"/>
            <a:ext cx="6508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b="1" dirty="0">
              <a:latin typeface="AvantGarde Bk BT" pitchFamily="34" charset="0"/>
            </a:endParaRPr>
          </a:p>
        </p:txBody>
      </p:sp>
      <p:sp>
        <p:nvSpPr>
          <p:cNvPr id="219" name="Title 1"/>
          <p:cNvSpPr txBox="1">
            <a:spLocks/>
          </p:cNvSpPr>
          <p:nvPr/>
        </p:nvSpPr>
        <p:spPr>
          <a:xfrm>
            <a:off x="5643581" y="5905500"/>
            <a:ext cx="785813" cy="213784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te-IN" sz="1000" dirty="0">
                <a:effectLst>
                  <a:glow rad="101600">
                    <a:schemeClr val="bg1">
                      <a:alpha val="60000"/>
                    </a:schemeClr>
                  </a:glow>
                </a:effectLst>
                <a:latin typeface="Ramabhadra" pitchFamily="2" charset="0"/>
                <a:ea typeface="+mj-ea"/>
                <a:cs typeface="Ramabhadra" pitchFamily="2" charset="0"/>
              </a:rPr>
              <a:t>ఏథెన్స్</a:t>
            </a:r>
            <a:endParaRPr lang="en-IN" sz="1000" dirty="0">
              <a:effectLst>
                <a:glow rad="101600">
                  <a:schemeClr val="bg1">
                    <a:alpha val="60000"/>
                  </a:schemeClr>
                </a:glow>
              </a:effectLst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5786444" y="6024033"/>
            <a:ext cx="6508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 b="1" dirty="0">
              <a:latin typeface="AvantGarde Bk BT" pitchFamily="34" charset="0"/>
            </a:endParaRPr>
          </a:p>
        </p:txBody>
      </p:sp>
      <p:sp>
        <p:nvSpPr>
          <p:cNvPr id="190" name="Title 1"/>
          <p:cNvSpPr txBox="1">
            <a:spLocks/>
          </p:cNvSpPr>
          <p:nvPr/>
        </p:nvSpPr>
        <p:spPr>
          <a:xfrm rot="20681958">
            <a:off x="4141794" y="4478871"/>
            <a:ext cx="866775" cy="133351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Aft>
                <a:spcPts val="0"/>
              </a:spcAft>
              <a:defRPr/>
            </a:pPr>
            <a:r>
              <a:rPr lang="te-IN" sz="800" dirty="0">
                <a:latin typeface="Ramabhadra" pitchFamily="2" charset="0"/>
                <a:ea typeface="+mj-ea"/>
                <a:cs typeface="Ramabhadra" pitchFamily="2" charset="0"/>
              </a:rPr>
              <a:t>వియన్నా</a:t>
            </a:r>
            <a:endParaRPr lang="en-IN" sz="8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21" name="Rectangle 2"/>
          <p:cNvSpPr>
            <a:spLocks noChangeArrowheads="1"/>
          </p:cNvSpPr>
          <p:nvPr/>
        </p:nvSpPr>
        <p:spPr bwMode="auto">
          <a:xfrm>
            <a:off x="2587631" y="3788835"/>
            <a:ext cx="141287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te-IN" sz="900">
                <a:latin typeface="Ramabhadra" pitchFamily="2" charset="0"/>
                <a:cs typeface="Ramabhadra" pitchFamily="2" charset="0"/>
              </a:rPr>
              <a:t>ఇంగ్లీష్ </a:t>
            </a:r>
            <a:r>
              <a:rPr lang="en-US" sz="900">
                <a:latin typeface="Ramabhadra" pitchFamily="2" charset="0"/>
                <a:cs typeface="Ramabhadra" pitchFamily="2" charset="0"/>
              </a:rPr>
              <a:t> </a:t>
            </a:r>
            <a:r>
              <a:rPr lang="te-IN" sz="900">
                <a:latin typeface="Ramabhadra" pitchFamily="2" charset="0"/>
                <a:cs typeface="Ramabhadra" pitchFamily="2" charset="0"/>
              </a:rPr>
              <a:t>చానల్</a:t>
            </a:r>
            <a:endParaRPr lang="en-US" sz="900"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7" dur="2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8" dur="2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9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0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1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2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3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33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34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3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3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41" dur="5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6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7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925" decel="1000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5" dur="1925" decel="100000"/>
                                        <p:tgtEl>
                                          <p:spTgt spid="21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7" dur="1925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9" dur="1925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925" decel="1000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6" dur="1925" decel="100000"/>
                                        <p:tgtEl>
                                          <p:spTgt spid="17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8" dur="1925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0" dur="1925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925" decel="1000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7" dur="1925" decel="100000"/>
                                        <p:tgtEl>
                                          <p:spTgt spid="20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9" dur="1925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1" dur="1925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925" decel="1000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" dur="1925" decel="100000"/>
                                        <p:tgtEl>
                                          <p:spTgt spid="20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0" dur="1925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2" dur="1925" fill="hold"/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98" dur="5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3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4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1925" decel="1000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2" dur="1925" decel="100000"/>
                                        <p:tgtEl>
                                          <p:spTgt spid="20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4" dur="1925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6" dur="1925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925" decel="1000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3" dur="1925" decel="100000"/>
                                        <p:tgtEl>
                                          <p:spTgt spid="17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5" dur="1925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7" dur="1925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925" decel="100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1925" decel="100000"/>
                                        <p:tgtEl>
                                          <p:spTgt spid="10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3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36" dur="1925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3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38" dur="1925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3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1925" decel="100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5" dur="1925" decel="100000"/>
                                        <p:tgtEl>
                                          <p:spTgt spid="10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4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47" dur="1925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4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49" dur="1925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5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1925" decel="1000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6" dur="1925" decel="100000"/>
                                        <p:tgtEl>
                                          <p:spTgt spid="19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5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58" dur="1925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5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60" dur="1925" fill="hold"/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6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2" fill="hold">
                      <p:stCondLst>
                        <p:cond delay="indefinite"/>
                      </p:stCondLst>
                      <p:childTnLst>
                        <p:par>
                          <p:cTn id="163" fill="hold">
                            <p:stCondLst>
                              <p:cond delay="0"/>
                            </p:stCondLst>
                            <p:childTnLst>
                              <p:par>
                                <p:cTn id="16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66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67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6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6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0" fill="hold">
                      <p:stCondLst>
                        <p:cond delay="indefinite"/>
                      </p:stCondLst>
                      <p:childTnLst>
                        <p:par>
                          <p:cTn id="171" fill="hold">
                            <p:stCondLst>
                              <p:cond delay="0"/>
                            </p:stCondLst>
                            <p:childTnLst>
                              <p:par>
                                <p:cTn id="17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1925" decel="100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5" dur="1925" decel="100000"/>
                                        <p:tgtEl>
                                          <p:spTgt spid="10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7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77" dur="1925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7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79" dur="1925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8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1925" decel="100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6" dur="1925" decel="100000"/>
                                        <p:tgtEl>
                                          <p:spTgt spid="10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8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88" dur="1925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8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90" dur="1925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9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2" fill="hold">
                      <p:stCondLst>
                        <p:cond delay="indefinite"/>
                      </p:stCondLst>
                      <p:childTnLst>
                        <p:par>
                          <p:cTn id="193" fill="hold">
                            <p:stCondLst>
                              <p:cond delay="0"/>
                            </p:stCondLst>
                            <p:childTnLst>
                              <p:par>
                                <p:cTn id="19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6" dur="1925" decel="100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7" dur="1925" decel="100000"/>
                                        <p:tgtEl>
                                          <p:spTgt spid="10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99" dur="1925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0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01" dur="1925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0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3" fill="hold">
                      <p:stCondLst>
                        <p:cond delay="indefinite"/>
                      </p:stCondLst>
                      <p:childTnLst>
                        <p:par>
                          <p:cTn id="204" fill="hold">
                            <p:stCondLst>
                              <p:cond delay="0"/>
                            </p:stCondLst>
                            <p:childTnLst>
                              <p:par>
                                <p:cTn id="205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07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08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0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1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1925" decel="1000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6" dur="1925" decel="100000"/>
                                        <p:tgtEl>
                                          <p:spTgt spid="20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1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18" dur="1925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0" dur="1925" fill="hold"/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2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2" fill="hold">
                      <p:stCondLst>
                        <p:cond delay="indefinite"/>
                      </p:stCondLst>
                      <p:childTnLst>
                        <p:par>
                          <p:cTn id="223" fill="hold">
                            <p:stCondLst>
                              <p:cond delay="0"/>
                            </p:stCondLst>
                            <p:childTnLst>
                              <p:par>
                                <p:cTn id="22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6" dur="1925" decel="1000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7" dur="1925" decel="100000"/>
                                        <p:tgtEl>
                                          <p:spTgt spid="17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2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29" dur="1925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3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31" dur="1925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3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3" fill="hold">
                      <p:stCondLst>
                        <p:cond delay="indefinite"/>
                      </p:stCondLst>
                      <p:childTnLst>
                        <p:par>
                          <p:cTn id="234" fill="hold">
                            <p:stCondLst>
                              <p:cond delay="0"/>
                            </p:stCondLst>
                            <p:childTnLst>
                              <p:par>
                                <p:cTn id="23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925" decel="100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8" dur="1925" decel="100000"/>
                                        <p:tgtEl>
                                          <p:spTgt spid="1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3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40" dur="1925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4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42" dur="1925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4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4" fill="hold">
                      <p:stCondLst>
                        <p:cond delay="indefinite"/>
                      </p:stCondLst>
                      <p:childTnLst>
                        <p:par>
                          <p:cTn id="245" fill="hold">
                            <p:stCondLst>
                              <p:cond delay="0"/>
                            </p:stCondLst>
                            <p:childTnLst>
                              <p:par>
                                <p:cTn id="24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248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249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25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25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2" fill="hold">
                      <p:stCondLst>
                        <p:cond delay="indefinite"/>
                      </p:stCondLst>
                      <p:childTnLst>
                        <p:par>
                          <p:cTn id="253" fill="hold">
                            <p:stCondLst>
                              <p:cond delay="0"/>
                            </p:stCondLst>
                            <p:childTnLst>
                              <p:par>
                                <p:cTn id="25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6" dur="1925" decel="1000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7" dur="1925" decel="100000"/>
                                        <p:tgtEl>
                                          <p:spTgt spid="20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5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59" dur="1925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6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61" dur="1925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6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3" fill="hold">
                      <p:stCondLst>
                        <p:cond delay="indefinite"/>
                      </p:stCondLst>
                      <p:childTnLst>
                        <p:par>
                          <p:cTn id="264" fill="hold">
                            <p:stCondLst>
                              <p:cond delay="0"/>
                            </p:stCondLst>
                            <p:childTnLst>
                              <p:par>
                                <p:cTn id="26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7" dur="1925" decel="1000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8" dur="1925" decel="100000"/>
                                        <p:tgtEl>
                                          <p:spTgt spid="20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6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70" dur="1925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7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72" dur="1925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7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4" fill="hold">
                      <p:stCondLst>
                        <p:cond delay="indefinite"/>
                      </p:stCondLst>
                      <p:childTnLst>
                        <p:par>
                          <p:cTn id="275" fill="hold">
                            <p:stCondLst>
                              <p:cond delay="0"/>
                            </p:stCondLst>
                            <p:childTnLst>
                              <p:par>
                                <p:cTn id="27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8" dur="1925" decel="1000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9" dur="1925" decel="100000"/>
                                        <p:tgtEl>
                                          <p:spTgt spid="11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8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81" dur="1925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8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83" dur="1925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8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5" fill="hold">
                      <p:stCondLst>
                        <p:cond delay="indefinite"/>
                      </p:stCondLst>
                      <p:childTnLst>
                        <p:par>
                          <p:cTn id="286" fill="hold">
                            <p:stCondLst>
                              <p:cond delay="0"/>
                            </p:stCondLst>
                            <p:childTnLst>
                              <p:par>
                                <p:cTn id="28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9" dur="1925" decel="1000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0" dur="1925" decel="100000"/>
                                        <p:tgtEl>
                                          <p:spTgt spid="21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9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92" dur="1925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9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94" dur="1925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9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6" fill="hold">
                      <p:stCondLst>
                        <p:cond delay="indefinite"/>
                      </p:stCondLst>
                      <p:childTnLst>
                        <p:par>
                          <p:cTn id="297" fill="hold">
                            <p:stCondLst>
                              <p:cond delay="0"/>
                            </p:stCondLst>
                            <p:childTnLst>
                              <p:par>
                                <p:cTn id="298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0" dur="1925" decel="100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01" dur="1925" decel="100000"/>
                                        <p:tgtEl>
                                          <p:spTgt spid="11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0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3" dur="1925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0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05" dur="1925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0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7" fill="hold">
                      <p:stCondLst>
                        <p:cond delay="indefinite"/>
                      </p:stCondLst>
                      <p:childTnLst>
                        <p:par>
                          <p:cTn id="308" fill="hold">
                            <p:stCondLst>
                              <p:cond delay="0"/>
                            </p:stCondLst>
                            <p:childTnLst>
                              <p:par>
                                <p:cTn id="30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1" dur="1925" decel="100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2" dur="1925" decel="100000"/>
                                        <p:tgtEl>
                                          <p:spTgt spid="11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1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14" dur="1925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1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16" dur="1925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1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8" fill="hold">
                      <p:stCondLst>
                        <p:cond delay="indefinite"/>
                      </p:stCondLst>
                      <p:childTnLst>
                        <p:par>
                          <p:cTn id="319" fill="hold">
                            <p:stCondLst>
                              <p:cond delay="0"/>
                            </p:stCondLst>
                            <p:childTnLst>
                              <p:par>
                                <p:cTn id="32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2" dur="1925" decel="1000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23" dur="1925" decel="100000"/>
                                        <p:tgtEl>
                                          <p:spTgt spid="2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2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25" dur="1925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2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27" dur="1925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2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9" fill="hold">
                      <p:stCondLst>
                        <p:cond delay="indefinite"/>
                      </p:stCondLst>
                      <p:childTnLst>
                        <p:par>
                          <p:cTn id="330" fill="hold">
                            <p:stCondLst>
                              <p:cond delay="0"/>
                            </p:stCondLst>
                            <p:childTnLst>
                              <p:par>
                                <p:cTn id="33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3" dur="1925" decel="1000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4" dur="1925" decel="100000"/>
                                        <p:tgtEl>
                                          <p:spTgt spid="2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3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36" dur="1925" fill="hold"/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3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38" dur="1925" fill="hold"/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3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0" fill="hold">
                      <p:stCondLst>
                        <p:cond delay="indefinite"/>
                      </p:stCondLst>
                      <p:childTnLst>
                        <p:par>
                          <p:cTn id="341" fill="hold">
                            <p:stCondLst>
                              <p:cond delay="0"/>
                            </p:stCondLst>
                            <p:childTnLst>
                              <p:par>
                                <p:cTn id="34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4" dur="1925" decel="100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5" dur="1925" decel="100000"/>
                                        <p:tgtEl>
                                          <p:spTgt spid="11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4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47" dur="1925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4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49" dur="1925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5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1" fill="hold">
                      <p:stCondLst>
                        <p:cond delay="indefinite"/>
                      </p:stCondLst>
                      <p:childTnLst>
                        <p:par>
                          <p:cTn id="352" fill="hold">
                            <p:stCondLst>
                              <p:cond delay="0"/>
                            </p:stCondLst>
                            <p:childTnLst>
                              <p:par>
                                <p:cTn id="35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5" dur="1925" decel="100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6" dur="1925" decel="100000"/>
                                        <p:tgtEl>
                                          <p:spTgt spid="12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5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58" dur="1925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5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60" dur="1925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6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2" fill="hold">
                      <p:stCondLst>
                        <p:cond delay="indefinite"/>
                      </p:stCondLst>
                      <p:childTnLst>
                        <p:par>
                          <p:cTn id="363" fill="hold">
                            <p:stCondLst>
                              <p:cond delay="0"/>
                            </p:stCondLst>
                            <p:childTnLst>
                              <p:par>
                                <p:cTn id="36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6" dur="1925" decel="100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67" dur="1925" decel="100000"/>
                                        <p:tgtEl>
                                          <p:spTgt spid="1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6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69" dur="1925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7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71" dur="1925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7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3" fill="hold">
                      <p:stCondLst>
                        <p:cond delay="indefinite"/>
                      </p:stCondLst>
                      <p:childTnLst>
                        <p:par>
                          <p:cTn id="374" fill="hold">
                            <p:stCondLst>
                              <p:cond delay="0"/>
                            </p:stCondLst>
                            <p:childTnLst>
                              <p:par>
                                <p:cTn id="37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7" dur="1925" decel="100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8" dur="1925" decel="100000"/>
                                        <p:tgtEl>
                                          <p:spTgt spid="12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7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80" dur="1925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8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82" dur="1925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8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4" fill="hold">
                      <p:stCondLst>
                        <p:cond delay="indefinite"/>
                      </p:stCondLst>
                      <p:childTnLst>
                        <p:par>
                          <p:cTn id="385" fill="hold">
                            <p:stCondLst>
                              <p:cond delay="0"/>
                            </p:stCondLst>
                            <p:childTnLst>
                              <p:par>
                                <p:cTn id="38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8" dur="1925" decel="100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89" dur="1925" decel="100000"/>
                                        <p:tgtEl>
                                          <p:spTgt spid="12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91" dur="1925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9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93" dur="1925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9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5" fill="hold">
                      <p:stCondLst>
                        <p:cond delay="indefinite"/>
                      </p:stCondLst>
                      <p:childTnLst>
                        <p:par>
                          <p:cTn id="396" fill="hold">
                            <p:stCondLst>
                              <p:cond delay="0"/>
                            </p:stCondLst>
                            <p:childTnLst>
                              <p:par>
                                <p:cTn id="397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9" dur="1925" decel="100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0" dur="1925" decel="100000"/>
                                        <p:tgtEl>
                                          <p:spTgt spid="12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0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02" dur="1925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0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04" dur="1925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0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6" fill="hold">
                      <p:stCondLst>
                        <p:cond delay="indefinite"/>
                      </p:stCondLst>
                      <p:childTnLst>
                        <p:par>
                          <p:cTn id="407" fill="hold">
                            <p:stCondLst>
                              <p:cond delay="0"/>
                            </p:stCondLst>
                            <p:childTnLst>
                              <p:par>
                                <p:cTn id="40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0" dur="1925" decel="100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1" dur="1925" decel="100000"/>
                                        <p:tgtEl>
                                          <p:spTgt spid="12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1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13" dur="1925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15" dur="1925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1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7" fill="hold">
                      <p:stCondLst>
                        <p:cond delay="indefinite"/>
                      </p:stCondLst>
                      <p:childTnLst>
                        <p:par>
                          <p:cTn id="418" fill="hold">
                            <p:stCondLst>
                              <p:cond delay="0"/>
                            </p:stCondLst>
                            <p:childTnLst>
                              <p:par>
                                <p:cTn id="41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1" dur="1925" decel="100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2" dur="1925" decel="100000"/>
                                        <p:tgtEl>
                                          <p:spTgt spid="12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2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24" dur="1925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2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6" dur="1925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2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8" fill="hold">
                      <p:stCondLst>
                        <p:cond delay="indefinite"/>
                      </p:stCondLst>
                      <p:childTnLst>
                        <p:par>
                          <p:cTn id="429" fill="hold">
                            <p:stCondLst>
                              <p:cond delay="0"/>
                            </p:stCondLst>
                            <p:childTnLst>
                              <p:par>
                                <p:cTn id="430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32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33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3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3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6" fill="hold">
                      <p:stCondLst>
                        <p:cond delay="indefinite"/>
                      </p:stCondLst>
                      <p:childTnLst>
                        <p:par>
                          <p:cTn id="437" fill="hold">
                            <p:stCondLst>
                              <p:cond delay="0"/>
                            </p:stCondLst>
                            <p:childTnLst>
                              <p:par>
                                <p:cTn id="43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0" dur="5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1" fill="hold">
                      <p:stCondLst>
                        <p:cond delay="indefinite"/>
                      </p:stCondLst>
                      <p:childTnLst>
                        <p:par>
                          <p:cTn id="442" fill="hold">
                            <p:stCondLst>
                              <p:cond delay="0"/>
                            </p:stCondLst>
                            <p:childTnLst>
                              <p:par>
                                <p:cTn id="44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5" dur="1925" decel="100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46" dur="1925" decel="100000"/>
                                        <p:tgtEl>
                                          <p:spTgt spid="12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4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48" dur="1925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4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50" dur="1925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5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2" fill="hold">
                      <p:stCondLst>
                        <p:cond delay="indefinite"/>
                      </p:stCondLst>
                      <p:childTnLst>
                        <p:par>
                          <p:cTn id="453" fill="hold">
                            <p:stCondLst>
                              <p:cond delay="0"/>
                            </p:stCondLst>
                            <p:childTnLst>
                              <p:par>
                                <p:cTn id="45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6" dur="1925" decel="100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7" dur="1925" decel="100000"/>
                                        <p:tgtEl>
                                          <p:spTgt spid="13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5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59" dur="1925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6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61" dur="1925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6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3" fill="hold">
                      <p:stCondLst>
                        <p:cond delay="indefinite"/>
                      </p:stCondLst>
                      <p:childTnLst>
                        <p:par>
                          <p:cTn id="464" fill="hold">
                            <p:stCondLst>
                              <p:cond delay="0"/>
                            </p:stCondLst>
                            <p:childTnLst>
                              <p:par>
                                <p:cTn id="465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67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68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6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7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1" fill="hold">
                      <p:stCondLst>
                        <p:cond delay="indefinite"/>
                      </p:stCondLst>
                      <p:childTnLst>
                        <p:par>
                          <p:cTn id="472" fill="hold">
                            <p:stCondLst>
                              <p:cond delay="0"/>
                            </p:stCondLst>
                            <p:childTnLst>
                              <p:par>
                                <p:cTn id="47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5" dur="50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6" fill="hold">
                      <p:stCondLst>
                        <p:cond delay="indefinite"/>
                      </p:stCondLst>
                      <p:childTnLst>
                        <p:par>
                          <p:cTn id="477" fill="hold">
                            <p:stCondLst>
                              <p:cond delay="0"/>
                            </p:stCondLst>
                            <p:childTnLst>
                              <p:par>
                                <p:cTn id="47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0" dur="1925" decel="100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1" dur="1925" decel="100000"/>
                                        <p:tgtEl>
                                          <p:spTgt spid="13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8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83" dur="1925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8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85" dur="1925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8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7" fill="hold">
                      <p:stCondLst>
                        <p:cond delay="indefinite"/>
                      </p:stCondLst>
                      <p:childTnLst>
                        <p:par>
                          <p:cTn id="488" fill="hold">
                            <p:stCondLst>
                              <p:cond delay="0"/>
                            </p:stCondLst>
                            <p:childTnLst>
                              <p:par>
                                <p:cTn id="48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1" dur="1925" decel="1000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2" dur="1925" decel="100000"/>
                                        <p:tgtEl>
                                          <p:spTgt spid="20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9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94" dur="1925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9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96" dur="1925" fill="hold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9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8" fill="hold">
                      <p:stCondLst>
                        <p:cond delay="indefinite"/>
                      </p:stCondLst>
                      <p:childTnLst>
                        <p:par>
                          <p:cTn id="499" fill="hold">
                            <p:stCondLst>
                              <p:cond delay="0"/>
                            </p:stCondLst>
                            <p:childTnLst>
                              <p:par>
                                <p:cTn id="50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2" dur="1925" decel="100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03" dur="1925" decel="100000"/>
                                        <p:tgtEl>
                                          <p:spTgt spid="16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0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05" dur="1925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0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07" dur="1925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0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9" fill="hold">
                      <p:stCondLst>
                        <p:cond delay="indefinite"/>
                      </p:stCondLst>
                      <p:childTnLst>
                        <p:par>
                          <p:cTn id="510" fill="hold">
                            <p:stCondLst>
                              <p:cond delay="0"/>
                            </p:stCondLst>
                            <p:childTnLst>
                              <p:par>
                                <p:cTn id="511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3" dur="1925" decel="100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4" dur="1925" decel="100000"/>
                                        <p:tgtEl>
                                          <p:spTgt spid="13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1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16" dur="1925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1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18" dur="1925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1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0" fill="hold">
                      <p:stCondLst>
                        <p:cond delay="indefinite"/>
                      </p:stCondLst>
                      <p:childTnLst>
                        <p:par>
                          <p:cTn id="521" fill="hold">
                            <p:stCondLst>
                              <p:cond delay="0"/>
                            </p:stCondLst>
                            <p:childTnLst>
                              <p:par>
                                <p:cTn id="522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24" dur="2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25" dur="2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26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27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8" fill="hold">
                      <p:stCondLst>
                        <p:cond delay="indefinite"/>
                      </p:stCondLst>
                      <p:childTnLst>
                        <p:par>
                          <p:cTn id="529" fill="hold">
                            <p:stCondLst>
                              <p:cond delay="0"/>
                            </p:stCondLst>
                            <p:childTnLst>
                              <p:par>
                                <p:cTn id="530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2" dur="5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3" dur="5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4" dur="5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5" dur="5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6" fill="hold">
                      <p:stCondLst>
                        <p:cond delay="indefinite"/>
                      </p:stCondLst>
                      <p:childTnLst>
                        <p:par>
                          <p:cTn id="537" fill="hold">
                            <p:stCondLst>
                              <p:cond delay="0"/>
                            </p:stCondLst>
                            <p:childTnLst>
                              <p:par>
                                <p:cTn id="538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0" dur="5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1" dur="5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2" dur="5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3" dur="5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4" fill="hold">
                      <p:stCondLst>
                        <p:cond delay="indefinite"/>
                      </p:stCondLst>
                      <p:childTnLst>
                        <p:par>
                          <p:cTn id="545" fill="hold">
                            <p:stCondLst>
                              <p:cond delay="0"/>
                            </p:stCondLst>
                            <p:childTnLst>
                              <p:par>
                                <p:cTn id="546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8" dur="5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9" dur="5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0" dur="5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1" dur="5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2" fill="hold">
                      <p:stCondLst>
                        <p:cond delay="indefinite"/>
                      </p:stCondLst>
                      <p:childTnLst>
                        <p:par>
                          <p:cTn id="553" fill="hold">
                            <p:stCondLst>
                              <p:cond delay="0"/>
                            </p:stCondLst>
                            <p:childTnLst>
                              <p:par>
                                <p:cTn id="55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6" dur="1925" decel="1000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57" dur="1925" decel="100000"/>
                                        <p:tgtEl>
                                          <p:spTgt spid="21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5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59" dur="1925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6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61" dur="1925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6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3" fill="hold">
                      <p:stCondLst>
                        <p:cond delay="indefinite"/>
                      </p:stCondLst>
                      <p:childTnLst>
                        <p:par>
                          <p:cTn id="564" fill="hold">
                            <p:stCondLst>
                              <p:cond delay="0"/>
                            </p:stCondLst>
                            <p:childTnLst>
                              <p:par>
                                <p:cTn id="56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7" dur="1925" decel="100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68" dur="1925" decel="100000"/>
                                        <p:tgtEl>
                                          <p:spTgt spid="14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6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570" dur="1925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57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572" dur="1925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57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4" fill="hold">
                      <p:stCondLst>
                        <p:cond delay="indefinite"/>
                      </p:stCondLst>
                      <p:childTnLst>
                        <p:par>
                          <p:cTn id="575" fill="hold">
                            <p:stCondLst>
                              <p:cond delay="0"/>
                            </p:stCondLst>
                            <p:childTnLst>
                              <p:par>
                                <p:cTn id="57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78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79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8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8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2" fill="hold">
                      <p:stCondLst>
                        <p:cond delay="indefinite"/>
                      </p:stCondLst>
                      <p:childTnLst>
                        <p:par>
                          <p:cTn id="583" fill="hold">
                            <p:stCondLst>
                              <p:cond delay="0"/>
                            </p:stCondLst>
                            <p:childTnLst>
                              <p:par>
                                <p:cTn id="584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6" dur="5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7" dur="5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8" dur="5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9" dur="50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0" fill="hold">
                      <p:stCondLst>
                        <p:cond delay="indefinite"/>
                      </p:stCondLst>
                      <p:childTnLst>
                        <p:par>
                          <p:cTn id="591" fill="hold">
                            <p:stCondLst>
                              <p:cond delay="0"/>
                            </p:stCondLst>
                            <p:childTnLst>
                              <p:par>
                                <p:cTn id="592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4" dur="5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5" dur="5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6" dur="5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7" dur="5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8" fill="hold">
                      <p:stCondLst>
                        <p:cond delay="indefinite"/>
                      </p:stCondLst>
                      <p:childTnLst>
                        <p:par>
                          <p:cTn id="599" fill="hold">
                            <p:stCondLst>
                              <p:cond delay="0"/>
                            </p:stCondLst>
                            <p:childTnLst>
                              <p:par>
                                <p:cTn id="60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2" dur="5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3" dur="5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4" fill="hold">
                      <p:stCondLst>
                        <p:cond delay="indefinite"/>
                      </p:stCondLst>
                      <p:childTnLst>
                        <p:par>
                          <p:cTn id="605" fill="hold">
                            <p:stCondLst>
                              <p:cond delay="0"/>
                            </p:stCondLst>
                            <p:childTnLst>
                              <p:par>
                                <p:cTn id="60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608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609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61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6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2" fill="hold">
                      <p:stCondLst>
                        <p:cond delay="indefinite"/>
                      </p:stCondLst>
                      <p:childTnLst>
                        <p:par>
                          <p:cTn id="613" fill="hold">
                            <p:stCondLst>
                              <p:cond delay="0"/>
                            </p:stCondLst>
                            <p:childTnLst>
                              <p:par>
                                <p:cTn id="61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616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617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61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61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0" fill="hold">
                      <p:stCondLst>
                        <p:cond delay="indefinite"/>
                      </p:stCondLst>
                      <p:childTnLst>
                        <p:par>
                          <p:cTn id="621" fill="hold">
                            <p:stCondLst>
                              <p:cond delay="0"/>
                            </p:stCondLst>
                            <p:childTnLst>
                              <p:par>
                                <p:cTn id="622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4" dur="5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5" dur="5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6" dur="5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7" dur="5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8" fill="hold">
                      <p:stCondLst>
                        <p:cond delay="indefinite"/>
                      </p:stCondLst>
                      <p:childTnLst>
                        <p:par>
                          <p:cTn id="629" fill="hold">
                            <p:stCondLst>
                              <p:cond delay="0"/>
                            </p:stCondLst>
                            <p:childTnLst>
                              <p:par>
                                <p:cTn id="630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2" dur="5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3" dur="5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4" dur="5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5" dur="5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6" fill="hold">
                      <p:stCondLst>
                        <p:cond delay="indefinite"/>
                      </p:stCondLst>
                      <p:childTnLst>
                        <p:par>
                          <p:cTn id="637" fill="hold">
                            <p:stCondLst>
                              <p:cond delay="0"/>
                            </p:stCondLst>
                            <p:childTnLst>
                              <p:par>
                                <p:cTn id="63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0" dur="1925" decel="1000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41" dur="1925" decel="100000"/>
                                        <p:tgtEl>
                                          <p:spTgt spid="22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4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43" dur="1925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4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45" dur="1925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4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7" fill="hold">
                      <p:stCondLst>
                        <p:cond delay="indefinite"/>
                      </p:stCondLst>
                      <p:childTnLst>
                        <p:par>
                          <p:cTn id="648" fill="hold">
                            <p:stCondLst>
                              <p:cond delay="0"/>
                            </p:stCondLst>
                            <p:childTnLst>
                              <p:par>
                                <p:cTn id="64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1" dur="1925" decel="1000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52" dur="1925" decel="100000"/>
                                        <p:tgtEl>
                                          <p:spTgt spid="21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5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54" dur="1925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5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56" dur="1925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5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8" fill="hold">
                      <p:stCondLst>
                        <p:cond delay="indefinite"/>
                      </p:stCondLst>
                      <p:childTnLst>
                        <p:par>
                          <p:cTn id="659" fill="hold">
                            <p:stCondLst>
                              <p:cond delay="0"/>
                            </p:stCondLst>
                            <p:childTnLst>
                              <p:par>
                                <p:cTn id="66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2" dur="5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3" dur="5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4" fill="hold">
                      <p:stCondLst>
                        <p:cond delay="indefinite"/>
                      </p:stCondLst>
                      <p:childTnLst>
                        <p:par>
                          <p:cTn id="665" fill="hold">
                            <p:stCondLst>
                              <p:cond delay="0"/>
                            </p:stCondLst>
                            <p:childTnLst>
                              <p:par>
                                <p:cTn id="666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8" dur="5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9" dur="5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0" dur="5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1" dur="50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2" fill="hold">
                      <p:stCondLst>
                        <p:cond delay="indefinite"/>
                      </p:stCondLst>
                      <p:childTnLst>
                        <p:par>
                          <p:cTn id="673" fill="hold">
                            <p:stCondLst>
                              <p:cond delay="0"/>
                            </p:stCondLst>
                            <p:childTnLst>
                              <p:par>
                                <p:cTn id="67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76" dur="5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7" fill="hold">
                      <p:stCondLst>
                        <p:cond delay="indefinite"/>
                      </p:stCondLst>
                      <p:childTnLst>
                        <p:par>
                          <p:cTn id="678" fill="hold">
                            <p:stCondLst>
                              <p:cond delay="0"/>
                            </p:stCondLst>
                            <p:childTnLst>
                              <p:par>
                                <p:cTn id="67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1" dur="5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2" dur="50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3" fill="hold">
                      <p:stCondLst>
                        <p:cond delay="indefinite"/>
                      </p:stCondLst>
                      <p:childTnLst>
                        <p:par>
                          <p:cTn id="684" fill="hold">
                            <p:stCondLst>
                              <p:cond delay="0"/>
                            </p:stCondLst>
                            <p:childTnLst>
                              <p:par>
                                <p:cTn id="68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7" dur="1925" decel="100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88" dur="1925" decel="100000"/>
                                        <p:tgtEl>
                                          <p:spTgt spid="15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68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90" dur="1925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9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92" dur="1925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9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4" fill="hold">
                      <p:stCondLst>
                        <p:cond delay="indefinite"/>
                      </p:stCondLst>
                      <p:childTnLst>
                        <p:par>
                          <p:cTn id="695" fill="hold">
                            <p:stCondLst>
                              <p:cond delay="0"/>
                            </p:stCondLst>
                            <p:childTnLst>
                              <p:par>
                                <p:cTn id="69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8" dur="1925" decel="1000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99" dur="1925" decel="100000"/>
                                        <p:tgtEl>
                                          <p:spTgt spid="15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0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01" dur="1925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0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03" dur="1925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0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5" fill="hold">
                      <p:stCondLst>
                        <p:cond delay="indefinite"/>
                      </p:stCondLst>
                      <p:childTnLst>
                        <p:par>
                          <p:cTn id="706" fill="hold">
                            <p:stCondLst>
                              <p:cond delay="0"/>
                            </p:stCondLst>
                            <p:childTnLst>
                              <p:par>
                                <p:cTn id="70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9" dur="50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0" dur="50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1" fill="hold">
                      <p:stCondLst>
                        <p:cond delay="indefinite"/>
                      </p:stCondLst>
                      <p:childTnLst>
                        <p:par>
                          <p:cTn id="712" fill="hold">
                            <p:stCondLst>
                              <p:cond delay="0"/>
                            </p:stCondLst>
                            <p:childTnLst>
                              <p:par>
                                <p:cTn id="713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5" dur="5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6" dur="5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7" dur="5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8" dur="50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9" fill="hold">
                      <p:stCondLst>
                        <p:cond delay="indefinite"/>
                      </p:stCondLst>
                      <p:childTnLst>
                        <p:par>
                          <p:cTn id="720" fill="hold">
                            <p:stCondLst>
                              <p:cond delay="0"/>
                            </p:stCondLst>
                            <p:childTnLst>
                              <p:par>
                                <p:cTn id="72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3" dur="5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4" fill="hold">
                      <p:stCondLst>
                        <p:cond delay="indefinite"/>
                      </p:stCondLst>
                      <p:childTnLst>
                        <p:par>
                          <p:cTn id="725" fill="hold">
                            <p:stCondLst>
                              <p:cond delay="0"/>
                            </p:stCondLst>
                            <p:childTnLst>
                              <p:par>
                                <p:cTn id="726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8" dur="5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9" dur="5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0" dur="5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1" dur="5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2" fill="hold">
                      <p:stCondLst>
                        <p:cond delay="indefinite"/>
                      </p:stCondLst>
                      <p:childTnLst>
                        <p:par>
                          <p:cTn id="733" fill="hold">
                            <p:stCondLst>
                              <p:cond delay="0"/>
                            </p:stCondLst>
                            <p:childTnLst>
                              <p:par>
                                <p:cTn id="73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6" dur="1925" decel="100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37" dur="1925" decel="100000"/>
                                        <p:tgtEl>
                                          <p:spTgt spid="15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3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39" dur="1925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4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41" dur="1925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4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3" fill="hold">
                      <p:stCondLst>
                        <p:cond delay="indefinite"/>
                      </p:stCondLst>
                      <p:childTnLst>
                        <p:par>
                          <p:cTn id="744" fill="hold">
                            <p:stCondLst>
                              <p:cond delay="0"/>
                            </p:stCondLst>
                            <p:childTnLst>
                              <p:par>
                                <p:cTn id="74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7" dur="50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8" fill="hold">
                      <p:stCondLst>
                        <p:cond delay="indefinite"/>
                      </p:stCondLst>
                      <p:childTnLst>
                        <p:par>
                          <p:cTn id="749" fill="hold">
                            <p:stCondLst>
                              <p:cond delay="0"/>
                            </p:stCondLst>
                            <p:childTnLst>
                              <p:par>
                                <p:cTn id="750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2" dur="5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3" dur="5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4" dur="5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5" dur="5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6" fill="hold">
                      <p:stCondLst>
                        <p:cond delay="indefinite"/>
                      </p:stCondLst>
                      <p:childTnLst>
                        <p:par>
                          <p:cTn id="757" fill="hold">
                            <p:stCondLst>
                              <p:cond delay="0"/>
                            </p:stCondLst>
                            <p:childTnLst>
                              <p:par>
                                <p:cTn id="758" presetID="19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0" dur="5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1" dur="50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2" fill="hold">
                      <p:stCondLst>
                        <p:cond delay="indefinite"/>
                      </p:stCondLst>
                      <p:childTnLst>
                        <p:par>
                          <p:cTn id="763" fill="hold">
                            <p:stCondLst>
                              <p:cond delay="0"/>
                            </p:stCondLst>
                            <p:childTnLst>
                              <p:par>
                                <p:cTn id="764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6" dur="5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7" dur="5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8" dur="5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9" dur="5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0" fill="hold">
                      <p:stCondLst>
                        <p:cond delay="indefinite"/>
                      </p:stCondLst>
                      <p:childTnLst>
                        <p:par>
                          <p:cTn id="771" fill="hold">
                            <p:stCondLst>
                              <p:cond delay="0"/>
                            </p:stCondLst>
                            <p:childTnLst>
                              <p:par>
                                <p:cTn id="77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4" dur="1925" decel="1000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75" dur="1925" decel="100000"/>
                                        <p:tgtEl>
                                          <p:spTgt spid="16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7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77" dur="1925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7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79" dur="1925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8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1" fill="hold">
                      <p:stCondLst>
                        <p:cond delay="indefinite"/>
                      </p:stCondLst>
                      <p:childTnLst>
                        <p:par>
                          <p:cTn id="782" fill="hold">
                            <p:stCondLst>
                              <p:cond delay="0"/>
                            </p:stCondLst>
                            <p:childTnLst>
                              <p:par>
                                <p:cTn id="78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5" dur="1925" decel="1000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86" dur="1925" decel="100000"/>
                                        <p:tgtEl>
                                          <p:spTgt spid="16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8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88" dur="1925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8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90" dur="1925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79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2" fill="hold">
                      <p:stCondLst>
                        <p:cond delay="indefinite"/>
                      </p:stCondLst>
                      <p:childTnLst>
                        <p:par>
                          <p:cTn id="793" fill="hold">
                            <p:stCondLst>
                              <p:cond delay="0"/>
                            </p:stCondLst>
                            <p:childTnLst>
                              <p:par>
                                <p:cTn id="794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6" dur="1925" decel="1000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97" dur="1925" decel="100000"/>
                                        <p:tgtEl>
                                          <p:spTgt spid="16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9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99" dur="1925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0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01" dur="1925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0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3" fill="hold">
                      <p:stCondLst>
                        <p:cond delay="indefinite"/>
                      </p:stCondLst>
                      <p:childTnLst>
                        <p:par>
                          <p:cTn id="804" fill="hold">
                            <p:stCondLst>
                              <p:cond delay="0"/>
                            </p:stCondLst>
                            <p:childTnLst>
                              <p:par>
                                <p:cTn id="80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7" dur="1925" decel="1000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08" dur="1925" decel="100000"/>
                                        <p:tgtEl>
                                          <p:spTgt spid="16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0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10" dur="1925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1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12" dur="1925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1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4" fill="hold">
                      <p:stCondLst>
                        <p:cond delay="indefinite"/>
                      </p:stCondLst>
                      <p:childTnLst>
                        <p:par>
                          <p:cTn id="815" fill="hold">
                            <p:stCondLst>
                              <p:cond delay="0"/>
                            </p:stCondLst>
                            <p:childTnLst>
                              <p:par>
                                <p:cTn id="81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8" dur="1925" decel="1000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19" dur="1925" decel="100000"/>
                                        <p:tgtEl>
                                          <p:spTgt spid="16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2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21" dur="1925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2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23" dur="1925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2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5" fill="hold">
                      <p:stCondLst>
                        <p:cond delay="indefinite"/>
                      </p:stCondLst>
                      <p:childTnLst>
                        <p:par>
                          <p:cTn id="826" fill="hold">
                            <p:stCondLst>
                              <p:cond delay="0"/>
                            </p:stCondLst>
                            <p:childTnLst>
                              <p:par>
                                <p:cTn id="82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9" dur="1925" decel="1000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30" dur="1925" decel="100000"/>
                                        <p:tgtEl>
                                          <p:spTgt spid="16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3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32" dur="1925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3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34" dur="1925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3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6" fill="hold">
                      <p:stCondLst>
                        <p:cond delay="indefinite"/>
                      </p:stCondLst>
                      <p:childTnLst>
                        <p:par>
                          <p:cTn id="837" fill="hold">
                            <p:stCondLst>
                              <p:cond delay="0"/>
                            </p:stCondLst>
                            <p:childTnLst>
                              <p:par>
                                <p:cTn id="838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0" dur="1925" decel="1000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41" dur="1925" decel="100000"/>
                                        <p:tgtEl>
                                          <p:spTgt spid="17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4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43" dur="1925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4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45" dur="1925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4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7" fill="hold">
                      <p:stCondLst>
                        <p:cond delay="indefinite"/>
                      </p:stCondLst>
                      <p:childTnLst>
                        <p:par>
                          <p:cTn id="848" fill="hold">
                            <p:stCondLst>
                              <p:cond delay="0"/>
                            </p:stCondLst>
                            <p:childTnLst>
                              <p:par>
                                <p:cTn id="84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1" dur="1925" decel="1000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2" dur="1925" decel="100000"/>
                                        <p:tgtEl>
                                          <p:spTgt spid="17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5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54" dur="1925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5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56" dur="1925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5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8" fill="hold">
                      <p:stCondLst>
                        <p:cond delay="indefinite"/>
                      </p:stCondLst>
                      <p:childTnLst>
                        <p:par>
                          <p:cTn id="859" fill="hold">
                            <p:stCondLst>
                              <p:cond delay="0"/>
                            </p:stCondLst>
                            <p:childTnLst>
                              <p:par>
                                <p:cTn id="86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2" dur="1925" decel="1000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63" dur="1925" decel="100000"/>
                                        <p:tgtEl>
                                          <p:spTgt spid="21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6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65" dur="1925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6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67" dur="1925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6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9" fill="hold">
                      <p:stCondLst>
                        <p:cond delay="indefinite"/>
                      </p:stCondLst>
                      <p:childTnLst>
                        <p:par>
                          <p:cTn id="870" fill="hold">
                            <p:stCondLst>
                              <p:cond delay="0"/>
                            </p:stCondLst>
                            <p:childTnLst>
                              <p:par>
                                <p:cTn id="87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3" dur="1925" decel="1000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74" dur="1925" decel="100000"/>
                                        <p:tgtEl>
                                          <p:spTgt spid="190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7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76" dur="1925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7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78" dur="1925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7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0" fill="hold">
                      <p:stCondLst>
                        <p:cond delay="indefinite"/>
                      </p:stCondLst>
                      <p:childTnLst>
                        <p:par>
                          <p:cTn id="881" fill="hold">
                            <p:stCondLst>
                              <p:cond delay="0"/>
                            </p:stCondLst>
                            <p:childTnLst>
                              <p:par>
                                <p:cTn id="882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4" dur="1925" decel="1000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5" dur="1925" decel="100000"/>
                                        <p:tgtEl>
                                          <p:spTgt spid="17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8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87" dur="1925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8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889" dur="1925" fill="hold"/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9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1" fill="hold">
                      <p:stCondLst>
                        <p:cond delay="indefinite"/>
                      </p:stCondLst>
                      <p:childTnLst>
                        <p:par>
                          <p:cTn id="892" fill="hold">
                            <p:stCondLst>
                              <p:cond delay="0"/>
                            </p:stCondLst>
                            <p:childTnLst>
                              <p:par>
                                <p:cTn id="89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95" dur="50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6" fill="hold">
                      <p:stCondLst>
                        <p:cond delay="indefinite"/>
                      </p:stCondLst>
                      <p:childTnLst>
                        <p:par>
                          <p:cTn id="897" fill="hold">
                            <p:stCondLst>
                              <p:cond delay="0"/>
                            </p:stCondLst>
                            <p:childTnLst>
                              <p:par>
                                <p:cTn id="898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0" dur="5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1" dur="5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2" dur="5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3" dur="50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4" fill="hold">
                      <p:stCondLst>
                        <p:cond delay="indefinite"/>
                      </p:stCondLst>
                      <p:childTnLst>
                        <p:par>
                          <p:cTn id="905" fill="hold">
                            <p:stCondLst>
                              <p:cond delay="0"/>
                            </p:stCondLst>
                            <p:childTnLst>
                              <p:par>
                                <p:cTn id="906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8" dur="1925" decel="1000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09" dur="1925" decel="100000"/>
                                        <p:tgtEl>
                                          <p:spTgt spid="17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1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11" dur="1925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1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13" dur="1925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1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5" fill="hold">
                      <p:stCondLst>
                        <p:cond delay="indefinite"/>
                      </p:stCondLst>
                      <p:childTnLst>
                        <p:par>
                          <p:cTn id="916" fill="hold">
                            <p:stCondLst>
                              <p:cond delay="0"/>
                            </p:stCondLst>
                            <p:childTnLst>
                              <p:par>
                                <p:cTn id="917" presetID="56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919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920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9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922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3" fill="hold">
                      <p:stCondLst>
                        <p:cond delay="indefinite"/>
                      </p:stCondLst>
                      <p:childTnLst>
                        <p:par>
                          <p:cTn id="924" fill="hold">
                            <p:stCondLst>
                              <p:cond delay="0"/>
                            </p:stCondLst>
                            <p:childTnLst>
                              <p:par>
                                <p:cTn id="92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7" dur="1925" decel="100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28" dur="1925" decel="100000"/>
                                        <p:tgtEl>
                                          <p:spTgt spid="14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2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30" dur="1925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3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32" dur="1925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3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4" fill="hold">
                      <p:stCondLst>
                        <p:cond delay="indefinite"/>
                      </p:stCondLst>
                      <p:childTnLst>
                        <p:par>
                          <p:cTn id="935" fill="hold">
                            <p:stCondLst>
                              <p:cond delay="0"/>
                            </p:stCondLst>
                            <p:childTnLst>
                              <p:par>
                                <p:cTn id="93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8" dur="1925" decel="100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39" dur="1925" decel="100000"/>
                                        <p:tgtEl>
                                          <p:spTgt spid="13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4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41" dur="1925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4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43" dur="1925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4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5" fill="hold">
                      <p:stCondLst>
                        <p:cond delay="indefinite"/>
                      </p:stCondLst>
                      <p:childTnLst>
                        <p:par>
                          <p:cTn id="946" fill="hold">
                            <p:stCondLst>
                              <p:cond delay="0"/>
                            </p:stCondLst>
                            <p:childTnLst>
                              <p:par>
                                <p:cTn id="947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9" dur="50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0" dur="50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1" dur="50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2" dur="50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3" fill="hold">
                      <p:stCondLst>
                        <p:cond delay="indefinite"/>
                      </p:stCondLst>
                      <p:childTnLst>
                        <p:par>
                          <p:cTn id="954" fill="hold">
                            <p:stCondLst>
                              <p:cond delay="0"/>
                            </p:stCondLst>
                            <p:childTnLst>
                              <p:par>
                                <p:cTn id="95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7" dur="1925" decel="1000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58" dur="1925" decel="100000"/>
                                        <p:tgtEl>
                                          <p:spTgt spid="18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5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60" dur="1925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6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62" dur="1925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6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4" fill="hold">
                      <p:stCondLst>
                        <p:cond delay="indefinite"/>
                      </p:stCondLst>
                      <p:childTnLst>
                        <p:par>
                          <p:cTn id="965" fill="hold">
                            <p:stCondLst>
                              <p:cond delay="0"/>
                            </p:stCondLst>
                            <p:childTnLst>
                              <p:par>
                                <p:cTn id="96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8" dur="1925" decel="1000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69" dur="1925" decel="100000"/>
                                        <p:tgtEl>
                                          <p:spTgt spid="20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7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71" dur="1925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7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73" dur="1925" fill="hold"/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7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5" fill="hold">
                      <p:stCondLst>
                        <p:cond delay="indefinite"/>
                      </p:stCondLst>
                      <p:childTnLst>
                        <p:par>
                          <p:cTn id="976" fill="hold">
                            <p:stCondLst>
                              <p:cond delay="0"/>
                            </p:stCondLst>
                            <p:childTnLst>
                              <p:par>
                                <p:cTn id="97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9" dur="1925" decel="1000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80" dur="1925" decel="100000"/>
                                        <p:tgtEl>
                                          <p:spTgt spid="16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8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82" dur="1925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98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84" dur="1925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8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6" fill="hold">
                      <p:stCondLst>
                        <p:cond delay="indefinite"/>
                      </p:stCondLst>
                      <p:childTnLst>
                        <p:par>
                          <p:cTn id="987" fill="hold">
                            <p:stCondLst>
                              <p:cond delay="0"/>
                            </p:stCondLst>
                            <p:childTnLst>
                              <p:par>
                                <p:cTn id="988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990" dur="50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1" fill="hold">
                      <p:stCondLst>
                        <p:cond delay="indefinite"/>
                      </p:stCondLst>
                      <p:childTnLst>
                        <p:par>
                          <p:cTn id="992" fill="hold">
                            <p:stCondLst>
                              <p:cond delay="0"/>
                            </p:stCondLst>
                            <p:childTnLst>
                              <p:par>
                                <p:cTn id="993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995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6" fill="hold">
                      <p:stCondLst>
                        <p:cond delay="indefinite"/>
                      </p:stCondLst>
                      <p:childTnLst>
                        <p:par>
                          <p:cTn id="997" fill="hold">
                            <p:stCondLst>
                              <p:cond delay="0"/>
                            </p:stCondLst>
                            <p:childTnLst>
                              <p:par>
                                <p:cTn id="998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0" dur="5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1" dur="5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2" dur="5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3" dur="50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4" fill="hold">
                      <p:stCondLst>
                        <p:cond delay="indefinite"/>
                      </p:stCondLst>
                      <p:childTnLst>
                        <p:par>
                          <p:cTn id="1005" fill="hold">
                            <p:stCondLst>
                              <p:cond delay="0"/>
                            </p:stCondLst>
                            <p:childTnLst>
                              <p:par>
                                <p:cTn id="100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08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09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1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1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2" fill="hold">
                      <p:stCondLst>
                        <p:cond delay="indefinite"/>
                      </p:stCondLst>
                      <p:childTnLst>
                        <p:par>
                          <p:cTn id="1013" fill="hold">
                            <p:stCondLst>
                              <p:cond delay="0"/>
                            </p:stCondLst>
                            <p:childTnLst>
                              <p:par>
                                <p:cTn id="1014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6" dur="5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7" dur="5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8" dur="5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9" dur="5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0" fill="hold">
                      <p:stCondLst>
                        <p:cond delay="indefinite"/>
                      </p:stCondLst>
                      <p:childTnLst>
                        <p:par>
                          <p:cTn id="1021" fill="hold">
                            <p:stCondLst>
                              <p:cond delay="0"/>
                            </p:stCondLst>
                            <p:childTnLst>
                              <p:par>
                                <p:cTn id="102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4" dur="1925" decel="100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25" dur="1925" decel="100000"/>
                                        <p:tgtEl>
                                          <p:spTgt spid="18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2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27" dur="1925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2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29" dur="1925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3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1" fill="hold">
                      <p:stCondLst>
                        <p:cond delay="indefinite"/>
                      </p:stCondLst>
                      <p:childTnLst>
                        <p:par>
                          <p:cTn id="1032" fill="hold">
                            <p:stCondLst>
                              <p:cond delay="0"/>
                            </p:stCondLst>
                            <p:childTnLst>
                              <p:par>
                                <p:cTn id="1033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5" dur="5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6" dur="5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7" dur="5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8" dur="5000" fill="hold"/>
                                        <p:tgtEl>
                                          <p:spTgt spid="1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9" fill="hold">
                      <p:stCondLst>
                        <p:cond delay="indefinite"/>
                      </p:stCondLst>
                      <p:childTnLst>
                        <p:par>
                          <p:cTn id="1040" fill="hold">
                            <p:stCondLst>
                              <p:cond delay="0"/>
                            </p:stCondLst>
                            <p:childTnLst>
                              <p:par>
                                <p:cTn id="104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43" dur="50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4" fill="hold">
                      <p:stCondLst>
                        <p:cond delay="indefinite"/>
                      </p:stCondLst>
                      <p:childTnLst>
                        <p:par>
                          <p:cTn id="1045" fill="hold">
                            <p:stCondLst>
                              <p:cond delay="0"/>
                            </p:stCondLst>
                            <p:childTnLst>
                              <p:par>
                                <p:cTn id="104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48" dur="1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49" dur="1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50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51" dur="3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52" fill="hold">
                      <p:stCondLst>
                        <p:cond delay="indefinite"/>
                      </p:stCondLst>
                      <p:childTnLst>
                        <p:par>
                          <p:cTn id="1053" fill="hold">
                            <p:stCondLst>
                              <p:cond delay="0"/>
                            </p:stCondLst>
                            <p:childTnLst>
                              <p:par>
                                <p:cTn id="105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6" dur="770" decel="1000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57" dur="770" decel="100000"/>
                                        <p:tgtEl>
                                          <p:spTgt spid="2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5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059" dur="77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6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61" dur="77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6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3" fill="hold">
                      <p:stCondLst>
                        <p:cond delay="indefinite"/>
                      </p:stCondLst>
                      <p:childTnLst>
                        <p:par>
                          <p:cTn id="1064" fill="hold">
                            <p:stCondLst>
                              <p:cond delay="0"/>
                            </p:stCondLst>
                            <p:childTnLst>
                              <p:par>
                                <p:cTn id="106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7" dur="5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8" fill="hold">
                      <p:stCondLst>
                        <p:cond delay="indefinite"/>
                      </p:stCondLst>
                      <p:childTnLst>
                        <p:par>
                          <p:cTn id="1069" fill="hold">
                            <p:stCondLst>
                              <p:cond delay="0"/>
                            </p:stCondLst>
                            <p:childTnLst>
                              <p:par>
                                <p:cTn id="107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2" dur="5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3" dur="5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4" fill="hold">
                      <p:stCondLst>
                        <p:cond delay="indefinite"/>
                      </p:stCondLst>
                      <p:childTnLst>
                        <p:par>
                          <p:cTn id="1075" fill="hold">
                            <p:stCondLst>
                              <p:cond delay="0"/>
                            </p:stCondLst>
                            <p:childTnLst>
                              <p:par>
                                <p:cTn id="107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78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79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8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8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2" fill="hold">
                      <p:stCondLst>
                        <p:cond delay="indefinite"/>
                      </p:stCondLst>
                      <p:childTnLst>
                        <p:par>
                          <p:cTn id="1083" fill="hold">
                            <p:stCondLst>
                              <p:cond delay="0"/>
                            </p:stCondLst>
                            <p:childTnLst>
                              <p:par>
                                <p:cTn id="108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86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87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8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8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0" fill="hold">
                      <p:stCondLst>
                        <p:cond delay="indefinite"/>
                      </p:stCondLst>
                      <p:childTnLst>
                        <p:par>
                          <p:cTn id="1091" fill="hold">
                            <p:stCondLst>
                              <p:cond delay="0"/>
                            </p:stCondLst>
                            <p:childTnLst>
                              <p:par>
                                <p:cTn id="1092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94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95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9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97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8" fill="hold">
                      <p:stCondLst>
                        <p:cond delay="indefinite"/>
                      </p:stCondLst>
                      <p:childTnLst>
                        <p:par>
                          <p:cTn id="1099" fill="hold">
                            <p:stCondLst>
                              <p:cond delay="0"/>
                            </p:stCondLst>
                            <p:childTnLst>
                              <p:par>
                                <p:cTn id="1100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2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3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4" dur="10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5" dur="10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6" fill="hold">
                      <p:stCondLst>
                        <p:cond delay="indefinite"/>
                      </p:stCondLst>
                      <p:childTnLst>
                        <p:par>
                          <p:cTn id="1107" fill="hold">
                            <p:stCondLst>
                              <p:cond delay="0"/>
                            </p:stCondLst>
                            <p:childTnLst>
                              <p:par>
                                <p:cTn id="110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0" dur="1925" decel="1000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11" dur="1925" decel="100000"/>
                                        <p:tgtEl>
                                          <p:spTgt spid="19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1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13" dur="1925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1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15" dur="1925" fill="hold"/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1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7" fill="hold">
                      <p:stCondLst>
                        <p:cond delay="indefinite"/>
                      </p:stCondLst>
                      <p:childTnLst>
                        <p:par>
                          <p:cTn id="1118" fill="hold">
                            <p:stCondLst>
                              <p:cond delay="0"/>
                            </p:stCondLst>
                            <p:childTnLst>
                              <p:par>
                                <p:cTn id="1119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121" dur="50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2" fill="hold">
                      <p:stCondLst>
                        <p:cond delay="indefinite"/>
                      </p:stCondLst>
                      <p:childTnLst>
                        <p:par>
                          <p:cTn id="1123" fill="hold">
                            <p:stCondLst>
                              <p:cond delay="0"/>
                            </p:stCondLst>
                            <p:childTnLst>
                              <p:par>
                                <p:cTn id="112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126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127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12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12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0" fill="hold">
                      <p:stCondLst>
                        <p:cond delay="indefinite"/>
                      </p:stCondLst>
                      <p:childTnLst>
                        <p:par>
                          <p:cTn id="1131" fill="hold">
                            <p:stCondLst>
                              <p:cond delay="0"/>
                            </p:stCondLst>
                            <p:childTnLst>
                              <p:par>
                                <p:cTn id="113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34" dur="50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5" dur="5000" fill="hold"/>
                                        <p:tgtEl>
                                          <p:spTgt spid="1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6" fill="hold">
                      <p:stCondLst>
                        <p:cond delay="indefinite"/>
                      </p:stCondLst>
                      <p:childTnLst>
                        <p:par>
                          <p:cTn id="1137" fill="hold">
                            <p:stCondLst>
                              <p:cond delay="0"/>
                            </p:stCondLst>
                            <p:childTnLst>
                              <p:par>
                                <p:cTn id="113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0" dur="1925" decel="1000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41" dur="1925" decel="100000"/>
                                        <p:tgtEl>
                                          <p:spTgt spid="199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4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43" dur="1925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4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45" dur="1925" fill="hold"/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4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7" fill="hold">
                      <p:stCondLst>
                        <p:cond delay="indefinite"/>
                      </p:stCondLst>
                      <p:childTnLst>
                        <p:par>
                          <p:cTn id="1148" fill="hold">
                            <p:stCondLst>
                              <p:cond delay="0"/>
                            </p:stCondLst>
                            <p:childTnLst>
                              <p:par>
                                <p:cTn id="1149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1" dur="1925" decel="1000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52" dur="1925" decel="100000"/>
                                        <p:tgtEl>
                                          <p:spTgt spid="19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15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54" dur="1925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5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56" dur="1925" fill="hold"/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5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8" fill="hold">
                      <p:stCondLst>
                        <p:cond delay="indefinite"/>
                      </p:stCondLst>
                      <p:childTnLst>
                        <p:par>
                          <p:cTn id="1159" fill="hold">
                            <p:stCondLst>
                              <p:cond delay="0"/>
                            </p:stCondLst>
                            <p:childTnLst>
                              <p:par>
                                <p:cTn id="1160" presetID="56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162" dur="2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163" dur="2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164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165" dur="5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2" grpId="0" animBg="1"/>
      <p:bldP spid="218" grpId="0" animBg="1"/>
      <p:bldP spid="214" grpId="0" animBg="1"/>
      <p:bldP spid="216" grpId="0" animBg="1"/>
      <p:bldP spid="96" grpId="0"/>
      <p:bldP spid="97" grpId="0"/>
      <p:bldP spid="99" grpId="0"/>
      <p:bldP spid="101" grpId="0"/>
      <p:bldP spid="103" grpId="0"/>
      <p:bldP spid="105" grpId="0"/>
      <p:bldP spid="109" grpId="0"/>
      <p:bldP spid="113" grpId="0"/>
      <p:bldP spid="117" grpId="0"/>
      <p:bldP spid="121" grpId="0"/>
      <p:bldP spid="123" grpId="0"/>
      <p:bldP spid="125" grpId="0"/>
      <p:bldP spid="127" grpId="0"/>
      <p:bldP spid="129" grpId="0"/>
      <p:bldP spid="131" grpId="0"/>
      <p:bldP spid="134" grpId="0"/>
      <p:bldP spid="3113" grpId="0"/>
      <p:bldP spid="138" grpId="0"/>
      <p:bldP spid="141" grpId="0"/>
      <p:bldP spid="143" grpId="0"/>
      <p:bldP spid="146" grpId="0"/>
      <p:bldP spid="149" grpId="0"/>
      <p:bldP spid="151" grpId="0"/>
      <p:bldP spid="153" grpId="0"/>
      <p:bldP spid="156" grpId="0"/>
      <p:bldP spid="159" grpId="0"/>
      <p:bldP spid="165" grpId="0"/>
      <p:bldP spid="167" grpId="0"/>
      <p:bldP spid="169" grpId="0"/>
      <p:bldP spid="171" grpId="0"/>
      <p:bldP spid="173" grpId="0"/>
      <p:bldP spid="181" grpId="0"/>
      <p:bldP spid="185" grpId="0"/>
      <p:bldP spid="187" grpId="0"/>
      <p:bldP spid="189" grpId="0"/>
      <p:bldP spid="191" grpId="0"/>
      <p:bldP spid="192" grpId="0"/>
      <p:bldP spid="193" grpId="0"/>
      <p:bldP spid="195" grpId="0"/>
      <p:bldP spid="197" grpId="0"/>
      <p:bldP spid="198" grpId="0"/>
      <p:bldP spid="199" grpId="0"/>
      <p:bldP spid="200" grpId="0"/>
      <p:bldP spid="111" grpId="0"/>
      <p:bldP spid="114" grpId="0"/>
      <p:bldP spid="118" grpId="0"/>
      <p:bldP spid="160" grpId="0"/>
      <p:bldP spid="163" grpId="0"/>
      <p:bldP spid="174" grpId="0"/>
      <p:bldP spid="176" grpId="0"/>
      <p:bldP spid="177" grpId="0"/>
      <p:bldP spid="201" grpId="0"/>
      <p:bldP spid="202" grpId="0"/>
      <p:bldP spid="203" grpId="0" animBg="1"/>
      <p:bldP spid="204" grpId="0" animBg="1"/>
      <p:bldP spid="205" grpId="0" animBg="1"/>
      <p:bldP spid="206" grpId="0" animBg="1"/>
      <p:bldP spid="207" grpId="0" animBg="1"/>
      <p:bldP spid="208" grpId="0" animBg="1"/>
      <p:bldP spid="210" grpId="0" animBg="1"/>
      <p:bldP spid="211" grpId="0" animBg="1"/>
      <p:bldP spid="212" grpId="0"/>
      <p:bldP spid="215" grpId="0"/>
      <p:bldP spid="136" grpId="0"/>
      <p:bldP spid="209" grpId="0"/>
      <p:bldP spid="213" grpId="0"/>
      <p:bldP spid="132" grpId="0"/>
      <p:bldP spid="144" grpId="0" animBg="1"/>
      <p:bldP spid="217" grpId="0" animBg="1"/>
      <p:bldP spid="220" grpId="0" animBg="1"/>
      <p:bldP spid="190" grpId="0"/>
      <p:bldP spid="221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/>
        </p:nvSpPr>
        <p:spPr>
          <a:xfrm>
            <a:off x="4991105" y="2893488"/>
            <a:ext cx="334963" cy="302683"/>
          </a:xfrm>
          <a:custGeom>
            <a:avLst/>
            <a:gdLst>
              <a:gd name="connsiteX0" fmla="*/ 104775 w 335757"/>
              <a:gd name="connsiteY0" fmla="*/ 302419 h 302419"/>
              <a:gd name="connsiteX1" fmla="*/ 247650 w 335757"/>
              <a:gd name="connsiteY1" fmla="*/ 276225 h 302419"/>
              <a:gd name="connsiteX2" fmla="*/ 280988 w 335757"/>
              <a:gd name="connsiteY2" fmla="*/ 209550 h 302419"/>
              <a:gd name="connsiteX3" fmla="*/ 302419 w 335757"/>
              <a:gd name="connsiteY3" fmla="*/ 173832 h 302419"/>
              <a:gd name="connsiteX4" fmla="*/ 316707 w 335757"/>
              <a:gd name="connsiteY4" fmla="*/ 138113 h 302419"/>
              <a:gd name="connsiteX5" fmla="*/ 335757 w 335757"/>
              <a:gd name="connsiteY5" fmla="*/ 114300 h 302419"/>
              <a:gd name="connsiteX6" fmla="*/ 314325 w 335757"/>
              <a:gd name="connsiteY6" fmla="*/ 66675 h 302419"/>
              <a:gd name="connsiteX7" fmla="*/ 309563 w 335757"/>
              <a:gd name="connsiteY7" fmla="*/ 30957 h 302419"/>
              <a:gd name="connsiteX8" fmla="*/ 252413 w 335757"/>
              <a:gd name="connsiteY8" fmla="*/ 7144 h 302419"/>
              <a:gd name="connsiteX9" fmla="*/ 216694 w 335757"/>
              <a:gd name="connsiteY9" fmla="*/ 0 h 302419"/>
              <a:gd name="connsiteX10" fmla="*/ 169069 w 335757"/>
              <a:gd name="connsiteY10" fmla="*/ 16669 h 302419"/>
              <a:gd name="connsiteX11" fmla="*/ 135732 w 335757"/>
              <a:gd name="connsiteY11" fmla="*/ 40482 h 302419"/>
              <a:gd name="connsiteX12" fmla="*/ 66675 w 335757"/>
              <a:gd name="connsiteY12" fmla="*/ 102394 h 302419"/>
              <a:gd name="connsiteX13" fmla="*/ 76200 w 335757"/>
              <a:gd name="connsiteY13" fmla="*/ 176213 h 302419"/>
              <a:gd name="connsiteX14" fmla="*/ 0 w 335757"/>
              <a:gd name="connsiteY14" fmla="*/ 221457 h 302419"/>
              <a:gd name="connsiteX15" fmla="*/ 104775 w 335757"/>
              <a:gd name="connsiteY15" fmla="*/ 302419 h 302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35757" h="302419">
                <a:moveTo>
                  <a:pt x="104775" y="302419"/>
                </a:moveTo>
                <a:lnTo>
                  <a:pt x="247650" y="276225"/>
                </a:lnTo>
                <a:lnTo>
                  <a:pt x="280988" y="209550"/>
                </a:lnTo>
                <a:lnTo>
                  <a:pt x="302419" y="173832"/>
                </a:lnTo>
                <a:lnTo>
                  <a:pt x="316707" y="138113"/>
                </a:lnTo>
                <a:lnTo>
                  <a:pt x="335757" y="114300"/>
                </a:lnTo>
                <a:lnTo>
                  <a:pt x="314325" y="66675"/>
                </a:lnTo>
                <a:lnTo>
                  <a:pt x="309563" y="30957"/>
                </a:lnTo>
                <a:lnTo>
                  <a:pt x="252413" y="7144"/>
                </a:lnTo>
                <a:lnTo>
                  <a:pt x="216694" y="0"/>
                </a:lnTo>
                <a:lnTo>
                  <a:pt x="169069" y="16669"/>
                </a:lnTo>
                <a:lnTo>
                  <a:pt x="135732" y="40482"/>
                </a:lnTo>
                <a:lnTo>
                  <a:pt x="66675" y="102394"/>
                </a:lnTo>
                <a:lnTo>
                  <a:pt x="76200" y="176213"/>
                </a:lnTo>
                <a:lnTo>
                  <a:pt x="0" y="221457"/>
                </a:lnTo>
                <a:lnTo>
                  <a:pt x="104775" y="302419"/>
                </a:ln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57" name="Freeform 256"/>
          <p:cNvSpPr/>
          <p:nvPr/>
        </p:nvSpPr>
        <p:spPr>
          <a:xfrm>
            <a:off x="4852988" y="5232404"/>
            <a:ext cx="74612" cy="186267"/>
          </a:xfrm>
          <a:custGeom>
            <a:avLst/>
            <a:gdLst>
              <a:gd name="connsiteX0" fmla="*/ 6796 w 73846"/>
              <a:gd name="connsiteY0" fmla="*/ 46567 h 139700"/>
              <a:gd name="connsiteX1" fmla="*/ 6796 w 73846"/>
              <a:gd name="connsiteY1" fmla="*/ 122767 h 139700"/>
              <a:gd name="connsiteX2" fmla="*/ 11029 w 73846"/>
              <a:gd name="connsiteY2" fmla="*/ 135467 h 139700"/>
              <a:gd name="connsiteX3" fmla="*/ 23729 w 73846"/>
              <a:gd name="connsiteY3" fmla="*/ 139700 h 139700"/>
              <a:gd name="connsiteX4" fmla="*/ 49129 w 73846"/>
              <a:gd name="connsiteY4" fmla="*/ 135467 h 139700"/>
              <a:gd name="connsiteX5" fmla="*/ 66062 w 73846"/>
              <a:gd name="connsiteY5" fmla="*/ 131233 h 139700"/>
              <a:gd name="connsiteX6" fmla="*/ 53362 w 73846"/>
              <a:gd name="connsiteY6" fmla="*/ 25400 h 139700"/>
              <a:gd name="connsiteX7" fmla="*/ 49129 w 73846"/>
              <a:gd name="connsiteY7" fmla="*/ 12700 h 139700"/>
              <a:gd name="connsiteX8" fmla="*/ 40662 w 73846"/>
              <a:gd name="connsiteY8" fmla="*/ 0 h 139700"/>
              <a:gd name="connsiteX9" fmla="*/ 27962 w 73846"/>
              <a:gd name="connsiteY9" fmla="*/ 4233 h 139700"/>
              <a:gd name="connsiteX10" fmla="*/ 6796 w 73846"/>
              <a:gd name="connsiteY10" fmla="*/ 46567 h 13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846" h="139700">
                <a:moveTo>
                  <a:pt x="6796" y="46567"/>
                </a:moveTo>
                <a:cubicBezTo>
                  <a:pt x="3268" y="66323"/>
                  <a:pt x="0" y="61608"/>
                  <a:pt x="6796" y="122767"/>
                </a:cubicBezTo>
                <a:cubicBezTo>
                  <a:pt x="7289" y="127202"/>
                  <a:pt x="7874" y="132312"/>
                  <a:pt x="11029" y="135467"/>
                </a:cubicBezTo>
                <a:cubicBezTo>
                  <a:pt x="14184" y="138622"/>
                  <a:pt x="19496" y="138289"/>
                  <a:pt x="23729" y="139700"/>
                </a:cubicBezTo>
                <a:cubicBezTo>
                  <a:pt x="32196" y="138289"/>
                  <a:pt x="40712" y="137150"/>
                  <a:pt x="49129" y="135467"/>
                </a:cubicBezTo>
                <a:cubicBezTo>
                  <a:pt x="54834" y="134326"/>
                  <a:pt x="65199" y="136987"/>
                  <a:pt x="66062" y="131233"/>
                </a:cubicBezTo>
                <a:cubicBezTo>
                  <a:pt x="73846" y="79340"/>
                  <a:pt x="66169" y="63821"/>
                  <a:pt x="53362" y="25400"/>
                </a:cubicBezTo>
                <a:cubicBezTo>
                  <a:pt x="51951" y="21167"/>
                  <a:pt x="51604" y="16413"/>
                  <a:pt x="49129" y="12700"/>
                </a:cubicBezTo>
                <a:lnTo>
                  <a:pt x="40662" y="0"/>
                </a:lnTo>
                <a:cubicBezTo>
                  <a:pt x="36429" y="1411"/>
                  <a:pt x="31117" y="1078"/>
                  <a:pt x="27962" y="4233"/>
                </a:cubicBezTo>
                <a:cubicBezTo>
                  <a:pt x="20767" y="11428"/>
                  <a:pt x="10324" y="26811"/>
                  <a:pt x="6796" y="46567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Freeform 3"/>
          <p:cNvSpPr/>
          <p:nvPr/>
        </p:nvSpPr>
        <p:spPr>
          <a:xfrm>
            <a:off x="1779594" y="694271"/>
            <a:ext cx="1214437" cy="967317"/>
          </a:xfrm>
          <a:custGeom>
            <a:avLst/>
            <a:gdLst>
              <a:gd name="connsiteX0" fmla="*/ 0 w 1213253"/>
              <a:gd name="connsiteY0" fmla="*/ 93671 h 967926"/>
              <a:gd name="connsiteX1" fmla="*/ 8921 w 1213253"/>
              <a:gd name="connsiteY1" fmla="*/ 196262 h 967926"/>
              <a:gd name="connsiteX2" fmla="*/ 75828 w 1213253"/>
              <a:gd name="connsiteY2" fmla="*/ 214104 h 967926"/>
              <a:gd name="connsiteX3" fmla="*/ 111512 w 1213253"/>
              <a:gd name="connsiteY3" fmla="*/ 236406 h 967926"/>
              <a:gd name="connsiteX4" fmla="*/ 151656 w 1213253"/>
              <a:gd name="connsiteY4" fmla="*/ 289932 h 967926"/>
              <a:gd name="connsiteX5" fmla="*/ 182880 w 1213253"/>
              <a:gd name="connsiteY5" fmla="*/ 298853 h 967926"/>
              <a:gd name="connsiteX6" fmla="*/ 209643 w 1213253"/>
              <a:gd name="connsiteY6" fmla="*/ 347919 h 967926"/>
              <a:gd name="connsiteX7" fmla="*/ 209643 w 1213253"/>
              <a:gd name="connsiteY7" fmla="*/ 392523 h 967926"/>
              <a:gd name="connsiteX8" fmla="*/ 129354 w 1213253"/>
              <a:gd name="connsiteY8" fmla="*/ 472812 h 967926"/>
              <a:gd name="connsiteX9" fmla="*/ 115973 w 1213253"/>
              <a:gd name="connsiteY9" fmla="*/ 504036 h 967926"/>
              <a:gd name="connsiteX10" fmla="*/ 120433 w 1213253"/>
              <a:gd name="connsiteY10" fmla="*/ 722600 h 967926"/>
              <a:gd name="connsiteX11" fmla="*/ 156117 w 1213253"/>
              <a:gd name="connsiteY11" fmla="*/ 762744 h 967926"/>
              <a:gd name="connsiteX12" fmla="*/ 200722 w 1213253"/>
              <a:gd name="connsiteY12" fmla="*/ 771665 h 967926"/>
              <a:gd name="connsiteX13" fmla="*/ 218564 w 1213253"/>
              <a:gd name="connsiteY13" fmla="*/ 802888 h 967926"/>
              <a:gd name="connsiteX14" fmla="*/ 245327 w 1213253"/>
              <a:gd name="connsiteY14" fmla="*/ 802888 h 967926"/>
              <a:gd name="connsiteX15" fmla="*/ 285471 w 1213253"/>
              <a:gd name="connsiteY15" fmla="*/ 860875 h 967926"/>
              <a:gd name="connsiteX16" fmla="*/ 356839 w 1213253"/>
              <a:gd name="connsiteY16" fmla="*/ 860875 h 967926"/>
              <a:gd name="connsiteX17" fmla="*/ 356839 w 1213253"/>
              <a:gd name="connsiteY17" fmla="*/ 909940 h 967926"/>
              <a:gd name="connsiteX18" fmla="*/ 432667 w 1213253"/>
              <a:gd name="connsiteY18" fmla="*/ 905480 h 967926"/>
              <a:gd name="connsiteX19" fmla="*/ 450509 w 1213253"/>
              <a:gd name="connsiteY19" fmla="*/ 896559 h 967926"/>
              <a:gd name="connsiteX20" fmla="*/ 454970 w 1213253"/>
              <a:gd name="connsiteY20" fmla="*/ 820730 h 967926"/>
              <a:gd name="connsiteX21" fmla="*/ 481733 w 1213253"/>
              <a:gd name="connsiteY21" fmla="*/ 785046 h 967926"/>
              <a:gd name="connsiteX22" fmla="*/ 499575 w 1213253"/>
              <a:gd name="connsiteY22" fmla="*/ 749362 h 967926"/>
              <a:gd name="connsiteX23" fmla="*/ 544179 w 1213253"/>
              <a:gd name="connsiteY23" fmla="*/ 740441 h 967926"/>
              <a:gd name="connsiteX24" fmla="*/ 597705 w 1213253"/>
              <a:gd name="connsiteY24" fmla="*/ 740441 h 967926"/>
              <a:gd name="connsiteX25" fmla="*/ 624468 w 1213253"/>
              <a:gd name="connsiteY25" fmla="*/ 785046 h 967926"/>
              <a:gd name="connsiteX26" fmla="*/ 651231 w 1213253"/>
              <a:gd name="connsiteY26" fmla="*/ 802888 h 967926"/>
              <a:gd name="connsiteX27" fmla="*/ 709217 w 1213253"/>
              <a:gd name="connsiteY27" fmla="*/ 825191 h 967926"/>
              <a:gd name="connsiteX28" fmla="*/ 771664 w 1213253"/>
              <a:gd name="connsiteY28" fmla="*/ 816270 h 967926"/>
              <a:gd name="connsiteX29" fmla="*/ 785046 w 1213253"/>
              <a:gd name="connsiteY29" fmla="*/ 851954 h 967926"/>
              <a:gd name="connsiteX30" fmla="*/ 807348 w 1213253"/>
              <a:gd name="connsiteY30" fmla="*/ 869796 h 967926"/>
              <a:gd name="connsiteX31" fmla="*/ 865335 w 1213253"/>
              <a:gd name="connsiteY31" fmla="*/ 905480 h 967926"/>
              <a:gd name="connsiteX32" fmla="*/ 932242 w 1213253"/>
              <a:gd name="connsiteY32" fmla="*/ 878717 h 967926"/>
              <a:gd name="connsiteX33" fmla="*/ 945623 w 1213253"/>
              <a:gd name="connsiteY33" fmla="*/ 874256 h 967926"/>
              <a:gd name="connsiteX34" fmla="*/ 936702 w 1213253"/>
              <a:gd name="connsiteY34" fmla="*/ 918861 h 967926"/>
              <a:gd name="connsiteX35" fmla="*/ 945623 w 1213253"/>
              <a:gd name="connsiteY35" fmla="*/ 959005 h 967926"/>
              <a:gd name="connsiteX36" fmla="*/ 999149 w 1213253"/>
              <a:gd name="connsiteY36" fmla="*/ 967926 h 967926"/>
              <a:gd name="connsiteX37" fmla="*/ 1008070 w 1213253"/>
              <a:gd name="connsiteY37" fmla="*/ 936703 h 967926"/>
              <a:gd name="connsiteX38" fmla="*/ 1016991 w 1213253"/>
              <a:gd name="connsiteY38" fmla="*/ 901019 h 967926"/>
              <a:gd name="connsiteX39" fmla="*/ 1052675 w 1213253"/>
              <a:gd name="connsiteY39" fmla="*/ 892098 h 967926"/>
              <a:gd name="connsiteX40" fmla="*/ 1074977 w 1213253"/>
              <a:gd name="connsiteY40" fmla="*/ 878717 h 967926"/>
              <a:gd name="connsiteX41" fmla="*/ 1061596 w 1213253"/>
              <a:gd name="connsiteY41" fmla="*/ 843033 h 967926"/>
              <a:gd name="connsiteX42" fmla="*/ 1034833 w 1213253"/>
              <a:gd name="connsiteY42" fmla="*/ 807349 h 967926"/>
              <a:gd name="connsiteX43" fmla="*/ 1043754 w 1213253"/>
              <a:gd name="connsiteY43" fmla="*/ 762744 h 967926"/>
              <a:gd name="connsiteX44" fmla="*/ 1008070 w 1213253"/>
              <a:gd name="connsiteY44" fmla="*/ 758283 h 967926"/>
              <a:gd name="connsiteX45" fmla="*/ 972386 w 1213253"/>
              <a:gd name="connsiteY45" fmla="*/ 695837 h 967926"/>
              <a:gd name="connsiteX46" fmla="*/ 985768 w 1213253"/>
              <a:gd name="connsiteY46" fmla="*/ 664613 h 967926"/>
              <a:gd name="connsiteX47" fmla="*/ 994689 w 1213253"/>
              <a:gd name="connsiteY47" fmla="*/ 646771 h 967926"/>
              <a:gd name="connsiteX48" fmla="*/ 990228 w 1213253"/>
              <a:gd name="connsiteY48" fmla="*/ 615548 h 967926"/>
              <a:gd name="connsiteX49" fmla="*/ 1003610 w 1213253"/>
              <a:gd name="connsiteY49" fmla="*/ 606627 h 967926"/>
              <a:gd name="connsiteX50" fmla="*/ 1034833 w 1213253"/>
              <a:gd name="connsiteY50" fmla="*/ 624469 h 967926"/>
              <a:gd name="connsiteX51" fmla="*/ 1066056 w 1213253"/>
              <a:gd name="connsiteY51" fmla="*/ 588785 h 967926"/>
              <a:gd name="connsiteX52" fmla="*/ 1074977 w 1213253"/>
              <a:gd name="connsiteY52" fmla="*/ 570943 h 967926"/>
              <a:gd name="connsiteX53" fmla="*/ 1074977 w 1213253"/>
              <a:gd name="connsiteY53" fmla="*/ 553101 h 967926"/>
              <a:gd name="connsiteX54" fmla="*/ 1092819 w 1213253"/>
              <a:gd name="connsiteY54" fmla="*/ 530799 h 967926"/>
              <a:gd name="connsiteX55" fmla="*/ 1159727 w 1213253"/>
              <a:gd name="connsiteY55" fmla="*/ 517417 h 967926"/>
              <a:gd name="connsiteX56" fmla="*/ 1168648 w 1213253"/>
              <a:gd name="connsiteY56" fmla="*/ 468352 h 967926"/>
              <a:gd name="connsiteX57" fmla="*/ 1190950 w 1213253"/>
              <a:gd name="connsiteY57" fmla="*/ 437128 h 967926"/>
              <a:gd name="connsiteX58" fmla="*/ 1195411 w 1213253"/>
              <a:gd name="connsiteY58" fmla="*/ 379142 h 967926"/>
              <a:gd name="connsiteX59" fmla="*/ 1213253 w 1213253"/>
              <a:gd name="connsiteY59" fmla="*/ 325616 h 967926"/>
              <a:gd name="connsiteX60" fmla="*/ 1204332 w 1213253"/>
              <a:gd name="connsiteY60" fmla="*/ 281011 h 967926"/>
              <a:gd name="connsiteX61" fmla="*/ 1155266 w 1213253"/>
              <a:gd name="connsiteY61" fmla="*/ 272090 h 967926"/>
              <a:gd name="connsiteX62" fmla="*/ 1110661 w 1213253"/>
              <a:gd name="connsiteY62" fmla="*/ 281011 h 967926"/>
              <a:gd name="connsiteX63" fmla="*/ 1030373 w 1213253"/>
              <a:gd name="connsiteY63" fmla="*/ 227485 h 967926"/>
              <a:gd name="connsiteX64" fmla="*/ 1003610 w 1213253"/>
              <a:gd name="connsiteY64" fmla="*/ 231946 h 967926"/>
              <a:gd name="connsiteX65" fmla="*/ 985768 w 1213253"/>
              <a:gd name="connsiteY65" fmla="*/ 285472 h 967926"/>
              <a:gd name="connsiteX66" fmla="*/ 967926 w 1213253"/>
              <a:gd name="connsiteY66" fmla="*/ 289932 h 967926"/>
              <a:gd name="connsiteX67" fmla="*/ 896558 w 1213253"/>
              <a:gd name="connsiteY67" fmla="*/ 281011 h 967926"/>
              <a:gd name="connsiteX68" fmla="*/ 878716 w 1213253"/>
              <a:gd name="connsiteY68" fmla="*/ 325616 h 967926"/>
              <a:gd name="connsiteX69" fmla="*/ 856414 w 1213253"/>
              <a:gd name="connsiteY69" fmla="*/ 325616 h 967926"/>
              <a:gd name="connsiteX70" fmla="*/ 802888 w 1213253"/>
              <a:gd name="connsiteY70" fmla="*/ 307774 h 967926"/>
              <a:gd name="connsiteX71" fmla="*/ 758283 w 1213253"/>
              <a:gd name="connsiteY71" fmla="*/ 321156 h 967926"/>
              <a:gd name="connsiteX72" fmla="*/ 677994 w 1213253"/>
              <a:gd name="connsiteY72" fmla="*/ 272090 h 967926"/>
              <a:gd name="connsiteX73" fmla="*/ 669073 w 1213253"/>
              <a:gd name="connsiteY73" fmla="*/ 205183 h 967926"/>
              <a:gd name="connsiteX74" fmla="*/ 664613 w 1213253"/>
              <a:gd name="connsiteY74" fmla="*/ 182880 h 967926"/>
              <a:gd name="connsiteX75" fmla="*/ 620008 w 1213253"/>
              <a:gd name="connsiteY75" fmla="*/ 173960 h 967926"/>
              <a:gd name="connsiteX76" fmla="*/ 597705 w 1213253"/>
              <a:gd name="connsiteY76" fmla="*/ 124894 h 967926"/>
              <a:gd name="connsiteX77" fmla="*/ 526337 w 1213253"/>
              <a:gd name="connsiteY77" fmla="*/ 120434 h 967926"/>
              <a:gd name="connsiteX78" fmla="*/ 504035 w 1213253"/>
              <a:gd name="connsiteY78" fmla="*/ 57987 h 967926"/>
              <a:gd name="connsiteX79" fmla="*/ 454970 w 1213253"/>
              <a:gd name="connsiteY79" fmla="*/ 8921 h 967926"/>
              <a:gd name="connsiteX80" fmla="*/ 419286 w 1213253"/>
              <a:gd name="connsiteY80" fmla="*/ 0 h 967926"/>
              <a:gd name="connsiteX81" fmla="*/ 401444 w 1213253"/>
              <a:gd name="connsiteY81" fmla="*/ 22303 h 967926"/>
              <a:gd name="connsiteX82" fmla="*/ 361299 w 1213253"/>
              <a:gd name="connsiteY82" fmla="*/ 4461 h 967926"/>
              <a:gd name="connsiteX83" fmla="*/ 343457 w 1213253"/>
              <a:gd name="connsiteY83" fmla="*/ 13382 h 967926"/>
              <a:gd name="connsiteX84" fmla="*/ 321155 w 1213253"/>
              <a:gd name="connsiteY84" fmla="*/ 31224 h 967926"/>
              <a:gd name="connsiteX85" fmla="*/ 281011 w 1213253"/>
              <a:gd name="connsiteY85" fmla="*/ 22303 h 967926"/>
              <a:gd name="connsiteX86" fmla="*/ 249787 w 1213253"/>
              <a:gd name="connsiteY86" fmla="*/ 40145 h 967926"/>
              <a:gd name="connsiteX87" fmla="*/ 165038 w 1213253"/>
              <a:gd name="connsiteY87" fmla="*/ 40145 h 967926"/>
              <a:gd name="connsiteX88" fmla="*/ 133815 w 1213253"/>
              <a:gd name="connsiteY88" fmla="*/ 35684 h 967926"/>
              <a:gd name="connsiteX89" fmla="*/ 133815 w 1213253"/>
              <a:gd name="connsiteY89" fmla="*/ 35684 h 967926"/>
              <a:gd name="connsiteX90" fmla="*/ 98131 w 1213253"/>
              <a:gd name="connsiteY90" fmla="*/ 75829 h 967926"/>
              <a:gd name="connsiteX91" fmla="*/ 98131 w 1213253"/>
              <a:gd name="connsiteY91" fmla="*/ 129355 h 967926"/>
              <a:gd name="connsiteX92" fmla="*/ 84749 w 1213253"/>
              <a:gd name="connsiteY92" fmla="*/ 129355 h 967926"/>
              <a:gd name="connsiteX93" fmla="*/ 0 w 1213253"/>
              <a:gd name="connsiteY93" fmla="*/ 93671 h 967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1213253" h="967926">
                <a:moveTo>
                  <a:pt x="0" y="93671"/>
                </a:moveTo>
                <a:lnTo>
                  <a:pt x="8921" y="196262"/>
                </a:lnTo>
                <a:lnTo>
                  <a:pt x="75828" y="214104"/>
                </a:lnTo>
                <a:lnTo>
                  <a:pt x="111512" y="236406"/>
                </a:lnTo>
                <a:lnTo>
                  <a:pt x="151656" y="289932"/>
                </a:lnTo>
                <a:lnTo>
                  <a:pt x="182880" y="298853"/>
                </a:lnTo>
                <a:lnTo>
                  <a:pt x="209643" y="347919"/>
                </a:lnTo>
                <a:lnTo>
                  <a:pt x="209643" y="392523"/>
                </a:lnTo>
                <a:lnTo>
                  <a:pt x="129354" y="472812"/>
                </a:lnTo>
                <a:lnTo>
                  <a:pt x="115973" y="504036"/>
                </a:lnTo>
                <a:cubicBezTo>
                  <a:pt x="117460" y="576891"/>
                  <a:pt x="118946" y="649745"/>
                  <a:pt x="120433" y="722600"/>
                </a:cubicBezTo>
                <a:lnTo>
                  <a:pt x="156117" y="762744"/>
                </a:lnTo>
                <a:lnTo>
                  <a:pt x="200722" y="771665"/>
                </a:lnTo>
                <a:lnTo>
                  <a:pt x="218564" y="802888"/>
                </a:lnTo>
                <a:lnTo>
                  <a:pt x="245327" y="802888"/>
                </a:lnTo>
                <a:lnTo>
                  <a:pt x="285471" y="860875"/>
                </a:lnTo>
                <a:lnTo>
                  <a:pt x="356839" y="860875"/>
                </a:lnTo>
                <a:lnTo>
                  <a:pt x="356839" y="909940"/>
                </a:lnTo>
                <a:lnTo>
                  <a:pt x="432667" y="905480"/>
                </a:lnTo>
                <a:lnTo>
                  <a:pt x="450509" y="896559"/>
                </a:lnTo>
                <a:lnTo>
                  <a:pt x="454970" y="820730"/>
                </a:lnTo>
                <a:lnTo>
                  <a:pt x="481733" y="785046"/>
                </a:lnTo>
                <a:lnTo>
                  <a:pt x="499575" y="749362"/>
                </a:lnTo>
                <a:lnTo>
                  <a:pt x="544179" y="740441"/>
                </a:lnTo>
                <a:lnTo>
                  <a:pt x="597705" y="740441"/>
                </a:lnTo>
                <a:lnTo>
                  <a:pt x="624468" y="785046"/>
                </a:lnTo>
                <a:lnTo>
                  <a:pt x="651231" y="802888"/>
                </a:lnTo>
                <a:lnTo>
                  <a:pt x="709217" y="825191"/>
                </a:lnTo>
                <a:lnTo>
                  <a:pt x="771664" y="816270"/>
                </a:lnTo>
                <a:lnTo>
                  <a:pt x="785046" y="851954"/>
                </a:lnTo>
                <a:lnTo>
                  <a:pt x="807348" y="869796"/>
                </a:lnTo>
                <a:lnTo>
                  <a:pt x="865335" y="905480"/>
                </a:lnTo>
                <a:lnTo>
                  <a:pt x="932242" y="878717"/>
                </a:lnTo>
                <a:lnTo>
                  <a:pt x="945623" y="874256"/>
                </a:lnTo>
                <a:lnTo>
                  <a:pt x="936702" y="918861"/>
                </a:lnTo>
                <a:lnTo>
                  <a:pt x="945623" y="959005"/>
                </a:lnTo>
                <a:lnTo>
                  <a:pt x="999149" y="967926"/>
                </a:lnTo>
                <a:lnTo>
                  <a:pt x="1008070" y="936703"/>
                </a:lnTo>
                <a:lnTo>
                  <a:pt x="1016991" y="901019"/>
                </a:lnTo>
                <a:lnTo>
                  <a:pt x="1052675" y="892098"/>
                </a:lnTo>
                <a:lnTo>
                  <a:pt x="1074977" y="878717"/>
                </a:lnTo>
                <a:lnTo>
                  <a:pt x="1061596" y="843033"/>
                </a:lnTo>
                <a:lnTo>
                  <a:pt x="1034833" y="807349"/>
                </a:lnTo>
                <a:lnTo>
                  <a:pt x="1043754" y="762744"/>
                </a:lnTo>
                <a:lnTo>
                  <a:pt x="1008070" y="758283"/>
                </a:lnTo>
                <a:lnTo>
                  <a:pt x="972386" y="695837"/>
                </a:lnTo>
                <a:lnTo>
                  <a:pt x="985768" y="664613"/>
                </a:lnTo>
                <a:lnTo>
                  <a:pt x="994689" y="646771"/>
                </a:lnTo>
                <a:lnTo>
                  <a:pt x="990228" y="615548"/>
                </a:lnTo>
                <a:lnTo>
                  <a:pt x="1003610" y="606627"/>
                </a:lnTo>
                <a:lnTo>
                  <a:pt x="1034833" y="624469"/>
                </a:lnTo>
                <a:lnTo>
                  <a:pt x="1066056" y="588785"/>
                </a:lnTo>
                <a:lnTo>
                  <a:pt x="1074977" y="570943"/>
                </a:lnTo>
                <a:lnTo>
                  <a:pt x="1074977" y="553101"/>
                </a:lnTo>
                <a:lnTo>
                  <a:pt x="1092819" y="530799"/>
                </a:lnTo>
                <a:lnTo>
                  <a:pt x="1159727" y="517417"/>
                </a:lnTo>
                <a:lnTo>
                  <a:pt x="1168648" y="468352"/>
                </a:lnTo>
                <a:lnTo>
                  <a:pt x="1190950" y="437128"/>
                </a:lnTo>
                <a:lnTo>
                  <a:pt x="1195411" y="379142"/>
                </a:lnTo>
                <a:lnTo>
                  <a:pt x="1213253" y="325616"/>
                </a:lnTo>
                <a:lnTo>
                  <a:pt x="1204332" y="281011"/>
                </a:lnTo>
                <a:lnTo>
                  <a:pt x="1155266" y="272090"/>
                </a:lnTo>
                <a:lnTo>
                  <a:pt x="1110661" y="281011"/>
                </a:lnTo>
                <a:lnTo>
                  <a:pt x="1030373" y="227485"/>
                </a:lnTo>
                <a:lnTo>
                  <a:pt x="1003610" y="231946"/>
                </a:lnTo>
                <a:lnTo>
                  <a:pt x="985768" y="285472"/>
                </a:lnTo>
                <a:lnTo>
                  <a:pt x="967926" y="289932"/>
                </a:lnTo>
                <a:lnTo>
                  <a:pt x="896558" y="281011"/>
                </a:lnTo>
                <a:lnTo>
                  <a:pt x="878716" y="325616"/>
                </a:lnTo>
                <a:lnTo>
                  <a:pt x="856414" y="325616"/>
                </a:lnTo>
                <a:lnTo>
                  <a:pt x="802888" y="307774"/>
                </a:lnTo>
                <a:lnTo>
                  <a:pt x="758283" y="321156"/>
                </a:lnTo>
                <a:lnTo>
                  <a:pt x="677994" y="272090"/>
                </a:lnTo>
                <a:lnTo>
                  <a:pt x="669073" y="205183"/>
                </a:lnTo>
                <a:lnTo>
                  <a:pt x="664613" y="182880"/>
                </a:lnTo>
                <a:lnTo>
                  <a:pt x="620008" y="173960"/>
                </a:lnTo>
                <a:lnTo>
                  <a:pt x="597705" y="124894"/>
                </a:lnTo>
                <a:lnTo>
                  <a:pt x="526337" y="120434"/>
                </a:lnTo>
                <a:lnTo>
                  <a:pt x="504035" y="57987"/>
                </a:lnTo>
                <a:lnTo>
                  <a:pt x="454970" y="8921"/>
                </a:lnTo>
                <a:lnTo>
                  <a:pt x="419286" y="0"/>
                </a:lnTo>
                <a:lnTo>
                  <a:pt x="401444" y="22303"/>
                </a:lnTo>
                <a:lnTo>
                  <a:pt x="361299" y="4461"/>
                </a:lnTo>
                <a:lnTo>
                  <a:pt x="343457" y="13382"/>
                </a:lnTo>
                <a:lnTo>
                  <a:pt x="321155" y="31224"/>
                </a:lnTo>
                <a:lnTo>
                  <a:pt x="281011" y="22303"/>
                </a:lnTo>
                <a:lnTo>
                  <a:pt x="249787" y="40145"/>
                </a:lnTo>
                <a:lnTo>
                  <a:pt x="165038" y="40145"/>
                </a:lnTo>
                <a:lnTo>
                  <a:pt x="133815" y="35684"/>
                </a:lnTo>
                <a:lnTo>
                  <a:pt x="133815" y="35684"/>
                </a:lnTo>
                <a:lnTo>
                  <a:pt x="98131" y="75829"/>
                </a:lnTo>
                <a:lnTo>
                  <a:pt x="98131" y="129355"/>
                </a:lnTo>
                <a:lnTo>
                  <a:pt x="84749" y="129355"/>
                </a:lnTo>
                <a:lnTo>
                  <a:pt x="0" y="93671"/>
                </a:ln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2208214" y="1428755"/>
            <a:ext cx="482600" cy="539749"/>
          </a:xfrm>
          <a:custGeom>
            <a:avLst/>
            <a:gdLst>
              <a:gd name="connsiteX0" fmla="*/ 165038 w 481732"/>
              <a:gd name="connsiteY0" fmla="*/ 0 h 539719"/>
              <a:gd name="connsiteX1" fmla="*/ 75828 w 481732"/>
              <a:gd name="connsiteY1" fmla="*/ 8921 h 539719"/>
              <a:gd name="connsiteX2" fmla="*/ 31223 w 481732"/>
              <a:gd name="connsiteY2" fmla="*/ 80289 h 539719"/>
              <a:gd name="connsiteX3" fmla="*/ 22302 w 481732"/>
              <a:gd name="connsiteY3" fmla="*/ 160578 h 539719"/>
              <a:gd name="connsiteX4" fmla="*/ 0 w 481732"/>
              <a:gd name="connsiteY4" fmla="*/ 178419 h 539719"/>
              <a:gd name="connsiteX5" fmla="*/ 0 w 481732"/>
              <a:gd name="connsiteY5" fmla="*/ 223024 h 539719"/>
              <a:gd name="connsiteX6" fmla="*/ 35684 w 481732"/>
              <a:gd name="connsiteY6" fmla="*/ 258708 h 539719"/>
              <a:gd name="connsiteX7" fmla="*/ 62447 w 481732"/>
              <a:gd name="connsiteY7" fmla="*/ 338997 h 539719"/>
              <a:gd name="connsiteX8" fmla="*/ 107051 w 481732"/>
              <a:gd name="connsiteY8" fmla="*/ 356839 h 539719"/>
              <a:gd name="connsiteX9" fmla="*/ 133814 w 481732"/>
              <a:gd name="connsiteY9" fmla="*/ 414825 h 539719"/>
              <a:gd name="connsiteX10" fmla="*/ 214103 w 481732"/>
              <a:gd name="connsiteY10" fmla="*/ 437128 h 539719"/>
              <a:gd name="connsiteX11" fmla="*/ 223024 w 481732"/>
              <a:gd name="connsiteY11" fmla="*/ 486193 h 539719"/>
              <a:gd name="connsiteX12" fmla="*/ 249787 w 481732"/>
              <a:gd name="connsiteY12" fmla="*/ 486193 h 539719"/>
              <a:gd name="connsiteX13" fmla="*/ 281010 w 481732"/>
              <a:gd name="connsiteY13" fmla="*/ 539719 h 539719"/>
              <a:gd name="connsiteX14" fmla="*/ 330076 w 481732"/>
              <a:gd name="connsiteY14" fmla="*/ 472812 h 539719"/>
              <a:gd name="connsiteX15" fmla="*/ 321155 w 481732"/>
              <a:gd name="connsiteY15" fmla="*/ 414825 h 539719"/>
              <a:gd name="connsiteX16" fmla="*/ 388062 w 481732"/>
              <a:gd name="connsiteY16" fmla="*/ 379141 h 539719"/>
              <a:gd name="connsiteX17" fmla="*/ 437128 w 481732"/>
              <a:gd name="connsiteY17" fmla="*/ 392523 h 539719"/>
              <a:gd name="connsiteX18" fmla="*/ 437128 w 481732"/>
              <a:gd name="connsiteY18" fmla="*/ 392523 h 539719"/>
              <a:gd name="connsiteX19" fmla="*/ 481732 w 481732"/>
              <a:gd name="connsiteY19" fmla="*/ 383602 h 539719"/>
              <a:gd name="connsiteX20" fmla="*/ 468351 w 481732"/>
              <a:gd name="connsiteY20" fmla="*/ 347918 h 539719"/>
              <a:gd name="connsiteX21" fmla="*/ 468351 w 481732"/>
              <a:gd name="connsiteY21" fmla="*/ 298853 h 539719"/>
              <a:gd name="connsiteX22" fmla="*/ 481732 w 481732"/>
              <a:gd name="connsiteY22" fmla="*/ 263169 h 539719"/>
              <a:gd name="connsiteX23" fmla="*/ 459430 w 481732"/>
              <a:gd name="connsiteY23" fmla="*/ 231945 h 539719"/>
              <a:gd name="connsiteX24" fmla="*/ 437128 w 481732"/>
              <a:gd name="connsiteY24" fmla="*/ 173959 h 539719"/>
              <a:gd name="connsiteX25" fmla="*/ 361299 w 481732"/>
              <a:gd name="connsiteY25" fmla="*/ 120433 h 539719"/>
              <a:gd name="connsiteX26" fmla="*/ 338997 w 481732"/>
              <a:gd name="connsiteY26" fmla="*/ 75828 h 539719"/>
              <a:gd name="connsiteX27" fmla="*/ 281010 w 481732"/>
              <a:gd name="connsiteY27" fmla="*/ 89210 h 539719"/>
              <a:gd name="connsiteX28" fmla="*/ 209643 w 481732"/>
              <a:gd name="connsiteY28" fmla="*/ 62447 h 539719"/>
              <a:gd name="connsiteX29" fmla="*/ 165038 w 481732"/>
              <a:gd name="connsiteY29" fmla="*/ 0 h 539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481732" h="539719">
                <a:moveTo>
                  <a:pt x="165038" y="0"/>
                </a:moveTo>
                <a:lnTo>
                  <a:pt x="75828" y="8921"/>
                </a:lnTo>
                <a:lnTo>
                  <a:pt x="31223" y="80289"/>
                </a:lnTo>
                <a:lnTo>
                  <a:pt x="22302" y="160578"/>
                </a:lnTo>
                <a:lnTo>
                  <a:pt x="0" y="178419"/>
                </a:lnTo>
                <a:lnTo>
                  <a:pt x="0" y="223024"/>
                </a:lnTo>
                <a:lnTo>
                  <a:pt x="35684" y="258708"/>
                </a:lnTo>
                <a:lnTo>
                  <a:pt x="62447" y="338997"/>
                </a:lnTo>
                <a:lnTo>
                  <a:pt x="107051" y="356839"/>
                </a:lnTo>
                <a:lnTo>
                  <a:pt x="133814" y="414825"/>
                </a:lnTo>
                <a:lnTo>
                  <a:pt x="214103" y="437128"/>
                </a:lnTo>
                <a:lnTo>
                  <a:pt x="223024" y="486193"/>
                </a:lnTo>
                <a:lnTo>
                  <a:pt x="249787" y="486193"/>
                </a:lnTo>
                <a:lnTo>
                  <a:pt x="281010" y="539719"/>
                </a:lnTo>
                <a:lnTo>
                  <a:pt x="330076" y="472812"/>
                </a:lnTo>
                <a:lnTo>
                  <a:pt x="321155" y="414825"/>
                </a:lnTo>
                <a:lnTo>
                  <a:pt x="388062" y="379141"/>
                </a:lnTo>
                <a:lnTo>
                  <a:pt x="437128" y="392523"/>
                </a:lnTo>
                <a:lnTo>
                  <a:pt x="437128" y="392523"/>
                </a:lnTo>
                <a:lnTo>
                  <a:pt x="481732" y="383602"/>
                </a:lnTo>
                <a:lnTo>
                  <a:pt x="468351" y="347918"/>
                </a:lnTo>
                <a:lnTo>
                  <a:pt x="468351" y="298853"/>
                </a:lnTo>
                <a:lnTo>
                  <a:pt x="481732" y="263169"/>
                </a:lnTo>
                <a:lnTo>
                  <a:pt x="459430" y="231945"/>
                </a:lnTo>
                <a:lnTo>
                  <a:pt x="437128" y="173959"/>
                </a:lnTo>
                <a:lnTo>
                  <a:pt x="361299" y="120433"/>
                </a:lnTo>
                <a:lnTo>
                  <a:pt x="338997" y="75828"/>
                </a:lnTo>
                <a:lnTo>
                  <a:pt x="281010" y="89210"/>
                </a:lnTo>
                <a:lnTo>
                  <a:pt x="209643" y="62447"/>
                </a:lnTo>
                <a:lnTo>
                  <a:pt x="165038" y="0"/>
                </a:lnTo>
                <a:close/>
              </a:path>
            </a:pathLst>
          </a:custGeom>
          <a:solidFill>
            <a:srgbClr val="00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1866900" y="1602321"/>
            <a:ext cx="522288" cy="465667"/>
          </a:xfrm>
          <a:custGeom>
            <a:avLst/>
            <a:gdLst>
              <a:gd name="connsiteX0" fmla="*/ 336884 w 521791"/>
              <a:gd name="connsiteY0" fmla="*/ 0 h 466065"/>
              <a:gd name="connsiteX1" fmla="*/ 271027 w 521791"/>
              <a:gd name="connsiteY1" fmla="*/ 2533 h 466065"/>
              <a:gd name="connsiteX2" fmla="*/ 238099 w 521791"/>
              <a:gd name="connsiteY2" fmla="*/ 48126 h 466065"/>
              <a:gd name="connsiteX3" fmla="*/ 200104 w 521791"/>
              <a:gd name="connsiteY3" fmla="*/ 60791 h 466065"/>
              <a:gd name="connsiteX4" fmla="*/ 131714 w 521791"/>
              <a:gd name="connsiteY4" fmla="*/ 98785 h 466065"/>
              <a:gd name="connsiteX5" fmla="*/ 131714 w 521791"/>
              <a:gd name="connsiteY5" fmla="*/ 134247 h 466065"/>
              <a:gd name="connsiteX6" fmla="*/ 151978 w 521791"/>
              <a:gd name="connsiteY6" fmla="*/ 174774 h 466065"/>
              <a:gd name="connsiteX7" fmla="*/ 159577 w 521791"/>
              <a:gd name="connsiteY7" fmla="*/ 207703 h 466065"/>
              <a:gd name="connsiteX8" fmla="*/ 169709 w 521791"/>
              <a:gd name="connsiteY8" fmla="*/ 222900 h 466065"/>
              <a:gd name="connsiteX9" fmla="*/ 141846 w 521791"/>
              <a:gd name="connsiteY9" fmla="*/ 235565 h 466065"/>
              <a:gd name="connsiteX10" fmla="*/ 53192 w 521791"/>
              <a:gd name="connsiteY10" fmla="*/ 263428 h 466065"/>
              <a:gd name="connsiteX11" fmla="*/ 22797 w 521791"/>
              <a:gd name="connsiteY11" fmla="*/ 321686 h 466065"/>
              <a:gd name="connsiteX12" fmla="*/ 0 w 521791"/>
              <a:gd name="connsiteY12" fmla="*/ 339417 h 466065"/>
              <a:gd name="connsiteX13" fmla="*/ 7599 w 521791"/>
              <a:gd name="connsiteY13" fmla="*/ 369812 h 466065"/>
              <a:gd name="connsiteX14" fmla="*/ 20264 w 521791"/>
              <a:gd name="connsiteY14" fmla="*/ 397675 h 466065"/>
              <a:gd name="connsiteX15" fmla="*/ 113983 w 521791"/>
              <a:gd name="connsiteY15" fmla="*/ 402741 h 466065"/>
              <a:gd name="connsiteX16" fmla="*/ 134247 w 521791"/>
              <a:gd name="connsiteY16" fmla="*/ 390076 h 466065"/>
              <a:gd name="connsiteX17" fmla="*/ 162110 w 521791"/>
              <a:gd name="connsiteY17" fmla="*/ 387543 h 466065"/>
              <a:gd name="connsiteX18" fmla="*/ 189972 w 521791"/>
              <a:gd name="connsiteY18" fmla="*/ 405274 h 466065"/>
              <a:gd name="connsiteX19" fmla="*/ 243165 w 521791"/>
              <a:gd name="connsiteY19" fmla="*/ 466065 h 466065"/>
              <a:gd name="connsiteX20" fmla="*/ 288758 w 521791"/>
              <a:gd name="connsiteY20" fmla="*/ 430604 h 466065"/>
              <a:gd name="connsiteX21" fmla="*/ 359681 w 521791"/>
              <a:gd name="connsiteY21" fmla="*/ 433136 h 466065"/>
              <a:gd name="connsiteX22" fmla="*/ 390077 w 521791"/>
              <a:gd name="connsiteY22" fmla="*/ 405274 h 466065"/>
              <a:gd name="connsiteX23" fmla="*/ 423005 w 521791"/>
              <a:gd name="connsiteY23" fmla="*/ 359681 h 466065"/>
              <a:gd name="connsiteX24" fmla="*/ 466065 w 521791"/>
              <a:gd name="connsiteY24" fmla="*/ 341950 h 466065"/>
              <a:gd name="connsiteX25" fmla="*/ 488862 w 521791"/>
              <a:gd name="connsiteY25" fmla="*/ 331818 h 466065"/>
              <a:gd name="connsiteX26" fmla="*/ 521791 w 521791"/>
              <a:gd name="connsiteY26" fmla="*/ 344483 h 466065"/>
              <a:gd name="connsiteX27" fmla="*/ 519258 w 521791"/>
              <a:gd name="connsiteY27" fmla="*/ 321686 h 466065"/>
              <a:gd name="connsiteX28" fmla="*/ 501527 w 521791"/>
              <a:gd name="connsiteY28" fmla="*/ 296356 h 466065"/>
              <a:gd name="connsiteX29" fmla="*/ 516725 w 521791"/>
              <a:gd name="connsiteY29" fmla="*/ 253296 h 466065"/>
              <a:gd name="connsiteX30" fmla="*/ 476197 w 521791"/>
              <a:gd name="connsiteY30" fmla="*/ 240631 h 466065"/>
              <a:gd name="connsiteX31" fmla="*/ 448335 w 521791"/>
              <a:gd name="connsiteY31" fmla="*/ 192505 h 466065"/>
              <a:gd name="connsiteX32" fmla="*/ 410340 w 521791"/>
              <a:gd name="connsiteY32" fmla="*/ 167175 h 466065"/>
              <a:gd name="connsiteX33" fmla="*/ 379945 w 521791"/>
              <a:gd name="connsiteY33" fmla="*/ 88653 h 466065"/>
              <a:gd name="connsiteX34" fmla="*/ 349549 w 521791"/>
              <a:gd name="connsiteY34" fmla="*/ 53192 h 466065"/>
              <a:gd name="connsiteX35" fmla="*/ 336884 w 521791"/>
              <a:gd name="connsiteY35" fmla="*/ 0 h 466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21791" h="466065">
                <a:moveTo>
                  <a:pt x="336884" y="0"/>
                </a:moveTo>
                <a:lnTo>
                  <a:pt x="271027" y="2533"/>
                </a:lnTo>
                <a:lnTo>
                  <a:pt x="238099" y="48126"/>
                </a:lnTo>
                <a:lnTo>
                  <a:pt x="200104" y="60791"/>
                </a:lnTo>
                <a:lnTo>
                  <a:pt x="131714" y="98785"/>
                </a:lnTo>
                <a:lnTo>
                  <a:pt x="131714" y="134247"/>
                </a:lnTo>
                <a:lnTo>
                  <a:pt x="151978" y="174774"/>
                </a:lnTo>
                <a:lnTo>
                  <a:pt x="159577" y="207703"/>
                </a:lnTo>
                <a:lnTo>
                  <a:pt x="169709" y="222900"/>
                </a:lnTo>
                <a:lnTo>
                  <a:pt x="141846" y="235565"/>
                </a:lnTo>
                <a:lnTo>
                  <a:pt x="53192" y="263428"/>
                </a:lnTo>
                <a:lnTo>
                  <a:pt x="22797" y="321686"/>
                </a:lnTo>
                <a:lnTo>
                  <a:pt x="0" y="339417"/>
                </a:lnTo>
                <a:lnTo>
                  <a:pt x="7599" y="369812"/>
                </a:lnTo>
                <a:lnTo>
                  <a:pt x="20264" y="397675"/>
                </a:lnTo>
                <a:lnTo>
                  <a:pt x="113983" y="402741"/>
                </a:lnTo>
                <a:lnTo>
                  <a:pt x="134247" y="390076"/>
                </a:lnTo>
                <a:lnTo>
                  <a:pt x="162110" y="387543"/>
                </a:lnTo>
                <a:lnTo>
                  <a:pt x="189972" y="405274"/>
                </a:lnTo>
                <a:lnTo>
                  <a:pt x="243165" y="466065"/>
                </a:lnTo>
                <a:lnTo>
                  <a:pt x="288758" y="430604"/>
                </a:lnTo>
                <a:lnTo>
                  <a:pt x="359681" y="433136"/>
                </a:lnTo>
                <a:lnTo>
                  <a:pt x="390077" y="405274"/>
                </a:lnTo>
                <a:lnTo>
                  <a:pt x="423005" y="359681"/>
                </a:lnTo>
                <a:lnTo>
                  <a:pt x="466065" y="341950"/>
                </a:lnTo>
                <a:lnTo>
                  <a:pt x="488862" y="331818"/>
                </a:lnTo>
                <a:lnTo>
                  <a:pt x="521791" y="344483"/>
                </a:lnTo>
                <a:lnTo>
                  <a:pt x="519258" y="321686"/>
                </a:lnTo>
                <a:lnTo>
                  <a:pt x="501527" y="296356"/>
                </a:lnTo>
                <a:lnTo>
                  <a:pt x="516725" y="253296"/>
                </a:lnTo>
                <a:lnTo>
                  <a:pt x="476197" y="240631"/>
                </a:lnTo>
                <a:lnTo>
                  <a:pt x="448335" y="192505"/>
                </a:lnTo>
                <a:lnTo>
                  <a:pt x="410340" y="167175"/>
                </a:lnTo>
                <a:lnTo>
                  <a:pt x="379945" y="88653"/>
                </a:lnTo>
                <a:lnTo>
                  <a:pt x="349549" y="53192"/>
                </a:lnTo>
                <a:lnTo>
                  <a:pt x="336884" y="0"/>
                </a:lnTo>
                <a:close/>
              </a:path>
            </a:pathLst>
          </a:custGeom>
          <a:solidFill>
            <a:srgbClr val="7030A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1951044" y="1858436"/>
            <a:ext cx="542925" cy="560917"/>
          </a:xfrm>
          <a:custGeom>
            <a:avLst/>
            <a:gdLst>
              <a:gd name="connsiteX0" fmla="*/ 22797 w 542054"/>
              <a:gd name="connsiteY0" fmla="*/ 146912 h 562318"/>
              <a:gd name="connsiteX1" fmla="*/ 0 w 542054"/>
              <a:gd name="connsiteY1" fmla="*/ 205170 h 562318"/>
              <a:gd name="connsiteX2" fmla="*/ 55725 w 542054"/>
              <a:gd name="connsiteY2" fmla="*/ 245697 h 562318"/>
              <a:gd name="connsiteX3" fmla="*/ 96252 w 542054"/>
              <a:gd name="connsiteY3" fmla="*/ 321686 h 562318"/>
              <a:gd name="connsiteX4" fmla="*/ 157044 w 542054"/>
              <a:gd name="connsiteY4" fmla="*/ 347016 h 562318"/>
              <a:gd name="connsiteX5" fmla="*/ 151978 w 542054"/>
              <a:gd name="connsiteY5" fmla="*/ 400208 h 562318"/>
              <a:gd name="connsiteX6" fmla="*/ 164643 w 542054"/>
              <a:gd name="connsiteY6" fmla="*/ 415406 h 562318"/>
              <a:gd name="connsiteX7" fmla="*/ 164643 w 542054"/>
              <a:gd name="connsiteY7" fmla="*/ 438203 h 562318"/>
              <a:gd name="connsiteX8" fmla="*/ 164643 w 542054"/>
              <a:gd name="connsiteY8" fmla="*/ 501527 h 562318"/>
              <a:gd name="connsiteX9" fmla="*/ 197571 w 542054"/>
              <a:gd name="connsiteY9" fmla="*/ 552186 h 562318"/>
              <a:gd name="connsiteX10" fmla="*/ 248230 w 542054"/>
              <a:gd name="connsiteY10" fmla="*/ 557252 h 562318"/>
              <a:gd name="connsiteX11" fmla="*/ 298890 w 542054"/>
              <a:gd name="connsiteY11" fmla="*/ 526857 h 562318"/>
              <a:gd name="connsiteX12" fmla="*/ 311554 w 542054"/>
              <a:gd name="connsiteY12" fmla="*/ 526857 h 562318"/>
              <a:gd name="connsiteX13" fmla="*/ 324219 w 542054"/>
              <a:gd name="connsiteY13" fmla="*/ 557252 h 562318"/>
              <a:gd name="connsiteX14" fmla="*/ 387543 w 542054"/>
              <a:gd name="connsiteY14" fmla="*/ 562318 h 562318"/>
              <a:gd name="connsiteX15" fmla="*/ 440736 w 542054"/>
              <a:gd name="connsiteY15" fmla="*/ 544587 h 562318"/>
              <a:gd name="connsiteX16" fmla="*/ 481263 w 542054"/>
              <a:gd name="connsiteY16" fmla="*/ 491395 h 562318"/>
              <a:gd name="connsiteX17" fmla="*/ 488862 w 542054"/>
              <a:gd name="connsiteY17" fmla="*/ 448335 h 562318"/>
              <a:gd name="connsiteX18" fmla="*/ 466065 w 542054"/>
              <a:gd name="connsiteY18" fmla="*/ 433137 h 562318"/>
              <a:gd name="connsiteX19" fmla="*/ 453400 w 542054"/>
              <a:gd name="connsiteY19" fmla="*/ 453401 h 562318"/>
              <a:gd name="connsiteX20" fmla="*/ 438203 w 542054"/>
              <a:gd name="connsiteY20" fmla="*/ 458466 h 562318"/>
              <a:gd name="connsiteX21" fmla="*/ 402741 w 542054"/>
              <a:gd name="connsiteY21" fmla="*/ 440736 h 562318"/>
              <a:gd name="connsiteX22" fmla="*/ 382477 w 542054"/>
              <a:gd name="connsiteY22" fmla="*/ 428071 h 562318"/>
              <a:gd name="connsiteX23" fmla="*/ 395142 w 542054"/>
              <a:gd name="connsiteY23" fmla="*/ 407807 h 562318"/>
              <a:gd name="connsiteX24" fmla="*/ 387543 w 542054"/>
              <a:gd name="connsiteY24" fmla="*/ 397675 h 562318"/>
              <a:gd name="connsiteX25" fmla="*/ 407807 w 542054"/>
              <a:gd name="connsiteY25" fmla="*/ 359681 h 562318"/>
              <a:gd name="connsiteX26" fmla="*/ 445802 w 542054"/>
              <a:gd name="connsiteY26" fmla="*/ 362214 h 562318"/>
              <a:gd name="connsiteX27" fmla="*/ 468598 w 542054"/>
              <a:gd name="connsiteY27" fmla="*/ 354615 h 562318"/>
              <a:gd name="connsiteX28" fmla="*/ 493928 w 542054"/>
              <a:gd name="connsiteY28" fmla="*/ 316620 h 562318"/>
              <a:gd name="connsiteX29" fmla="*/ 491395 w 542054"/>
              <a:gd name="connsiteY29" fmla="*/ 293824 h 562318"/>
              <a:gd name="connsiteX30" fmla="*/ 460999 w 542054"/>
              <a:gd name="connsiteY30" fmla="*/ 263428 h 562318"/>
              <a:gd name="connsiteX31" fmla="*/ 481263 w 542054"/>
              <a:gd name="connsiteY31" fmla="*/ 220368 h 562318"/>
              <a:gd name="connsiteX32" fmla="*/ 483796 w 542054"/>
              <a:gd name="connsiteY32" fmla="*/ 205170 h 562318"/>
              <a:gd name="connsiteX33" fmla="*/ 476197 w 542054"/>
              <a:gd name="connsiteY33" fmla="*/ 169709 h 562318"/>
              <a:gd name="connsiteX34" fmla="*/ 491395 w 542054"/>
              <a:gd name="connsiteY34" fmla="*/ 144379 h 562318"/>
              <a:gd name="connsiteX35" fmla="*/ 542054 w 542054"/>
              <a:gd name="connsiteY35" fmla="*/ 113983 h 562318"/>
              <a:gd name="connsiteX36" fmla="*/ 506593 w 542054"/>
              <a:gd name="connsiteY36" fmla="*/ 58258 h 562318"/>
              <a:gd name="connsiteX37" fmla="*/ 471131 w 542054"/>
              <a:gd name="connsiteY37" fmla="*/ 60791 h 562318"/>
              <a:gd name="connsiteX38" fmla="*/ 466065 w 542054"/>
              <a:gd name="connsiteY38" fmla="*/ 20264 h 562318"/>
              <a:gd name="connsiteX39" fmla="*/ 466065 w 542054"/>
              <a:gd name="connsiteY39" fmla="*/ 12665 h 562318"/>
              <a:gd name="connsiteX40" fmla="*/ 433137 w 542054"/>
              <a:gd name="connsiteY40" fmla="*/ 0 h 562318"/>
              <a:gd name="connsiteX41" fmla="*/ 420472 w 542054"/>
              <a:gd name="connsiteY41" fmla="*/ 45593 h 562318"/>
              <a:gd name="connsiteX42" fmla="*/ 435670 w 542054"/>
              <a:gd name="connsiteY42" fmla="*/ 68390 h 562318"/>
              <a:gd name="connsiteX43" fmla="*/ 435670 w 542054"/>
              <a:gd name="connsiteY43" fmla="*/ 91187 h 562318"/>
              <a:gd name="connsiteX44" fmla="*/ 407807 w 542054"/>
              <a:gd name="connsiteY44" fmla="*/ 81055 h 562318"/>
              <a:gd name="connsiteX45" fmla="*/ 344483 w 542054"/>
              <a:gd name="connsiteY45" fmla="*/ 98786 h 562318"/>
              <a:gd name="connsiteX46" fmla="*/ 278626 w 542054"/>
              <a:gd name="connsiteY46" fmla="*/ 174775 h 562318"/>
              <a:gd name="connsiteX47" fmla="*/ 210236 w 542054"/>
              <a:gd name="connsiteY47" fmla="*/ 182373 h 562318"/>
              <a:gd name="connsiteX48" fmla="*/ 162110 w 542054"/>
              <a:gd name="connsiteY48" fmla="*/ 210236 h 562318"/>
              <a:gd name="connsiteX49" fmla="*/ 88654 w 542054"/>
              <a:gd name="connsiteY49" fmla="*/ 136780 h 562318"/>
              <a:gd name="connsiteX50" fmla="*/ 22797 w 542054"/>
              <a:gd name="connsiteY50" fmla="*/ 146912 h 562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542054" h="562318">
                <a:moveTo>
                  <a:pt x="22797" y="146912"/>
                </a:moveTo>
                <a:lnTo>
                  <a:pt x="0" y="205170"/>
                </a:lnTo>
                <a:lnTo>
                  <a:pt x="55725" y="245697"/>
                </a:lnTo>
                <a:lnTo>
                  <a:pt x="96252" y="321686"/>
                </a:lnTo>
                <a:lnTo>
                  <a:pt x="157044" y="347016"/>
                </a:lnTo>
                <a:lnTo>
                  <a:pt x="151978" y="400208"/>
                </a:lnTo>
                <a:lnTo>
                  <a:pt x="164643" y="415406"/>
                </a:lnTo>
                <a:lnTo>
                  <a:pt x="164643" y="438203"/>
                </a:lnTo>
                <a:lnTo>
                  <a:pt x="164643" y="501527"/>
                </a:lnTo>
                <a:lnTo>
                  <a:pt x="197571" y="552186"/>
                </a:lnTo>
                <a:lnTo>
                  <a:pt x="248230" y="557252"/>
                </a:lnTo>
                <a:lnTo>
                  <a:pt x="298890" y="526857"/>
                </a:lnTo>
                <a:lnTo>
                  <a:pt x="311554" y="526857"/>
                </a:lnTo>
                <a:lnTo>
                  <a:pt x="324219" y="557252"/>
                </a:lnTo>
                <a:lnTo>
                  <a:pt x="387543" y="562318"/>
                </a:lnTo>
                <a:lnTo>
                  <a:pt x="440736" y="544587"/>
                </a:lnTo>
                <a:lnTo>
                  <a:pt x="481263" y="491395"/>
                </a:lnTo>
                <a:lnTo>
                  <a:pt x="488862" y="448335"/>
                </a:lnTo>
                <a:lnTo>
                  <a:pt x="466065" y="433137"/>
                </a:lnTo>
                <a:lnTo>
                  <a:pt x="453400" y="453401"/>
                </a:lnTo>
                <a:lnTo>
                  <a:pt x="438203" y="458466"/>
                </a:lnTo>
                <a:lnTo>
                  <a:pt x="402741" y="440736"/>
                </a:lnTo>
                <a:lnTo>
                  <a:pt x="382477" y="428071"/>
                </a:lnTo>
                <a:lnTo>
                  <a:pt x="395142" y="407807"/>
                </a:lnTo>
                <a:lnTo>
                  <a:pt x="387543" y="397675"/>
                </a:lnTo>
                <a:lnTo>
                  <a:pt x="407807" y="359681"/>
                </a:lnTo>
                <a:lnTo>
                  <a:pt x="445802" y="362214"/>
                </a:lnTo>
                <a:lnTo>
                  <a:pt x="468598" y="354615"/>
                </a:lnTo>
                <a:lnTo>
                  <a:pt x="493928" y="316620"/>
                </a:lnTo>
                <a:lnTo>
                  <a:pt x="491395" y="293824"/>
                </a:lnTo>
                <a:lnTo>
                  <a:pt x="460999" y="263428"/>
                </a:lnTo>
                <a:lnTo>
                  <a:pt x="481263" y="220368"/>
                </a:lnTo>
                <a:lnTo>
                  <a:pt x="483796" y="205170"/>
                </a:lnTo>
                <a:lnTo>
                  <a:pt x="476197" y="169709"/>
                </a:lnTo>
                <a:lnTo>
                  <a:pt x="491395" y="144379"/>
                </a:lnTo>
                <a:lnTo>
                  <a:pt x="542054" y="113983"/>
                </a:lnTo>
                <a:lnTo>
                  <a:pt x="506593" y="58258"/>
                </a:lnTo>
                <a:lnTo>
                  <a:pt x="471131" y="60791"/>
                </a:lnTo>
                <a:lnTo>
                  <a:pt x="466065" y="20264"/>
                </a:lnTo>
                <a:lnTo>
                  <a:pt x="466065" y="12665"/>
                </a:lnTo>
                <a:lnTo>
                  <a:pt x="433137" y="0"/>
                </a:lnTo>
                <a:lnTo>
                  <a:pt x="420472" y="45593"/>
                </a:lnTo>
                <a:lnTo>
                  <a:pt x="435670" y="68390"/>
                </a:lnTo>
                <a:lnTo>
                  <a:pt x="435670" y="91187"/>
                </a:lnTo>
                <a:lnTo>
                  <a:pt x="407807" y="81055"/>
                </a:lnTo>
                <a:lnTo>
                  <a:pt x="344483" y="98786"/>
                </a:lnTo>
                <a:lnTo>
                  <a:pt x="278626" y="174775"/>
                </a:lnTo>
                <a:lnTo>
                  <a:pt x="210236" y="182373"/>
                </a:lnTo>
                <a:lnTo>
                  <a:pt x="162110" y="210236"/>
                </a:lnTo>
                <a:lnTo>
                  <a:pt x="88654" y="136780"/>
                </a:lnTo>
                <a:lnTo>
                  <a:pt x="22797" y="146912"/>
                </a:lnTo>
                <a:close/>
              </a:path>
            </a:pathLst>
          </a:custGeom>
          <a:solidFill>
            <a:srgbClr val="FF66FF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2336800" y="2209806"/>
            <a:ext cx="82550" cy="105833"/>
          </a:xfrm>
          <a:custGeom>
            <a:avLst/>
            <a:gdLst>
              <a:gd name="connsiteX0" fmla="*/ 70923 w 83588"/>
              <a:gd name="connsiteY0" fmla="*/ 0 h 93719"/>
              <a:gd name="connsiteX1" fmla="*/ 7599 w 83588"/>
              <a:gd name="connsiteY1" fmla="*/ 32928 h 93719"/>
              <a:gd name="connsiteX2" fmla="*/ 10132 w 83588"/>
              <a:gd name="connsiteY2" fmla="*/ 45593 h 93719"/>
              <a:gd name="connsiteX3" fmla="*/ 0 w 83588"/>
              <a:gd name="connsiteY3" fmla="*/ 65857 h 93719"/>
              <a:gd name="connsiteX4" fmla="*/ 58259 w 83588"/>
              <a:gd name="connsiteY4" fmla="*/ 93719 h 93719"/>
              <a:gd name="connsiteX5" fmla="*/ 73456 w 83588"/>
              <a:gd name="connsiteY5" fmla="*/ 88654 h 93719"/>
              <a:gd name="connsiteX6" fmla="*/ 83588 w 83588"/>
              <a:gd name="connsiteY6" fmla="*/ 70923 h 93719"/>
              <a:gd name="connsiteX7" fmla="*/ 70923 w 83588"/>
              <a:gd name="connsiteY7" fmla="*/ 0 h 93719"/>
              <a:gd name="connsiteX0" fmla="*/ 70923 w 83588"/>
              <a:gd name="connsiteY0" fmla="*/ 0 h 93719"/>
              <a:gd name="connsiteX1" fmla="*/ 35521 w 83588"/>
              <a:gd name="connsiteY1" fmla="*/ 14386 h 93719"/>
              <a:gd name="connsiteX2" fmla="*/ 7599 w 83588"/>
              <a:gd name="connsiteY2" fmla="*/ 32928 h 93719"/>
              <a:gd name="connsiteX3" fmla="*/ 10132 w 83588"/>
              <a:gd name="connsiteY3" fmla="*/ 45593 h 93719"/>
              <a:gd name="connsiteX4" fmla="*/ 0 w 83588"/>
              <a:gd name="connsiteY4" fmla="*/ 65857 h 93719"/>
              <a:gd name="connsiteX5" fmla="*/ 58259 w 83588"/>
              <a:gd name="connsiteY5" fmla="*/ 93719 h 93719"/>
              <a:gd name="connsiteX6" fmla="*/ 73456 w 83588"/>
              <a:gd name="connsiteY6" fmla="*/ 88654 h 93719"/>
              <a:gd name="connsiteX7" fmla="*/ 83588 w 83588"/>
              <a:gd name="connsiteY7" fmla="*/ 70923 h 93719"/>
              <a:gd name="connsiteX8" fmla="*/ 70923 w 83588"/>
              <a:gd name="connsiteY8" fmla="*/ 0 h 93719"/>
              <a:gd name="connsiteX0" fmla="*/ 70923 w 83588"/>
              <a:gd name="connsiteY0" fmla="*/ 11808 h 105527"/>
              <a:gd name="connsiteX1" fmla="*/ 21234 w 83588"/>
              <a:gd name="connsiteY1" fmla="*/ 0 h 105527"/>
              <a:gd name="connsiteX2" fmla="*/ 7599 w 83588"/>
              <a:gd name="connsiteY2" fmla="*/ 44736 h 105527"/>
              <a:gd name="connsiteX3" fmla="*/ 10132 w 83588"/>
              <a:gd name="connsiteY3" fmla="*/ 57401 h 105527"/>
              <a:gd name="connsiteX4" fmla="*/ 0 w 83588"/>
              <a:gd name="connsiteY4" fmla="*/ 77665 h 105527"/>
              <a:gd name="connsiteX5" fmla="*/ 58259 w 83588"/>
              <a:gd name="connsiteY5" fmla="*/ 105527 h 105527"/>
              <a:gd name="connsiteX6" fmla="*/ 73456 w 83588"/>
              <a:gd name="connsiteY6" fmla="*/ 100462 h 105527"/>
              <a:gd name="connsiteX7" fmla="*/ 83588 w 83588"/>
              <a:gd name="connsiteY7" fmla="*/ 82731 h 105527"/>
              <a:gd name="connsiteX8" fmla="*/ 70923 w 83588"/>
              <a:gd name="connsiteY8" fmla="*/ 11808 h 105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3588" h="105527">
                <a:moveTo>
                  <a:pt x="70923" y="11808"/>
                </a:moveTo>
                <a:lnTo>
                  <a:pt x="21234" y="0"/>
                </a:lnTo>
                <a:lnTo>
                  <a:pt x="7599" y="44736"/>
                </a:lnTo>
                <a:lnTo>
                  <a:pt x="10132" y="57401"/>
                </a:lnTo>
                <a:lnTo>
                  <a:pt x="0" y="77665"/>
                </a:lnTo>
                <a:lnTo>
                  <a:pt x="58259" y="105527"/>
                </a:lnTo>
                <a:lnTo>
                  <a:pt x="73456" y="100462"/>
                </a:lnTo>
                <a:lnTo>
                  <a:pt x="83588" y="82731"/>
                </a:lnTo>
                <a:lnTo>
                  <a:pt x="70923" y="11808"/>
                </a:lnTo>
                <a:close/>
              </a:path>
            </a:pathLst>
          </a:custGeom>
          <a:solidFill>
            <a:srgbClr val="00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2495550" y="1794939"/>
            <a:ext cx="509588" cy="514351"/>
          </a:xfrm>
          <a:custGeom>
            <a:avLst/>
            <a:gdLst>
              <a:gd name="connsiteX0" fmla="*/ 0 w 509588"/>
              <a:gd name="connsiteY0" fmla="*/ 180975 h 514350"/>
              <a:gd name="connsiteX1" fmla="*/ 54769 w 509588"/>
              <a:gd name="connsiteY1" fmla="*/ 264319 h 514350"/>
              <a:gd name="connsiteX2" fmla="*/ 80963 w 509588"/>
              <a:gd name="connsiteY2" fmla="*/ 271463 h 514350"/>
              <a:gd name="connsiteX3" fmla="*/ 88107 w 509588"/>
              <a:gd name="connsiteY3" fmla="*/ 326231 h 514350"/>
              <a:gd name="connsiteX4" fmla="*/ 66675 w 509588"/>
              <a:gd name="connsiteY4" fmla="*/ 426244 h 514350"/>
              <a:gd name="connsiteX5" fmla="*/ 111919 w 509588"/>
              <a:gd name="connsiteY5" fmla="*/ 433388 h 514350"/>
              <a:gd name="connsiteX6" fmla="*/ 178594 w 509588"/>
              <a:gd name="connsiteY6" fmla="*/ 414338 h 514350"/>
              <a:gd name="connsiteX7" fmla="*/ 221457 w 509588"/>
              <a:gd name="connsiteY7" fmla="*/ 433388 h 514350"/>
              <a:gd name="connsiteX8" fmla="*/ 330994 w 509588"/>
              <a:gd name="connsiteY8" fmla="*/ 509588 h 514350"/>
              <a:gd name="connsiteX9" fmla="*/ 395288 w 509588"/>
              <a:gd name="connsiteY9" fmla="*/ 514350 h 514350"/>
              <a:gd name="connsiteX10" fmla="*/ 414338 w 509588"/>
              <a:gd name="connsiteY10" fmla="*/ 495300 h 514350"/>
              <a:gd name="connsiteX11" fmla="*/ 385763 w 509588"/>
              <a:gd name="connsiteY11" fmla="*/ 473869 h 514350"/>
              <a:gd name="connsiteX12" fmla="*/ 385763 w 509588"/>
              <a:gd name="connsiteY12" fmla="*/ 440531 h 514350"/>
              <a:gd name="connsiteX13" fmla="*/ 423863 w 509588"/>
              <a:gd name="connsiteY13" fmla="*/ 419100 h 514350"/>
              <a:gd name="connsiteX14" fmla="*/ 431007 w 509588"/>
              <a:gd name="connsiteY14" fmla="*/ 376238 h 514350"/>
              <a:gd name="connsiteX15" fmla="*/ 435769 w 509588"/>
              <a:gd name="connsiteY15" fmla="*/ 335756 h 514350"/>
              <a:gd name="connsiteX16" fmla="*/ 497682 w 509588"/>
              <a:gd name="connsiteY16" fmla="*/ 278606 h 514350"/>
              <a:gd name="connsiteX17" fmla="*/ 509588 w 509588"/>
              <a:gd name="connsiteY17" fmla="*/ 200025 h 514350"/>
              <a:gd name="connsiteX18" fmla="*/ 390525 w 509588"/>
              <a:gd name="connsiteY18" fmla="*/ 95250 h 514350"/>
              <a:gd name="connsiteX19" fmla="*/ 323850 w 509588"/>
              <a:gd name="connsiteY19" fmla="*/ 100013 h 514350"/>
              <a:gd name="connsiteX20" fmla="*/ 295275 w 509588"/>
              <a:gd name="connsiteY20" fmla="*/ 76200 h 514350"/>
              <a:gd name="connsiteX21" fmla="*/ 283369 w 509588"/>
              <a:gd name="connsiteY21" fmla="*/ 42863 h 514350"/>
              <a:gd name="connsiteX22" fmla="*/ 266700 w 509588"/>
              <a:gd name="connsiteY22" fmla="*/ 16669 h 514350"/>
              <a:gd name="connsiteX23" fmla="*/ 192882 w 509588"/>
              <a:gd name="connsiteY23" fmla="*/ 0 h 514350"/>
              <a:gd name="connsiteX24" fmla="*/ 195263 w 509588"/>
              <a:gd name="connsiteY24" fmla="*/ 21431 h 514350"/>
              <a:gd name="connsiteX25" fmla="*/ 159544 w 509588"/>
              <a:gd name="connsiteY25" fmla="*/ 33338 h 514350"/>
              <a:gd name="connsiteX26" fmla="*/ 100013 w 509588"/>
              <a:gd name="connsiteY26" fmla="*/ 16669 h 514350"/>
              <a:gd name="connsiteX27" fmla="*/ 38100 w 509588"/>
              <a:gd name="connsiteY27" fmla="*/ 52388 h 514350"/>
              <a:gd name="connsiteX28" fmla="*/ 42863 w 509588"/>
              <a:gd name="connsiteY28" fmla="*/ 109538 h 514350"/>
              <a:gd name="connsiteX29" fmla="*/ 0 w 509588"/>
              <a:gd name="connsiteY29" fmla="*/ 180975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509588" h="514350">
                <a:moveTo>
                  <a:pt x="0" y="180975"/>
                </a:moveTo>
                <a:lnTo>
                  <a:pt x="54769" y="264319"/>
                </a:lnTo>
                <a:lnTo>
                  <a:pt x="80963" y="271463"/>
                </a:lnTo>
                <a:lnTo>
                  <a:pt x="88107" y="326231"/>
                </a:lnTo>
                <a:lnTo>
                  <a:pt x="66675" y="426244"/>
                </a:lnTo>
                <a:lnTo>
                  <a:pt x="111919" y="433388"/>
                </a:lnTo>
                <a:lnTo>
                  <a:pt x="178594" y="414338"/>
                </a:lnTo>
                <a:lnTo>
                  <a:pt x="221457" y="433388"/>
                </a:lnTo>
                <a:lnTo>
                  <a:pt x="330994" y="509588"/>
                </a:lnTo>
                <a:lnTo>
                  <a:pt x="395288" y="514350"/>
                </a:lnTo>
                <a:lnTo>
                  <a:pt x="414338" y="495300"/>
                </a:lnTo>
                <a:lnTo>
                  <a:pt x="385763" y="473869"/>
                </a:lnTo>
                <a:lnTo>
                  <a:pt x="385763" y="440531"/>
                </a:lnTo>
                <a:lnTo>
                  <a:pt x="423863" y="419100"/>
                </a:lnTo>
                <a:lnTo>
                  <a:pt x="431007" y="376238"/>
                </a:lnTo>
                <a:lnTo>
                  <a:pt x="435769" y="335756"/>
                </a:lnTo>
                <a:lnTo>
                  <a:pt x="497682" y="278606"/>
                </a:lnTo>
                <a:lnTo>
                  <a:pt x="509588" y="200025"/>
                </a:lnTo>
                <a:lnTo>
                  <a:pt x="390525" y="95250"/>
                </a:lnTo>
                <a:lnTo>
                  <a:pt x="323850" y="100013"/>
                </a:lnTo>
                <a:lnTo>
                  <a:pt x="295275" y="76200"/>
                </a:lnTo>
                <a:lnTo>
                  <a:pt x="283369" y="42863"/>
                </a:lnTo>
                <a:lnTo>
                  <a:pt x="266700" y="16669"/>
                </a:lnTo>
                <a:lnTo>
                  <a:pt x="192882" y="0"/>
                </a:lnTo>
                <a:lnTo>
                  <a:pt x="195263" y="21431"/>
                </a:lnTo>
                <a:lnTo>
                  <a:pt x="159544" y="33338"/>
                </a:lnTo>
                <a:lnTo>
                  <a:pt x="100013" y="16669"/>
                </a:lnTo>
                <a:lnTo>
                  <a:pt x="38100" y="52388"/>
                </a:lnTo>
                <a:lnTo>
                  <a:pt x="42863" y="109538"/>
                </a:lnTo>
                <a:lnTo>
                  <a:pt x="0" y="180975"/>
                </a:lnTo>
                <a:close/>
              </a:path>
            </a:pathLst>
          </a:custGeom>
          <a:solidFill>
            <a:srgbClr val="FF33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2347914" y="1979088"/>
            <a:ext cx="1225550" cy="1202267"/>
          </a:xfrm>
          <a:custGeom>
            <a:avLst/>
            <a:gdLst>
              <a:gd name="connsiteX0" fmla="*/ 0 w 1226344"/>
              <a:gd name="connsiteY0" fmla="*/ 452438 h 1152525"/>
              <a:gd name="connsiteX1" fmla="*/ 28575 w 1226344"/>
              <a:gd name="connsiteY1" fmla="*/ 526257 h 1152525"/>
              <a:gd name="connsiteX2" fmla="*/ 73819 w 1226344"/>
              <a:gd name="connsiteY2" fmla="*/ 564357 h 1152525"/>
              <a:gd name="connsiteX3" fmla="*/ 109537 w 1226344"/>
              <a:gd name="connsiteY3" fmla="*/ 657225 h 1152525"/>
              <a:gd name="connsiteX4" fmla="*/ 128587 w 1226344"/>
              <a:gd name="connsiteY4" fmla="*/ 685800 h 1152525"/>
              <a:gd name="connsiteX5" fmla="*/ 142875 w 1226344"/>
              <a:gd name="connsiteY5" fmla="*/ 666750 h 1152525"/>
              <a:gd name="connsiteX6" fmla="*/ 142875 w 1226344"/>
              <a:gd name="connsiteY6" fmla="*/ 633413 h 1152525"/>
              <a:gd name="connsiteX7" fmla="*/ 180975 w 1226344"/>
              <a:gd name="connsiteY7" fmla="*/ 666750 h 1152525"/>
              <a:gd name="connsiteX8" fmla="*/ 240506 w 1226344"/>
              <a:gd name="connsiteY8" fmla="*/ 673894 h 1152525"/>
              <a:gd name="connsiteX9" fmla="*/ 271462 w 1226344"/>
              <a:gd name="connsiteY9" fmla="*/ 702469 h 1152525"/>
              <a:gd name="connsiteX10" fmla="*/ 326231 w 1226344"/>
              <a:gd name="connsiteY10" fmla="*/ 721519 h 1152525"/>
              <a:gd name="connsiteX11" fmla="*/ 338137 w 1226344"/>
              <a:gd name="connsiteY11" fmla="*/ 762000 h 1152525"/>
              <a:gd name="connsiteX12" fmla="*/ 321469 w 1226344"/>
              <a:gd name="connsiteY12" fmla="*/ 781050 h 1152525"/>
              <a:gd name="connsiteX13" fmla="*/ 311944 w 1226344"/>
              <a:gd name="connsiteY13" fmla="*/ 807244 h 1152525"/>
              <a:gd name="connsiteX14" fmla="*/ 266700 w 1226344"/>
              <a:gd name="connsiteY14" fmla="*/ 826294 h 1152525"/>
              <a:gd name="connsiteX15" fmla="*/ 219075 w 1226344"/>
              <a:gd name="connsiteY15" fmla="*/ 900113 h 1152525"/>
              <a:gd name="connsiteX16" fmla="*/ 204787 w 1226344"/>
              <a:gd name="connsiteY16" fmla="*/ 909638 h 1152525"/>
              <a:gd name="connsiteX17" fmla="*/ 192881 w 1226344"/>
              <a:gd name="connsiteY17" fmla="*/ 973932 h 1152525"/>
              <a:gd name="connsiteX18" fmla="*/ 152400 w 1226344"/>
              <a:gd name="connsiteY18" fmla="*/ 1042988 h 1152525"/>
              <a:gd name="connsiteX19" fmla="*/ 157162 w 1226344"/>
              <a:gd name="connsiteY19" fmla="*/ 1071563 h 1152525"/>
              <a:gd name="connsiteX20" fmla="*/ 204787 w 1226344"/>
              <a:gd name="connsiteY20" fmla="*/ 1083469 h 1152525"/>
              <a:gd name="connsiteX21" fmla="*/ 233362 w 1226344"/>
              <a:gd name="connsiteY21" fmla="*/ 1133475 h 1152525"/>
              <a:gd name="connsiteX22" fmla="*/ 247650 w 1226344"/>
              <a:gd name="connsiteY22" fmla="*/ 1133475 h 1152525"/>
              <a:gd name="connsiteX23" fmla="*/ 266700 w 1226344"/>
              <a:gd name="connsiteY23" fmla="*/ 1102519 h 1152525"/>
              <a:gd name="connsiteX24" fmla="*/ 257175 w 1226344"/>
              <a:gd name="connsiteY24" fmla="*/ 1081088 h 1152525"/>
              <a:gd name="connsiteX25" fmla="*/ 230981 w 1226344"/>
              <a:gd name="connsiteY25" fmla="*/ 1076325 h 1152525"/>
              <a:gd name="connsiteX26" fmla="*/ 230981 w 1226344"/>
              <a:gd name="connsiteY26" fmla="*/ 1052513 h 1152525"/>
              <a:gd name="connsiteX27" fmla="*/ 228600 w 1226344"/>
              <a:gd name="connsiteY27" fmla="*/ 1009650 h 1152525"/>
              <a:gd name="connsiteX28" fmla="*/ 216694 w 1226344"/>
              <a:gd name="connsiteY28" fmla="*/ 976313 h 1152525"/>
              <a:gd name="connsiteX29" fmla="*/ 223837 w 1226344"/>
              <a:gd name="connsiteY29" fmla="*/ 940594 h 1152525"/>
              <a:gd name="connsiteX30" fmla="*/ 266700 w 1226344"/>
              <a:gd name="connsiteY30" fmla="*/ 900113 h 1152525"/>
              <a:gd name="connsiteX31" fmla="*/ 278606 w 1226344"/>
              <a:gd name="connsiteY31" fmla="*/ 897732 h 1152525"/>
              <a:gd name="connsiteX32" fmla="*/ 290512 w 1226344"/>
              <a:gd name="connsiteY32" fmla="*/ 938213 h 1152525"/>
              <a:gd name="connsiteX33" fmla="*/ 302419 w 1226344"/>
              <a:gd name="connsiteY33" fmla="*/ 938213 h 1152525"/>
              <a:gd name="connsiteX34" fmla="*/ 321469 w 1226344"/>
              <a:gd name="connsiteY34" fmla="*/ 962025 h 1152525"/>
              <a:gd name="connsiteX35" fmla="*/ 338137 w 1226344"/>
              <a:gd name="connsiteY35" fmla="*/ 957263 h 1152525"/>
              <a:gd name="connsiteX36" fmla="*/ 359569 w 1226344"/>
              <a:gd name="connsiteY36" fmla="*/ 942975 h 1152525"/>
              <a:gd name="connsiteX37" fmla="*/ 483394 w 1226344"/>
              <a:gd name="connsiteY37" fmla="*/ 954882 h 1152525"/>
              <a:gd name="connsiteX38" fmla="*/ 516731 w 1226344"/>
              <a:gd name="connsiteY38" fmla="*/ 947738 h 1152525"/>
              <a:gd name="connsiteX39" fmla="*/ 545306 w 1226344"/>
              <a:gd name="connsiteY39" fmla="*/ 964407 h 1152525"/>
              <a:gd name="connsiteX40" fmla="*/ 561975 w 1226344"/>
              <a:gd name="connsiteY40" fmla="*/ 978694 h 1152525"/>
              <a:gd name="connsiteX41" fmla="*/ 604837 w 1226344"/>
              <a:gd name="connsiteY41" fmla="*/ 981075 h 1152525"/>
              <a:gd name="connsiteX42" fmla="*/ 640556 w 1226344"/>
              <a:gd name="connsiteY42" fmla="*/ 1021557 h 1152525"/>
              <a:gd name="connsiteX43" fmla="*/ 659606 w 1226344"/>
              <a:gd name="connsiteY43" fmla="*/ 1019175 h 1152525"/>
              <a:gd name="connsiteX44" fmla="*/ 702469 w 1226344"/>
              <a:gd name="connsiteY44" fmla="*/ 976313 h 1152525"/>
              <a:gd name="connsiteX45" fmla="*/ 735806 w 1226344"/>
              <a:gd name="connsiteY45" fmla="*/ 1000125 h 1152525"/>
              <a:gd name="connsiteX46" fmla="*/ 752475 w 1226344"/>
              <a:gd name="connsiteY46" fmla="*/ 1023938 h 1152525"/>
              <a:gd name="connsiteX47" fmla="*/ 785812 w 1226344"/>
              <a:gd name="connsiteY47" fmla="*/ 1021557 h 1152525"/>
              <a:gd name="connsiteX48" fmla="*/ 819150 w 1226344"/>
              <a:gd name="connsiteY48" fmla="*/ 1042988 h 1152525"/>
              <a:gd name="connsiteX49" fmla="*/ 823912 w 1226344"/>
              <a:gd name="connsiteY49" fmla="*/ 1064419 h 1152525"/>
              <a:gd name="connsiteX50" fmla="*/ 842962 w 1226344"/>
              <a:gd name="connsiteY50" fmla="*/ 1066800 h 1152525"/>
              <a:gd name="connsiteX51" fmla="*/ 904875 w 1226344"/>
              <a:gd name="connsiteY51" fmla="*/ 1073944 h 1152525"/>
              <a:gd name="connsiteX52" fmla="*/ 933450 w 1226344"/>
              <a:gd name="connsiteY52" fmla="*/ 1112044 h 1152525"/>
              <a:gd name="connsiteX53" fmla="*/ 938212 w 1226344"/>
              <a:gd name="connsiteY53" fmla="*/ 1140619 h 1152525"/>
              <a:gd name="connsiteX54" fmla="*/ 940594 w 1226344"/>
              <a:gd name="connsiteY54" fmla="*/ 1152525 h 1152525"/>
              <a:gd name="connsiteX55" fmla="*/ 1042987 w 1226344"/>
              <a:gd name="connsiteY55" fmla="*/ 1150144 h 1152525"/>
              <a:gd name="connsiteX56" fmla="*/ 1071562 w 1226344"/>
              <a:gd name="connsiteY56" fmla="*/ 1069182 h 1152525"/>
              <a:gd name="connsiteX57" fmla="*/ 1062037 w 1226344"/>
              <a:gd name="connsiteY57" fmla="*/ 1045369 h 1152525"/>
              <a:gd name="connsiteX58" fmla="*/ 1059656 w 1226344"/>
              <a:gd name="connsiteY58" fmla="*/ 1012032 h 1152525"/>
              <a:gd name="connsiteX59" fmla="*/ 1066800 w 1226344"/>
              <a:gd name="connsiteY59" fmla="*/ 992982 h 1152525"/>
              <a:gd name="connsiteX60" fmla="*/ 1083469 w 1226344"/>
              <a:gd name="connsiteY60" fmla="*/ 973932 h 1152525"/>
              <a:gd name="connsiteX61" fmla="*/ 1107281 w 1226344"/>
              <a:gd name="connsiteY61" fmla="*/ 964407 h 1152525"/>
              <a:gd name="connsiteX62" fmla="*/ 1133475 w 1226344"/>
              <a:gd name="connsiteY62" fmla="*/ 921544 h 1152525"/>
              <a:gd name="connsiteX63" fmla="*/ 1150144 w 1226344"/>
              <a:gd name="connsiteY63" fmla="*/ 921544 h 1152525"/>
              <a:gd name="connsiteX64" fmla="*/ 1197769 w 1226344"/>
              <a:gd name="connsiteY64" fmla="*/ 940594 h 1152525"/>
              <a:gd name="connsiteX65" fmla="*/ 1226344 w 1226344"/>
              <a:gd name="connsiteY65" fmla="*/ 904875 h 1152525"/>
              <a:gd name="connsiteX66" fmla="*/ 1195387 w 1226344"/>
              <a:gd name="connsiteY66" fmla="*/ 852488 h 1152525"/>
              <a:gd name="connsiteX67" fmla="*/ 1159669 w 1226344"/>
              <a:gd name="connsiteY67" fmla="*/ 804863 h 1152525"/>
              <a:gd name="connsiteX68" fmla="*/ 1162050 w 1226344"/>
              <a:gd name="connsiteY68" fmla="*/ 762000 h 1152525"/>
              <a:gd name="connsiteX69" fmla="*/ 1216819 w 1226344"/>
              <a:gd name="connsiteY69" fmla="*/ 702469 h 1152525"/>
              <a:gd name="connsiteX70" fmla="*/ 1219200 w 1226344"/>
              <a:gd name="connsiteY70" fmla="*/ 676275 h 1152525"/>
              <a:gd name="connsiteX71" fmla="*/ 1181100 w 1226344"/>
              <a:gd name="connsiteY71" fmla="*/ 661988 h 1152525"/>
              <a:gd name="connsiteX72" fmla="*/ 1150144 w 1226344"/>
              <a:gd name="connsiteY72" fmla="*/ 635794 h 1152525"/>
              <a:gd name="connsiteX73" fmla="*/ 1133475 w 1226344"/>
              <a:gd name="connsiteY73" fmla="*/ 602457 h 1152525"/>
              <a:gd name="connsiteX74" fmla="*/ 1083469 w 1226344"/>
              <a:gd name="connsiteY74" fmla="*/ 604838 h 1152525"/>
              <a:gd name="connsiteX75" fmla="*/ 1033462 w 1226344"/>
              <a:gd name="connsiteY75" fmla="*/ 604838 h 1152525"/>
              <a:gd name="connsiteX76" fmla="*/ 1014412 w 1226344"/>
              <a:gd name="connsiteY76" fmla="*/ 583407 h 1152525"/>
              <a:gd name="connsiteX77" fmla="*/ 950119 w 1226344"/>
              <a:gd name="connsiteY77" fmla="*/ 578644 h 1152525"/>
              <a:gd name="connsiteX78" fmla="*/ 933450 w 1226344"/>
              <a:gd name="connsiteY78" fmla="*/ 561975 h 1152525"/>
              <a:gd name="connsiteX79" fmla="*/ 933450 w 1226344"/>
              <a:gd name="connsiteY79" fmla="*/ 547688 h 1152525"/>
              <a:gd name="connsiteX80" fmla="*/ 859631 w 1226344"/>
              <a:gd name="connsiteY80" fmla="*/ 511969 h 1152525"/>
              <a:gd name="connsiteX81" fmla="*/ 850106 w 1226344"/>
              <a:gd name="connsiteY81" fmla="*/ 492919 h 1152525"/>
              <a:gd name="connsiteX82" fmla="*/ 828675 w 1226344"/>
              <a:gd name="connsiteY82" fmla="*/ 476250 h 1152525"/>
              <a:gd name="connsiteX83" fmla="*/ 795337 w 1226344"/>
              <a:gd name="connsiteY83" fmla="*/ 478632 h 1152525"/>
              <a:gd name="connsiteX84" fmla="*/ 773906 w 1226344"/>
              <a:gd name="connsiteY84" fmla="*/ 471488 h 1152525"/>
              <a:gd name="connsiteX85" fmla="*/ 728662 w 1226344"/>
              <a:gd name="connsiteY85" fmla="*/ 428625 h 1152525"/>
              <a:gd name="connsiteX86" fmla="*/ 700087 w 1226344"/>
              <a:gd name="connsiteY86" fmla="*/ 421482 h 1152525"/>
              <a:gd name="connsiteX87" fmla="*/ 666750 w 1226344"/>
              <a:gd name="connsiteY87" fmla="*/ 383382 h 1152525"/>
              <a:gd name="connsiteX88" fmla="*/ 626269 w 1226344"/>
              <a:gd name="connsiteY88" fmla="*/ 369094 h 1152525"/>
              <a:gd name="connsiteX89" fmla="*/ 585787 w 1226344"/>
              <a:gd name="connsiteY89" fmla="*/ 335757 h 1152525"/>
              <a:gd name="connsiteX90" fmla="*/ 564356 w 1226344"/>
              <a:gd name="connsiteY90" fmla="*/ 311944 h 1152525"/>
              <a:gd name="connsiteX91" fmla="*/ 550069 w 1226344"/>
              <a:gd name="connsiteY91" fmla="*/ 330994 h 1152525"/>
              <a:gd name="connsiteX92" fmla="*/ 478631 w 1226344"/>
              <a:gd name="connsiteY92" fmla="*/ 328613 h 1152525"/>
              <a:gd name="connsiteX93" fmla="*/ 330994 w 1226344"/>
              <a:gd name="connsiteY93" fmla="*/ 230982 h 1152525"/>
              <a:gd name="connsiteX94" fmla="*/ 259556 w 1226344"/>
              <a:gd name="connsiteY94" fmla="*/ 254794 h 1152525"/>
              <a:gd name="connsiteX95" fmla="*/ 221456 w 1226344"/>
              <a:gd name="connsiteY95" fmla="*/ 245269 h 1152525"/>
              <a:gd name="connsiteX96" fmla="*/ 238125 w 1226344"/>
              <a:gd name="connsiteY96" fmla="*/ 150019 h 1152525"/>
              <a:gd name="connsiteX97" fmla="*/ 228600 w 1226344"/>
              <a:gd name="connsiteY97" fmla="*/ 95250 h 1152525"/>
              <a:gd name="connsiteX98" fmla="*/ 197644 w 1226344"/>
              <a:gd name="connsiteY98" fmla="*/ 78582 h 1152525"/>
              <a:gd name="connsiteX99" fmla="*/ 145256 w 1226344"/>
              <a:gd name="connsiteY99" fmla="*/ 0 h 1152525"/>
              <a:gd name="connsiteX100" fmla="*/ 88106 w 1226344"/>
              <a:gd name="connsiteY100" fmla="*/ 30957 h 1152525"/>
              <a:gd name="connsiteX101" fmla="*/ 83344 w 1226344"/>
              <a:gd name="connsiteY101" fmla="*/ 54769 h 1152525"/>
              <a:gd name="connsiteX102" fmla="*/ 90487 w 1226344"/>
              <a:gd name="connsiteY102" fmla="*/ 100013 h 1152525"/>
              <a:gd name="connsiteX103" fmla="*/ 71437 w 1226344"/>
              <a:gd name="connsiteY103" fmla="*/ 135732 h 1152525"/>
              <a:gd name="connsiteX104" fmla="*/ 66675 w 1226344"/>
              <a:gd name="connsiteY104" fmla="*/ 145257 h 1152525"/>
              <a:gd name="connsiteX105" fmla="*/ 97631 w 1226344"/>
              <a:gd name="connsiteY105" fmla="*/ 185738 h 1152525"/>
              <a:gd name="connsiteX106" fmla="*/ 83344 w 1226344"/>
              <a:gd name="connsiteY106" fmla="*/ 223838 h 1152525"/>
              <a:gd name="connsiteX107" fmla="*/ 59531 w 1226344"/>
              <a:gd name="connsiteY107" fmla="*/ 240507 h 1152525"/>
              <a:gd name="connsiteX108" fmla="*/ 69056 w 1226344"/>
              <a:gd name="connsiteY108" fmla="*/ 309563 h 1152525"/>
              <a:gd name="connsiteX109" fmla="*/ 92869 w 1226344"/>
              <a:gd name="connsiteY109" fmla="*/ 321469 h 1152525"/>
              <a:gd name="connsiteX110" fmla="*/ 85725 w 1226344"/>
              <a:gd name="connsiteY110" fmla="*/ 369094 h 1152525"/>
              <a:gd name="connsiteX111" fmla="*/ 42862 w 1226344"/>
              <a:gd name="connsiteY111" fmla="*/ 421482 h 1152525"/>
              <a:gd name="connsiteX112" fmla="*/ 0 w 1226344"/>
              <a:gd name="connsiteY112" fmla="*/ 452438 h 1152525"/>
              <a:gd name="connsiteX0" fmla="*/ 0 w 1226344"/>
              <a:gd name="connsiteY0" fmla="*/ 452438 h 1152525"/>
              <a:gd name="connsiteX1" fmla="*/ 28575 w 1226344"/>
              <a:gd name="connsiteY1" fmla="*/ 526257 h 1152525"/>
              <a:gd name="connsiteX2" fmla="*/ 73819 w 1226344"/>
              <a:gd name="connsiteY2" fmla="*/ 564357 h 1152525"/>
              <a:gd name="connsiteX3" fmla="*/ 109537 w 1226344"/>
              <a:gd name="connsiteY3" fmla="*/ 657225 h 1152525"/>
              <a:gd name="connsiteX4" fmla="*/ 128587 w 1226344"/>
              <a:gd name="connsiteY4" fmla="*/ 685800 h 1152525"/>
              <a:gd name="connsiteX5" fmla="*/ 142875 w 1226344"/>
              <a:gd name="connsiteY5" fmla="*/ 666750 h 1152525"/>
              <a:gd name="connsiteX6" fmla="*/ 142875 w 1226344"/>
              <a:gd name="connsiteY6" fmla="*/ 633413 h 1152525"/>
              <a:gd name="connsiteX7" fmla="*/ 180975 w 1226344"/>
              <a:gd name="connsiteY7" fmla="*/ 666750 h 1152525"/>
              <a:gd name="connsiteX8" fmla="*/ 240506 w 1226344"/>
              <a:gd name="connsiteY8" fmla="*/ 673894 h 1152525"/>
              <a:gd name="connsiteX9" fmla="*/ 271462 w 1226344"/>
              <a:gd name="connsiteY9" fmla="*/ 702469 h 1152525"/>
              <a:gd name="connsiteX10" fmla="*/ 326231 w 1226344"/>
              <a:gd name="connsiteY10" fmla="*/ 721519 h 1152525"/>
              <a:gd name="connsiteX11" fmla="*/ 338137 w 1226344"/>
              <a:gd name="connsiteY11" fmla="*/ 762000 h 1152525"/>
              <a:gd name="connsiteX12" fmla="*/ 321469 w 1226344"/>
              <a:gd name="connsiteY12" fmla="*/ 781050 h 1152525"/>
              <a:gd name="connsiteX13" fmla="*/ 311944 w 1226344"/>
              <a:gd name="connsiteY13" fmla="*/ 807244 h 1152525"/>
              <a:gd name="connsiteX14" fmla="*/ 266700 w 1226344"/>
              <a:gd name="connsiteY14" fmla="*/ 826294 h 1152525"/>
              <a:gd name="connsiteX15" fmla="*/ 219075 w 1226344"/>
              <a:gd name="connsiteY15" fmla="*/ 900113 h 1152525"/>
              <a:gd name="connsiteX16" fmla="*/ 204787 w 1226344"/>
              <a:gd name="connsiteY16" fmla="*/ 909638 h 1152525"/>
              <a:gd name="connsiteX17" fmla="*/ 192881 w 1226344"/>
              <a:gd name="connsiteY17" fmla="*/ 973932 h 1152525"/>
              <a:gd name="connsiteX18" fmla="*/ 152400 w 1226344"/>
              <a:gd name="connsiteY18" fmla="*/ 1042988 h 1152525"/>
              <a:gd name="connsiteX19" fmla="*/ 157162 w 1226344"/>
              <a:gd name="connsiteY19" fmla="*/ 1071563 h 1152525"/>
              <a:gd name="connsiteX20" fmla="*/ 204787 w 1226344"/>
              <a:gd name="connsiteY20" fmla="*/ 1083469 h 1152525"/>
              <a:gd name="connsiteX21" fmla="*/ 233362 w 1226344"/>
              <a:gd name="connsiteY21" fmla="*/ 1133475 h 1152525"/>
              <a:gd name="connsiteX22" fmla="*/ 247650 w 1226344"/>
              <a:gd name="connsiteY22" fmla="*/ 1133475 h 1152525"/>
              <a:gd name="connsiteX23" fmla="*/ 266700 w 1226344"/>
              <a:gd name="connsiteY23" fmla="*/ 1102519 h 1152525"/>
              <a:gd name="connsiteX24" fmla="*/ 257175 w 1226344"/>
              <a:gd name="connsiteY24" fmla="*/ 1081088 h 1152525"/>
              <a:gd name="connsiteX25" fmla="*/ 230981 w 1226344"/>
              <a:gd name="connsiteY25" fmla="*/ 1076325 h 1152525"/>
              <a:gd name="connsiteX26" fmla="*/ 230981 w 1226344"/>
              <a:gd name="connsiteY26" fmla="*/ 1052513 h 1152525"/>
              <a:gd name="connsiteX27" fmla="*/ 228600 w 1226344"/>
              <a:gd name="connsiteY27" fmla="*/ 1009650 h 1152525"/>
              <a:gd name="connsiteX28" fmla="*/ 216694 w 1226344"/>
              <a:gd name="connsiteY28" fmla="*/ 976313 h 1152525"/>
              <a:gd name="connsiteX29" fmla="*/ 223837 w 1226344"/>
              <a:gd name="connsiteY29" fmla="*/ 940594 h 1152525"/>
              <a:gd name="connsiteX30" fmla="*/ 266700 w 1226344"/>
              <a:gd name="connsiteY30" fmla="*/ 900113 h 1152525"/>
              <a:gd name="connsiteX31" fmla="*/ 278606 w 1226344"/>
              <a:gd name="connsiteY31" fmla="*/ 897732 h 1152525"/>
              <a:gd name="connsiteX32" fmla="*/ 290512 w 1226344"/>
              <a:gd name="connsiteY32" fmla="*/ 938213 h 1152525"/>
              <a:gd name="connsiteX33" fmla="*/ 302419 w 1226344"/>
              <a:gd name="connsiteY33" fmla="*/ 938213 h 1152525"/>
              <a:gd name="connsiteX34" fmla="*/ 321469 w 1226344"/>
              <a:gd name="connsiteY34" fmla="*/ 962025 h 1152525"/>
              <a:gd name="connsiteX35" fmla="*/ 338137 w 1226344"/>
              <a:gd name="connsiteY35" fmla="*/ 957263 h 1152525"/>
              <a:gd name="connsiteX36" fmla="*/ 359569 w 1226344"/>
              <a:gd name="connsiteY36" fmla="*/ 942975 h 1152525"/>
              <a:gd name="connsiteX37" fmla="*/ 483394 w 1226344"/>
              <a:gd name="connsiteY37" fmla="*/ 954882 h 1152525"/>
              <a:gd name="connsiteX38" fmla="*/ 516731 w 1226344"/>
              <a:gd name="connsiteY38" fmla="*/ 947738 h 1152525"/>
              <a:gd name="connsiteX39" fmla="*/ 545306 w 1226344"/>
              <a:gd name="connsiteY39" fmla="*/ 964407 h 1152525"/>
              <a:gd name="connsiteX40" fmla="*/ 561975 w 1226344"/>
              <a:gd name="connsiteY40" fmla="*/ 978694 h 1152525"/>
              <a:gd name="connsiteX41" fmla="*/ 604837 w 1226344"/>
              <a:gd name="connsiteY41" fmla="*/ 981075 h 1152525"/>
              <a:gd name="connsiteX42" fmla="*/ 640556 w 1226344"/>
              <a:gd name="connsiteY42" fmla="*/ 1021557 h 1152525"/>
              <a:gd name="connsiteX43" fmla="*/ 659606 w 1226344"/>
              <a:gd name="connsiteY43" fmla="*/ 1019175 h 1152525"/>
              <a:gd name="connsiteX44" fmla="*/ 702469 w 1226344"/>
              <a:gd name="connsiteY44" fmla="*/ 976313 h 1152525"/>
              <a:gd name="connsiteX45" fmla="*/ 735806 w 1226344"/>
              <a:gd name="connsiteY45" fmla="*/ 1000125 h 1152525"/>
              <a:gd name="connsiteX46" fmla="*/ 752475 w 1226344"/>
              <a:gd name="connsiteY46" fmla="*/ 1023938 h 1152525"/>
              <a:gd name="connsiteX47" fmla="*/ 785812 w 1226344"/>
              <a:gd name="connsiteY47" fmla="*/ 1021557 h 1152525"/>
              <a:gd name="connsiteX48" fmla="*/ 819150 w 1226344"/>
              <a:gd name="connsiteY48" fmla="*/ 1042988 h 1152525"/>
              <a:gd name="connsiteX49" fmla="*/ 823912 w 1226344"/>
              <a:gd name="connsiteY49" fmla="*/ 1064419 h 1152525"/>
              <a:gd name="connsiteX50" fmla="*/ 842962 w 1226344"/>
              <a:gd name="connsiteY50" fmla="*/ 1066800 h 1152525"/>
              <a:gd name="connsiteX51" fmla="*/ 904875 w 1226344"/>
              <a:gd name="connsiteY51" fmla="*/ 1073944 h 1152525"/>
              <a:gd name="connsiteX52" fmla="*/ 933450 w 1226344"/>
              <a:gd name="connsiteY52" fmla="*/ 1112044 h 1152525"/>
              <a:gd name="connsiteX53" fmla="*/ 938212 w 1226344"/>
              <a:gd name="connsiteY53" fmla="*/ 1140619 h 1152525"/>
              <a:gd name="connsiteX54" fmla="*/ 940594 w 1226344"/>
              <a:gd name="connsiteY54" fmla="*/ 1152525 h 1152525"/>
              <a:gd name="connsiteX55" fmla="*/ 990600 w 1226344"/>
              <a:gd name="connsiteY55" fmla="*/ 1150144 h 1152525"/>
              <a:gd name="connsiteX56" fmla="*/ 1042987 w 1226344"/>
              <a:gd name="connsiteY56" fmla="*/ 1150144 h 1152525"/>
              <a:gd name="connsiteX57" fmla="*/ 1071562 w 1226344"/>
              <a:gd name="connsiteY57" fmla="*/ 1069182 h 1152525"/>
              <a:gd name="connsiteX58" fmla="*/ 1062037 w 1226344"/>
              <a:gd name="connsiteY58" fmla="*/ 1045369 h 1152525"/>
              <a:gd name="connsiteX59" fmla="*/ 1059656 w 1226344"/>
              <a:gd name="connsiteY59" fmla="*/ 1012032 h 1152525"/>
              <a:gd name="connsiteX60" fmla="*/ 1066800 w 1226344"/>
              <a:gd name="connsiteY60" fmla="*/ 992982 h 1152525"/>
              <a:gd name="connsiteX61" fmla="*/ 1083469 w 1226344"/>
              <a:gd name="connsiteY61" fmla="*/ 973932 h 1152525"/>
              <a:gd name="connsiteX62" fmla="*/ 1107281 w 1226344"/>
              <a:gd name="connsiteY62" fmla="*/ 964407 h 1152525"/>
              <a:gd name="connsiteX63" fmla="*/ 1133475 w 1226344"/>
              <a:gd name="connsiteY63" fmla="*/ 921544 h 1152525"/>
              <a:gd name="connsiteX64" fmla="*/ 1150144 w 1226344"/>
              <a:gd name="connsiteY64" fmla="*/ 921544 h 1152525"/>
              <a:gd name="connsiteX65" fmla="*/ 1197769 w 1226344"/>
              <a:gd name="connsiteY65" fmla="*/ 940594 h 1152525"/>
              <a:gd name="connsiteX66" fmla="*/ 1226344 w 1226344"/>
              <a:gd name="connsiteY66" fmla="*/ 904875 h 1152525"/>
              <a:gd name="connsiteX67" fmla="*/ 1195387 w 1226344"/>
              <a:gd name="connsiteY67" fmla="*/ 852488 h 1152525"/>
              <a:gd name="connsiteX68" fmla="*/ 1159669 w 1226344"/>
              <a:gd name="connsiteY68" fmla="*/ 804863 h 1152525"/>
              <a:gd name="connsiteX69" fmla="*/ 1162050 w 1226344"/>
              <a:gd name="connsiteY69" fmla="*/ 762000 h 1152525"/>
              <a:gd name="connsiteX70" fmla="*/ 1216819 w 1226344"/>
              <a:gd name="connsiteY70" fmla="*/ 702469 h 1152525"/>
              <a:gd name="connsiteX71" fmla="*/ 1219200 w 1226344"/>
              <a:gd name="connsiteY71" fmla="*/ 676275 h 1152525"/>
              <a:gd name="connsiteX72" fmla="*/ 1181100 w 1226344"/>
              <a:gd name="connsiteY72" fmla="*/ 661988 h 1152525"/>
              <a:gd name="connsiteX73" fmla="*/ 1150144 w 1226344"/>
              <a:gd name="connsiteY73" fmla="*/ 635794 h 1152525"/>
              <a:gd name="connsiteX74" fmla="*/ 1133475 w 1226344"/>
              <a:gd name="connsiteY74" fmla="*/ 602457 h 1152525"/>
              <a:gd name="connsiteX75" fmla="*/ 1083469 w 1226344"/>
              <a:gd name="connsiteY75" fmla="*/ 604838 h 1152525"/>
              <a:gd name="connsiteX76" fmla="*/ 1033462 w 1226344"/>
              <a:gd name="connsiteY76" fmla="*/ 604838 h 1152525"/>
              <a:gd name="connsiteX77" fmla="*/ 1014412 w 1226344"/>
              <a:gd name="connsiteY77" fmla="*/ 583407 h 1152525"/>
              <a:gd name="connsiteX78" fmla="*/ 950119 w 1226344"/>
              <a:gd name="connsiteY78" fmla="*/ 578644 h 1152525"/>
              <a:gd name="connsiteX79" fmla="*/ 933450 w 1226344"/>
              <a:gd name="connsiteY79" fmla="*/ 561975 h 1152525"/>
              <a:gd name="connsiteX80" fmla="*/ 933450 w 1226344"/>
              <a:gd name="connsiteY80" fmla="*/ 547688 h 1152525"/>
              <a:gd name="connsiteX81" fmla="*/ 859631 w 1226344"/>
              <a:gd name="connsiteY81" fmla="*/ 511969 h 1152525"/>
              <a:gd name="connsiteX82" fmla="*/ 850106 w 1226344"/>
              <a:gd name="connsiteY82" fmla="*/ 492919 h 1152525"/>
              <a:gd name="connsiteX83" fmla="*/ 828675 w 1226344"/>
              <a:gd name="connsiteY83" fmla="*/ 476250 h 1152525"/>
              <a:gd name="connsiteX84" fmla="*/ 795337 w 1226344"/>
              <a:gd name="connsiteY84" fmla="*/ 478632 h 1152525"/>
              <a:gd name="connsiteX85" fmla="*/ 773906 w 1226344"/>
              <a:gd name="connsiteY85" fmla="*/ 471488 h 1152525"/>
              <a:gd name="connsiteX86" fmla="*/ 728662 w 1226344"/>
              <a:gd name="connsiteY86" fmla="*/ 428625 h 1152525"/>
              <a:gd name="connsiteX87" fmla="*/ 700087 w 1226344"/>
              <a:gd name="connsiteY87" fmla="*/ 421482 h 1152525"/>
              <a:gd name="connsiteX88" fmla="*/ 666750 w 1226344"/>
              <a:gd name="connsiteY88" fmla="*/ 383382 h 1152525"/>
              <a:gd name="connsiteX89" fmla="*/ 626269 w 1226344"/>
              <a:gd name="connsiteY89" fmla="*/ 369094 h 1152525"/>
              <a:gd name="connsiteX90" fmla="*/ 585787 w 1226344"/>
              <a:gd name="connsiteY90" fmla="*/ 335757 h 1152525"/>
              <a:gd name="connsiteX91" fmla="*/ 564356 w 1226344"/>
              <a:gd name="connsiteY91" fmla="*/ 311944 h 1152525"/>
              <a:gd name="connsiteX92" fmla="*/ 550069 w 1226344"/>
              <a:gd name="connsiteY92" fmla="*/ 330994 h 1152525"/>
              <a:gd name="connsiteX93" fmla="*/ 478631 w 1226344"/>
              <a:gd name="connsiteY93" fmla="*/ 328613 h 1152525"/>
              <a:gd name="connsiteX94" fmla="*/ 330994 w 1226344"/>
              <a:gd name="connsiteY94" fmla="*/ 230982 h 1152525"/>
              <a:gd name="connsiteX95" fmla="*/ 259556 w 1226344"/>
              <a:gd name="connsiteY95" fmla="*/ 254794 h 1152525"/>
              <a:gd name="connsiteX96" fmla="*/ 221456 w 1226344"/>
              <a:gd name="connsiteY96" fmla="*/ 245269 h 1152525"/>
              <a:gd name="connsiteX97" fmla="*/ 238125 w 1226344"/>
              <a:gd name="connsiteY97" fmla="*/ 150019 h 1152525"/>
              <a:gd name="connsiteX98" fmla="*/ 228600 w 1226344"/>
              <a:gd name="connsiteY98" fmla="*/ 95250 h 1152525"/>
              <a:gd name="connsiteX99" fmla="*/ 197644 w 1226344"/>
              <a:gd name="connsiteY99" fmla="*/ 78582 h 1152525"/>
              <a:gd name="connsiteX100" fmla="*/ 145256 w 1226344"/>
              <a:gd name="connsiteY100" fmla="*/ 0 h 1152525"/>
              <a:gd name="connsiteX101" fmla="*/ 88106 w 1226344"/>
              <a:gd name="connsiteY101" fmla="*/ 30957 h 1152525"/>
              <a:gd name="connsiteX102" fmla="*/ 83344 w 1226344"/>
              <a:gd name="connsiteY102" fmla="*/ 54769 h 1152525"/>
              <a:gd name="connsiteX103" fmla="*/ 90487 w 1226344"/>
              <a:gd name="connsiteY103" fmla="*/ 100013 h 1152525"/>
              <a:gd name="connsiteX104" fmla="*/ 71437 w 1226344"/>
              <a:gd name="connsiteY104" fmla="*/ 135732 h 1152525"/>
              <a:gd name="connsiteX105" fmla="*/ 66675 w 1226344"/>
              <a:gd name="connsiteY105" fmla="*/ 145257 h 1152525"/>
              <a:gd name="connsiteX106" fmla="*/ 97631 w 1226344"/>
              <a:gd name="connsiteY106" fmla="*/ 185738 h 1152525"/>
              <a:gd name="connsiteX107" fmla="*/ 83344 w 1226344"/>
              <a:gd name="connsiteY107" fmla="*/ 223838 h 1152525"/>
              <a:gd name="connsiteX108" fmla="*/ 59531 w 1226344"/>
              <a:gd name="connsiteY108" fmla="*/ 240507 h 1152525"/>
              <a:gd name="connsiteX109" fmla="*/ 69056 w 1226344"/>
              <a:gd name="connsiteY109" fmla="*/ 309563 h 1152525"/>
              <a:gd name="connsiteX110" fmla="*/ 92869 w 1226344"/>
              <a:gd name="connsiteY110" fmla="*/ 321469 h 1152525"/>
              <a:gd name="connsiteX111" fmla="*/ 85725 w 1226344"/>
              <a:gd name="connsiteY111" fmla="*/ 369094 h 1152525"/>
              <a:gd name="connsiteX112" fmla="*/ 42862 w 1226344"/>
              <a:gd name="connsiteY112" fmla="*/ 421482 h 1152525"/>
              <a:gd name="connsiteX113" fmla="*/ 0 w 1226344"/>
              <a:gd name="connsiteY113" fmla="*/ 452438 h 1152525"/>
              <a:gd name="connsiteX0" fmla="*/ 0 w 1226344"/>
              <a:gd name="connsiteY0" fmla="*/ 452438 h 1200150"/>
              <a:gd name="connsiteX1" fmla="*/ 28575 w 1226344"/>
              <a:gd name="connsiteY1" fmla="*/ 526257 h 1200150"/>
              <a:gd name="connsiteX2" fmla="*/ 73819 w 1226344"/>
              <a:gd name="connsiteY2" fmla="*/ 564357 h 1200150"/>
              <a:gd name="connsiteX3" fmla="*/ 109537 w 1226344"/>
              <a:gd name="connsiteY3" fmla="*/ 657225 h 1200150"/>
              <a:gd name="connsiteX4" fmla="*/ 128587 w 1226344"/>
              <a:gd name="connsiteY4" fmla="*/ 685800 h 1200150"/>
              <a:gd name="connsiteX5" fmla="*/ 142875 w 1226344"/>
              <a:gd name="connsiteY5" fmla="*/ 666750 h 1200150"/>
              <a:gd name="connsiteX6" fmla="*/ 142875 w 1226344"/>
              <a:gd name="connsiteY6" fmla="*/ 633413 h 1200150"/>
              <a:gd name="connsiteX7" fmla="*/ 180975 w 1226344"/>
              <a:gd name="connsiteY7" fmla="*/ 666750 h 1200150"/>
              <a:gd name="connsiteX8" fmla="*/ 240506 w 1226344"/>
              <a:gd name="connsiteY8" fmla="*/ 673894 h 1200150"/>
              <a:gd name="connsiteX9" fmla="*/ 271462 w 1226344"/>
              <a:gd name="connsiteY9" fmla="*/ 702469 h 1200150"/>
              <a:gd name="connsiteX10" fmla="*/ 326231 w 1226344"/>
              <a:gd name="connsiteY10" fmla="*/ 721519 h 1200150"/>
              <a:gd name="connsiteX11" fmla="*/ 338137 w 1226344"/>
              <a:gd name="connsiteY11" fmla="*/ 762000 h 1200150"/>
              <a:gd name="connsiteX12" fmla="*/ 321469 w 1226344"/>
              <a:gd name="connsiteY12" fmla="*/ 781050 h 1200150"/>
              <a:gd name="connsiteX13" fmla="*/ 311944 w 1226344"/>
              <a:gd name="connsiteY13" fmla="*/ 807244 h 1200150"/>
              <a:gd name="connsiteX14" fmla="*/ 266700 w 1226344"/>
              <a:gd name="connsiteY14" fmla="*/ 826294 h 1200150"/>
              <a:gd name="connsiteX15" fmla="*/ 219075 w 1226344"/>
              <a:gd name="connsiteY15" fmla="*/ 900113 h 1200150"/>
              <a:gd name="connsiteX16" fmla="*/ 204787 w 1226344"/>
              <a:gd name="connsiteY16" fmla="*/ 909638 h 1200150"/>
              <a:gd name="connsiteX17" fmla="*/ 192881 w 1226344"/>
              <a:gd name="connsiteY17" fmla="*/ 973932 h 1200150"/>
              <a:gd name="connsiteX18" fmla="*/ 152400 w 1226344"/>
              <a:gd name="connsiteY18" fmla="*/ 1042988 h 1200150"/>
              <a:gd name="connsiteX19" fmla="*/ 157162 w 1226344"/>
              <a:gd name="connsiteY19" fmla="*/ 1071563 h 1200150"/>
              <a:gd name="connsiteX20" fmla="*/ 204787 w 1226344"/>
              <a:gd name="connsiteY20" fmla="*/ 1083469 h 1200150"/>
              <a:gd name="connsiteX21" fmla="*/ 233362 w 1226344"/>
              <a:gd name="connsiteY21" fmla="*/ 1133475 h 1200150"/>
              <a:gd name="connsiteX22" fmla="*/ 247650 w 1226344"/>
              <a:gd name="connsiteY22" fmla="*/ 1133475 h 1200150"/>
              <a:gd name="connsiteX23" fmla="*/ 266700 w 1226344"/>
              <a:gd name="connsiteY23" fmla="*/ 1102519 h 1200150"/>
              <a:gd name="connsiteX24" fmla="*/ 257175 w 1226344"/>
              <a:gd name="connsiteY24" fmla="*/ 1081088 h 1200150"/>
              <a:gd name="connsiteX25" fmla="*/ 230981 w 1226344"/>
              <a:gd name="connsiteY25" fmla="*/ 1076325 h 1200150"/>
              <a:gd name="connsiteX26" fmla="*/ 230981 w 1226344"/>
              <a:gd name="connsiteY26" fmla="*/ 1052513 h 1200150"/>
              <a:gd name="connsiteX27" fmla="*/ 228600 w 1226344"/>
              <a:gd name="connsiteY27" fmla="*/ 1009650 h 1200150"/>
              <a:gd name="connsiteX28" fmla="*/ 216694 w 1226344"/>
              <a:gd name="connsiteY28" fmla="*/ 976313 h 1200150"/>
              <a:gd name="connsiteX29" fmla="*/ 223837 w 1226344"/>
              <a:gd name="connsiteY29" fmla="*/ 940594 h 1200150"/>
              <a:gd name="connsiteX30" fmla="*/ 266700 w 1226344"/>
              <a:gd name="connsiteY30" fmla="*/ 900113 h 1200150"/>
              <a:gd name="connsiteX31" fmla="*/ 278606 w 1226344"/>
              <a:gd name="connsiteY31" fmla="*/ 897732 h 1200150"/>
              <a:gd name="connsiteX32" fmla="*/ 290512 w 1226344"/>
              <a:gd name="connsiteY32" fmla="*/ 938213 h 1200150"/>
              <a:gd name="connsiteX33" fmla="*/ 302419 w 1226344"/>
              <a:gd name="connsiteY33" fmla="*/ 938213 h 1200150"/>
              <a:gd name="connsiteX34" fmla="*/ 321469 w 1226344"/>
              <a:gd name="connsiteY34" fmla="*/ 962025 h 1200150"/>
              <a:gd name="connsiteX35" fmla="*/ 338137 w 1226344"/>
              <a:gd name="connsiteY35" fmla="*/ 957263 h 1200150"/>
              <a:gd name="connsiteX36" fmla="*/ 359569 w 1226344"/>
              <a:gd name="connsiteY36" fmla="*/ 942975 h 1200150"/>
              <a:gd name="connsiteX37" fmla="*/ 483394 w 1226344"/>
              <a:gd name="connsiteY37" fmla="*/ 954882 h 1200150"/>
              <a:gd name="connsiteX38" fmla="*/ 516731 w 1226344"/>
              <a:gd name="connsiteY38" fmla="*/ 947738 h 1200150"/>
              <a:gd name="connsiteX39" fmla="*/ 545306 w 1226344"/>
              <a:gd name="connsiteY39" fmla="*/ 964407 h 1200150"/>
              <a:gd name="connsiteX40" fmla="*/ 561975 w 1226344"/>
              <a:gd name="connsiteY40" fmla="*/ 978694 h 1200150"/>
              <a:gd name="connsiteX41" fmla="*/ 604837 w 1226344"/>
              <a:gd name="connsiteY41" fmla="*/ 981075 h 1200150"/>
              <a:gd name="connsiteX42" fmla="*/ 640556 w 1226344"/>
              <a:gd name="connsiteY42" fmla="*/ 1021557 h 1200150"/>
              <a:gd name="connsiteX43" fmla="*/ 659606 w 1226344"/>
              <a:gd name="connsiteY43" fmla="*/ 1019175 h 1200150"/>
              <a:gd name="connsiteX44" fmla="*/ 702469 w 1226344"/>
              <a:gd name="connsiteY44" fmla="*/ 976313 h 1200150"/>
              <a:gd name="connsiteX45" fmla="*/ 735806 w 1226344"/>
              <a:gd name="connsiteY45" fmla="*/ 1000125 h 1200150"/>
              <a:gd name="connsiteX46" fmla="*/ 752475 w 1226344"/>
              <a:gd name="connsiteY46" fmla="*/ 1023938 h 1200150"/>
              <a:gd name="connsiteX47" fmla="*/ 785812 w 1226344"/>
              <a:gd name="connsiteY47" fmla="*/ 1021557 h 1200150"/>
              <a:gd name="connsiteX48" fmla="*/ 819150 w 1226344"/>
              <a:gd name="connsiteY48" fmla="*/ 1042988 h 1200150"/>
              <a:gd name="connsiteX49" fmla="*/ 823912 w 1226344"/>
              <a:gd name="connsiteY49" fmla="*/ 1064419 h 1200150"/>
              <a:gd name="connsiteX50" fmla="*/ 842962 w 1226344"/>
              <a:gd name="connsiteY50" fmla="*/ 1066800 h 1200150"/>
              <a:gd name="connsiteX51" fmla="*/ 904875 w 1226344"/>
              <a:gd name="connsiteY51" fmla="*/ 1073944 h 1200150"/>
              <a:gd name="connsiteX52" fmla="*/ 933450 w 1226344"/>
              <a:gd name="connsiteY52" fmla="*/ 1112044 h 1200150"/>
              <a:gd name="connsiteX53" fmla="*/ 938212 w 1226344"/>
              <a:gd name="connsiteY53" fmla="*/ 1140619 h 1200150"/>
              <a:gd name="connsiteX54" fmla="*/ 940594 w 1226344"/>
              <a:gd name="connsiteY54" fmla="*/ 1152525 h 1200150"/>
              <a:gd name="connsiteX55" fmla="*/ 954882 w 1226344"/>
              <a:gd name="connsiteY55" fmla="*/ 1200150 h 1200150"/>
              <a:gd name="connsiteX56" fmla="*/ 1042987 w 1226344"/>
              <a:gd name="connsiteY56" fmla="*/ 1150144 h 1200150"/>
              <a:gd name="connsiteX57" fmla="*/ 1071562 w 1226344"/>
              <a:gd name="connsiteY57" fmla="*/ 1069182 h 1200150"/>
              <a:gd name="connsiteX58" fmla="*/ 1062037 w 1226344"/>
              <a:gd name="connsiteY58" fmla="*/ 1045369 h 1200150"/>
              <a:gd name="connsiteX59" fmla="*/ 1059656 w 1226344"/>
              <a:gd name="connsiteY59" fmla="*/ 1012032 h 1200150"/>
              <a:gd name="connsiteX60" fmla="*/ 1066800 w 1226344"/>
              <a:gd name="connsiteY60" fmla="*/ 992982 h 1200150"/>
              <a:gd name="connsiteX61" fmla="*/ 1083469 w 1226344"/>
              <a:gd name="connsiteY61" fmla="*/ 973932 h 1200150"/>
              <a:gd name="connsiteX62" fmla="*/ 1107281 w 1226344"/>
              <a:gd name="connsiteY62" fmla="*/ 964407 h 1200150"/>
              <a:gd name="connsiteX63" fmla="*/ 1133475 w 1226344"/>
              <a:gd name="connsiteY63" fmla="*/ 921544 h 1200150"/>
              <a:gd name="connsiteX64" fmla="*/ 1150144 w 1226344"/>
              <a:gd name="connsiteY64" fmla="*/ 921544 h 1200150"/>
              <a:gd name="connsiteX65" fmla="*/ 1197769 w 1226344"/>
              <a:gd name="connsiteY65" fmla="*/ 940594 h 1200150"/>
              <a:gd name="connsiteX66" fmla="*/ 1226344 w 1226344"/>
              <a:gd name="connsiteY66" fmla="*/ 904875 h 1200150"/>
              <a:gd name="connsiteX67" fmla="*/ 1195387 w 1226344"/>
              <a:gd name="connsiteY67" fmla="*/ 852488 h 1200150"/>
              <a:gd name="connsiteX68" fmla="*/ 1159669 w 1226344"/>
              <a:gd name="connsiteY68" fmla="*/ 804863 h 1200150"/>
              <a:gd name="connsiteX69" fmla="*/ 1162050 w 1226344"/>
              <a:gd name="connsiteY69" fmla="*/ 762000 h 1200150"/>
              <a:gd name="connsiteX70" fmla="*/ 1216819 w 1226344"/>
              <a:gd name="connsiteY70" fmla="*/ 702469 h 1200150"/>
              <a:gd name="connsiteX71" fmla="*/ 1219200 w 1226344"/>
              <a:gd name="connsiteY71" fmla="*/ 676275 h 1200150"/>
              <a:gd name="connsiteX72" fmla="*/ 1181100 w 1226344"/>
              <a:gd name="connsiteY72" fmla="*/ 661988 h 1200150"/>
              <a:gd name="connsiteX73" fmla="*/ 1150144 w 1226344"/>
              <a:gd name="connsiteY73" fmla="*/ 635794 h 1200150"/>
              <a:gd name="connsiteX74" fmla="*/ 1133475 w 1226344"/>
              <a:gd name="connsiteY74" fmla="*/ 602457 h 1200150"/>
              <a:gd name="connsiteX75" fmla="*/ 1083469 w 1226344"/>
              <a:gd name="connsiteY75" fmla="*/ 604838 h 1200150"/>
              <a:gd name="connsiteX76" fmla="*/ 1033462 w 1226344"/>
              <a:gd name="connsiteY76" fmla="*/ 604838 h 1200150"/>
              <a:gd name="connsiteX77" fmla="*/ 1014412 w 1226344"/>
              <a:gd name="connsiteY77" fmla="*/ 583407 h 1200150"/>
              <a:gd name="connsiteX78" fmla="*/ 950119 w 1226344"/>
              <a:gd name="connsiteY78" fmla="*/ 578644 h 1200150"/>
              <a:gd name="connsiteX79" fmla="*/ 933450 w 1226344"/>
              <a:gd name="connsiteY79" fmla="*/ 561975 h 1200150"/>
              <a:gd name="connsiteX80" fmla="*/ 933450 w 1226344"/>
              <a:gd name="connsiteY80" fmla="*/ 547688 h 1200150"/>
              <a:gd name="connsiteX81" fmla="*/ 859631 w 1226344"/>
              <a:gd name="connsiteY81" fmla="*/ 511969 h 1200150"/>
              <a:gd name="connsiteX82" fmla="*/ 850106 w 1226344"/>
              <a:gd name="connsiteY82" fmla="*/ 492919 h 1200150"/>
              <a:gd name="connsiteX83" fmla="*/ 828675 w 1226344"/>
              <a:gd name="connsiteY83" fmla="*/ 476250 h 1200150"/>
              <a:gd name="connsiteX84" fmla="*/ 795337 w 1226344"/>
              <a:gd name="connsiteY84" fmla="*/ 478632 h 1200150"/>
              <a:gd name="connsiteX85" fmla="*/ 773906 w 1226344"/>
              <a:gd name="connsiteY85" fmla="*/ 471488 h 1200150"/>
              <a:gd name="connsiteX86" fmla="*/ 728662 w 1226344"/>
              <a:gd name="connsiteY86" fmla="*/ 428625 h 1200150"/>
              <a:gd name="connsiteX87" fmla="*/ 700087 w 1226344"/>
              <a:gd name="connsiteY87" fmla="*/ 421482 h 1200150"/>
              <a:gd name="connsiteX88" fmla="*/ 666750 w 1226344"/>
              <a:gd name="connsiteY88" fmla="*/ 383382 h 1200150"/>
              <a:gd name="connsiteX89" fmla="*/ 626269 w 1226344"/>
              <a:gd name="connsiteY89" fmla="*/ 369094 h 1200150"/>
              <a:gd name="connsiteX90" fmla="*/ 585787 w 1226344"/>
              <a:gd name="connsiteY90" fmla="*/ 335757 h 1200150"/>
              <a:gd name="connsiteX91" fmla="*/ 564356 w 1226344"/>
              <a:gd name="connsiteY91" fmla="*/ 311944 h 1200150"/>
              <a:gd name="connsiteX92" fmla="*/ 550069 w 1226344"/>
              <a:gd name="connsiteY92" fmla="*/ 330994 h 1200150"/>
              <a:gd name="connsiteX93" fmla="*/ 478631 w 1226344"/>
              <a:gd name="connsiteY93" fmla="*/ 328613 h 1200150"/>
              <a:gd name="connsiteX94" fmla="*/ 330994 w 1226344"/>
              <a:gd name="connsiteY94" fmla="*/ 230982 h 1200150"/>
              <a:gd name="connsiteX95" fmla="*/ 259556 w 1226344"/>
              <a:gd name="connsiteY95" fmla="*/ 254794 h 1200150"/>
              <a:gd name="connsiteX96" fmla="*/ 221456 w 1226344"/>
              <a:gd name="connsiteY96" fmla="*/ 245269 h 1200150"/>
              <a:gd name="connsiteX97" fmla="*/ 238125 w 1226344"/>
              <a:gd name="connsiteY97" fmla="*/ 150019 h 1200150"/>
              <a:gd name="connsiteX98" fmla="*/ 228600 w 1226344"/>
              <a:gd name="connsiteY98" fmla="*/ 95250 h 1200150"/>
              <a:gd name="connsiteX99" fmla="*/ 197644 w 1226344"/>
              <a:gd name="connsiteY99" fmla="*/ 78582 h 1200150"/>
              <a:gd name="connsiteX100" fmla="*/ 145256 w 1226344"/>
              <a:gd name="connsiteY100" fmla="*/ 0 h 1200150"/>
              <a:gd name="connsiteX101" fmla="*/ 88106 w 1226344"/>
              <a:gd name="connsiteY101" fmla="*/ 30957 h 1200150"/>
              <a:gd name="connsiteX102" fmla="*/ 83344 w 1226344"/>
              <a:gd name="connsiteY102" fmla="*/ 54769 h 1200150"/>
              <a:gd name="connsiteX103" fmla="*/ 90487 w 1226344"/>
              <a:gd name="connsiteY103" fmla="*/ 100013 h 1200150"/>
              <a:gd name="connsiteX104" fmla="*/ 71437 w 1226344"/>
              <a:gd name="connsiteY104" fmla="*/ 135732 h 1200150"/>
              <a:gd name="connsiteX105" fmla="*/ 66675 w 1226344"/>
              <a:gd name="connsiteY105" fmla="*/ 145257 h 1200150"/>
              <a:gd name="connsiteX106" fmla="*/ 97631 w 1226344"/>
              <a:gd name="connsiteY106" fmla="*/ 185738 h 1200150"/>
              <a:gd name="connsiteX107" fmla="*/ 83344 w 1226344"/>
              <a:gd name="connsiteY107" fmla="*/ 223838 h 1200150"/>
              <a:gd name="connsiteX108" fmla="*/ 59531 w 1226344"/>
              <a:gd name="connsiteY108" fmla="*/ 240507 h 1200150"/>
              <a:gd name="connsiteX109" fmla="*/ 69056 w 1226344"/>
              <a:gd name="connsiteY109" fmla="*/ 309563 h 1200150"/>
              <a:gd name="connsiteX110" fmla="*/ 92869 w 1226344"/>
              <a:gd name="connsiteY110" fmla="*/ 321469 h 1200150"/>
              <a:gd name="connsiteX111" fmla="*/ 85725 w 1226344"/>
              <a:gd name="connsiteY111" fmla="*/ 369094 h 1200150"/>
              <a:gd name="connsiteX112" fmla="*/ 42862 w 1226344"/>
              <a:gd name="connsiteY112" fmla="*/ 421482 h 1200150"/>
              <a:gd name="connsiteX113" fmla="*/ 0 w 1226344"/>
              <a:gd name="connsiteY113" fmla="*/ 452438 h 1200150"/>
              <a:gd name="connsiteX0" fmla="*/ 0 w 1226344"/>
              <a:gd name="connsiteY0" fmla="*/ 452438 h 1200150"/>
              <a:gd name="connsiteX1" fmla="*/ 28575 w 1226344"/>
              <a:gd name="connsiteY1" fmla="*/ 526257 h 1200150"/>
              <a:gd name="connsiteX2" fmla="*/ 73819 w 1226344"/>
              <a:gd name="connsiteY2" fmla="*/ 564357 h 1200150"/>
              <a:gd name="connsiteX3" fmla="*/ 109537 w 1226344"/>
              <a:gd name="connsiteY3" fmla="*/ 657225 h 1200150"/>
              <a:gd name="connsiteX4" fmla="*/ 128587 w 1226344"/>
              <a:gd name="connsiteY4" fmla="*/ 685800 h 1200150"/>
              <a:gd name="connsiteX5" fmla="*/ 142875 w 1226344"/>
              <a:gd name="connsiteY5" fmla="*/ 666750 h 1200150"/>
              <a:gd name="connsiteX6" fmla="*/ 142875 w 1226344"/>
              <a:gd name="connsiteY6" fmla="*/ 633413 h 1200150"/>
              <a:gd name="connsiteX7" fmla="*/ 180975 w 1226344"/>
              <a:gd name="connsiteY7" fmla="*/ 666750 h 1200150"/>
              <a:gd name="connsiteX8" fmla="*/ 240506 w 1226344"/>
              <a:gd name="connsiteY8" fmla="*/ 673894 h 1200150"/>
              <a:gd name="connsiteX9" fmla="*/ 271462 w 1226344"/>
              <a:gd name="connsiteY9" fmla="*/ 702469 h 1200150"/>
              <a:gd name="connsiteX10" fmla="*/ 326231 w 1226344"/>
              <a:gd name="connsiteY10" fmla="*/ 721519 h 1200150"/>
              <a:gd name="connsiteX11" fmla="*/ 338137 w 1226344"/>
              <a:gd name="connsiteY11" fmla="*/ 762000 h 1200150"/>
              <a:gd name="connsiteX12" fmla="*/ 321469 w 1226344"/>
              <a:gd name="connsiteY12" fmla="*/ 781050 h 1200150"/>
              <a:gd name="connsiteX13" fmla="*/ 311944 w 1226344"/>
              <a:gd name="connsiteY13" fmla="*/ 807244 h 1200150"/>
              <a:gd name="connsiteX14" fmla="*/ 266700 w 1226344"/>
              <a:gd name="connsiteY14" fmla="*/ 826294 h 1200150"/>
              <a:gd name="connsiteX15" fmla="*/ 219075 w 1226344"/>
              <a:gd name="connsiteY15" fmla="*/ 900113 h 1200150"/>
              <a:gd name="connsiteX16" fmla="*/ 204787 w 1226344"/>
              <a:gd name="connsiteY16" fmla="*/ 909638 h 1200150"/>
              <a:gd name="connsiteX17" fmla="*/ 192881 w 1226344"/>
              <a:gd name="connsiteY17" fmla="*/ 973932 h 1200150"/>
              <a:gd name="connsiteX18" fmla="*/ 152400 w 1226344"/>
              <a:gd name="connsiteY18" fmla="*/ 1042988 h 1200150"/>
              <a:gd name="connsiteX19" fmla="*/ 157162 w 1226344"/>
              <a:gd name="connsiteY19" fmla="*/ 1071563 h 1200150"/>
              <a:gd name="connsiteX20" fmla="*/ 204787 w 1226344"/>
              <a:gd name="connsiteY20" fmla="*/ 1083469 h 1200150"/>
              <a:gd name="connsiteX21" fmla="*/ 233362 w 1226344"/>
              <a:gd name="connsiteY21" fmla="*/ 1133475 h 1200150"/>
              <a:gd name="connsiteX22" fmla="*/ 247650 w 1226344"/>
              <a:gd name="connsiteY22" fmla="*/ 1133475 h 1200150"/>
              <a:gd name="connsiteX23" fmla="*/ 266700 w 1226344"/>
              <a:gd name="connsiteY23" fmla="*/ 1102519 h 1200150"/>
              <a:gd name="connsiteX24" fmla="*/ 257175 w 1226344"/>
              <a:gd name="connsiteY24" fmla="*/ 1081088 h 1200150"/>
              <a:gd name="connsiteX25" fmla="*/ 230981 w 1226344"/>
              <a:gd name="connsiteY25" fmla="*/ 1076325 h 1200150"/>
              <a:gd name="connsiteX26" fmla="*/ 230981 w 1226344"/>
              <a:gd name="connsiteY26" fmla="*/ 1052513 h 1200150"/>
              <a:gd name="connsiteX27" fmla="*/ 228600 w 1226344"/>
              <a:gd name="connsiteY27" fmla="*/ 1009650 h 1200150"/>
              <a:gd name="connsiteX28" fmla="*/ 216694 w 1226344"/>
              <a:gd name="connsiteY28" fmla="*/ 976313 h 1200150"/>
              <a:gd name="connsiteX29" fmla="*/ 223837 w 1226344"/>
              <a:gd name="connsiteY29" fmla="*/ 940594 h 1200150"/>
              <a:gd name="connsiteX30" fmla="*/ 266700 w 1226344"/>
              <a:gd name="connsiteY30" fmla="*/ 900113 h 1200150"/>
              <a:gd name="connsiteX31" fmla="*/ 278606 w 1226344"/>
              <a:gd name="connsiteY31" fmla="*/ 897732 h 1200150"/>
              <a:gd name="connsiteX32" fmla="*/ 290512 w 1226344"/>
              <a:gd name="connsiteY32" fmla="*/ 938213 h 1200150"/>
              <a:gd name="connsiteX33" fmla="*/ 302419 w 1226344"/>
              <a:gd name="connsiteY33" fmla="*/ 938213 h 1200150"/>
              <a:gd name="connsiteX34" fmla="*/ 321469 w 1226344"/>
              <a:gd name="connsiteY34" fmla="*/ 962025 h 1200150"/>
              <a:gd name="connsiteX35" fmla="*/ 338137 w 1226344"/>
              <a:gd name="connsiteY35" fmla="*/ 957263 h 1200150"/>
              <a:gd name="connsiteX36" fmla="*/ 359569 w 1226344"/>
              <a:gd name="connsiteY36" fmla="*/ 942975 h 1200150"/>
              <a:gd name="connsiteX37" fmla="*/ 483394 w 1226344"/>
              <a:gd name="connsiteY37" fmla="*/ 954882 h 1200150"/>
              <a:gd name="connsiteX38" fmla="*/ 516731 w 1226344"/>
              <a:gd name="connsiteY38" fmla="*/ 947738 h 1200150"/>
              <a:gd name="connsiteX39" fmla="*/ 545306 w 1226344"/>
              <a:gd name="connsiteY39" fmla="*/ 964407 h 1200150"/>
              <a:gd name="connsiteX40" fmla="*/ 561975 w 1226344"/>
              <a:gd name="connsiteY40" fmla="*/ 978694 h 1200150"/>
              <a:gd name="connsiteX41" fmla="*/ 604837 w 1226344"/>
              <a:gd name="connsiteY41" fmla="*/ 981075 h 1200150"/>
              <a:gd name="connsiteX42" fmla="*/ 640556 w 1226344"/>
              <a:gd name="connsiteY42" fmla="*/ 1021557 h 1200150"/>
              <a:gd name="connsiteX43" fmla="*/ 659606 w 1226344"/>
              <a:gd name="connsiteY43" fmla="*/ 1019175 h 1200150"/>
              <a:gd name="connsiteX44" fmla="*/ 702469 w 1226344"/>
              <a:gd name="connsiteY44" fmla="*/ 976313 h 1200150"/>
              <a:gd name="connsiteX45" fmla="*/ 735806 w 1226344"/>
              <a:gd name="connsiteY45" fmla="*/ 1000125 h 1200150"/>
              <a:gd name="connsiteX46" fmla="*/ 752475 w 1226344"/>
              <a:gd name="connsiteY46" fmla="*/ 1023938 h 1200150"/>
              <a:gd name="connsiteX47" fmla="*/ 785812 w 1226344"/>
              <a:gd name="connsiteY47" fmla="*/ 1021557 h 1200150"/>
              <a:gd name="connsiteX48" fmla="*/ 819150 w 1226344"/>
              <a:gd name="connsiteY48" fmla="*/ 1042988 h 1200150"/>
              <a:gd name="connsiteX49" fmla="*/ 823912 w 1226344"/>
              <a:gd name="connsiteY49" fmla="*/ 1064419 h 1200150"/>
              <a:gd name="connsiteX50" fmla="*/ 842962 w 1226344"/>
              <a:gd name="connsiteY50" fmla="*/ 1066800 h 1200150"/>
              <a:gd name="connsiteX51" fmla="*/ 904875 w 1226344"/>
              <a:gd name="connsiteY51" fmla="*/ 1073944 h 1200150"/>
              <a:gd name="connsiteX52" fmla="*/ 933450 w 1226344"/>
              <a:gd name="connsiteY52" fmla="*/ 1112044 h 1200150"/>
              <a:gd name="connsiteX53" fmla="*/ 938212 w 1226344"/>
              <a:gd name="connsiteY53" fmla="*/ 1140619 h 1200150"/>
              <a:gd name="connsiteX54" fmla="*/ 940594 w 1226344"/>
              <a:gd name="connsiteY54" fmla="*/ 1152525 h 1200150"/>
              <a:gd name="connsiteX55" fmla="*/ 954882 w 1226344"/>
              <a:gd name="connsiteY55" fmla="*/ 1200150 h 1200150"/>
              <a:gd name="connsiteX56" fmla="*/ 1002506 w 1226344"/>
              <a:gd name="connsiteY56" fmla="*/ 1173956 h 1200150"/>
              <a:gd name="connsiteX57" fmla="*/ 1042987 w 1226344"/>
              <a:gd name="connsiteY57" fmla="*/ 1150144 h 1200150"/>
              <a:gd name="connsiteX58" fmla="*/ 1071562 w 1226344"/>
              <a:gd name="connsiteY58" fmla="*/ 1069182 h 1200150"/>
              <a:gd name="connsiteX59" fmla="*/ 1062037 w 1226344"/>
              <a:gd name="connsiteY59" fmla="*/ 1045369 h 1200150"/>
              <a:gd name="connsiteX60" fmla="*/ 1059656 w 1226344"/>
              <a:gd name="connsiteY60" fmla="*/ 1012032 h 1200150"/>
              <a:gd name="connsiteX61" fmla="*/ 1066800 w 1226344"/>
              <a:gd name="connsiteY61" fmla="*/ 992982 h 1200150"/>
              <a:gd name="connsiteX62" fmla="*/ 1083469 w 1226344"/>
              <a:gd name="connsiteY62" fmla="*/ 973932 h 1200150"/>
              <a:gd name="connsiteX63" fmla="*/ 1107281 w 1226344"/>
              <a:gd name="connsiteY63" fmla="*/ 964407 h 1200150"/>
              <a:gd name="connsiteX64" fmla="*/ 1133475 w 1226344"/>
              <a:gd name="connsiteY64" fmla="*/ 921544 h 1200150"/>
              <a:gd name="connsiteX65" fmla="*/ 1150144 w 1226344"/>
              <a:gd name="connsiteY65" fmla="*/ 921544 h 1200150"/>
              <a:gd name="connsiteX66" fmla="*/ 1197769 w 1226344"/>
              <a:gd name="connsiteY66" fmla="*/ 940594 h 1200150"/>
              <a:gd name="connsiteX67" fmla="*/ 1226344 w 1226344"/>
              <a:gd name="connsiteY67" fmla="*/ 904875 h 1200150"/>
              <a:gd name="connsiteX68" fmla="*/ 1195387 w 1226344"/>
              <a:gd name="connsiteY68" fmla="*/ 852488 h 1200150"/>
              <a:gd name="connsiteX69" fmla="*/ 1159669 w 1226344"/>
              <a:gd name="connsiteY69" fmla="*/ 804863 h 1200150"/>
              <a:gd name="connsiteX70" fmla="*/ 1162050 w 1226344"/>
              <a:gd name="connsiteY70" fmla="*/ 762000 h 1200150"/>
              <a:gd name="connsiteX71" fmla="*/ 1216819 w 1226344"/>
              <a:gd name="connsiteY71" fmla="*/ 702469 h 1200150"/>
              <a:gd name="connsiteX72" fmla="*/ 1219200 w 1226344"/>
              <a:gd name="connsiteY72" fmla="*/ 676275 h 1200150"/>
              <a:gd name="connsiteX73" fmla="*/ 1181100 w 1226344"/>
              <a:gd name="connsiteY73" fmla="*/ 661988 h 1200150"/>
              <a:gd name="connsiteX74" fmla="*/ 1150144 w 1226344"/>
              <a:gd name="connsiteY74" fmla="*/ 635794 h 1200150"/>
              <a:gd name="connsiteX75" fmla="*/ 1133475 w 1226344"/>
              <a:gd name="connsiteY75" fmla="*/ 602457 h 1200150"/>
              <a:gd name="connsiteX76" fmla="*/ 1083469 w 1226344"/>
              <a:gd name="connsiteY76" fmla="*/ 604838 h 1200150"/>
              <a:gd name="connsiteX77" fmla="*/ 1033462 w 1226344"/>
              <a:gd name="connsiteY77" fmla="*/ 604838 h 1200150"/>
              <a:gd name="connsiteX78" fmla="*/ 1014412 w 1226344"/>
              <a:gd name="connsiteY78" fmla="*/ 583407 h 1200150"/>
              <a:gd name="connsiteX79" fmla="*/ 950119 w 1226344"/>
              <a:gd name="connsiteY79" fmla="*/ 578644 h 1200150"/>
              <a:gd name="connsiteX80" fmla="*/ 933450 w 1226344"/>
              <a:gd name="connsiteY80" fmla="*/ 561975 h 1200150"/>
              <a:gd name="connsiteX81" fmla="*/ 933450 w 1226344"/>
              <a:gd name="connsiteY81" fmla="*/ 547688 h 1200150"/>
              <a:gd name="connsiteX82" fmla="*/ 859631 w 1226344"/>
              <a:gd name="connsiteY82" fmla="*/ 511969 h 1200150"/>
              <a:gd name="connsiteX83" fmla="*/ 850106 w 1226344"/>
              <a:gd name="connsiteY83" fmla="*/ 492919 h 1200150"/>
              <a:gd name="connsiteX84" fmla="*/ 828675 w 1226344"/>
              <a:gd name="connsiteY84" fmla="*/ 476250 h 1200150"/>
              <a:gd name="connsiteX85" fmla="*/ 795337 w 1226344"/>
              <a:gd name="connsiteY85" fmla="*/ 478632 h 1200150"/>
              <a:gd name="connsiteX86" fmla="*/ 773906 w 1226344"/>
              <a:gd name="connsiteY86" fmla="*/ 471488 h 1200150"/>
              <a:gd name="connsiteX87" fmla="*/ 728662 w 1226344"/>
              <a:gd name="connsiteY87" fmla="*/ 428625 h 1200150"/>
              <a:gd name="connsiteX88" fmla="*/ 700087 w 1226344"/>
              <a:gd name="connsiteY88" fmla="*/ 421482 h 1200150"/>
              <a:gd name="connsiteX89" fmla="*/ 666750 w 1226344"/>
              <a:gd name="connsiteY89" fmla="*/ 383382 h 1200150"/>
              <a:gd name="connsiteX90" fmla="*/ 626269 w 1226344"/>
              <a:gd name="connsiteY90" fmla="*/ 369094 h 1200150"/>
              <a:gd name="connsiteX91" fmla="*/ 585787 w 1226344"/>
              <a:gd name="connsiteY91" fmla="*/ 335757 h 1200150"/>
              <a:gd name="connsiteX92" fmla="*/ 564356 w 1226344"/>
              <a:gd name="connsiteY92" fmla="*/ 311944 h 1200150"/>
              <a:gd name="connsiteX93" fmla="*/ 550069 w 1226344"/>
              <a:gd name="connsiteY93" fmla="*/ 330994 h 1200150"/>
              <a:gd name="connsiteX94" fmla="*/ 478631 w 1226344"/>
              <a:gd name="connsiteY94" fmla="*/ 328613 h 1200150"/>
              <a:gd name="connsiteX95" fmla="*/ 330994 w 1226344"/>
              <a:gd name="connsiteY95" fmla="*/ 230982 h 1200150"/>
              <a:gd name="connsiteX96" fmla="*/ 259556 w 1226344"/>
              <a:gd name="connsiteY96" fmla="*/ 254794 h 1200150"/>
              <a:gd name="connsiteX97" fmla="*/ 221456 w 1226344"/>
              <a:gd name="connsiteY97" fmla="*/ 245269 h 1200150"/>
              <a:gd name="connsiteX98" fmla="*/ 238125 w 1226344"/>
              <a:gd name="connsiteY98" fmla="*/ 150019 h 1200150"/>
              <a:gd name="connsiteX99" fmla="*/ 228600 w 1226344"/>
              <a:gd name="connsiteY99" fmla="*/ 95250 h 1200150"/>
              <a:gd name="connsiteX100" fmla="*/ 197644 w 1226344"/>
              <a:gd name="connsiteY100" fmla="*/ 78582 h 1200150"/>
              <a:gd name="connsiteX101" fmla="*/ 145256 w 1226344"/>
              <a:gd name="connsiteY101" fmla="*/ 0 h 1200150"/>
              <a:gd name="connsiteX102" fmla="*/ 88106 w 1226344"/>
              <a:gd name="connsiteY102" fmla="*/ 30957 h 1200150"/>
              <a:gd name="connsiteX103" fmla="*/ 83344 w 1226344"/>
              <a:gd name="connsiteY103" fmla="*/ 54769 h 1200150"/>
              <a:gd name="connsiteX104" fmla="*/ 90487 w 1226344"/>
              <a:gd name="connsiteY104" fmla="*/ 100013 h 1200150"/>
              <a:gd name="connsiteX105" fmla="*/ 71437 w 1226344"/>
              <a:gd name="connsiteY105" fmla="*/ 135732 h 1200150"/>
              <a:gd name="connsiteX106" fmla="*/ 66675 w 1226344"/>
              <a:gd name="connsiteY106" fmla="*/ 145257 h 1200150"/>
              <a:gd name="connsiteX107" fmla="*/ 97631 w 1226344"/>
              <a:gd name="connsiteY107" fmla="*/ 185738 h 1200150"/>
              <a:gd name="connsiteX108" fmla="*/ 83344 w 1226344"/>
              <a:gd name="connsiteY108" fmla="*/ 223838 h 1200150"/>
              <a:gd name="connsiteX109" fmla="*/ 59531 w 1226344"/>
              <a:gd name="connsiteY109" fmla="*/ 240507 h 1200150"/>
              <a:gd name="connsiteX110" fmla="*/ 69056 w 1226344"/>
              <a:gd name="connsiteY110" fmla="*/ 309563 h 1200150"/>
              <a:gd name="connsiteX111" fmla="*/ 92869 w 1226344"/>
              <a:gd name="connsiteY111" fmla="*/ 321469 h 1200150"/>
              <a:gd name="connsiteX112" fmla="*/ 85725 w 1226344"/>
              <a:gd name="connsiteY112" fmla="*/ 369094 h 1200150"/>
              <a:gd name="connsiteX113" fmla="*/ 42862 w 1226344"/>
              <a:gd name="connsiteY113" fmla="*/ 421482 h 1200150"/>
              <a:gd name="connsiteX114" fmla="*/ 0 w 1226344"/>
              <a:gd name="connsiteY114" fmla="*/ 452438 h 1200150"/>
              <a:gd name="connsiteX0" fmla="*/ 0 w 1226344"/>
              <a:gd name="connsiteY0" fmla="*/ 452438 h 1202531"/>
              <a:gd name="connsiteX1" fmla="*/ 28575 w 1226344"/>
              <a:gd name="connsiteY1" fmla="*/ 526257 h 1202531"/>
              <a:gd name="connsiteX2" fmla="*/ 73819 w 1226344"/>
              <a:gd name="connsiteY2" fmla="*/ 564357 h 1202531"/>
              <a:gd name="connsiteX3" fmla="*/ 109537 w 1226344"/>
              <a:gd name="connsiteY3" fmla="*/ 657225 h 1202531"/>
              <a:gd name="connsiteX4" fmla="*/ 128587 w 1226344"/>
              <a:gd name="connsiteY4" fmla="*/ 685800 h 1202531"/>
              <a:gd name="connsiteX5" fmla="*/ 142875 w 1226344"/>
              <a:gd name="connsiteY5" fmla="*/ 666750 h 1202531"/>
              <a:gd name="connsiteX6" fmla="*/ 142875 w 1226344"/>
              <a:gd name="connsiteY6" fmla="*/ 633413 h 1202531"/>
              <a:gd name="connsiteX7" fmla="*/ 180975 w 1226344"/>
              <a:gd name="connsiteY7" fmla="*/ 666750 h 1202531"/>
              <a:gd name="connsiteX8" fmla="*/ 240506 w 1226344"/>
              <a:gd name="connsiteY8" fmla="*/ 673894 h 1202531"/>
              <a:gd name="connsiteX9" fmla="*/ 271462 w 1226344"/>
              <a:gd name="connsiteY9" fmla="*/ 702469 h 1202531"/>
              <a:gd name="connsiteX10" fmla="*/ 326231 w 1226344"/>
              <a:gd name="connsiteY10" fmla="*/ 721519 h 1202531"/>
              <a:gd name="connsiteX11" fmla="*/ 338137 w 1226344"/>
              <a:gd name="connsiteY11" fmla="*/ 762000 h 1202531"/>
              <a:gd name="connsiteX12" fmla="*/ 321469 w 1226344"/>
              <a:gd name="connsiteY12" fmla="*/ 781050 h 1202531"/>
              <a:gd name="connsiteX13" fmla="*/ 311944 w 1226344"/>
              <a:gd name="connsiteY13" fmla="*/ 807244 h 1202531"/>
              <a:gd name="connsiteX14" fmla="*/ 266700 w 1226344"/>
              <a:gd name="connsiteY14" fmla="*/ 826294 h 1202531"/>
              <a:gd name="connsiteX15" fmla="*/ 219075 w 1226344"/>
              <a:gd name="connsiteY15" fmla="*/ 900113 h 1202531"/>
              <a:gd name="connsiteX16" fmla="*/ 204787 w 1226344"/>
              <a:gd name="connsiteY16" fmla="*/ 909638 h 1202531"/>
              <a:gd name="connsiteX17" fmla="*/ 192881 w 1226344"/>
              <a:gd name="connsiteY17" fmla="*/ 973932 h 1202531"/>
              <a:gd name="connsiteX18" fmla="*/ 152400 w 1226344"/>
              <a:gd name="connsiteY18" fmla="*/ 1042988 h 1202531"/>
              <a:gd name="connsiteX19" fmla="*/ 157162 w 1226344"/>
              <a:gd name="connsiteY19" fmla="*/ 1071563 h 1202531"/>
              <a:gd name="connsiteX20" fmla="*/ 204787 w 1226344"/>
              <a:gd name="connsiteY20" fmla="*/ 1083469 h 1202531"/>
              <a:gd name="connsiteX21" fmla="*/ 233362 w 1226344"/>
              <a:gd name="connsiteY21" fmla="*/ 1133475 h 1202531"/>
              <a:gd name="connsiteX22" fmla="*/ 247650 w 1226344"/>
              <a:gd name="connsiteY22" fmla="*/ 1133475 h 1202531"/>
              <a:gd name="connsiteX23" fmla="*/ 266700 w 1226344"/>
              <a:gd name="connsiteY23" fmla="*/ 1102519 h 1202531"/>
              <a:gd name="connsiteX24" fmla="*/ 257175 w 1226344"/>
              <a:gd name="connsiteY24" fmla="*/ 1081088 h 1202531"/>
              <a:gd name="connsiteX25" fmla="*/ 230981 w 1226344"/>
              <a:gd name="connsiteY25" fmla="*/ 1076325 h 1202531"/>
              <a:gd name="connsiteX26" fmla="*/ 230981 w 1226344"/>
              <a:gd name="connsiteY26" fmla="*/ 1052513 h 1202531"/>
              <a:gd name="connsiteX27" fmla="*/ 228600 w 1226344"/>
              <a:gd name="connsiteY27" fmla="*/ 1009650 h 1202531"/>
              <a:gd name="connsiteX28" fmla="*/ 216694 w 1226344"/>
              <a:gd name="connsiteY28" fmla="*/ 976313 h 1202531"/>
              <a:gd name="connsiteX29" fmla="*/ 223837 w 1226344"/>
              <a:gd name="connsiteY29" fmla="*/ 940594 h 1202531"/>
              <a:gd name="connsiteX30" fmla="*/ 266700 w 1226344"/>
              <a:gd name="connsiteY30" fmla="*/ 900113 h 1202531"/>
              <a:gd name="connsiteX31" fmla="*/ 278606 w 1226344"/>
              <a:gd name="connsiteY31" fmla="*/ 897732 h 1202531"/>
              <a:gd name="connsiteX32" fmla="*/ 290512 w 1226344"/>
              <a:gd name="connsiteY32" fmla="*/ 938213 h 1202531"/>
              <a:gd name="connsiteX33" fmla="*/ 302419 w 1226344"/>
              <a:gd name="connsiteY33" fmla="*/ 938213 h 1202531"/>
              <a:gd name="connsiteX34" fmla="*/ 321469 w 1226344"/>
              <a:gd name="connsiteY34" fmla="*/ 962025 h 1202531"/>
              <a:gd name="connsiteX35" fmla="*/ 338137 w 1226344"/>
              <a:gd name="connsiteY35" fmla="*/ 957263 h 1202531"/>
              <a:gd name="connsiteX36" fmla="*/ 359569 w 1226344"/>
              <a:gd name="connsiteY36" fmla="*/ 942975 h 1202531"/>
              <a:gd name="connsiteX37" fmla="*/ 483394 w 1226344"/>
              <a:gd name="connsiteY37" fmla="*/ 954882 h 1202531"/>
              <a:gd name="connsiteX38" fmla="*/ 516731 w 1226344"/>
              <a:gd name="connsiteY38" fmla="*/ 947738 h 1202531"/>
              <a:gd name="connsiteX39" fmla="*/ 545306 w 1226344"/>
              <a:gd name="connsiteY39" fmla="*/ 964407 h 1202531"/>
              <a:gd name="connsiteX40" fmla="*/ 561975 w 1226344"/>
              <a:gd name="connsiteY40" fmla="*/ 978694 h 1202531"/>
              <a:gd name="connsiteX41" fmla="*/ 604837 w 1226344"/>
              <a:gd name="connsiteY41" fmla="*/ 981075 h 1202531"/>
              <a:gd name="connsiteX42" fmla="*/ 640556 w 1226344"/>
              <a:gd name="connsiteY42" fmla="*/ 1021557 h 1202531"/>
              <a:gd name="connsiteX43" fmla="*/ 659606 w 1226344"/>
              <a:gd name="connsiteY43" fmla="*/ 1019175 h 1202531"/>
              <a:gd name="connsiteX44" fmla="*/ 702469 w 1226344"/>
              <a:gd name="connsiteY44" fmla="*/ 976313 h 1202531"/>
              <a:gd name="connsiteX45" fmla="*/ 735806 w 1226344"/>
              <a:gd name="connsiteY45" fmla="*/ 1000125 h 1202531"/>
              <a:gd name="connsiteX46" fmla="*/ 752475 w 1226344"/>
              <a:gd name="connsiteY46" fmla="*/ 1023938 h 1202531"/>
              <a:gd name="connsiteX47" fmla="*/ 785812 w 1226344"/>
              <a:gd name="connsiteY47" fmla="*/ 1021557 h 1202531"/>
              <a:gd name="connsiteX48" fmla="*/ 819150 w 1226344"/>
              <a:gd name="connsiteY48" fmla="*/ 1042988 h 1202531"/>
              <a:gd name="connsiteX49" fmla="*/ 823912 w 1226344"/>
              <a:gd name="connsiteY49" fmla="*/ 1064419 h 1202531"/>
              <a:gd name="connsiteX50" fmla="*/ 842962 w 1226344"/>
              <a:gd name="connsiteY50" fmla="*/ 1066800 h 1202531"/>
              <a:gd name="connsiteX51" fmla="*/ 904875 w 1226344"/>
              <a:gd name="connsiteY51" fmla="*/ 1073944 h 1202531"/>
              <a:gd name="connsiteX52" fmla="*/ 933450 w 1226344"/>
              <a:gd name="connsiteY52" fmla="*/ 1112044 h 1202531"/>
              <a:gd name="connsiteX53" fmla="*/ 938212 w 1226344"/>
              <a:gd name="connsiteY53" fmla="*/ 1140619 h 1202531"/>
              <a:gd name="connsiteX54" fmla="*/ 940594 w 1226344"/>
              <a:gd name="connsiteY54" fmla="*/ 1152525 h 1202531"/>
              <a:gd name="connsiteX55" fmla="*/ 954882 w 1226344"/>
              <a:gd name="connsiteY55" fmla="*/ 1200150 h 1202531"/>
              <a:gd name="connsiteX56" fmla="*/ 990599 w 1226344"/>
              <a:gd name="connsiteY56" fmla="*/ 1202531 h 1202531"/>
              <a:gd name="connsiteX57" fmla="*/ 1042987 w 1226344"/>
              <a:gd name="connsiteY57" fmla="*/ 1150144 h 1202531"/>
              <a:gd name="connsiteX58" fmla="*/ 1071562 w 1226344"/>
              <a:gd name="connsiteY58" fmla="*/ 1069182 h 1202531"/>
              <a:gd name="connsiteX59" fmla="*/ 1062037 w 1226344"/>
              <a:gd name="connsiteY59" fmla="*/ 1045369 h 1202531"/>
              <a:gd name="connsiteX60" fmla="*/ 1059656 w 1226344"/>
              <a:gd name="connsiteY60" fmla="*/ 1012032 h 1202531"/>
              <a:gd name="connsiteX61" fmla="*/ 1066800 w 1226344"/>
              <a:gd name="connsiteY61" fmla="*/ 992982 h 1202531"/>
              <a:gd name="connsiteX62" fmla="*/ 1083469 w 1226344"/>
              <a:gd name="connsiteY62" fmla="*/ 973932 h 1202531"/>
              <a:gd name="connsiteX63" fmla="*/ 1107281 w 1226344"/>
              <a:gd name="connsiteY63" fmla="*/ 964407 h 1202531"/>
              <a:gd name="connsiteX64" fmla="*/ 1133475 w 1226344"/>
              <a:gd name="connsiteY64" fmla="*/ 921544 h 1202531"/>
              <a:gd name="connsiteX65" fmla="*/ 1150144 w 1226344"/>
              <a:gd name="connsiteY65" fmla="*/ 921544 h 1202531"/>
              <a:gd name="connsiteX66" fmla="*/ 1197769 w 1226344"/>
              <a:gd name="connsiteY66" fmla="*/ 940594 h 1202531"/>
              <a:gd name="connsiteX67" fmla="*/ 1226344 w 1226344"/>
              <a:gd name="connsiteY67" fmla="*/ 904875 h 1202531"/>
              <a:gd name="connsiteX68" fmla="*/ 1195387 w 1226344"/>
              <a:gd name="connsiteY68" fmla="*/ 852488 h 1202531"/>
              <a:gd name="connsiteX69" fmla="*/ 1159669 w 1226344"/>
              <a:gd name="connsiteY69" fmla="*/ 804863 h 1202531"/>
              <a:gd name="connsiteX70" fmla="*/ 1162050 w 1226344"/>
              <a:gd name="connsiteY70" fmla="*/ 762000 h 1202531"/>
              <a:gd name="connsiteX71" fmla="*/ 1216819 w 1226344"/>
              <a:gd name="connsiteY71" fmla="*/ 702469 h 1202531"/>
              <a:gd name="connsiteX72" fmla="*/ 1219200 w 1226344"/>
              <a:gd name="connsiteY72" fmla="*/ 676275 h 1202531"/>
              <a:gd name="connsiteX73" fmla="*/ 1181100 w 1226344"/>
              <a:gd name="connsiteY73" fmla="*/ 661988 h 1202531"/>
              <a:gd name="connsiteX74" fmla="*/ 1150144 w 1226344"/>
              <a:gd name="connsiteY74" fmla="*/ 635794 h 1202531"/>
              <a:gd name="connsiteX75" fmla="*/ 1133475 w 1226344"/>
              <a:gd name="connsiteY75" fmla="*/ 602457 h 1202531"/>
              <a:gd name="connsiteX76" fmla="*/ 1083469 w 1226344"/>
              <a:gd name="connsiteY76" fmla="*/ 604838 h 1202531"/>
              <a:gd name="connsiteX77" fmla="*/ 1033462 w 1226344"/>
              <a:gd name="connsiteY77" fmla="*/ 604838 h 1202531"/>
              <a:gd name="connsiteX78" fmla="*/ 1014412 w 1226344"/>
              <a:gd name="connsiteY78" fmla="*/ 583407 h 1202531"/>
              <a:gd name="connsiteX79" fmla="*/ 950119 w 1226344"/>
              <a:gd name="connsiteY79" fmla="*/ 578644 h 1202531"/>
              <a:gd name="connsiteX80" fmla="*/ 933450 w 1226344"/>
              <a:gd name="connsiteY80" fmla="*/ 561975 h 1202531"/>
              <a:gd name="connsiteX81" fmla="*/ 933450 w 1226344"/>
              <a:gd name="connsiteY81" fmla="*/ 547688 h 1202531"/>
              <a:gd name="connsiteX82" fmla="*/ 859631 w 1226344"/>
              <a:gd name="connsiteY82" fmla="*/ 511969 h 1202531"/>
              <a:gd name="connsiteX83" fmla="*/ 850106 w 1226344"/>
              <a:gd name="connsiteY83" fmla="*/ 492919 h 1202531"/>
              <a:gd name="connsiteX84" fmla="*/ 828675 w 1226344"/>
              <a:gd name="connsiteY84" fmla="*/ 476250 h 1202531"/>
              <a:gd name="connsiteX85" fmla="*/ 795337 w 1226344"/>
              <a:gd name="connsiteY85" fmla="*/ 478632 h 1202531"/>
              <a:gd name="connsiteX86" fmla="*/ 773906 w 1226344"/>
              <a:gd name="connsiteY86" fmla="*/ 471488 h 1202531"/>
              <a:gd name="connsiteX87" fmla="*/ 728662 w 1226344"/>
              <a:gd name="connsiteY87" fmla="*/ 428625 h 1202531"/>
              <a:gd name="connsiteX88" fmla="*/ 700087 w 1226344"/>
              <a:gd name="connsiteY88" fmla="*/ 421482 h 1202531"/>
              <a:gd name="connsiteX89" fmla="*/ 666750 w 1226344"/>
              <a:gd name="connsiteY89" fmla="*/ 383382 h 1202531"/>
              <a:gd name="connsiteX90" fmla="*/ 626269 w 1226344"/>
              <a:gd name="connsiteY90" fmla="*/ 369094 h 1202531"/>
              <a:gd name="connsiteX91" fmla="*/ 585787 w 1226344"/>
              <a:gd name="connsiteY91" fmla="*/ 335757 h 1202531"/>
              <a:gd name="connsiteX92" fmla="*/ 564356 w 1226344"/>
              <a:gd name="connsiteY92" fmla="*/ 311944 h 1202531"/>
              <a:gd name="connsiteX93" fmla="*/ 550069 w 1226344"/>
              <a:gd name="connsiteY93" fmla="*/ 330994 h 1202531"/>
              <a:gd name="connsiteX94" fmla="*/ 478631 w 1226344"/>
              <a:gd name="connsiteY94" fmla="*/ 328613 h 1202531"/>
              <a:gd name="connsiteX95" fmla="*/ 330994 w 1226344"/>
              <a:gd name="connsiteY95" fmla="*/ 230982 h 1202531"/>
              <a:gd name="connsiteX96" fmla="*/ 259556 w 1226344"/>
              <a:gd name="connsiteY96" fmla="*/ 254794 h 1202531"/>
              <a:gd name="connsiteX97" fmla="*/ 221456 w 1226344"/>
              <a:gd name="connsiteY97" fmla="*/ 245269 h 1202531"/>
              <a:gd name="connsiteX98" fmla="*/ 238125 w 1226344"/>
              <a:gd name="connsiteY98" fmla="*/ 150019 h 1202531"/>
              <a:gd name="connsiteX99" fmla="*/ 228600 w 1226344"/>
              <a:gd name="connsiteY99" fmla="*/ 95250 h 1202531"/>
              <a:gd name="connsiteX100" fmla="*/ 197644 w 1226344"/>
              <a:gd name="connsiteY100" fmla="*/ 78582 h 1202531"/>
              <a:gd name="connsiteX101" fmla="*/ 145256 w 1226344"/>
              <a:gd name="connsiteY101" fmla="*/ 0 h 1202531"/>
              <a:gd name="connsiteX102" fmla="*/ 88106 w 1226344"/>
              <a:gd name="connsiteY102" fmla="*/ 30957 h 1202531"/>
              <a:gd name="connsiteX103" fmla="*/ 83344 w 1226344"/>
              <a:gd name="connsiteY103" fmla="*/ 54769 h 1202531"/>
              <a:gd name="connsiteX104" fmla="*/ 90487 w 1226344"/>
              <a:gd name="connsiteY104" fmla="*/ 100013 h 1202531"/>
              <a:gd name="connsiteX105" fmla="*/ 71437 w 1226344"/>
              <a:gd name="connsiteY105" fmla="*/ 135732 h 1202531"/>
              <a:gd name="connsiteX106" fmla="*/ 66675 w 1226344"/>
              <a:gd name="connsiteY106" fmla="*/ 145257 h 1202531"/>
              <a:gd name="connsiteX107" fmla="*/ 97631 w 1226344"/>
              <a:gd name="connsiteY107" fmla="*/ 185738 h 1202531"/>
              <a:gd name="connsiteX108" fmla="*/ 83344 w 1226344"/>
              <a:gd name="connsiteY108" fmla="*/ 223838 h 1202531"/>
              <a:gd name="connsiteX109" fmla="*/ 59531 w 1226344"/>
              <a:gd name="connsiteY109" fmla="*/ 240507 h 1202531"/>
              <a:gd name="connsiteX110" fmla="*/ 69056 w 1226344"/>
              <a:gd name="connsiteY110" fmla="*/ 309563 h 1202531"/>
              <a:gd name="connsiteX111" fmla="*/ 92869 w 1226344"/>
              <a:gd name="connsiteY111" fmla="*/ 321469 h 1202531"/>
              <a:gd name="connsiteX112" fmla="*/ 85725 w 1226344"/>
              <a:gd name="connsiteY112" fmla="*/ 369094 h 1202531"/>
              <a:gd name="connsiteX113" fmla="*/ 42862 w 1226344"/>
              <a:gd name="connsiteY113" fmla="*/ 421482 h 1202531"/>
              <a:gd name="connsiteX114" fmla="*/ 0 w 1226344"/>
              <a:gd name="connsiteY114" fmla="*/ 452438 h 1202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226344" h="1202531">
                <a:moveTo>
                  <a:pt x="0" y="452438"/>
                </a:moveTo>
                <a:lnTo>
                  <a:pt x="28575" y="526257"/>
                </a:lnTo>
                <a:lnTo>
                  <a:pt x="73819" y="564357"/>
                </a:lnTo>
                <a:lnTo>
                  <a:pt x="109537" y="657225"/>
                </a:lnTo>
                <a:lnTo>
                  <a:pt x="128587" y="685800"/>
                </a:lnTo>
                <a:lnTo>
                  <a:pt x="142875" y="666750"/>
                </a:lnTo>
                <a:lnTo>
                  <a:pt x="142875" y="633413"/>
                </a:lnTo>
                <a:lnTo>
                  <a:pt x="180975" y="666750"/>
                </a:lnTo>
                <a:lnTo>
                  <a:pt x="240506" y="673894"/>
                </a:lnTo>
                <a:lnTo>
                  <a:pt x="271462" y="702469"/>
                </a:lnTo>
                <a:lnTo>
                  <a:pt x="326231" y="721519"/>
                </a:lnTo>
                <a:lnTo>
                  <a:pt x="338137" y="762000"/>
                </a:lnTo>
                <a:lnTo>
                  <a:pt x="321469" y="781050"/>
                </a:lnTo>
                <a:lnTo>
                  <a:pt x="311944" y="807244"/>
                </a:lnTo>
                <a:lnTo>
                  <a:pt x="266700" y="826294"/>
                </a:lnTo>
                <a:lnTo>
                  <a:pt x="219075" y="900113"/>
                </a:lnTo>
                <a:lnTo>
                  <a:pt x="204787" y="909638"/>
                </a:lnTo>
                <a:lnTo>
                  <a:pt x="192881" y="973932"/>
                </a:lnTo>
                <a:lnTo>
                  <a:pt x="152400" y="1042988"/>
                </a:lnTo>
                <a:lnTo>
                  <a:pt x="157162" y="1071563"/>
                </a:lnTo>
                <a:lnTo>
                  <a:pt x="204787" y="1083469"/>
                </a:lnTo>
                <a:lnTo>
                  <a:pt x="233362" y="1133475"/>
                </a:lnTo>
                <a:lnTo>
                  <a:pt x="247650" y="1133475"/>
                </a:lnTo>
                <a:lnTo>
                  <a:pt x="266700" y="1102519"/>
                </a:lnTo>
                <a:lnTo>
                  <a:pt x="257175" y="1081088"/>
                </a:lnTo>
                <a:lnTo>
                  <a:pt x="230981" y="1076325"/>
                </a:lnTo>
                <a:lnTo>
                  <a:pt x="230981" y="1052513"/>
                </a:lnTo>
                <a:lnTo>
                  <a:pt x="228600" y="1009650"/>
                </a:lnTo>
                <a:lnTo>
                  <a:pt x="216694" y="976313"/>
                </a:lnTo>
                <a:lnTo>
                  <a:pt x="223837" y="940594"/>
                </a:lnTo>
                <a:lnTo>
                  <a:pt x="266700" y="900113"/>
                </a:lnTo>
                <a:lnTo>
                  <a:pt x="278606" y="897732"/>
                </a:lnTo>
                <a:lnTo>
                  <a:pt x="290512" y="938213"/>
                </a:lnTo>
                <a:lnTo>
                  <a:pt x="302419" y="938213"/>
                </a:lnTo>
                <a:lnTo>
                  <a:pt x="321469" y="962025"/>
                </a:lnTo>
                <a:lnTo>
                  <a:pt x="338137" y="957263"/>
                </a:lnTo>
                <a:lnTo>
                  <a:pt x="359569" y="942975"/>
                </a:lnTo>
                <a:lnTo>
                  <a:pt x="483394" y="954882"/>
                </a:lnTo>
                <a:lnTo>
                  <a:pt x="516731" y="947738"/>
                </a:lnTo>
                <a:lnTo>
                  <a:pt x="545306" y="964407"/>
                </a:lnTo>
                <a:lnTo>
                  <a:pt x="561975" y="978694"/>
                </a:lnTo>
                <a:lnTo>
                  <a:pt x="604837" y="981075"/>
                </a:lnTo>
                <a:lnTo>
                  <a:pt x="640556" y="1021557"/>
                </a:lnTo>
                <a:lnTo>
                  <a:pt x="659606" y="1019175"/>
                </a:lnTo>
                <a:lnTo>
                  <a:pt x="702469" y="976313"/>
                </a:lnTo>
                <a:lnTo>
                  <a:pt x="735806" y="1000125"/>
                </a:lnTo>
                <a:lnTo>
                  <a:pt x="752475" y="1023938"/>
                </a:lnTo>
                <a:lnTo>
                  <a:pt x="785812" y="1021557"/>
                </a:lnTo>
                <a:lnTo>
                  <a:pt x="819150" y="1042988"/>
                </a:lnTo>
                <a:lnTo>
                  <a:pt x="823912" y="1064419"/>
                </a:lnTo>
                <a:lnTo>
                  <a:pt x="842962" y="1066800"/>
                </a:lnTo>
                <a:lnTo>
                  <a:pt x="904875" y="1073944"/>
                </a:lnTo>
                <a:lnTo>
                  <a:pt x="933450" y="1112044"/>
                </a:lnTo>
                <a:lnTo>
                  <a:pt x="938212" y="1140619"/>
                </a:lnTo>
                <a:lnTo>
                  <a:pt x="940594" y="1152525"/>
                </a:lnTo>
                <a:lnTo>
                  <a:pt x="954882" y="1200150"/>
                </a:lnTo>
                <a:lnTo>
                  <a:pt x="990599" y="1202531"/>
                </a:lnTo>
                <a:lnTo>
                  <a:pt x="1042987" y="1150144"/>
                </a:lnTo>
                <a:lnTo>
                  <a:pt x="1071562" y="1069182"/>
                </a:lnTo>
                <a:lnTo>
                  <a:pt x="1062037" y="1045369"/>
                </a:lnTo>
                <a:lnTo>
                  <a:pt x="1059656" y="1012032"/>
                </a:lnTo>
                <a:lnTo>
                  <a:pt x="1066800" y="992982"/>
                </a:lnTo>
                <a:lnTo>
                  <a:pt x="1083469" y="973932"/>
                </a:lnTo>
                <a:lnTo>
                  <a:pt x="1107281" y="964407"/>
                </a:lnTo>
                <a:lnTo>
                  <a:pt x="1133475" y="921544"/>
                </a:lnTo>
                <a:lnTo>
                  <a:pt x="1150144" y="921544"/>
                </a:lnTo>
                <a:lnTo>
                  <a:pt x="1197769" y="940594"/>
                </a:lnTo>
                <a:lnTo>
                  <a:pt x="1226344" y="904875"/>
                </a:lnTo>
                <a:lnTo>
                  <a:pt x="1195387" y="852488"/>
                </a:lnTo>
                <a:lnTo>
                  <a:pt x="1159669" y="804863"/>
                </a:lnTo>
                <a:lnTo>
                  <a:pt x="1162050" y="762000"/>
                </a:lnTo>
                <a:lnTo>
                  <a:pt x="1216819" y="702469"/>
                </a:lnTo>
                <a:lnTo>
                  <a:pt x="1219200" y="676275"/>
                </a:lnTo>
                <a:lnTo>
                  <a:pt x="1181100" y="661988"/>
                </a:lnTo>
                <a:lnTo>
                  <a:pt x="1150144" y="635794"/>
                </a:lnTo>
                <a:lnTo>
                  <a:pt x="1133475" y="602457"/>
                </a:lnTo>
                <a:lnTo>
                  <a:pt x="1083469" y="604838"/>
                </a:lnTo>
                <a:lnTo>
                  <a:pt x="1033462" y="604838"/>
                </a:lnTo>
                <a:lnTo>
                  <a:pt x="1014412" y="583407"/>
                </a:lnTo>
                <a:lnTo>
                  <a:pt x="950119" y="578644"/>
                </a:lnTo>
                <a:lnTo>
                  <a:pt x="933450" y="561975"/>
                </a:lnTo>
                <a:lnTo>
                  <a:pt x="933450" y="547688"/>
                </a:lnTo>
                <a:lnTo>
                  <a:pt x="859631" y="511969"/>
                </a:lnTo>
                <a:lnTo>
                  <a:pt x="850106" y="492919"/>
                </a:lnTo>
                <a:lnTo>
                  <a:pt x="828675" y="476250"/>
                </a:lnTo>
                <a:lnTo>
                  <a:pt x="795337" y="478632"/>
                </a:lnTo>
                <a:lnTo>
                  <a:pt x="773906" y="471488"/>
                </a:lnTo>
                <a:lnTo>
                  <a:pt x="728662" y="428625"/>
                </a:lnTo>
                <a:lnTo>
                  <a:pt x="700087" y="421482"/>
                </a:lnTo>
                <a:lnTo>
                  <a:pt x="666750" y="383382"/>
                </a:lnTo>
                <a:lnTo>
                  <a:pt x="626269" y="369094"/>
                </a:lnTo>
                <a:lnTo>
                  <a:pt x="585787" y="335757"/>
                </a:lnTo>
                <a:lnTo>
                  <a:pt x="564356" y="311944"/>
                </a:lnTo>
                <a:lnTo>
                  <a:pt x="550069" y="330994"/>
                </a:lnTo>
                <a:lnTo>
                  <a:pt x="478631" y="328613"/>
                </a:lnTo>
                <a:lnTo>
                  <a:pt x="330994" y="230982"/>
                </a:lnTo>
                <a:lnTo>
                  <a:pt x="259556" y="254794"/>
                </a:lnTo>
                <a:lnTo>
                  <a:pt x="221456" y="245269"/>
                </a:lnTo>
                <a:lnTo>
                  <a:pt x="238125" y="150019"/>
                </a:lnTo>
                <a:lnTo>
                  <a:pt x="228600" y="95250"/>
                </a:lnTo>
                <a:lnTo>
                  <a:pt x="197644" y="78582"/>
                </a:lnTo>
                <a:lnTo>
                  <a:pt x="145256" y="0"/>
                </a:lnTo>
                <a:lnTo>
                  <a:pt x="88106" y="30957"/>
                </a:lnTo>
                <a:lnTo>
                  <a:pt x="83344" y="54769"/>
                </a:lnTo>
                <a:lnTo>
                  <a:pt x="90487" y="100013"/>
                </a:lnTo>
                <a:lnTo>
                  <a:pt x="71437" y="135732"/>
                </a:lnTo>
                <a:lnTo>
                  <a:pt x="66675" y="145257"/>
                </a:lnTo>
                <a:lnTo>
                  <a:pt x="97631" y="185738"/>
                </a:lnTo>
                <a:lnTo>
                  <a:pt x="83344" y="223838"/>
                </a:lnTo>
                <a:lnTo>
                  <a:pt x="59531" y="240507"/>
                </a:lnTo>
                <a:lnTo>
                  <a:pt x="69056" y="309563"/>
                </a:lnTo>
                <a:lnTo>
                  <a:pt x="92869" y="321469"/>
                </a:lnTo>
                <a:lnTo>
                  <a:pt x="85725" y="369094"/>
                </a:lnTo>
                <a:lnTo>
                  <a:pt x="42862" y="421482"/>
                </a:lnTo>
                <a:lnTo>
                  <a:pt x="0" y="452438"/>
                </a:lnTo>
                <a:close/>
              </a:path>
            </a:pathLst>
          </a:custGeom>
          <a:solidFill>
            <a:srgbClr val="FFC0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1095375" y="1991790"/>
            <a:ext cx="1377950" cy="1289049"/>
          </a:xfrm>
          <a:custGeom>
            <a:avLst/>
            <a:gdLst>
              <a:gd name="connsiteX0" fmla="*/ 783432 w 1378744"/>
              <a:gd name="connsiteY0" fmla="*/ 0 h 1138237"/>
              <a:gd name="connsiteX1" fmla="*/ 738188 w 1378744"/>
              <a:gd name="connsiteY1" fmla="*/ 26193 h 1138237"/>
              <a:gd name="connsiteX2" fmla="*/ 685800 w 1378744"/>
              <a:gd name="connsiteY2" fmla="*/ 28575 h 1138237"/>
              <a:gd name="connsiteX3" fmla="*/ 635794 w 1378744"/>
              <a:gd name="connsiteY3" fmla="*/ 73818 h 1138237"/>
              <a:gd name="connsiteX4" fmla="*/ 633413 w 1378744"/>
              <a:gd name="connsiteY4" fmla="*/ 114300 h 1138237"/>
              <a:gd name="connsiteX5" fmla="*/ 561975 w 1378744"/>
              <a:gd name="connsiteY5" fmla="*/ 190500 h 1138237"/>
              <a:gd name="connsiteX6" fmla="*/ 519113 w 1378744"/>
              <a:gd name="connsiteY6" fmla="*/ 214312 h 1138237"/>
              <a:gd name="connsiteX7" fmla="*/ 485775 w 1378744"/>
              <a:gd name="connsiteY7" fmla="*/ 252412 h 1138237"/>
              <a:gd name="connsiteX8" fmla="*/ 461963 w 1378744"/>
              <a:gd name="connsiteY8" fmla="*/ 273843 h 1138237"/>
              <a:gd name="connsiteX9" fmla="*/ 423863 w 1378744"/>
              <a:gd name="connsiteY9" fmla="*/ 333375 h 1138237"/>
              <a:gd name="connsiteX10" fmla="*/ 378619 w 1378744"/>
              <a:gd name="connsiteY10" fmla="*/ 357187 h 1138237"/>
              <a:gd name="connsiteX11" fmla="*/ 292894 w 1378744"/>
              <a:gd name="connsiteY11" fmla="*/ 376237 h 1138237"/>
              <a:gd name="connsiteX12" fmla="*/ 264319 w 1378744"/>
              <a:gd name="connsiteY12" fmla="*/ 373856 h 1138237"/>
              <a:gd name="connsiteX13" fmla="*/ 240507 w 1378744"/>
              <a:gd name="connsiteY13" fmla="*/ 359568 h 1138237"/>
              <a:gd name="connsiteX14" fmla="*/ 226219 w 1378744"/>
              <a:gd name="connsiteY14" fmla="*/ 338137 h 1138237"/>
              <a:gd name="connsiteX15" fmla="*/ 219075 w 1378744"/>
              <a:gd name="connsiteY15" fmla="*/ 311943 h 1138237"/>
              <a:gd name="connsiteX16" fmla="*/ 204788 w 1378744"/>
              <a:gd name="connsiteY16" fmla="*/ 309562 h 1138237"/>
              <a:gd name="connsiteX17" fmla="*/ 188119 w 1378744"/>
              <a:gd name="connsiteY17" fmla="*/ 304800 h 1138237"/>
              <a:gd name="connsiteX18" fmla="*/ 173832 w 1378744"/>
              <a:gd name="connsiteY18" fmla="*/ 302418 h 1138237"/>
              <a:gd name="connsiteX19" fmla="*/ 128588 w 1378744"/>
              <a:gd name="connsiteY19" fmla="*/ 352425 h 1138237"/>
              <a:gd name="connsiteX20" fmla="*/ 97632 w 1378744"/>
              <a:gd name="connsiteY20" fmla="*/ 371475 h 1138237"/>
              <a:gd name="connsiteX21" fmla="*/ 80963 w 1378744"/>
              <a:gd name="connsiteY21" fmla="*/ 390525 h 1138237"/>
              <a:gd name="connsiteX22" fmla="*/ 66675 w 1378744"/>
              <a:gd name="connsiteY22" fmla="*/ 435768 h 1138237"/>
              <a:gd name="connsiteX23" fmla="*/ 54769 w 1378744"/>
              <a:gd name="connsiteY23" fmla="*/ 447675 h 1138237"/>
              <a:gd name="connsiteX24" fmla="*/ 9525 w 1378744"/>
              <a:gd name="connsiteY24" fmla="*/ 466725 h 1138237"/>
              <a:gd name="connsiteX25" fmla="*/ 2382 w 1378744"/>
              <a:gd name="connsiteY25" fmla="*/ 481012 h 1138237"/>
              <a:gd name="connsiteX26" fmla="*/ 4763 w 1378744"/>
              <a:gd name="connsiteY26" fmla="*/ 533400 h 1138237"/>
              <a:gd name="connsiteX27" fmla="*/ 0 w 1378744"/>
              <a:gd name="connsiteY27" fmla="*/ 545306 h 1138237"/>
              <a:gd name="connsiteX28" fmla="*/ 73819 w 1378744"/>
              <a:gd name="connsiteY28" fmla="*/ 588168 h 1138237"/>
              <a:gd name="connsiteX29" fmla="*/ 90488 w 1378744"/>
              <a:gd name="connsiteY29" fmla="*/ 628650 h 1138237"/>
              <a:gd name="connsiteX30" fmla="*/ 83344 w 1378744"/>
              <a:gd name="connsiteY30" fmla="*/ 654843 h 1138237"/>
              <a:gd name="connsiteX31" fmla="*/ 73819 w 1378744"/>
              <a:gd name="connsiteY31" fmla="*/ 697706 h 1138237"/>
              <a:gd name="connsiteX32" fmla="*/ 78582 w 1378744"/>
              <a:gd name="connsiteY32" fmla="*/ 726281 h 1138237"/>
              <a:gd name="connsiteX33" fmla="*/ 95250 w 1378744"/>
              <a:gd name="connsiteY33" fmla="*/ 738187 h 1138237"/>
              <a:gd name="connsiteX34" fmla="*/ 116682 w 1378744"/>
              <a:gd name="connsiteY34" fmla="*/ 735806 h 1138237"/>
              <a:gd name="connsiteX35" fmla="*/ 123825 w 1378744"/>
              <a:gd name="connsiteY35" fmla="*/ 762000 h 1138237"/>
              <a:gd name="connsiteX36" fmla="*/ 126207 w 1378744"/>
              <a:gd name="connsiteY36" fmla="*/ 783431 h 1138237"/>
              <a:gd name="connsiteX37" fmla="*/ 152400 w 1378744"/>
              <a:gd name="connsiteY37" fmla="*/ 812006 h 1138237"/>
              <a:gd name="connsiteX38" fmla="*/ 164307 w 1378744"/>
              <a:gd name="connsiteY38" fmla="*/ 823912 h 1138237"/>
              <a:gd name="connsiteX39" fmla="*/ 173832 w 1378744"/>
              <a:gd name="connsiteY39" fmla="*/ 850106 h 1138237"/>
              <a:gd name="connsiteX40" fmla="*/ 169069 w 1378744"/>
              <a:gd name="connsiteY40" fmla="*/ 878681 h 1138237"/>
              <a:gd name="connsiteX41" fmla="*/ 176213 w 1378744"/>
              <a:gd name="connsiteY41" fmla="*/ 897731 h 1138237"/>
              <a:gd name="connsiteX42" fmla="*/ 200025 w 1378744"/>
              <a:gd name="connsiteY42" fmla="*/ 916781 h 1138237"/>
              <a:gd name="connsiteX43" fmla="*/ 226219 w 1378744"/>
              <a:gd name="connsiteY43" fmla="*/ 916781 h 1138237"/>
              <a:gd name="connsiteX44" fmla="*/ 300038 w 1378744"/>
              <a:gd name="connsiteY44" fmla="*/ 921543 h 1138237"/>
              <a:gd name="connsiteX45" fmla="*/ 395288 w 1378744"/>
              <a:gd name="connsiteY45" fmla="*/ 952500 h 1138237"/>
              <a:gd name="connsiteX46" fmla="*/ 414338 w 1378744"/>
              <a:gd name="connsiteY46" fmla="*/ 988218 h 1138237"/>
              <a:gd name="connsiteX47" fmla="*/ 435769 w 1378744"/>
              <a:gd name="connsiteY47" fmla="*/ 992981 h 1138237"/>
              <a:gd name="connsiteX48" fmla="*/ 464344 w 1378744"/>
              <a:gd name="connsiteY48" fmla="*/ 995362 h 1138237"/>
              <a:gd name="connsiteX49" fmla="*/ 507207 w 1378744"/>
              <a:gd name="connsiteY49" fmla="*/ 1026318 h 1138237"/>
              <a:gd name="connsiteX50" fmla="*/ 521494 w 1378744"/>
              <a:gd name="connsiteY50" fmla="*/ 1069181 h 1138237"/>
              <a:gd name="connsiteX51" fmla="*/ 545307 w 1378744"/>
              <a:gd name="connsiteY51" fmla="*/ 1107281 h 1138237"/>
              <a:gd name="connsiteX52" fmla="*/ 573882 w 1378744"/>
              <a:gd name="connsiteY52" fmla="*/ 1121568 h 1138237"/>
              <a:gd name="connsiteX53" fmla="*/ 585788 w 1378744"/>
              <a:gd name="connsiteY53" fmla="*/ 1131093 h 1138237"/>
              <a:gd name="connsiteX54" fmla="*/ 814388 w 1378744"/>
              <a:gd name="connsiteY54" fmla="*/ 1138237 h 1138237"/>
              <a:gd name="connsiteX55" fmla="*/ 828675 w 1378744"/>
              <a:gd name="connsiteY55" fmla="*/ 1109662 h 1138237"/>
              <a:gd name="connsiteX56" fmla="*/ 833438 w 1378744"/>
              <a:gd name="connsiteY56" fmla="*/ 1085850 h 1138237"/>
              <a:gd name="connsiteX57" fmla="*/ 797719 w 1378744"/>
              <a:gd name="connsiteY57" fmla="*/ 1059656 h 1138237"/>
              <a:gd name="connsiteX58" fmla="*/ 790575 w 1378744"/>
              <a:gd name="connsiteY58" fmla="*/ 1038225 h 1138237"/>
              <a:gd name="connsiteX59" fmla="*/ 790575 w 1378744"/>
              <a:gd name="connsiteY59" fmla="*/ 1021556 h 1138237"/>
              <a:gd name="connsiteX60" fmla="*/ 845344 w 1378744"/>
              <a:gd name="connsiteY60" fmla="*/ 952500 h 1138237"/>
              <a:gd name="connsiteX61" fmla="*/ 845344 w 1378744"/>
              <a:gd name="connsiteY61" fmla="*/ 952500 h 1138237"/>
              <a:gd name="connsiteX62" fmla="*/ 888207 w 1378744"/>
              <a:gd name="connsiteY62" fmla="*/ 966787 h 1138237"/>
              <a:gd name="connsiteX63" fmla="*/ 907257 w 1378744"/>
              <a:gd name="connsiteY63" fmla="*/ 981075 h 1138237"/>
              <a:gd name="connsiteX64" fmla="*/ 938213 w 1378744"/>
              <a:gd name="connsiteY64" fmla="*/ 990600 h 1138237"/>
              <a:gd name="connsiteX65" fmla="*/ 964407 w 1378744"/>
              <a:gd name="connsiteY65" fmla="*/ 985837 h 1138237"/>
              <a:gd name="connsiteX66" fmla="*/ 985838 w 1378744"/>
              <a:gd name="connsiteY66" fmla="*/ 985837 h 1138237"/>
              <a:gd name="connsiteX67" fmla="*/ 995363 w 1378744"/>
              <a:gd name="connsiteY67" fmla="*/ 995362 h 1138237"/>
              <a:gd name="connsiteX68" fmla="*/ 978694 w 1378744"/>
              <a:gd name="connsiteY68" fmla="*/ 1012031 h 1138237"/>
              <a:gd name="connsiteX69" fmla="*/ 969169 w 1378744"/>
              <a:gd name="connsiteY69" fmla="*/ 1031081 h 1138237"/>
              <a:gd name="connsiteX70" fmla="*/ 954882 w 1378744"/>
              <a:gd name="connsiteY70" fmla="*/ 1054893 h 1138237"/>
              <a:gd name="connsiteX71" fmla="*/ 950119 w 1378744"/>
              <a:gd name="connsiteY71" fmla="*/ 1083468 h 1138237"/>
              <a:gd name="connsiteX72" fmla="*/ 962025 w 1378744"/>
              <a:gd name="connsiteY72" fmla="*/ 1107281 h 1138237"/>
              <a:gd name="connsiteX73" fmla="*/ 983457 w 1378744"/>
              <a:gd name="connsiteY73" fmla="*/ 1131093 h 1138237"/>
              <a:gd name="connsiteX74" fmla="*/ 1002507 w 1378744"/>
              <a:gd name="connsiteY74" fmla="*/ 1133475 h 1138237"/>
              <a:gd name="connsiteX75" fmla="*/ 1028700 w 1378744"/>
              <a:gd name="connsiteY75" fmla="*/ 1126331 h 1138237"/>
              <a:gd name="connsiteX76" fmla="*/ 1031082 w 1378744"/>
              <a:gd name="connsiteY76" fmla="*/ 1097756 h 1138237"/>
              <a:gd name="connsiteX77" fmla="*/ 1057275 w 1378744"/>
              <a:gd name="connsiteY77" fmla="*/ 1085850 h 1138237"/>
              <a:gd name="connsiteX78" fmla="*/ 1076325 w 1378744"/>
              <a:gd name="connsiteY78" fmla="*/ 1097756 h 1138237"/>
              <a:gd name="connsiteX79" fmla="*/ 1100138 w 1378744"/>
              <a:gd name="connsiteY79" fmla="*/ 1107281 h 1138237"/>
              <a:gd name="connsiteX80" fmla="*/ 1123950 w 1378744"/>
              <a:gd name="connsiteY80" fmla="*/ 1121568 h 1138237"/>
              <a:gd name="connsiteX81" fmla="*/ 1143000 w 1378744"/>
              <a:gd name="connsiteY81" fmla="*/ 1123950 h 1138237"/>
              <a:gd name="connsiteX82" fmla="*/ 1157288 w 1378744"/>
              <a:gd name="connsiteY82" fmla="*/ 1112043 h 1138237"/>
              <a:gd name="connsiteX83" fmla="*/ 1159669 w 1378744"/>
              <a:gd name="connsiteY83" fmla="*/ 1085850 h 1138237"/>
              <a:gd name="connsiteX84" fmla="*/ 1166813 w 1378744"/>
              <a:gd name="connsiteY84" fmla="*/ 1052512 h 1138237"/>
              <a:gd name="connsiteX85" fmla="*/ 1197769 w 1378744"/>
              <a:gd name="connsiteY85" fmla="*/ 1016793 h 1138237"/>
              <a:gd name="connsiteX86" fmla="*/ 1195388 w 1378744"/>
              <a:gd name="connsiteY86" fmla="*/ 954881 h 1138237"/>
              <a:gd name="connsiteX87" fmla="*/ 1209675 w 1378744"/>
              <a:gd name="connsiteY87" fmla="*/ 945356 h 1138237"/>
              <a:gd name="connsiteX88" fmla="*/ 1235869 w 1378744"/>
              <a:gd name="connsiteY88" fmla="*/ 945356 h 1138237"/>
              <a:gd name="connsiteX89" fmla="*/ 1235869 w 1378744"/>
              <a:gd name="connsiteY89" fmla="*/ 931068 h 1138237"/>
              <a:gd name="connsiteX90" fmla="*/ 1212057 w 1378744"/>
              <a:gd name="connsiteY90" fmla="*/ 912018 h 1138237"/>
              <a:gd name="connsiteX91" fmla="*/ 1195388 w 1378744"/>
              <a:gd name="connsiteY91" fmla="*/ 881062 h 1138237"/>
              <a:gd name="connsiteX92" fmla="*/ 1157288 w 1378744"/>
              <a:gd name="connsiteY92" fmla="*/ 871537 h 1138237"/>
              <a:gd name="connsiteX93" fmla="*/ 1119188 w 1378744"/>
              <a:gd name="connsiteY93" fmla="*/ 859631 h 1138237"/>
              <a:gd name="connsiteX94" fmla="*/ 1119188 w 1378744"/>
              <a:gd name="connsiteY94" fmla="*/ 831056 h 1138237"/>
              <a:gd name="connsiteX95" fmla="*/ 1135857 w 1378744"/>
              <a:gd name="connsiteY95" fmla="*/ 807243 h 1138237"/>
              <a:gd name="connsiteX96" fmla="*/ 1197769 w 1378744"/>
              <a:gd name="connsiteY96" fmla="*/ 759618 h 1138237"/>
              <a:gd name="connsiteX97" fmla="*/ 1247775 w 1378744"/>
              <a:gd name="connsiteY97" fmla="*/ 762000 h 1138237"/>
              <a:gd name="connsiteX98" fmla="*/ 1278732 w 1378744"/>
              <a:gd name="connsiteY98" fmla="*/ 762000 h 1138237"/>
              <a:gd name="connsiteX99" fmla="*/ 1271588 w 1378744"/>
              <a:gd name="connsiteY99" fmla="*/ 735806 h 1138237"/>
              <a:gd name="connsiteX100" fmla="*/ 1378744 w 1378744"/>
              <a:gd name="connsiteY100" fmla="*/ 678656 h 1138237"/>
              <a:gd name="connsiteX101" fmla="*/ 1331119 w 1378744"/>
              <a:gd name="connsiteY101" fmla="*/ 552450 h 1138237"/>
              <a:gd name="connsiteX102" fmla="*/ 1278732 w 1378744"/>
              <a:gd name="connsiteY102" fmla="*/ 514350 h 1138237"/>
              <a:gd name="connsiteX103" fmla="*/ 1252538 w 1378744"/>
              <a:gd name="connsiteY103" fmla="*/ 431006 h 1138237"/>
              <a:gd name="connsiteX104" fmla="*/ 1181100 w 1378744"/>
              <a:gd name="connsiteY104" fmla="*/ 431006 h 1138237"/>
              <a:gd name="connsiteX105" fmla="*/ 1166813 w 1378744"/>
              <a:gd name="connsiteY105" fmla="*/ 395287 h 1138237"/>
              <a:gd name="connsiteX106" fmla="*/ 1107282 w 1378744"/>
              <a:gd name="connsiteY106" fmla="*/ 421481 h 1138237"/>
              <a:gd name="connsiteX107" fmla="*/ 1054894 w 1378744"/>
              <a:gd name="connsiteY107" fmla="*/ 414337 h 1138237"/>
              <a:gd name="connsiteX108" fmla="*/ 1028700 w 1378744"/>
              <a:gd name="connsiteY108" fmla="*/ 371475 h 1138237"/>
              <a:gd name="connsiteX109" fmla="*/ 1023938 w 1378744"/>
              <a:gd name="connsiteY109" fmla="*/ 288131 h 1138237"/>
              <a:gd name="connsiteX110" fmla="*/ 1012032 w 1378744"/>
              <a:gd name="connsiteY110" fmla="*/ 269081 h 1138237"/>
              <a:gd name="connsiteX111" fmla="*/ 1012032 w 1378744"/>
              <a:gd name="connsiteY111" fmla="*/ 211931 h 1138237"/>
              <a:gd name="connsiteX112" fmla="*/ 959644 w 1378744"/>
              <a:gd name="connsiteY112" fmla="*/ 190500 h 1138237"/>
              <a:gd name="connsiteX113" fmla="*/ 914400 w 1378744"/>
              <a:gd name="connsiteY113" fmla="*/ 111918 h 1138237"/>
              <a:gd name="connsiteX114" fmla="*/ 854869 w 1378744"/>
              <a:gd name="connsiteY114" fmla="*/ 76200 h 1138237"/>
              <a:gd name="connsiteX115" fmla="*/ 873919 w 1378744"/>
              <a:gd name="connsiteY115" fmla="*/ 16668 h 1138237"/>
              <a:gd name="connsiteX116" fmla="*/ 783432 w 1378744"/>
              <a:gd name="connsiteY116" fmla="*/ 0 h 1138237"/>
              <a:gd name="connsiteX0" fmla="*/ 783432 w 1378744"/>
              <a:gd name="connsiteY0" fmla="*/ 0 h 1138237"/>
              <a:gd name="connsiteX1" fmla="*/ 738188 w 1378744"/>
              <a:gd name="connsiteY1" fmla="*/ 26193 h 1138237"/>
              <a:gd name="connsiteX2" fmla="*/ 685800 w 1378744"/>
              <a:gd name="connsiteY2" fmla="*/ 28575 h 1138237"/>
              <a:gd name="connsiteX3" fmla="*/ 635794 w 1378744"/>
              <a:gd name="connsiteY3" fmla="*/ 73818 h 1138237"/>
              <a:gd name="connsiteX4" fmla="*/ 633413 w 1378744"/>
              <a:gd name="connsiteY4" fmla="*/ 114300 h 1138237"/>
              <a:gd name="connsiteX5" fmla="*/ 561975 w 1378744"/>
              <a:gd name="connsiteY5" fmla="*/ 190500 h 1138237"/>
              <a:gd name="connsiteX6" fmla="*/ 519113 w 1378744"/>
              <a:gd name="connsiteY6" fmla="*/ 214312 h 1138237"/>
              <a:gd name="connsiteX7" fmla="*/ 485775 w 1378744"/>
              <a:gd name="connsiteY7" fmla="*/ 252412 h 1138237"/>
              <a:gd name="connsiteX8" fmla="*/ 461963 w 1378744"/>
              <a:gd name="connsiteY8" fmla="*/ 273843 h 1138237"/>
              <a:gd name="connsiteX9" fmla="*/ 423863 w 1378744"/>
              <a:gd name="connsiteY9" fmla="*/ 333375 h 1138237"/>
              <a:gd name="connsiteX10" fmla="*/ 378619 w 1378744"/>
              <a:gd name="connsiteY10" fmla="*/ 357187 h 1138237"/>
              <a:gd name="connsiteX11" fmla="*/ 292894 w 1378744"/>
              <a:gd name="connsiteY11" fmla="*/ 376237 h 1138237"/>
              <a:gd name="connsiteX12" fmla="*/ 264319 w 1378744"/>
              <a:gd name="connsiteY12" fmla="*/ 373856 h 1138237"/>
              <a:gd name="connsiteX13" fmla="*/ 240507 w 1378744"/>
              <a:gd name="connsiteY13" fmla="*/ 359568 h 1138237"/>
              <a:gd name="connsiteX14" fmla="*/ 226219 w 1378744"/>
              <a:gd name="connsiteY14" fmla="*/ 338137 h 1138237"/>
              <a:gd name="connsiteX15" fmla="*/ 219075 w 1378744"/>
              <a:gd name="connsiteY15" fmla="*/ 311943 h 1138237"/>
              <a:gd name="connsiteX16" fmla="*/ 204788 w 1378744"/>
              <a:gd name="connsiteY16" fmla="*/ 309562 h 1138237"/>
              <a:gd name="connsiteX17" fmla="*/ 188119 w 1378744"/>
              <a:gd name="connsiteY17" fmla="*/ 304800 h 1138237"/>
              <a:gd name="connsiteX18" fmla="*/ 173832 w 1378744"/>
              <a:gd name="connsiteY18" fmla="*/ 302418 h 1138237"/>
              <a:gd name="connsiteX19" fmla="*/ 128588 w 1378744"/>
              <a:gd name="connsiteY19" fmla="*/ 352425 h 1138237"/>
              <a:gd name="connsiteX20" fmla="*/ 97632 w 1378744"/>
              <a:gd name="connsiteY20" fmla="*/ 371475 h 1138237"/>
              <a:gd name="connsiteX21" fmla="*/ 80963 w 1378744"/>
              <a:gd name="connsiteY21" fmla="*/ 390525 h 1138237"/>
              <a:gd name="connsiteX22" fmla="*/ 66675 w 1378744"/>
              <a:gd name="connsiteY22" fmla="*/ 435768 h 1138237"/>
              <a:gd name="connsiteX23" fmla="*/ 54769 w 1378744"/>
              <a:gd name="connsiteY23" fmla="*/ 447675 h 1138237"/>
              <a:gd name="connsiteX24" fmla="*/ 9525 w 1378744"/>
              <a:gd name="connsiteY24" fmla="*/ 466725 h 1138237"/>
              <a:gd name="connsiteX25" fmla="*/ 2382 w 1378744"/>
              <a:gd name="connsiteY25" fmla="*/ 481012 h 1138237"/>
              <a:gd name="connsiteX26" fmla="*/ 4763 w 1378744"/>
              <a:gd name="connsiteY26" fmla="*/ 533400 h 1138237"/>
              <a:gd name="connsiteX27" fmla="*/ 0 w 1378744"/>
              <a:gd name="connsiteY27" fmla="*/ 545306 h 1138237"/>
              <a:gd name="connsiteX28" fmla="*/ 73819 w 1378744"/>
              <a:gd name="connsiteY28" fmla="*/ 588168 h 1138237"/>
              <a:gd name="connsiteX29" fmla="*/ 90488 w 1378744"/>
              <a:gd name="connsiteY29" fmla="*/ 628650 h 1138237"/>
              <a:gd name="connsiteX30" fmla="*/ 83344 w 1378744"/>
              <a:gd name="connsiteY30" fmla="*/ 654843 h 1138237"/>
              <a:gd name="connsiteX31" fmla="*/ 73819 w 1378744"/>
              <a:gd name="connsiteY31" fmla="*/ 697706 h 1138237"/>
              <a:gd name="connsiteX32" fmla="*/ 78582 w 1378744"/>
              <a:gd name="connsiteY32" fmla="*/ 726281 h 1138237"/>
              <a:gd name="connsiteX33" fmla="*/ 95250 w 1378744"/>
              <a:gd name="connsiteY33" fmla="*/ 738187 h 1138237"/>
              <a:gd name="connsiteX34" fmla="*/ 116682 w 1378744"/>
              <a:gd name="connsiteY34" fmla="*/ 735806 h 1138237"/>
              <a:gd name="connsiteX35" fmla="*/ 123825 w 1378744"/>
              <a:gd name="connsiteY35" fmla="*/ 762000 h 1138237"/>
              <a:gd name="connsiteX36" fmla="*/ 126207 w 1378744"/>
              <a:gd name="connsiteY36" fmla="*/ 783431 h 1138237"/>
              <a:gd name="connsiteX37" fmla="*/ 152400 w 1378744"/>
              <a:gd name="connsiteY37" fmla="*/ 812006 h 1138237"/>
              <a:gd name="connsiteX38" fmla="*/ 164307 w 1378744"/>
              <a:gd name="connsiteY38" fmla="*/ 823912 h 1138237"/>
              <a:gd name="connsiteX39" fmla="*/ 173832 w 1378744"/>
              <a:gd name="connsiteY39" fmla="*/ 850106 h 1138237"/>
              <a:gd name="connsiteX40" fmla="*/ 169069 w 1378744"/>
              <a:gd name="connsiteY40" fmla="*/ 878681 h 1138237"/>
              <a:gd name="connsiteX41" fmla="*/ 176213 w 1378744"/>
              <a:gd name="connsiteY41" fmla="*/ 897731 h 1138237"/>
              <a:gd name="connsiteX42" fmla="*/ 200025 w 1378744"/>
              <a:gd name="connsiteY42" fmla="*/ 916781 h 1138237"/>
              <a:gd name="connsiteX43" fmla="*/ 226219 w 1378744"/>
              <a:gd name="connsiteY43" fmla="*/ 916781 h 1138237"/>
              <a:gd name="connsiteX44" fmla="*/ 300038 w 1378744"/>
              <a:gd name="connsiteY44" fmla="*/ 921543 h 1138237"/>
              <a:gd name="connsiteX45" fmla="*/ 395288 w 1378744"/>
              <a:gd name="connsiteY45" fmla="*/ 952500 h 1138237"/>
              <a:gd name="connsiteX46" fmla="*/ 414338 w 1378744"/>
              <a:gd name="connsiteY46" fmla="*/ 988218 h 1138237"/>
              <a:gd name="connsiteX47" fmla="*/ 435769 w 1378744"/>
              <a:gd name="connsiteY47" fmla="*/ 992981 h 1138237"/>
              <a:gd name="connsiteX48" fmla="*/ 464344 w 1378744"/>
              <a:gd name="connsiteY48" fmla="*/ 995362 h 1138237"/>
              <a:gd name="connsiteX49" fmla="*/ 507207 w 1378744"/>
              <a:gd name="connsiteY49" fmla="*/ 1026318 h 1138237"/>
              <a:gd name="connsiteX50" fmla="*/ 521494 w 1378744"/>
              <a:gd name="connsiteY50" fmla="*/ 1069181 h 1138237"/>
              <a:gd name="connsiteX51" fmla="*/ 545307 w 1378744"/>
              <a:gd name="connsiteY51" fmla="*/ 1107281 h 1138237"/>
              <a:gd name="connsiteX52" fmla="*/ 573882 w 1378744"/>
              <a:gd name="connsiteY52" fmla="*/ 1121568 h 1138237"/>
              <a:gd name="connsiteX53" fmla="*/ 585788 w 1378744"/>
              <a:gd name="connsiteY53" fmla="*/ 1131093 h 1138237"/>
              <a:gd name="connsiteX54" fmla="*/ 638175 w 1378744"/>
              <a:gd name="connsiteY54" fmla="*/ 1131093 h 1138237"/>
              <a:gd name="connsiteX55" fmla="*/ 814388 w 1378744"/>
              <a:gd name="connsiteY55" fmla="*/ 1138237 h 1138237"/>
              <a:gd name="connsiteX56" fmla="*/ 828675 w 1378744"/>
              <a:gd name="connsiteY56" fmla="*/ 1109662 h 1138237"/>
              <a:gd name="connsiteX57" fmla="*/ 833438 w 1378744"/>
              <a:gd name="connsiteY57" fmla="*/ 1085850 h 1138237"/>
              <a:gd name="connsiteX58" fmla="*/ 797719 w 1378744"/>
              <a:gd name="connsiteY58" fmla="*/ 1059656 h 1138237"/>
              <a:gd name="connsiteX59" fmla="*/ 790575 w 1378744"/>
              <a:gd name="connsiteY59" fmla="*/ 1038225 h 1138237"/>
              <a:gd name="connsiteX60" fmla="*/ 790575 w 1378744"/>
              <a:gd name="connsiteY60" fmla="*/ 1021556 h 1138237"/>
              <a:gd name="connsiteX61" fmla="*/ 845344 w 1378744"/>
              <a:gd name="connsiteY61" fmla="*/ 952500 h 1138237"/>
              <a:gd name="connsiteX62" fmla="*/ 845344 w 1378744"/>
              <a:gd name="connsiteY62" fmla="*/ 952500 h 1138237"/>
              <a:gd name="connsiteX63" fmla="*/ 888207 w 1378744"/>
              <a:gd name="connsiteY63" fmla="*/ 966787 h 1138237"/>
              <a:gd name="connsiteX64" fmla="*/ 907257 w 1378744"/>
              <a:gd name="connsiteY64" fmla="*/ 981075 h 1138237"/>
              <a:gd name="connsiteX65" fmla="*/ 938213 w 1378744"/>
              <a:gd name="connsiteY65" fmla="*/ 990600 h 1138237"/>
              <a:gd name="connsiteX66" fmla="*/ 964407 w 1378744"/>
              <a:gd name="connsiteY66" fmla="*/ 985837 h 1138237"/>
              <a:gd name="connsiteX67" fmla="*/ 985838 w 1378744"/>
              <a:gd name="connsiteY67" fmla="*/ 985837 h 1138237"/>
              <a:gd name="connsiteX68" fmla="*/ 995363 w 1378744"/>
              <a:gd name="connsiteY68" fmla="*/ 995362 h 1138237"/>
              <a:gd name="connsiteX69" fmla="*/ 978694 w 1378744"/>
              <a:gd name="connsiteY69" fmla="*/ 1012031 h 1138237"/>
              <a:gd name="connsiteX70" fmla="*/ 969169 w 1378744"/>
              <a:gd name="connsiteY70" fmla="*/ 1031081 h 1138237"/>
              <a:gd name="connsiteX71" fmla="*/ 954882 w 1378744"/>
              <a:gd name="connsiteY71" fmla="*/ 1054893 h 1138237"/>
              <a:gd name="connsiteX72" fmla="*/ 950119 w 1378744"/>
              <a:gd name="connsiteY72" fmla="*/ 1083468 h 1138237"/>
              <a:gd name="connsiteX73" fmla="*/ 962025 w 1378744"/>
              <a:gd name="connsiteY73" fmla="*/ 1107281 h 1138237"/>
              <a:gd name="connsiteX74" fmla="*/ 983457 w 1378744"/>
              <a:gd name="connsiteY74" fmla="*/ 1131093 h 1138237"/>
              <a:gd name="connsiteX75" fmla="*/ 1002507 w 1378744"/>
              <a:gd name="connsiteY75" fmla="*/ 1133475 h 1138237"/>
              <a:gd name="connsiteX76" fmla="*/ 1028700 w 1378744"/>
              <a:gd name="connsiteY76" fmla="*/ 1126331 h 1138237"/>
              <a:gd name="connsiteX77" fmla="*/ 1031082 w 1378744"/>
              <a:gd name="connsiteY77" fmla="*/ 1097756 h 1138237"/>
              <a:gd name="connsiteX78" fmla="*/ 1057275 w 1378744"/>
              <a:gd name="connsiteY78" fmla="*/ 1085850 h 1138237"/>
              <a:gd name="connsiteX79" fmla="*/ 1076325 w 1378744"/>
              <a:gd name="connsiteY79" fmla="*/ 1097756 h 1138237"/>
              <a:gd name="connsiteX80" fmla="*/ 1100138 w 1378744"/>
              <a:gd name="connsiteY80" fmla="*/ 1107281 h 1138237"/>
              <a:gd name="connsiteX81" fmla="*/ 1123950 w 1378744"/>
              <a:gd name="connsiteY81" fmla="*/ 1121568 h 1138237"/>
              <a:gd name="connsiteX82" fmla="*/ 1143000 w 1378744"/>
              <a:gd name="connsiteY82" fmla="*/ 1123950 h 1138237"/>
              <a:gd name="connsiteX83" fmla="*/ 1157288 w 1378744"/>
              <a:gd name="connsiteY83" fmla="*/ 1112043 h 1138237"/>
              <a:gd name="connsiteX84" fmla="*/ 1159669 w 1378744"/>
              <a:gd name="connsiteY84" fmla="*/ 1085850 h 1138237"/>
              <a:gd name="connsiteX85" fmla="*/ 1166813 w 1378744"/>
              <a:gd name="connsiteY85" fmla="*/ 1052512 h 1138237"/>
              <a:gd name="connsiteX86" fmla="*/ 1197769 w 1378744"/>
              <a:gd name="connsiteY86" fmla="*/ 1016793 h 1138237"/>
              <a:gd name="connsiteX87" fmla="*/ 1195388 w 1378744"/>
              <a:gd name="connsiteY87" fmla="*/ 954881 h 1138237"/>
              <a:gd name="connsiteX88" fmla="*/ 1209675 w 1378744"/>
              <a:gd name="connsiteY88" fmla="*/ 945356 h 1138237"/>
              <a:gd name="connsiteX89" fmla="*/ 1235869 w 1378744"/>
              <a:gd name="connsiteY89" fmla="*/ 945356 h 1138237"/>
              <a:gd name="connsiteX90" fmla="*/ 1235869 w 1378744"/>
              <a:gd name="connsiteY90" fmla="*/ 931068 h 1138237"/>
              <a:gd name="connsiteX91" fmla="*/ 1212057 w 1378744"/>
              <a:gd name="connsiteY91" fmla="*/ 912018 h 1138237"/>
              <a:gd name="connsiteX92" fmla="*/ 1195388 w 1378744"/>
              <a:gd name="connsiteY92" fmla="*/ 881062 h 1138237"/>
              <a:gd name="connsiteX93" fmla="*/ 1157288 w 1378744"/>
              <a:gd name="connsiteY93" fmla="*/ 871537 h 1138237"/>
              <a:gd name="connsiteX94" fmla="*/ 1119188 w 1378744"/>
              <a:gd name="connsiteY94" fmla="*/ 859631 h 1138237"/>
              <a:gd name="connsiteX95" fmla="*/ 1119188 w 1378744"/>
              <a:gd name="connsiteY95" fmla="*/ 831056 h 1138237"/>
              <a:gd name="connsiteX96" fmla="*/ 1135857 w 1378744"/>
              <a:gd name="connsiteY96" fmla="*/ 807243 h 1138237"/>
              <a:gd name="connsiteX97" fmla="*/ 1197769 w 1378744"/>
              <a:gd name="connsiteY97" fmla="*/ 759618 h 1138237"/>
              <a:gd name="connsiteX98" fmla="*/ 1247775 w 1378744"/>
              <a:gd name="connsiteY98" fmla="*/ 762000 h 1138237"/>
              <a:gd name="connsiteX99" fmla="*/ 1278732 w 1378744"/>
              <a:gd name="connsiteY99" fmla="*/ 762000 h 1138237"/>
              <a:gd name="connsiteX100" fmla="*/ 1271588 w 1378744"/>
              <a:gd name="connsiteY100" fmla="*/ 735806 h 1138237"/>
              <a:gd name="connsiteX101" fmla="*/ 1378744 w 1378744"/>
              <a:gd name="connsiteY101" fmla="*/ 678656 h 1138237"/>
              <a:gd name="connsiteX102" fmla="*/ 1331119 w 1378744"/>
              <a:gd name="connsiteY102" fmla="*/ 552450 h 1138237"/>
              <a:gd name="connsiteX103" fmla="*/ 1278732 w 1378744"/>
              <a:gd name="connsiteY103" fmla="*/ 514350 h 1138237"/>
              <a:gd name="connsiteX104" fmla="*/ 1252538 w 1378744"/>
              <a:gd name="connsiteY104" fmla="*/ 431006 h 1138237"/>
              <a:gd name="connsiteX105" fmla="*/ 1181100 w 1378744"/>
              <a:gd name="connsiteY105" fmla="*/ 431006 h 1138237"/>
              <a:gd name="connsiteX106" fmla="*/ 1166813 w 1378744"/>
              <a:gd name="connsiteY106" fmla="*/ 395287 h 1138237"/>
              <a:gd name="connsiteX107" fmla="*/ 1107282 w 1378744"/>
              <a:gd name="connsiteY107" fmla="*/ 421481 h 1138237"/>
              <a:gd name="connsiteX108" fmla="*/ 1054894 w 1378744"/>
              <a:gd name="connsiteY108" fmla="*/ 414337 h 1138237"/>
              <a:gd name="connsiteX109" fmla="*/ 1028700 w 1378744"/>
              <a:gd name="connsiteY109" fmla="*/ 371475 h 1138237"/>
              <a:gd name="connsiteX110" fmla="*/ 1023938 w 1378744"/>
              <a:gd name="connsiteY110" fmla="*/ 288131 h 1138237"/>
              <a:gd name="connsiteX111" fmla="*/ 1012032 w 1378744"/>
              <a:gd name="connsiteY111" fmla="*/ 269081 h 1138237"/>
              <a:gd name="connsiteX112" fmla="*/ 1012032 w 1378744"/>
              <a:gd name="connsiteY112" fmla="*/ 211931 h 1138237"/>
              <a:gd name="connsiteX113" fmla="*/ 959644 w 1378744"/>
              <a:gd name="connsiteY113" fmla="*/ 190500 h 1138237"/>
              <a:gd name="connsiteX114" fmla="*/ 914400 w 1378744"/>
              <a:gd name="connsiteY114" fmla="*/ 111918 h 1138237"/>
              <a:gd name="connsiteX115" fmla="*/ 854869 w 1378744"/>
              <a:gd name="connsiteY115" fmla="*/ 76200 h 1138237"/>
              <a:gd name="connsiteX116" fmla="*/ 873919 w 1378744"/>
              <a:gd name="connsiteY116" fmla="*/ 16668 h 1138237"/>
              <a:gd name="connsiteX117" fmla="*/ 783432 w 1378744"/>
              <a:gd name="connsiteY117" fmla="*/ 0 h 1138237"/>
              <a:gd name="connsiteX0" fmla="*/ 783432 w 1378744"/>
              <a:gd name="connsiteY0" fmla="*/ 0 h 1181100"/>
              <a:gd name="connsiteX1" fmla="*/ 738188 w 1378744"/>
              <a:gd name="connsiteY1" fmla="*/ 26193 h 1181100"/>
              <a:gd name="connsiteX2" fmla="*/ 685800 w 1378744"/>
              <a:gd name="connsiteY2" fmla="*/ 28575 h 1181100"/>
              <a:gd name="connsiteX3" fmla="*/ 635794 w 1378744"/>
              <a:gd name="connsiteY3" fmla="*/ 73818 h 1181100"/>
              <a:gd name="connsiteX4" fmla="*/ 633413 w 1378744"/>
              <a:gd name="connsiteY4" fmla="*/ 114300 h 1181100"/>
              <a:gd name="connsiteX5" fmla="*/ 561975 w 1378744"/>
              <a:gd name="connsiteY5" fmla="*/ 190500 h 1181100"/>
              <a:gd name="connsiteX6" fmla="*/ 519113 w 1378744"/>
              <a:gd name="connsiteY6" fmla="*/ 214312 h 1181100"/>
              <a:gd name="connsiteX7" fmla="*/ 485775 w 1378744"/>
              <a:gd name="connsiteY7" fmla="*/ 252412 h 1181100"/>
              <a:gd name="connsiteX8" fmla="*/ 461963 w 1378744"/>
              <a:gd name="connsiteY8" fmla="*/ 273843 h 1181100"/>
              <a:gd name="connsiteX9" fmla="*/ 423863 w 1378744"/>
              <a:gd name="connsiteY9" fmla="*/ 333375 h 1181100"/>
              <a:gd name="connsiteX10" fmla="*/ 378619 w 1378744"/>
              <a:gd name="connsiteY10" fmla="*/ 357187 h 1181100"/>
              <a:gd name="connsiteX11" fmla="*/ 292894 w 1378744"/>
              <a:gd name="connsiteY11" fmla="*/ 376237 h 1181100"/>
              <a:gd name="connsiteX12" fmla="*/ 264319 w 1378744"/>
              <a:gd name="connsiteY12" fmla="*/ 373856 h 1181100"/>
              <a:gd name="connsiteX13" fmla="*/ 240507 w 1378744"/>
              <a:gd name="connsiteY13" fmla="*/ 359568 h 1181100"/>
              <a:gd name="connsiteX14" fmla="*/ 226219 w 1378744"/>
              <a:gd name="connsiteY14" fmla="*/ 338137 h 1181100"/>
              <a:gd name="connsiteX15" fmla="*/ 219075 w 1378744"/>
              <a:gd name="connsiteY15" fmla="*/ 311943 h 1181100"/>
              <a:gd name="connsiteX16" fmla="*/ 204788 w 1378744"/>
              <a:gd name="connsiteY16" fmla="*/ 309562 h 1181100"/>
              <a:gd name="connsiteX17" fmla="*/ 188119 w 1378744"/>
              <a:gd name="connsiteY17" fmla="*/ 304800 h 1181100"/>
              <a:gd name="connsiteX18" fmla="*/ 173832 w 1378744"/>
              <a:gd name="connsiteY18" fmla="*/ 302418 h 1181100"/>
              <a:gd name="connsiteX19" fmla="*/ 128588 w 1378744"/>
              <a:gd name="connsiteY19" fmla="*/ 352425 h 1181100"/>
              <a:gd name="connsiteX20" fmla="*/ 97632 w 1378744"/>
              <a:gd name="connsiteY20" fmla="*/ 371475 h 1181100"/>
              <a:gd name="connsiteX21" fmla="*/ 80963 w 1378744"/>
              <a:gd name="connsiteY21" fmla="*/ 390525 h 1181100"/>
              <a:gd name="connsiteX22" fmla="*/ 66675 w 1378744"/>
              <a:gd name="connsiteY22" fmla="*/ 435768 h 1181100"/>
              <a:gd name="connsiteX23" fmla="*/ 54769 w 1378744"/>
              <a:gd name="connsiteY23" fmla="*/ 447675 h 1181100"/>
              <a:gd name="connsiteX24" fmla="*/ 9525 w 1378744"/>
              <a:gd name="connsiteY24" fmla="*/ 466725 h 1181100"/>
              <a:gd name="connsiteX25" fmla="*/ 2382 w 1378744"/>
              <a:gd name="connsiteY25" fmla="*/ 481012 h 1181100"/>
              <a:gd name="connsiteX26" fmla="*/ 4763 w 1378744"/>
              <a:gd name="connsiteY26" fmla="*/ 533400 h 1181100"/>
              <a:gd name="connsiteX27" fmla="*/ 0 w 1378744"/>
              <a:gd name="connsiteY27" fmla="*/ 545306 h 1181100"/>
              <a:gd name="connsiteX28" fmla="*/ 73819 w 1378744"/>
              <a:gd name="connsiteY28" fmla="*/ 588168 h 1181100"/>
              <a:gd name="connsiteX29" fmla="*/ 90488 w 1378744"/>
              <a:gd name="connsiteY29" fmla="*/ 628650 h 1181100"/>
              <a:gd name="connsiteX30" fmla="*/ 83344 w 1378744"/>
              <a:gd name="connsiteY30" fmla="*/ 654843 h 1181100"/>
              <a:gd name="connsiteX31" fmla="*/ 73819 w 1378744"/>
              <a:gd name="connsiteY31" fmla="*/ 697706 h 1181100"/>
              <a:gd name="connsiteX32" fmla="*/ 78582 w 1378744"/>
              <a:gd name="connsiteY32" fmla="*/ 726281 h 1181100"/>
              <a:gd name="connsiteX33" fmla="*/ 95250 w 1378744"/>
              <a:gd name="connsiteY33" fmla="*/ 738187 h 1181100"/>
              <a:gd name="connsiteX34" fmla="*/ 116682 w 1378744"/>
              <a:gd name="connsiteY34" fmla="*/ 735806 h 1181100"/>
              <a:gd name="connsiteX35" fmla="*/ 123825 w 1378744"/>
              <a:gd name="connsiteY35" fmla="*/ 762000 h 1181100"/>
              <a:gd name="connsiteX36" fmla="*/ 126207 w 1378744"/>
              <a:gd name="connsiteY36" fmla="*/ 783431 h 1181100"/>
              <a:gd name="connsiteX37" fmla="*/ 152400 w 1378744"/>
              <a:gd name="connsiteY37" fmla="*/ 812006 h 1181100"/>
              <a:gd name="connsiteX38" fmla="*/ 164307 w 1378744"/>
              <a:gd name="connsiteY38" fmla="*/ 823912 h 1181100"/>
              <a:gd name="connsiteX39" fmla="*/ 173832 w 1378744"/>
              <a:gd name="connsiteY39" fmla="*/ 850106 h 1181100"/>
              <a:gd name="connsiteX40" fmla="*/ 169069 w 1378744"/>
              <a:gd name="connsiteY40" fmla="*/ 878681 h 1181100"/>
              <a:gd name="connsiteX41" fmla="*/ 176213 w 1378744"/>
              <a:gd name="connsiteY41" fmla="*/ 897731 h 1181100"/>
              <a:gd name="connsiteX42" fmla="*/ 200025 w 1378744"/>
              <a:gd name="connsiteY42" fmla="*/ 916781 h 1181100"/>
              <a:gd name="connsiteX43" fmla="*/ 226219 w 1378744"/>
              <a:gd name="connsiteY43" fmla="*/ 916781 h 1181100"/>
              <a:gd name="connsiteX44" fmla="*/ 300038 w 1378744"/>
              <a:gd name="connsiteY44" fmla="*/ 921543 h 1181100"/>
              <a:gd name="connsiteX45" fmla="*/ 395288 w 1378744"/>
              <a:gd name="connsiteY45" fmla="*/ 952500 h 1181100"/>
              <a:gd name="connsiteX46" fmla="*/ 414338 w 1378744"/>
              <a:gd name="connsiteY46" fmla="*/ 988218 h 1181100"/>
              <a:gd name="connsiteX47" fmla="*/ 435769 w 1378744"/>
              <a:gd name="connsiteY47" fmla="*/ 992981 h 1181100"/>
              <a:gd name="connsiteX48" fmla="*/ 464344 w 1378744"/>
              <a:gd name="connsiteY48" fmla="*/ 995362 h 1181100"/>
              <a:gd name="connsiteX49" fmla="*/ 507207 w 1378744"/>
              <a:gd name="connsiteY49" fmla="*/ 1026318 h 1181100"/>
              <a:gd name="connsiteX50" fmla="*/ 521494 w 1378744"/>
              <a:gd name="connsiteY50" fmla="*/ 1069181 h 1181100"/>
              <a:gd name="connsiteX51" fmla="*/ 545307 w 1378744"/>
              <a:gd name="connsiteY51" fmla="*/ 1107281 h 1181100"/>
              <a:gd name="connsiteX52" fmla="*/ 573882 w 1378744"/>
              <a:gd name="connsiteY52" fmla="*/ 1121568 h 1181100"/>
              <a:gd name="connsiteX53" fmla="*/ 585788 w 1378744"/>
              <a:gd name="connsiteY53" fmla="*/ 1131093 h 1181100"/>
              <a:gd name="connsiteX54" fmla="*/ 597694 w 1378744"/>
              <a:gd name="connsiteY54" fmla="*/ 1181100 h 1181100"/>
              <a:gd name="connsiteX55" fmla="*/ 814388 w 1378744"/>
              <a:gd name="connsiteY55" fmla="*/ 1138237 h 1181100"/>
              <a:gd name="connsiteX56" fmla="*/ 828675 w 1378744"/>
              <a:gd name="connsiteY56" fmla="*/ 1109662 h 1181100"/>
              <a:gd name="connsiteX57" fmla="*/ 833438 w 1378744"/>
              <a:gd name="connsiteY57" fmla="*/ 1085850 h 1181100"/>
              <a:gd name="connsiteX58" fmla="*/ 797719 w 1378744"/>
              <a:gd name="connsiteY58" fmla="*/ 1059656 h 1181100"/>
              <a:gd name="connsiteX59" fmla="*/ 790575 w 1378744"/>
              <a:gd name="connsiteY59" fmla="*/ 1038225 h 1181100"/>
              <a:gd name="connsiteX60" fmla="*/ 790575 w 1378744"/>
              <a:gd name="connsiteY60" fmla="*/ 1021556 h 1181100"/>
              <a:gd name="connsiteX61" fmla="*/ 845344 w 1378744"/>
              <a:gd name="connsiteY61" fmla="*/ 952500 h 1181100"/>
              <a:gd name="connsiteX62" fmla="*/ 845344 w 1378744"/>
              <a:gd name="connsiteY62" fmla="*/ 952500 h 1181100"/>
              <a:gd name="connsiteX63" fmla="*/ 888207 w 1378744"/>
              <a:gd name="connsiteY63" fmla="*/ 966787 h 1181100"/>
              <a:gd name="connsiteX64" fmla="*/ 907257 w 1378744"/>
              <a:gd name="connsiteY64" fmla="*/ 981075 h 1181100"/>
              <a:gd name="connsiteX65" fmla="*/ 938213 w 1378744"/>
              <a:gd name="connsiteY65" fmla="*/ 990600 h 1181100"/>
              <a:gd name="connsiteX66" fmla="*/ 964407 w 1378744"/>
              <a:gd name="connsiteY66" fmla="*/ 985837 h 1181100"/>
              <a:gd name="connsiteX67" fmla="*/ 985838 w 1378744"/>
              <a:gd name="connsiteY67" fmla="*/ 985837 h 1181100"/>
              <a:gd name="connsiteX68" fmla="*/ 995363 w 1378744"/>
              <a:gd name="connsiteY68" fmla="*/ 995362 h 1181100"/>
              <a:gd name="connsiteX69" fmla="*/ 978694 w 1378744"/>
              <a:gd name="connsiteY69" fmla="*/ 1012031 h 1181100"/>
              <a:gd name="connsiteX70" fmla="*/ 969169 w 1378744"/>
              <a:gd name="connsiteY70" fmla="*/ 1031081 h 1181100"/>
              <a:gd name="connsiteX71" fmla="*/ 954882 w 1378744"/>
              <a:gd name="connsiteY71" fmla="*/ 1054893 h 1181100"/>
              <a:gd name="connsiteX72" fmla="*/ 950119 w 1378744"/>
              <a:gd name="connsiteY72" fmla="*/ 1083468 h 1181100"/>
              <a:gd name="connsiteX73" fmla="*/ 962025 w 1378744"/>
              <a:gd name="connsiteY73" fmla="*/ 1107281 h 1181100"/>
              <a:gd name="connsiteX74" fmla="*/ 983457 w 1378744"/>
              <a:gd name="connsiteY74" fmla="*/ 1131093 h 1181100"/>
              <a:gd name="connsiteX75" fmla="*/ 1002507 w 1378744"/>
              <a:gd name="connsiteY75" fmla="*/ 1133475 h 1181100"/>
              <a:gd name="connsiteX76" fmla="*/ 1028700 w 1378744"/>
              <a:gd name="connsiteY76" fmla="*/ 1126331 h 1181100"/>
              <a:gd name="connsiteX77" fmla="*/ 1031082 w 1378744"/>
              <a:gd name="connsiteY77" fmla="*/ 1097756 h 1181100"/>
              <a:gd name="connsiteX78" fmla="*/ 1057275 w 1378744"/>
              <a:gd name="connsiteY78" fmla="*/ 1085850 h 1181100"/>
              <a:gd name="connsiteX79" fmla="*/ 1076325 w 1378744"/>
              <a:gd name="connsiteY79" fmla="*/ 1097756 h 1181100"/>
              <a:gd name="connsiteX80" fmla="*/ 1100138 w 1378744"/>
              <a:gd name="connsiteY80" fmla="*/ 1107281 h 1181100"/>
              <a:gd name="connsiteX81" fmla="*/ 1123950 w 1378744"/>
              <a:gd name="connsiteY81" fmla="*/ 1121568 h 1181100"/>
              <a:gd name="connsiteX82" fmla="*/ 1143000 w 1378744"/>
              <a:gd name="connsiteY82" fmla="*/ 1123950 h 1181100"/>
              <a:gd name="connsiteX83" fmla="*/ 1157288 w 1378744"/>
              <a:gd name="connsiteY83" fmla="*/ 1112043 h 1181100"/>
              <a:gd name="connsiteX84" fmla="*/ 1159669 w 1378744"/>
              <a:gd name="connsiteY84" fmla="*/ 1085850 h 1181100"/>
              <a:gd name="connsiteX85" fmla="*/ 1166813 w 1378744"/>
              <a:gd name="connsiteY85" fmla="*/ 1052512 h 1181100"/>
              <a:gd name="connsiteX86" fmla="*/ 1197769 w 1378744"/>
              <a:gd name="connsiteY86" fmla="*/ 1016793 h 1181100"/>
              <a:gd name="connsiteX87" fmla="*/ 1195388 w 1378744"/>
              <a:gd name="connsiteY87" fmla="*/ 954881 h 1181100"/>
              <a:gd name="connsiteX88" fmla="*/ 1209675 w 1378744"/>
              <a:gd name="connsiteY88" fmla="*/ 945356 h 1181100"/>
              <a:gd name="connsiteX89" fmla="*/ 1235869 w 1378744"/>
              <a:gd name="connsiteY89" fmla="*/ 945356 h 1181100"/>
              <a:gd name="connsiteX90" fmla="*/ 1235869 w 1378744"/>
              <a:gd name="connsiteY90" fmla="*/ 931068 h 1181100"/>
              <a:gd name="connsiteX91" fmla="*/ 1212057 w 1378744"/>
              <a:gd name="connsiteY91" fmla="*/ 912018 h 1181100"/>
              <a:gd name="connsiteX92" fmla="*/ 1195388 w 1378744"/>
              <a:gd name="connsiteY92" fmla="*/ 881062 h 1181100"/>
              <a:gd name="connsiteX93" fmla="*/ 1157288 w 1378744"/>
              <a:gd name="connsiteY93" fmla="*/ 871537 h 1181100"/>
              <a:gd name="connsiteX94" fmla="*/ 1119188 w 1378744"/>
              <a:gd name="connsiteY94" fmla="*/ 859631 h 1181100"/>
              <a:gd name="connsiteX95" fmla="*/ 1119188 w 1378744"/>
              <a:gd name="connsiteY95" fmla="*/ 831056 h 1181100"/>
              <a:gd name="connsiteX96" fmla="*/ 1135857 w 1378744"/>
              <a:gd name="connsiteY96" fmla="*/ 807243 h 1181100"/>
              <a:gd name="connsiteX97" fmla="*/ 1197769 w 1378744"/>
              <a:gd name="connsiteY97" fmla="*/ 759618 h 1181100"/>
              <a:gd name="connsiteX98" fmla="*/ 1247775 w 1378744"/>
              <a:gd name="connsiteY98" fmla="*/ 762000 h 1181100"/>
              <a:gd name="connsiteX99" fmla="*/ 1278732 w 1378744"/>
              <a:gd name="connsiteY99" fmla="*/ 762000 h 1181100"/>
              <a:gd name="connsiteX100" fmla="*/ 1271588 w 1378744"/>
              <a:gd name="connsiteY100" fmla="*/ 735806 h 1181100"/>
              <a:gd name="connsiteX101" fmla="*/ 1378744 w 1378744"/>
              <a:gd name="connsiteY101" fmla="*/ 678656 h 1181100"/>
              <a:gd name="connsiteX102" fmla="*/ 1331119 w 1378744"/>
              <a:gd name="connsiteY102" fmla="*/ 552450 h 1181100"/>
              <a:gd name="connsiteX103" fmla="*/ 1278732 w 1378744"/>
              <a:gd name="connsiteY103" fmla="*/ 514350 h 1181100"/>
              <a:gd name="connsiteX104" fmla="*/ 1252538 w 1378744"/>
              <a:gd name="connsiteY104" fmla="*/ 431006 h 1181100"/>
              <a:gd name="connsiteX105" fmla="*/ 1181100 w 1378744"/>
              <a:gd name="connsiteY105" fmla="*/ 431006 h 1181100"/>
              <a:gd name="connsiteX106" fmla="*/ 1166813 w 1378744"/>
              <a:gd name="connsiteY106" fmla="*/ 395287 h 1181100"/>
              <a:gd name="connsiteX107" fmla="*/ 1107282 w 1378744"/>
              <a:gd name="connsiteY107" fmla="*/ 421481 h 1181100"/>
              <a:gd name="connsiteX108" fmla="*/ 1054894 w 1378744"/>
              <a:gd name="connsiteY108" fmla="*/ 414337 h 1181100"/>
              <a:gd name="connsiteX109" fmla="*/ 1028700 w 1378744"/>
              <a:gd name="connsiteY109" fmla="*/ 371475 h 1181100"/>
              <a:gd name="connsiteX110" fmla="*/ 1023938 w 1378744"/>
              <a:gd name="connsiteY110" fmla="*/ 288131 h 1181100"/>
              <a:gd name="connsiteX111" fmla="*/ 1012032 w 1378744"/>
              <a:gd name="connsiteY111" fmla="*/ 269081 h 1181100"/>
              <a:gd name="connsiteX112" fmla="*/ 1012032 w 1378744"/>
              <a:gd name="connsiteY112" fmla="*/ 211931 h 1181100"/>
              <a:gd name="connsiteX113" fmla="*/ 959644 w 1378744"/>
              <a:gd name="connsiteY113" fmla="*/ 190500 h 1181100"/>
              <a:gd name="connsiteX114" fmla="*/ 914400 w 1378744"/>
              <a:gd name="connsiteY114" fmla="*/ 111918 h 1181100"/>
              <a:gd name="connsiteX115" fmla="*/ 854869 w 1378744"/>
              <a:gd name="connsiteY115" fmla="*/ 76200 h 1181100"/>
              <a:gd name="connsiteX116" fmla="*/ 873919 w 1378744"/>
              <a:gd name="connsiteY116" fmla="*/ 16668 h 1181100"/>
              <a:gd name="connsiteX117" fmla="*/ 783432 w 1378744"/>
              <a:gd name="connsiteY117" fmla="*/ 0 h 1181100"/>
              <a:gd name="connsiteX0" fmla="*/ 783432 w 1378744"/>
              <a:gd name="connsiteY0" fmla="*/ 0 h 1181100"/>
              <a:gd name="connsiteX1" fmla="*/ 738188 w 1378744"/>
              <a:gd name="connsiteY1" fmla="*/ 26193 h 1181100"/>
              <a:gd name="connsiteX2" fmla="*/ 685800 w 1378744"/>
              <a:gd name="connsiteY2" fmla="*/ 28575 h 1181100"/>
              <a:gd name="connsiteX3" fmla="*/ 635794 w 1378744"/>
              <a:gd name="connsiteY3" fmla="*/ 73818 h 1181100"/>
              <a:gd name="connsiteX4" fmla="*/ 633413 w 1378744"/>
              <a:gd name="connsiteY4" fmla="*/ 114300 h 1181100"/>
              <a:gd name="connsiteX5" fmla="*/ 561975 w 1378744"/>
              <a:gd name="connsiteY5" fmla="*/ 190500 h 1181100"/>
              <a:gd name="connsiteX6" fmla="*/ 519113 w 1378744"/>
              <a:gd name="connsiteY6" fmla="*/ 214312 h 1181100"/>
              <a:gd name="connsiteX7" fmla="*/ 485775 w 1378744"/>
              <a:gd name="connsiteY7" fmla="*/ 252412 h 1181100"/>
              <a:gd name="connsiteX8" fmla="*/ 461963 w 1378744"/>
              <a:gd name="connsiteY8" fmla="*/ 273843 h 1181100"/>
              <a:gd name="connsiteX9" fmla="*/ 423863 w 1378744"/>
              <a:gd name="connsiteY9" fmla="*/ 333375 h 1181100"/>
              <a:gd name="connsiteX10" fmla="*/ 378619 w 1378744"/>
              <a:gd name="connsiteY10" fmla="*/ 357187 h 1181100"/>
              <a:gd name="connsiteX11" fmla="*/ 292894 w 1378744"/>
              <a:gd name="connsiteY11" fmla="*/ 376237 h 1181100"/>
              <a:gd name="connsiteX12" fmla="*/ 264319 w 1378744"/>
              <a:gd name="connsiteY12" fmla="*/ 373856 h 1181100"/>
              <a:gd name="connsiteX13" fmla="*/ 240507 w 1378744"/>
              <a:gd name="connsiteY13" fmla="*/ 359568 h 1181100"/>
              <a:gd name="connsiteX14" fmla="*/ 226219 w 1378744"/>
              <a:gd name="connsiteY14" fmla="*/ 338137 h 1181100"/>
              <a:gd name="connsiteX15" fmla="*/ 219075 w 1378744"/>
              <a:gd name="connsiteY15" fmla="*/ 311943 h 1181100"/>
              <a:gd name="connsiteX16" fmla="*/ 204788 w 1378744"/>
              <a:gd name="connsiteY16" fmla="*/ 309562 h 1181100"/>
              <a:gd name="connsiteX17" fmla="*/ 188119 w 1378744"/>
              <a:gd name="connsiteY17" fmla="*/ 304800 h 1181100"/>
              <a:gd name="connsiteX18" fmla="*/ 173832 w 1378744"/>
              <a:gd name="connsiteY18" fmla="*/ 302418 h 1181100"/>
              <a:gd name="connsiteX19" fmla="*/ 128588 w 1378744"/>
              <a:gd name="connsiteY19" fmla="*/ 352425 h 1181100"/>
              <a:gd name="connsiteX20" fmla="*/ 97632 w 1378744"/>
              <a:gd name="connsiteY20" fmla="*/ 371475 h 1181100"/>
              <a:gd name="connsiteX21" fmla="*/ 80963 w 1378744"/>
              <a:gd name="connsiteY21" fmla="*/ 390525 h 1181100"/>
              <a:gd name="connsiteX22" fmla="*/ 66675 w 1378744"/>
              <a:gd name="connsiteY22" fmla="*/ 435768 h 1181100"/>
              <a:gd name="connsiteX23" fmla="*/ 54769 w 1378744"/>
              <a:gd name="connsiteY23" fmla="*/ 447675 h 1181100"/>
              <a:gd name="connsiteX24" fmla="*/ 9525 w 1378744"/>
              <a:gd name="connsiteY24" fmla="*/ 466725 h 1181100"/>
              <a:gd name="connsiteX25" fmla="*/ 2382 w 1378744"/>
              <a:gd name="connsiteY25" fmla="*/ 481012 h 1181100"/>
              <a:gd name="connsiteX26" fmla="*/ 4763 w 1378744"/>
              <a:gd name="connsiteY26" fmla="*/ 533400 h 1181100"/>
              <a:gd name="connsiteX27" fmla="*/ 0 w 1378744"/>
              <a:gd name="connsiteY27" fmla="*/ 545306 h 1181100"/>
              <a:gd name="connsiteX28" fmla="*/ 73819 w 1378744"/>
              <a:gd name="connsiteY28" fmla="*/ 588168 h 1181100"/>
              <a:gd name="connsiteX29" fmla="*/ 90488 w 1378744"/>
              <a:gd name="connsiteY29" fmla="*/ 628650 h 1181100"/>
              <a:gd name="connsiteX30" fmla="*/ 83344 w 1378744"/>
              <a:gd name="connsiteY30" fmla="*/ 654843 h 1181100"/>
              <a:gd name="connsiteX31" fmla="*/ 73819 w 1378744"/>
              <a:gd name="connsiteY31" fmla="*/ 697706 h 1181100"/>
              <a:gd name="connsiteX32" fmla="*/ 78582 w 1378744"/>
              <a:gd name="connsiteY32" fmla="*/ 726281 h 1181100"/>
              <a:gd name="connsiteX33" fmla="*/ 95250 w 1378744"/>
              <a:gd name="connsiteY33" fmla="*/ 738187 h 1181100"/>
              <a:gd name="connsiteX34" fmla="*/ 116682 w 1378744"/>
              <a:gd name="connsiteY34" fmla="*/ 735806 h 1181100"/>
              <a:gd name="connsiteX35" fmla="*/ 123825 w 1378744"/>
              <a:gd name="connsiteY35" fmla="*/ 762000 h 1181100"/>
              <a:gd name="connsiteX36" fmla="*/ 126207 w 1378744"/>
              <a:gd name="connsiteY36" fmla="*/ 783431 h 1181100"/>
              <a:gd name="connsiteX37" fmla="*/ 152400 w 1378744"/>
              <a:gd name="connsiteY37" fmla="*/ 812006 h 1181100"/>
              <a:gd name="connsiteX38" fmla="*/ 164307 w 1378744"/>
              <a:gd name="connsiteY38" fmla="*/ 823912 h 1181100"/>
              <a:gd name="connsiteX39" fmla="*/ 173832 w 1378744"/>
              <a:gd name="connsiteY39" fmla="*/ 850106 h 1181100"/>
              <a:gd name="connsiteX40" fmla="*/ 169069 w 1378744"/>
              <a:gd name="connsiteY40" fmla="*/ 878681 h 1181100"/>
              <a:gd name="connsiteX41" fmla="*/ 176213 w 1378744"/>
              <a:gd name="connsiteY41" fmla="*/ 897731 h 1181100"/>
              <a:gd name="connsiteX42" fmla="*/ 200025 w 1378744"/>
              <a:gd name="connsiteY42" fmla="*/ 916781 h 1181100"/>
              <a:gd name="connsiteX43" fmla="*/ 226219 w 1378744"/>
              <a:gd name="connsiteY43" fmla="*/ 916781 h 1181100"/>
              <a:gd name="connsiteX44" fmla="*/ 300038 w 1378744"/>
              <a:gd name="connsiteY44" fmla="*/ 921543 h 1181100"/>
              <a:gd name="connsiteX45" fmla="*/ 395288 w 1378744"/>
              <a:gd name="connsiteY45" fmla="*/ 952500 h 1181100"/>
              <a:gd name="connsiteX46" fmla="*/ 414338 w 1378744"/>
              <a:gd name="connsiteY46" fmla="*/ 988218 h 1181100"/>
              <a:gd name="connsiteX47" fmla="*/ 435769 w 1378744"/>
              <a:gd name="connsiteY47" fmla="*/ 992981 h 1181100"/>
              <a:gd name="connsiteX48" fmla="*/ 464344 w 1378744"/>
              <a:gd name="connsiteY48" fmla="*/ 995362 h 1181100"/>
              <a:gd name="connsiteX49" fmla="*/ 507207 w 1378744"/>
              <a:gd name="connsiteY49" fmla="*/ 1026318 h 1181100"/>
              <a:gd name="connsiteX50" fmla="*/ 521494 w 1378744"/>
              <a:gd name="connsiteY50" fmla="*/ 1069181 h 1181100"/>
              <a:gd name="connsiteX51" fmla="*/ 545307 w 1378744"/>
              <a:gd name="connsiteY51" fmla="*/ 1107281 h 1181100"/>
              <a:gd name="connsiteX52" fmla="*/ 573882 w 1378744"/>
              <a:gd name="connsiteY52" fmla="*/ 1121568 h 1181100"/>
              <a:gd name="connsiteX53" fmla="*/ 585788 w 1378744"/>
              <a:gd name="connsiteY53" fmla="*/ 1131093 h 1181100"/>
              <a:gd name="connsiteX54" fmla="*/ 597694 w 1378744"/>
              <a:gd name="connsiteY54" fmla="*/ 1181100 h 1181100"/>
              <a:gd name="connsiteX55" fmla="*/ 626269 w 1378744"/>
              <a:gd name="connsiteY55" fmla="*/ 1171574 h 1181100"/>
              <a:gd name="connsiteX56" fmla="*/ 814388 w 1378744"/>
              <a:gd name="connsiteY56" fmla="*/ 1138237 h 1181100"/>
              <a:gd name="connsiteX57" fmla="*/ 828675 w 1378744"/>
              <a:gd name="connsiteY57" fmla="*/ 1109662 h 1181100"/>
              <a:gd name="connsiteX58" fmla="*/ 833438 w 1378744"/>
              <a:gd name="connsiteY58" fmla="*/ 1085850 h 1181100"/>
              <a:gd name="connsiteX59" fmla="*/ 797719 w 1378744"/>
              <a:gd name="connsiteY59" fmla="*/ 1059656 h 1181100"/>
              <a:gd name="connsiteX60" fmla="*/ 790575 w 1378744"/>
              <a:gd name="connsiteY60" fmla="*/ 1038225 h 1181100"/>
              <a:gd name="connsiteX61" fmla="*/ 790575 w 1378744"/>
              <a:gd name="connsiteY61" fmla="*/ 1021556 h 1181100"/>
              <a:gd name="connsiteX62" fmla="*/ 845344 w 1378744"/>
              <a:gd name="connsiteY62" fmla="*/ 952500 h 1181100"/>
              <a:gd name="connsiteX63" fmla="*/ 845344 w 1378744"/>
              <a:gd name="connsiteY63" fmla="*/ 952500 h 1181100"/>
              <a:gd name="connsiteX64" fmla="*/ 888207 w 1378744"/>
              <a:gd name="connsiteY64" fmla="*/ 966787 h 1181100"/>
              <a:gd name="connsiteX65" fmla="*/ 907257 w 1378744"/>
              <a:gd name="connsiteY65" fmla="*/ 981075 h 1181100"/>
              <a:gd name="connsiteX66" fmla="*/ 938213 w 1378744"/>
              <a:gd name="connsiteY66" fmla="*/ 990600 h 1181100"/>
              <a:gd name="connsiteX67" fmla="*/ 964407 w 1378744"/>
              <a:gd name="connsiteY67" fmla="*/ 985837 h 1181100"/>
              <a:gd name="connsiteX68" fmla="*/ 985838 w 1378744"/>
              <a:gd name="connsiteY68" fmla="*/ 985837 h 1181100"/>
              <a:gd name="connsiteX69" fmla="*/ 995363 w 1378744"/>
              <a:gd name="connsiteY69" fmla="*/ 995362 h 1181100"/>
              <a:gd name="connsiteX70" fmla="*/ 978694 w 1378744"/>
              <a:gd name="connsiteY70" fmla="*/ 1012031 h 1181100"/>
              <a:gd name="connsiteX71" fmla="*/ 969169 w 1378744"/>
              <a:gd name="connsiteY71" fmla="*/ 1031081 h 1181100"/>
              <a:gd name="connsiteX72" fmla="*/ 954882 w 1378744"/>
              <a:gd name="connsiteY72" fmla="*/ 1054893 h 1181100"/>
              <a:gd name="connsiteX73" fmla="*/ 950119 w 1378744"/>
              <a:gd name="connsiteY73" fmla="*/ 1083468 h 1181100"/>
              <a:gd name="connsiteX74" fmla="*/ 962025 w 1378744"/>
              <a:gd name="connsiteY74" fmla="*/ 1107281 h 1181100"/>
              <a:gd name="connsiteX75" fmla="*/ 983457 w 1378744"/>
              <a:gd name="connsiteY75" fmla="*/ 1131093 h 1181100"/>
              <a:gd name="connsiteX76" fmla="*/ 1002507 w 1378744"/>
              <a:gd name="connsiteY76" fmla="*/ 1133475 h 1181100"/>
              <a:gd name="connsiteX77" fmla="*/ 1028700 w 1378744"/>
              <a:gd name="connsiteY77" fmla="*/ 1126331 h 1181100"/>
              <a:gd name="connsiteX78" fmla="*/ 1031082 w 1378744"/>
              <a:gd name="connsiteY78" fmla="*/ 1097756 h 1181100"/>
              <a:gd name="connsiteX79" fmla="*/ 1057275 w 1378744"/>
              <a:gd name="connsiteY79" fmla="*/ 1085850 h 1181100"/>
              <a:gd name="connsiteX80" fmla="*/ 1076325 w 1378744"/>
              <a:gd name="connsiteY80" fmla="*/ 1097756 h 1181100"/>
              <a:gd name="connsiteX81" fmla="*/ 1100138 w 1378744"/>
              <a:gd name="connsiteY81" fmla="*/ 1107281 h 1181100"/>
              <a:gd name="connsiteX82" fmla="*/ 1123950 w 1378744"/>
              <a:gd name="connsiteY82" fmla="*/ 1121568 h 1181100"/>
              <a:gd name="connsiteX83" fmla="*/ 1143000 w 1378744"/>
              <a:gd name="connsiteY83" fmla="*/ 1123950 h 1181100"/>
              <a:gd name="connsiteX84" fmla="*/ 1157288 w 1378744"/>
              <a:gd name="connsiteY84" fmla="*/ 1112043 h 1181100"/>
              <a:gd name="connsiteX85" fmla="*/ 1159669 w 1378744"/>
              <a:gd name="connsiteY85" fmla="*/ 1085850 h 1181100"/>
              <a:gd name="connsiteX86" fmla="*/ 1166813 w 1378744"/>
              <a:gd name="connsiteY86" fmla="*/ 1052512 h 1181100"/>
              <a:gd name="connsiteX87" fmla="*/ 1197769 w 1378744"/>
              <a:gd name="connsiteY87" fmla="*/ 1016793 h 1181100"/>
              <a:gd name="connsiteX88" fmla="*/ 1195388 w 1378744"/>
              <a:gd name="connsiteY88" fmla="*/ 954881 h 1181100"/>
              <a:gd name="connsiteX89" fmla="*/ 1209675 w 1378744"/>
              <a:gd name="connsiteY89" fmla="*/ 945356 h 1181100"/>
              <a:gd name="connsiteX90" fmla="*/ 1235869 w 1378744"/>
              <a:gd name="connsiteY90" fmla="*/ 945356 h 1181100"/>
              <a:gd name="connsiteX91" fmla="*/ 1235869 w 1378744"/>
              <a:gd name="connsiteY91" fmla="*/ 931068 h 1181100"/>
              <a:gd name="connsiteX92" fmla="*/ 1212057 w 1378744"/>
              <a:gd name="connsiteY92" fmla="*/ 912018 h 1181100"/>
              <a:gd name="connsiteX93" fmla="*/ 1195388 w 1378744"/>
              <a:gd name="connsiteY93" fmla="*/ 881062 h 1181100"/>
              <a:gd name="connsiteX94" fmla="*/ 1157288 w 1378744"/>
              <a:gd name="connsiteY94" fmla="*/ 871537 h 1181100"/>
              <a:gd name="connsiteX95" fmla="*/ 1119188 w 1378744"/>
              <a:gd name="connsiteY95" fmla="*/ 859631 h 1181100"/>
              <a:gd name="connsiteX96" fmla="*/ 1119188 w 1378744"/>
              <a:gd name="connsiteY96" fmla="*/ 831056 h 1181100"/>
              <a:gd name="connsiteX97" fmla="*/ 1135857 w 1378744"/>
              <a:gd name="connsiteY97" fmla="*/ 807243 h 1181100"/>
              <a:gd name="connsiteX98" fmla="*/ 1197769 w 1378744"/>
              <a:gd name="connsiteY98" fmla="*/ 759618 h 1181100"/>
              <a:gd name="connsiteX99" fmla="*/ 1247775 w 1378744"/>
              <a:gd name="connsiteY99" fmla="*/ 762000 h 1181100"/>
              <a:gd name="connsiteX100" fmla="*/ 1278732 w 1378744"/>
              <a:gd name="connsiteY100" fmla="*/ 762000 h 1181100"/>
              <a:gd name="connsiteX101" fmla="*/ 1271588 w 1378744"/>
              <a:gd name="connsiteY101" fmla="*/ 735806 h 1181100"/>
              <a:gd name="connsiteX102" fmla="*/ 1378744 w 1378744"/>
              <a:gd name="connsiteY102" fmla="*/ 678656 h 1181100"/>
              <a:gd name="connsiteX103" fmla="*/ 1331119 w 1378744"/>
              <a:gd name="connsiteY103" fmla="*/ 552450 h 1181100"/>
              <a:gd name="connsiteX104" fmla="*/ 1278732 w 1378744"/>
              <a:gd name="connsiteY104" fmla="*/ 514350 h 1181100"/>
              <a:gd name="connsiteX105" fmla="*/ 1252538 w 1378744"/>
              <a:gd name="connsiteY105" fmla="*/ 431006 h 1181100"/>
              <a:gd name="connsiteX106" fmla="*/ 1181100 w 1378744"/>
              <a:gd name="connsiteY106" fmla="*/ 431006 h 1181100"/>
              <a:gd name="connsiteX107" fmla="*/ 1166813 w 1378744"/>
              <a:gd name="connsiteY107" fmla="*/ 395287 h 1181100"/>
              <a:gd name="connsiteX108" fmla="*/ 1107282 w 1378744"/>
              <a:gd name="connsiteY108" fmla="*/ 421481 h 1181100"/>
              <a:gd name="connsiteX109" fmla="*/ 1054894 w 1378744"/>
              <a:gd name="connsiteY109" fmla="*/ 414337 h 1181100"/>
              <a:gd name="connsiteX110" fmla="*/ 1028700 w 1378744"/>
              <a:gd name="connsiteY110" fmla="*/ 371475 h 1181100"/>
              <a:gd name="connsiteX111" fmla="*/ 1023938 w 1378744"/>
              <a:gd name="connsiteY111" fmla="*/ 288131 h 1181100"/>
              <a:gd name="connsiteX112" fmla="*/ 1012032 w 1378744"/>
              <a:gd name="connsiteY112" fmla="*/ 269081 h 1181100"/>
              <a:gd name="connsiteX113" fmla="*/ 1012032 w 1378744"/>
              <a:gd name="connsiteY113" fmla="*/ 211931 h 1181100"/>
              <a:gd name="connsiteX114" fmla="*/ 959644 w 1378744"/>
              <a:gd name="connsiteY114" fmla="*/ 190500 h 1181100"/>
              <a:gd name="connsiteX115" fmla="*/ 914400 w 1378744"/>
              <a:gd name="connsiteY115" fmla="*/ 111918 h 1181100"/>
              <a:gd name="connsiteX116" fmla="*/ 854869 w 1378744"/>
              <a:gd name="connsiteY116" fmla="*/ 76200 h 1181100"/>
              <a:gd name="connsiteX117" fmla="*/ 873919 w 1378744"/>
              <a:gd name="connsiteY117" fmla="*/ 16668 h 1181100"/>
              <a:gd name="connsiteX118" fmla="*/ 783432 w 1378744"/>
              <a:gd name="connsiteY118" fmla="*/ 0 h 1181100"/>
              <a:gd name="connsiteX0" fmla="*/ 783432 w 1378744"/>
              <a:gd name="connsiteY0" fmla="*/ 0 h 1250156"/>
              <a:gd name="connsiteX1" fmla="*/ 738188 w 1378744"/>
              <a:gd name="connsiteY1" fmla="*/ 26193 h 1250156"/>
              <a:gd name="connsiteX2" fmla="*/ 685800 w 1378744"/>
              <a:gd name="connsiteY2" fmla="*/ 28575 h 1250156"/>
              <a:gd name="connsiteX3" fmla="*/ 635794 w 1378744"/>
              <a:gd name="connsiteY3" fmla="*/ 73818 h 1250156"/>
              <a:gd name="connsiteX4" fmla="*/ 633413 w 1378744"/>
              <a:gd name="connsiteY4" fmla="*/ 114300 h 1250156"/>
              <a:gd name="connsiteX5" fmla="*/ 561975 w 1378744"/>
              <a:gd name="connsiteY5" fmla="*/ 190500 h 1250156"/>
              <a:gd name="connsiteX6" fmla="*/ 519113 w 1378744"/>
              <a:gd name="connsiteY6" fmla="*/ 214312 h 1250156"/>
              <a:gd name="connsiteX7" fmla="*/ 485775 w 1378744"/>
              <a:gd name="connsiteY7" fmla="*/ 252412 h 1250156"/>
              <a:gd name="connsiteX8" fmla="*/ 461963 w 1378744"/>
              <a:gd name="connsiteY8" fmla="*/ 273843 h 1250156"/>
              <a:gd name="connsiteX9" fmla="*/ 423863 w 1378744"/>
              <a:gd name="connsiteY9" fmla="*/ 333375 h 1250156"/>
              <a:gd name="connsiteX10" fmla="*/ 378619 w 1378744"/>
              <a:gd name="connsiteY10" fmla="*/ 357187 h 1250156"/>
              <a:gd name="connsiteX11" fmla="*/ 292894 w 1378744"/>
              <a:gd name="connsiteY11" fmla="*/ 376237 h 1250156"/>
              <a:gd name="connsiteX12" fmla="*/ 264319 w 1378744"/>
              <a:gd name="connsiteY12" fmla="*/ 373856 h 1250156"/>
              <a:gd name="connsiteX13" fmla="*/ 240507 w 1378744"/>
              <a:gd name="connsiteY13" fmla="*/ 359568 h 1250156"/>
              <a:gd name="connsiteX14" fmla="*/ 226219 w 1378744"/>
              <a:gd name="connsiteY14" fmla="*/ 338137 h 1250156"/>
              <a:gd name="connsiteX15" fmla="*/ 219075 w 1378744"/>
              <a:gd name="connsiteY15" fmla="*/ 311943 h 1250156"/>
              <a:gd name="connsiteX16" fmla="*/ 204788 w 1378744"/>
              <a:gd name="connsiteY16" fmla="*/ 309562 h 1250156"/>
              <a:gd name="connsiteX17" fmla="*/ 188119 w 1378744"/>
              <a:gd name="connsiteY17" fmla="*/ 304800 h 1250156"/>
              <a:gd name="connsiteX18" fmla="*/ 173832 w 1378744"/>
              <a:gd name="connsiteY18" fmla="*/ 302418 h 1250156"/>
              <a:gd name="connsiteX19" fmla="*/ 128588 w 1378744"/>
              <a:gd name="connsiteY19" fmla="*/ 352425 h 1250156"/>
              <a:gd name="connsiteX20" fmla="*/ 97632 w 1378744"/>
              <a:gd name="connsiteY20" fmla="*/ 371475 h 1250156"/>
              <a:gd name="connsiteX21" fmla="*/ 80963 w 1378744"/>
              <a:gd name="connsiteY21" fmla="*/ 390525 h 1250156"/>
              <a:gd name="connsiteX22" fmla="*/ 66675 w 1378744"/>
              <a:gd name="connsiteY22" fmla="*/ 435768 h 1250156"/>
              <a:gd name="connsiteX23" fmla="*/ 54769 w 1378744"/>
              <a:gd name="connsiteY23" fmla="*/ 447675 h 1250156"/>
              <a:gd name="connsiteX24" fmla="*/ 9525 w 1378744"/>
              <a:gd name="connsiteY24" fmla="*/ 466725 h 1250156"/>
              <a:gd name="connsiteX25" fmla="*/ 2382 w 1378744"/>
              <a:gd name="connsiteY25" fmla="*/ 481012 h 1250156"/>
              <a:gd name="connsiteX26" fmla="*/ 4763 w 1378744"/>
              <a:gd name="connsiteY26" fmla="*/ 533400 h 1250156"/>
              <a:gd name="connsiteX27" fmla="*/ 0 w 1378744"/>
              <a:gd name="connsiteY27" fmla="*/ 545306 h 1250156"/>
              <a:gd name="connsiteX28" fmla="*/ 73819 w 1378744"/>
              <a:gd name="connsiteY28" fmla="*/ 588168 h 1250156"/>
              <a:gd name="connsiteX29" fmla="*/ 90488 w 1378744"/>
              <a:gd name="connsiteY29" fmla="*/ 628650 h 1250156"/>
              <a:gd name="connsiteX30" fmla="*/ 83344 w 1378744"/>
              <a:gd name="connsiteY30" fmla="*/ 654843 h 1250156"/>
              <a:gd name="connsiteX31" fmla="*/ 73819 w 1378744"/>
              <a:gd name="connsiteY31" fmla="*/ 697706 h 1250156"/>
              <a:gd name="connsiteX32" fmla="*/ 78582 w 1378744"/>
              <a:gd name="connsiteY32" fmla="*/ 726281 h 1250156"/>
              <a:gd name="connsiteX33" fmla="*/ 95250 w 1378744"/>
              <a:gd name="connsiteY33" fmla="*/ 738187 h 1250156"/>
              <a:gd name="connsiteX34" fmla="*/ 116682 w 1378744"/>
              <a:gd name="connsiteY34" fmla="*/ 735806 h 1250156"/>
              <a:gd name="connsiteX35" fmla="*/ 123825 w 1378744"/>
              <a:gd name="connsiteY35" fmla="*/ 762000 h 1250156"/>
              <a:gd name="connsiteX36" fmla="*/ 126207 w 1378744"/>
              <a:gd name="connsiteY36" fmla="*/ 783431 h 1250156"/>
              <a:gd name="connsiteX37" fmla="*/ 152400 w 1378744"/>
              <a:gd name="connsiteY37" fmla="*/ 812006 h 1250156"/>
              <a:gd name="connsiteX38" fmla="*/ 164307 w 1378744"/>
              <a:gd name="connsiteY38" fmla="*/ 823912 h 1250156"/>
              <a:gd name="connsiteX39" fmla="*/ 173832 w 1378744"/>
              <a:gd name="connsiteY39" fmla="*/ 850106 h 1250156"/>
              <a:gd name="connsiteX40" fmla="*/ 169069 w 1378744"/>
              <a:gd name="connsiteY40" fmla="*/ 878681 h 1250156"/>
              <a:gd name="connsiteX41" fmla="*/ 176213 w 1378744"/>
              <a:gd name="connsiteY41" fmla="*/ 897731 h 1250156"/>
              <a:gd name="connsiteX42" fmla="*/ 200025 w 1378744"/>
              <a:gd name="connsiteY42" fmla="*/ 916781 h 1250156"/>
              <a:gd name="connsiteX43" fmla="*/ 226219 w 1378744"/>
              <a:gd name="connsiteY43" fmla="*/ 916781 h 1250156"/>
              <a:gd name="connsiteX44" fmla="*/ 300038 w 1378744"/>
              <a:gd name="connsiteY44" fmla="*/ 921543 h 1250156"/>
              <a:gd name="connsiteX45" fmla="*/ 395288 w 1378744"/>
              <a:gd name="connsiteY45" fmla="*/ 952500 h 1250156"/>
              <a:gd name="connsiteX46" fmla="*/ 414338 w 1378744"/>
              <a:gd name="connsiteY46" fmla="*/ 988218 h 1250156"/>
              <a:gd name="connsiteX47" fmla="*/ 435769 w 1378744"/>
              <a:gd name="connsiteY47" fmla="*/ 992981 h 1250156"/>
              <a:gd name="connsiteX48" fmla="*/ 464344 w 1378744"/>
              <a:gd name="connsiteY48" fmla="*/ 995362 h 1250156"/>
              <a:gd name="connsiteX49" fmla="*/ 507207 w 1378744"/>
              <a:gd name="connsiteY49" fmla="*/ 1026318 h 1250156"/>
              <a:gd name="connsiteX50" fmla="*/ 521494 w 1378744"/>
              <a:gd name="connsiteY50" fmla="*/ 1069181 h 1250156"/>
              <a:gd name="connsiteX51" fmla="*/ 545307 w 1378744"/>
              <a:gd name="connsiteY51" fmla="*/ 1107281 h 1250156"/>
              <a:gd name="connsiteX52" fmla="*/ 573882 w 1378744"/>
              <a:gd name="connsiteY52" fmla="*/ 1121568 h 1250156"/>
              <a:gd name="connsiteX53" fmla="*/ 585788 w 1378744"/>
              <a:gd name="connsiteY53" fmla="*/ 1131093 h 1250156"/>
              <a:gd name="connsiteX54" fmla="*/ 597694 w 1378744"/>
              <a:gd name="connsiteY54" fmla="*/ 1181100 h 1250156"/>
              <a:gd name="connsiteX55" fmla="*/ 633413 w 1378744"/>
              <a:gd name="connsiteY55" fmla="*/ 1250156 h 1250156"/>
              <a:gd name="connsiteX56" fmla="*/ 814388 w 1378744"/>
              <a:gd name="connsiteY56" fmla="*/ 1138237 h 1250156"/>
              <a:gd name="connsiteX57" fmla="*/ 828675 w 1378744"/>
              <a:gd name="connsiteY57" fmla="*/ 1109662 h 1250156"/>
              <a:gd name="connsiteX58" fmla="*/ 833438 w 1378744"/>
              <a:gd name="connsiteY58" fmla="*/ 1085850 h 1250156"/>
              <a:gd name="connsiteX59" fmla="*/ 797719 w 1378744"/>
              <a:gd name="connsiteY59" fmla="*/ 1059656 h 1250156"/>
              <a:gd name="connsiteX60" fmla="*/ 790575 w 1378744"/>
              <a:gd name="connsiteY60" fmla="*/ 1038225 h 1250156"/>
              <a:gd name="connsiteX61" fmla="*/ 790575 w 1378744"/>
              <a:gd name="connsiteY61" fmla="*/ 1021556 h 1250156"/>
              <a:gd name="connsiteX62" fmla="*/ 845344 w 1378744"/>
              <a:gd name="connsiteY62" fmla="*/ 952500 h 1250156"/>
              <a:gd name="connsiteX63" fmla="*/ 845344 w 1378744"/>
              <a:gd name="connsiteY63" fmla="*/ 952500 h 1250156"/>
              <a:gd name="connsiteX64" fmla="*/ 888207 w 1378744"/>
              <a:gd name="connsiteY64" fmla="*/ 966787 h 1250156"/>
              <a:gd name="connsiteX65" fmla="*/ 907257 w 1378744"/>
              <a:gd name="connsiteY65" fmla="*/ 981075 h 1250156"/>
              <a:gd name="connsiteX66" fmla="*/ 938213 w 1378744"/>
              <a:gd name="connsiteY66" fmla="*/ 990600 h 1250156"/>
              <a:gd name="connsiteX67" fmla="*/ 964407 w 1378744"/>
              <a:gd name="connsiteY67" fmla="*/ 985837 h 1250156"/>
              <a:gd name="connsiteX68" fmla="*/ 985838 w 1378744"/>
              <a:gd name="connsiteY68" fmla="*/ 985837 h 1250156"/>
              <a:gd name="connsiteX69" fmla="*/ 995363 w 1378744"/>
              <a:gd name="connsiteY69" fmla="*/ 995362 h 1250156"/>
              <a:gd name="connsiteX70" fmla="*/ 978694 w 1378744"/>
              <a:gd name="connsiteY70" fmla="*/ 1012031 h 1250156"/>
              <a:gd name="connsiteX71" fmla="*/ 969169 w 1378744"/>
              <a:gd name="connsiteY71" fmla="*/ 1031081 h 1250156"/>
              <a:gd name="connsiteX72" fmla="*/ 954882 w 1378744"/>
              <a:gd name="connsiteY72" fmla="*/ 1054893 h 1250156"/>
              <a:gd name="connsiteX73" fmla="*/ 950119 w 1378744"/>
              <a:gd name="connsiteY73" fmla="*/ 1083468 h 1250156"/>
              <a:gd name="connsiteX74" fmla="*/ 962025 w 1378744"/>
              <a:gd name="connsiteY74" fmla="*/ 1107281 h 1250156"/>
              <a:gd name="connsiteX75" fmla="*/ 983457 w 1378744"/>
              <a:gd name="connsiteY75" fmla="*/ 1131093 h 1250156"/>
              <a:gd name="connsiteX76" fmla="*/ 1002507 w 1378744"/>
              <a:gd name="connsiteY76" fmla="*/ 1133475 h 1250156"/>
              <a:gd name="connsiteX77" fmla="*/ 1028700 w 1378744"/>
              <a:gd name="connsiteY77" fmla="*/ 1126331 h 1250156"/>
              <a:gd name="connsiteX78" fmla="*/ 1031082 w 1378744"/>
              <a:gd name="connsiteY78" fmla="*/ 1097756 h 1250156"/>
              <a:gd name="connsiteX79" fmla="*/ 1057275 w 1378744"/>
              <a:gd name="connsiteY79" fmla="*/ 1085850 h 1250156"/>
              <a:gd name="connsiteX80" fmla="*/ 1076325 w 1378744"/>
              <a:gd name="connsiteY80" fmla="*/ 1097756 h 1250156"/>
              <a:gd name="connsiteX81" fmla="*/ 1100138 w 1378744"/>
              <a:gd name="connsiteY81" fmla="*/ 1107281 h 1250156"/>
              <a:gd name="connsiteX82" fmla="*/ 1123950 w 1378744"/>
              <a:gd name="connsiteY82" fmla="*/ 1121568 h 1250156"/>
              <a:gd name="connsiteX83" fmla="*/ 1143000 w 1378744"/>
              <a:gd name="connsiteY83" fmla="*/ 1123950 h 1250156"/>
              <a:gd name="connsiteX84" fmla="*/ 1157288 w 1378744"/>
              <a:gd name="connsiteY84" fmla="*/ 1112043 h 1250156"/>
              <a:gd name="connsiteX85" fmla="*/ 1159669 w 1378744"/>
              <a:gd name="connsiteY85" fmla="*/ 1085850 h 1250156"/>
              <a:gd name="connsiteX86" fmla="*/ 1166813 w 1378744"/>
              <a:gd name="connsiteY86" fmla="*/ 1052512 h 1250156"/>
              <a:gd name="connsiteX87" fmla="*/ 1197769 w 1378744"/>
              <a:gd name="connsiteY87" fmla="*/ 1016793 h 1250156"/>
              <a:gd name="connsiteX88" fmla="*/ 1195388 w 1378744"/>
              <a:gd name="connsiteY88" fmla="*/ 954881 h 1250156"/>
              <a:gd name="connsiteX89" fmla="*/ 1209675 w 1378744"/>
              <a:gd name="connsiteY89" fmla="*/ 945356 h 1250156"/>
              <a:gd name="connsiteX90" fmla="*/ 1235869 w 1378744"/>
              <a:gd name="connsiteY90" fmla="*/ 945356 h 1250156"/>
              <a:gd name="connsiteX91" fmla="*/ 1235869 w 1378744"/>
              <a:gd name="connsiteY91" fmla="*/ 931068 h 1250156"/>
              <a:gd name="connsiteX92" fmla="*/ 1212057 w 1378744"/>
              <a:gd name="connsiteY92" fmla="*/ 912018 h 1250156"/>
              <a:gd name="connsiteX93" fmla="*/ 1195388 w 1378744"/>
              <a:gd name="connsiteY93" fmla="*/ 881062 h 1250156"/>
              <a:gd name="connsiteX94" fmla="*/ 1157288 w 1378744"/>
              <a:gd name="connsiteY94" fmla="*/ 871537 h 1250156"/>
              <a:gd name="connsiteX95" fmla="*/ 1119188 w 1378744"/>
              <a:gd name="connsiteY95" fmla="*/ 859631 h 1250156"/>
              <a:gd name="connsiteX96" fmla="*/ 1119188 w 1378744"/>
              <a:gd name="connsiteY96" fmla="*/ 831056 h 1250156"/>
              <a:gd name="connsiteX97" fmla="*/ 1135857 w 1378744"/>
              <a:gd name="connsiteY97" fmla="*/ 807243 h 1250156"/>
              <a:gd name="connsiteX98" fmla="*/ 1197769 w 1378744"/>
              <a:gd name="connsiteY98" fmla="*/ 759618 h 1250156"/>
              <a:gd name="connsiteX99" fmla="*/ 1247775 w 1378744"/>
              <a:gd name="connsiteY99" fmla="*/ 762000 h 1250156"/>
              <a:gd name="connsiteX100" fmla="*/ 1278732 w 1378744"/>
              <a:gd name="connsiteY100" fmla="*/ 762000 h 1250156"/>
              <a:gd name="connsiteX101" fmla="*/ 1271588 w 1378744"/>
              <a:gd name="connsiteY101" fmla="*/ 735806 h 1250156"/>
              <a:gd name="connsiteX102" fmla="*/ 1378744 w 1378744"/>
              <a:gd name="connsiteY102" fmla="*/ 678656 h 1250156"/>
              <a:gd name="connsiteX103" fmla="*/ 1331119 w 1378744"/>
              <a:gd name="connsiteY103" fmla="*/ 552450 h 1250156"/>
              <a:gd name="connsiteX104" fmla="*/ 1278732 w 1378744"/>
              <a:gd name="connsiteY104" fmla="*/ 514350 h 1250156"/>
              <a:gd name="connsiteX105" fmla="*/ 1252538 w 1378744"/>
              <a:gd name="connsiteY105" fmla="*/ 431006 h 1250156"/>
              <a:gd name="connsiteX106" fmla="*/ 1181100 w 1378744"/>
              <a:gd name="connsiteY106" fmla="*/ 431006 h 1250156"/>
              <a:gd name="connsiteX107" fmla="*/ 1166813 w 1378744"/>
              <a:gd name="connsiteY107" fmla="*/ 395287 h 1250156"/>
              <a:gd name="connsiteX108" fmla="*/ 1107282 w 1378744"/>
              <a:gd name="connsiteY108" fmla="*/ 421481 h 1250156"/>
              <a:gd name="connsiteX109" fmla="*/ 1054894 w 1378744"/>
              <a:gd name="connsiteY109" fmla="*/ 414337 h 1250156"/>
              <a:gd name="connsiteX110" fmla="*/ 1028700 w 1378744"/>
              <a:gd name="connsiteY110" fmla="*/ 371475 h 1250156"/>
              <a:gd name="connsiteX111" fmla="*/ 1023938 w 1378744"/>
              <a:gd name="connsiteY111" fmla="*/ 288131 h 1250156"/>
              <a:gd name="connsiteX112" fmla="*/ 1012032 w 1378744"/>
              <a:gd name="connsiteY112" fmla="*/ 269081 h 1250156"/>
              <a:gd name="connsiteX113" fmla="*/ 1012032 w 1378744"/>
              <a:gd name="connsiteY113" fmla="*/ 211931 h 1250156"/>
              <a:gd name="connsiteX114" fmla="*/ 959644 w 1378744"/>
              <a:gd name="connsiteY114" fmla="*/ 190500 h 1250156"/>
              <a:gd name="connsiteX115" fmla="*/ 914400 w 1378744"/>
              <a:gd name="connsiteY115" fmla="*/ 111918 h 1250156"/>
              <a:gd name="connsiteX116" fmla="*/ 854869 w 1378744"/>
              <a:gd name="connsiteY116" fmla="*/ 76200 h 1250156"/>
              <a:gd name="connsiteX117" fmla="*/ 873919 w 1378744"/>
              <a:gd name="connsiteY117" fmla="*/ 16668 h 1250156"/>
              <a:gd name="connsiteX118" fmla="*/ 783432 w 1378744"/>
              <a:gd name="connsiteY118" fmla="*/ 0 h 1250156"/>
              <a:gd name="connsiteX0" fmla="*/ 783432 w 1378744"/>
              <a:gd name="connsiteY0" fmla="*/ 0 h 1250156"/>
              <a:gd name="connsiteX1" fmla="*/ 738188 w 1378744"/>
              <a:gd name="connsiteY1" fmla="*/ 26193 h 1250156"/>
              <a:gd name="connsiteX2" fmla="*/ 685800 w 1378744"/>
              <a:gd name="connsiteY2" fmla="*/ 28575 h 1250156"/>
              <a:gd name="connsiteX3" fmla="*/ 635794 w 1378744"/>
              <a:gd name="connsiteY3" fmla="*/ 73818 h 1250156"/>
              <a:gd name="connsiteX4" fmla="*/ 633413 w 1378744"/>
              <a:gd name="connsiteY4" fmla="*/ 114300 h 1250156"/>
              <a:gd name="connsiteX5" fmla="*/ 561975 w 1378744"/>
              <a:gd name="connsiteY5" fmla="*/ 190500 h 1250156"/>
              <a:gd name="connsiteX6" fmla="*/ 519113 w 1378744"/>
              <a:gd name="connsiteY6" fmla="*/ 214312 h 1250156"/>
              <a:gd name="connsiteX7" fmla="*/ 485775 w 1378744"/>
              <a:gd name="connsiteY7" fmla="*/ 252412 h 1250156"/>
              <a:gd name="connsiteX8" fmla="*/ 461963 w 1378744"/>
              <a:gd name="connsiteY8" fmla="*/ 273843 h 1250156"/>
              <a:gd name="connsiteX9" fmla="*/ 423863 w 1378744"/>
              <a:gd name="connsiteY9" fmla="*/ 333375 h 1250156"/>
              <a:gd name="connsiteX10" fmla="*/ 378619 w 1378744"/>
              <a:gd name="connsiteY10" fmla="*/ 357187 h 1250156"/>
              <a:gd name="connsiteX11" fmla="*/ 292894 w 1378744"/>
              <a:gd name="connsiteY11" fmla="*/ 376237 h 1250156"/>
              <a:gd name="connsiteX12" fmla="*/ 264319 w 1378744"/>
              <a:gd name="connsiteY12" fmla="*/ 373856 h 1250156"/>
              <a:gd name="connsiteX13" fmla="*/ 240507 w 1378744"/>
              <a:gd name="connsiteY13" fmla="*/ 359568 h 1250156"/>
              <a:gd name="connsiteX14" fmla="*/ 226219 w 1378744"/>
              <a:gd name="connsiteY14" fmla="*/ 338137 h 1250156"/>
              <a:gd name="connsiteX15" fmla="*/ 219075 w 1378744"/>
              <a:gd name="connsiteY15" fmla="*/ 311943 h 1250156"/>
              <a:gd name="connsiteX16" fmla="*/ 204788 w 1378744"/>
              <a:gd name="connsiteY16" fmla="*/ 309562 h 1250156"/>
              <a:gd name="connsiteX17" fmla="*/ 188119 w 1378744"/>
              <a:gd name="connsiteY17" fmla="*/ 304800 h 1250156"/>
              <a:gd name="connsiteX18" fmla="*/ 173832 w 1378744"/>
              <a:gd name="connsiteY18" fmla="*/ 302418 h 1250156"/>
              <a:gd name="connsiteX19" fmla="*/ 128588 w 1378744"/>
              <a:gd name="connsiteY19" fmla="*/ 352425 h 1250156"/>
              <a:gd name="connsiteX20" fmla="*/ 97632 w 1378744"/>
              <a:gd name="connsiteY20" fmla="*/ 371475 h 1250156"/>
              <a:gd name="connsiteX21" fmla="*/ 80963 w 1378744"/>
              <a:gd name="connsiteY21" fmla="*/ 390525 h 1250156"/>
              <a:gd name="connsiteX22" fmla="*/ 66675 w 1378744"/>
              <a:gd name="connsiteY22" fmla="*/ 435768 h 1250156"/>
              <a:gd name="connsiteX23" fmla="*/ 54769 w 1378744"/>
              <a:gd name="connsiteY23" fmla="*/ 447675 h 1250156"/>
              <a:gd name="connsiteX24" fmla="*/ 9525 w 1378744"/>
              <a:gd name="connsiteY24" fmla="*/ 466725 h 1250156"/>
              <a:gd name="connsiteX25" fmla="*/ 2382 w 1378744"/>
              <a:gd name="connsiteY25" fmla="*/ 481012 h 1250156"/>
              <a:gd name="connsiteX26" fmla="*/ 4763 w 1378744"/>
              <a:gd name="connsiteY26" fmla="*/ 533400 h 1250156"/>
              <a:gd name="connsiteX27" fmla="*/ 0 w 1378744"/>
              <a:gd name="connsiteY27" fmla="*/ 545306 h 1250156"/>
              <a:gd name="connsiteX28" fmla="*/ 73819 w 1378744"/>
              <a:gd name="connsiteY28" fmla="*/ 588168 h 1250156"/>
              <a:gd name="connsiteX29" fmla="*/ 90488 w 1378744"/>
              <a:gd name="connsiteY29" fmla="*/ 628650 h 1250156"/>
              <a:gd name="connsiteX30" fmla="*/ 83344 w 1378744"/>
              <a:gd name="connsiteY30" fmla="*/ 654843 h 1250156"/>
              <a:gd name="connsiteX31" fmla="*/ 73819 w 1378744"/>
              <a:gd name="connsiteY31" fmla="*/ 697706 h 1250156"/>
              <a:gd name="connsiteX32" fmla="*/ 78582 w 1378744"/>
              <a:gd name="connsiteY32" fmla="*/ 726281 h 1250156"/>
              <a:gd name="connsiteX33" fmla="*/ 95250 w 1378744"/>
              <a:gd name="connsiteY33" fmla="*/ 738187 h 1250156"/>
              <a:gd name="connsiteX34" fmla="*/ 116682 w 1378744"/>
              <a:gd name="connsiteY34" fmla="*/ 735806 h 1250156"/>
              <a:gd name="connsiteX35" fmla="*/ 123825 w 1378744"/>
              <a:gd name="connsiteY35" fmla="*/ 762000 h 1250156"/>
              <a:gd name="connsiteX36" fmla="*/ 126207 w 1378744"/>
              <a:gd name="connsiteY36" fmla="*/ 783431 h 1250156"/>
              <a:gd name="connsiteX37" fmla="*/ 152400 w 1378744"/>
              <a:gd name="connsiteY37" fmla="*/ 812006 h 1250156"/>
              <a:gd name="connsiteX38" fmla="*/ 164307 w 1378744"/>
              <a:gd name="connsiteY38" fmla="*/ 823912 h 1250156"/>
              <a:gd name="connsiteX39" fmla="*/ 173832 w 1378744"/>
              <a:gd name="connsiteY39" fmla="*/ 850106 h 1250156"/>
              <a:gd name="connsiteX40" fmla="*/ 169069 w 1378744"/>
              <a:gd name="connsiteY40" fmla="*/ 878681 h 1250156"/>
              <a:gd name="connsiteX41" fmla="*/ 176213 w 1378744"/>
              <a:gd name="connsiteY41" fmla="*/ 897731 h 1250156"/>
              <a:gd name="connsiteX42" fmla="*/ 200025 w 1378744"/>
              <a:gd name="connsiteY42" fmla="*/ 916781 h 1250156"/>
              <a:gd name="connsiteX43" fmla="*/ 226219 w 1378744"/>
              <a:gd name="connsiteY43" fmla="*/ 916781 h 1250156"/>
              <a:gd name="connsiteX44" fmla="*/ 300038 w 1378744"/>
              <a:gd name="connsiteY44" fmla="*/ 921543 h 1250156"/>
              <a:gd name="connsiteX45" fmla="*/ 395288 w 1378744"/>
              <a:gd name="connsiteY45" fmla="*/ 952500 h 1250156"/>
              <a:gd name="connsiteX46" fmla="*/ 414338 w 1378744"/>
              <a:gd name="connsiteY46" fmla="*/ 988218 h 1250156"/>
              <a:gd name="connsiteX47" fmla="*/ 435769 w 1378744"/>
              <a:gd name="connsiteY47" fmla="*/ 992981 h 1250156"/>
              <a:gd name="connsiteX48" fmla="*/ 464344 w 1378744"/>
              <a:gd name="connsiteY48" fmla="*/ 995362 h 1250156"/>
              <a:gd name="connsiteX49" fmla="*/ 507207 w 1378744"/>
              <a:gd name="connsiteY49" fmla="*/ 1026318 h 1250156"/>
              <a:gd name="connsiteX50" fmla="*/ 521494 w 1378744"/>
              <a:gd name="connsiteY50" fmla="*/ 1069181 h 1250156"/>
              <a:gd name="connsiteX51" fmla="*/ 545307 w 1378744"/>
              <a:gd name="connsiteY51" fmla="*/ 1107281 h 1250156"/>
              <a:gd name="connsiteX52" fmla="*/ 573882 w 1378744"/>
              <a:gd name="connsiteY52" fmla="*/ 1121568 h 1250156"/>
              <a:gd name="connsiteX53" fmla="*/ 585788 w 1378744"/>
              <a:gd name="connsiteY53" fmla="*/ 1131093 h 1250156"/>
              <a:gd name="connsiteX54" fmla="*/ 597694 w 1378744"/>
              <a:gd name="connsiteY54" fmla="*/ 1181100 h 1250156"/>
              <a:gd name="connsiteX55" fmla="*/ 633413 w 1378744"/>
              <a:gd name="connsiteY55" fmla="*/ 1250156 h 1250156"/>
              <a:gd name="connsiteX56" fmla="*/ 681038 w 1378744"/>
              <a:gd name="connsiteY56" fmla="*/ 1216817 h 1250156"/>
              <a:gd name="connsiteX57" fmla="*/ 814388 w 1378744"/>
              <a:gd name="connsiteY57" fmla="*/ 1138237 h 1250156"/>
              <a:gd name="connsiteX58" fmla="*/ 828675 w 1378744"/>
              <a:gd name="connsiteY58" fmla="*/ 1109662 h 1250156"/>
              <a:gd name="connsiteX59" fmla="*/ 833438 w 1378744"/>
              <a:gd name="connsiteY59" fmla="*/ 1085850 h 1250156"/>
              <a:gd name="connsiteX60" fmla="*/ 797719 w 1378744"/>
              <a:gd name="connsiteY60" fmla="*/ 1059656 h 1250156"/>
              <a:gd name="connsiteX61" fmla="*/ 790575 w 1378744"/>
              <a:gd name="connsiteY61" fmla="*/ 1038225 h 1250156"/>
              <a:gd name="connsiteX62" fmla="*/ 790575 w 1378744"/>
              <a:gd name="connsiteY62" fmla="*/ 1021556 h 1250156"/>
              <a:gd name="connsiteX63" fmla="*/ 845344 w 1378744"/>
              <a:gd name="connsiteY63" fmla="*/ 952500 h 1250156"/>
              <a:gd name="connsiteX64" fmla="*/ 845344 w 1378744"/>
              <a:gd name="connsiteY64" fmla="*/ 952500 h 1250156"/>
              <a:gd name="connsiteX65" fmla="*/ 888207 w 1378744"/>
              <a:gd name="connsiteY65" fmla="*/ 966787 h 1250156"/>
              <a:gd name="connsiteX66" fmla="*/ 907257 w 1378744"/>
              <a:gd name="connsiteY66" fmla="*/ 981075 h 1250156"/>
              <a:gd name="connsiteX67" fmla="*/ 938213 w 1378744"/>
              <a:gd name="connsiteY67" fmla="*/ 990600 h 1250156"/>
              <a:gd name="connsiteX68" fmla="*/ 964407 w 1378744"/>
              <a:gd name="connsiteY68" fmla="*/ 985837 h 1250156"/>
              <a:gd name="connsiteX69" fmla="*/ 985838 w 1378744"/>
              <a:gd name="connsiteY69" fmla="*/ 985837 h 1250156"/>
              <a:gd name="connsiteX70" fmla="*/ 995363 w 1378744"/>
              <a:gd name="connsiteY70" fmla="*/ 995362 h 1250156"/>
              <a:gd name="connsiteX71" fmla="*/ 978694 w 1378744"/>
              <a:gd name="connsiteY71" fmla="*/ 1012031 h 1250156"/>
              <a:gd name="connsiteX72" fmla="*/ 969169 w 1378744"/>
              <a:gd name="connsiteY72" fmla="*/ 1031081 h 1250156"/>
              <a:gd name="connsiteX73" fmla="*/ 954882 w 1378744"/>
              <a:gd name="connsiteY73" fmla="*/ 1054893 h 1250156"/>
              <a:gd name="connsiteX74" fmla="*/ 950119 w 1378744"/>
              <a:gd name="connsiteY74" fmla="*/ 1083468 h 1250156"/>
              <a:gd name="connsiteX75" fmla="*/ 962025 w 1378744"/>
              <a:gd name="connsiteY75" fmla="*/ 1107281 h 1250156"/>
              <a:gd name="connsiteX76" fmla="*/ 983457 w 1378744"/>
              <a:gd name="connsiteY76" fmla="*/ 1131093 h 1250156"/>
              <a:gd name="connsiteX77" fmla="*/ 1002507 w 1378744"/>
              <a:gd name="connsiteY77" fmla="*/ 1133475 h 1250156"/>
              <a:gd name="connsiteX78" fmla="*/ 1028700 w 1378744"/>
              <a:gd name="connsiteY78" fmla="*/ 1126331 h 1250156"/>
              <a:gd name="connsiteX79" fmla="*/ 1031082 w 1378744"/>
              <a:gd name="connsiteY79" fmla="*/ 1097756 h 1250156"/>
              <a:gd name="connsiteX80" fmla="*/ 1057275 w 1378744"/>
              <a:gd name="connsiteY80" fmla="*/ 1085850 h 1250156"/>
              <a:gd name="connsiteX81" fmla="*/ 1076325 w 1378744"/>
              <a:gd name="connsiteY81" fmla="*/ 1097756 h 1250156"/>
              <a:gd name="connsiteX82" fmla="*/ 1100138 w 1378744"/>
              <a:gd name="connsiteY82" fmla="*/ 1107281 h 1250156"/>
              <a:gd name="connsiteX83" fmla="*/ 1123950 w 1378744"/>
              <a:gd name="connsiteY83" fmla="*/ 1121568 h 1250156"/>
              <a:gd name="connsiteX84" fmla="*/ 1143000 w 1378744"/>
              <a:gd name="connsiteY84" fmla="*/ 1123950 h 1250156"/>
              <a:gd name="connsiteX85" fmla="*/ 1157288 w 1378744"/>
              <a:gd name="connsiteY85" fmla="*/ 1112043 h 1250156"/>
              <a:gd name="connsiteX86" fmla="*/ 1159669 w 1378744"/>
              <a:gd name="connsiteY86" fmla="*/ 1085850 h 1250156"/>
              <a:gd name="connsiteX87" fmla="*/ 1166813 w 1378744"/>
              <a:gd name="connsiteY87" fmla="*/ 1052512 h 1250156"/>
              <a:gd name="connsiteX88" fmla="*/ 1197769 w 1378744"/>
              <a:gd name="connsiteY88" fmla="*/ 1016793 h 1250156"/>
              <a:gd name="connsiteX89" fmla="*/ 1195388 w 1378744"/>
              <a:gd name="connsiteY89" fmla="*/ 954881 h 1250156"/>
              <a:gd name="connsiteX90" fmla="*/ 1209675 w 1378744"/>
              <a:gd name="connsiteY90" fmla="*/ 945356 h 1250156"/>
              <a:gd name="connsiteX91" fmla="*/ 1235869 w 1378744"/>
              <a:gd name="connsiteY91" fmla="*/ 945356 h 1250156"/>
              <a:gd name="connsiteX92" fmla="*/ 1235869 w 1378744"/>
              <a:gd name="connsiteY92" fmla="*/ 931068 h 1250156"/>
              <a:gd name="connsiteX93" fmla="*/ 1212057 w 1378744"/>
              <a:gd name="connsiteY93" fmla="*/ 912018 h 1250156"/>
              <a:gd name="connsiteX94" fmla="*/ 1195388 w 1378744"/>
              <a:gd name="connsiteY94" fmla="*/ 881062 h 1250156"/>
              <a:gd name="connsiteX95" fmla="*/ 1157288 w 1378744"/>
              <a:gd name="connsiteY95" fmla="*/ 871537 h 1250156"/>
              <a:gd name="connsiteX96" fmla="*/ 1119188 w 1378744"/>
              <a:gd name="connsiteY96" fmla="*/ 859631 h 1250156"/>
              <a:gd name="connsiteX97" fmla="*/ 1119188 w 1378744"/>
              <a:gd name="connsiteY97" fmla="*/ 831056 h 1250156"/>
              <a:gd name="connsiteX98" fmla="*/ 1135857 w 1378744"/>
              <a:gd name="connsiteY98" fmla="*/ 807243 h 1250156"/>
              <a:gd name="connsiteX99" fmla="*/ 1197769 w 1378744"/>
              <a:gd name="connsiteY99" fmla="*/ 759618 h 1250156"/>
              <a:gd name="connsiteX100" fmla="*/ 1247775 w 1378744"/>
              <a:gd name="connsiteY100" fmla="*/ 762000 h 1250156"/>
              <a:gd name="connsiteX101" fmla="*/ 1278732 w 1378744"/>
              <a:gd name="connsiteY101" fmla="*/ 762000 h 1250156"/>
              <a:gd name="connsiteX102" fmla="*/ 1271588 w 1378744"/>
              <a:gd name="connsiteY102" fmla="*/ 735806 h 1250156"/>
              <a:gd name="connsiteX103" fmla="*/ 1378744 w 1378744"/>
              <a:gd name="connsiteY103" fmla="*/ 678656 h 1250156"/>
              <a:gd name="connsiteX104" fmla="*/ 1331119 w 1378744"/>
              <a:gd name="connsiteY104" fmla="*/ 552450 h 1250156"/>
              <a:gd name="connsiteX105" fmla="*/ 1278732 w 1378744"/>
              <a:gd name="connsiteY105" fmla="*/ 514350 h 1250156"/>
              <a:gd name="connsiteX106" fmla="*/ 1252538 w 1378744"/>
              <a:gd name="connsiteY106" fmla="*/ 431006 h 1250156"/>
              <a:gd name="connsiteX107" fmla="*/ 1181100 w 1378744"/>
              <a:gd name="connsiteY107" fmla="*/ 431006 h 1250156"/>
              <a:gd name="connsiteX108" fmla="*/ 1166813 w 1378744"/>
              <a:gd name="connsiteY108" fmla="*/ 395287 h 1250156"/>
              <a:gd name="connsiteX109" fmla="*/ 1107282 w 1378744"/>
              <a:gd name="connsiteY109" fmla="*/ 421481 h 1250156"/>
              <a:gd name="connsiteX110" fmla="*/ 1054894 w 1378744"/>
              <a:gd name="connsiteY110" fmla="*/ 414337 h 1250156"/>
              <a:gd name="connsiteX111" fmla="*/ 1028700 w 1378744"/>
              <a:gd name="connsiteY111" fmla="*/ 371475 h 1250156"/>
              <a:gd name="connsiteX112" fmla="*/ 1023938 w 1378744"/>
              <a:gd name="connsiteY112" fmla="*/ 288131 h 1250156"/>
              <a:gd name="connsiteX113" fmla="*/ 1012032 w 1378744"/>
              <a:gd name="connsiteY113" fmla="*/ 269081 h 1250156"/>
              <a:gd name="connsiteX114" fmla="*/ 1012032 w 1378744"/>
              <a:gd name="connsiteY114" fmla="*/ 211931 h 1250156"/>
              <a:gd name="connsiteX115" fmla="*/ 959644 w 1378744"/>
              <a:gd name="connsiteY115" fmla="*/ 190500 h 1250156"/>
              <a:gd name="connsiteX116" fmla="*/ 914400 w 1378744"/>
              <a:gd name="connsiteY116" fmla="*/ 111918 h 1250156"/>
              <a:gd name="connsiteX117" fmla="*/ 854869 w 1378744"/>
              <a:gd name="connsiteY117" fmla="*/ 76200 h 1250156"/>
              <a:gd name="connsiteX118" fmla="*/ 873919 w 1378744"/>
              <a:gd name="connsiteY118" fmla="*/ 16668 h 1250156"/>
              <a:gd name="connsiteX119" fmla="*/ 783432 w 1378744"/>
              <a:gd name="connsiteY119" fmla="*/ 0 h 1250156"/>
              <a:gd name="connsiteX0" fmla="*/ 783432 w 1378744"/>
              <a:gd name="connsiteY0" fmla="*/ 0 h 1278730"/>
              <a:gd name="connsiteX1" fmla="*/ 738188 w 1378744"/>
              <a:gd name="connsiteY1" fmla="*/ 26193 h 1278730"/>
              <a:gd name="connsiteX2" fmla="*/ 685800 w 1378744"/>
              <a:gd name="connsiteY2" fmla="*/ 28575 h 1278730"/>
              <a:gd name="connsiteX3" fmla="*/ 635794 w 1378744"/>
              <a:gd name="connsiteY3" fmla="*/ 73818 h 1278730"/>
              <a:gd name="connsiteX4" fmla="*/ 633413 w 1378744"/>
              <a:gd name="connsiteY4" fmla="*/ 114300 h 1278730"/>
              <a:gd name="connsiteX5" fmla="*/ 561975 w 1378744"/>
              <a:gd name="connsiteY5" fmla="*/ 190500 h 1278730"/>
              <a:gd name="connsiteX6" fmla="*/ 519113 w 1378744"/>
              <a:gd name="connsiteY6" fmla="*/ 214312 h 1278730"/>
              <a:gd name="connsiteX7" fmla="*/ 485775 w 1378744"/>
              <a:gd name="connsiteY7" fmla="*/ 252412 h 1278730"/>
              <a:gd name="connsiteX8" fmla="*/ 461963 w 1378744"/>
              <a:gd name="connsiteY8" fmla="*/ 273843 h 1278730"/>
              <a:gd name="connsiteX9" fmla="*/ 423863 w 1378744"/>
              <a:gd name="connsiteY9" fmla="*/ 333375 h 1278730"/>
              <a:gd name="connsiteX10" fmla="*/ 378619 w 1378744"/>
              <a:gd name="connsiteY10" fmla="*/ 357187 h 1278730"/>
              <a:gd name="connsiteX11" fmla="*/ 292894 w 1378744"/>
              <a:gd name="connsiteY11" fmla="*/ 376237 h 1278730"/>
              <a:gd name="connsiteX12" fmla="*/ 264319 w 1378744"/>
              <a:gd name="connsiteY12" fmla="*/ 373856 h 1278730"/>
              <a:gd name="connsiteX13" fmla="*/ 240507 w 1378744"/>
              <a:gd name="connsiteY13" fmla="*/ 359568 h 1278730"/>
              <a:gd name="connsiteX14" fmla="*/ 226219 w 1378744"/>
              <a:gd name="connsiteY14" fmla="*/ 338137 h 1278730"/>
              <a:gd name="connsiteX15" fmla="*/ 219075 w 1378744"/>
              <a:gd name="connsiteY15" fmla="*/ 311943 h 1278730"/>
              <a:gd name="connsiteX16" fmla="*/ 204788 w 1378744"/>
              <a:gd name="connsiteY16" fmla="*/ 309562 h 1278730"/>
              <a:gd name="connsiteX17" fmla="*/ 188119 w 1378744"/>
              <a:gd name="connsiteY17" fmla="*/ 304800 h 1278730"/>
              <a:gd name="connsiteX18" fmla="*/ 173832 w 1378744"/>
              <a:gd name="connsiteY18" fmla="*/ 302418 h 1278730"/>
              <a:gd name="connsiteX19" fmla="*/ 128588 w 1378744"/>
              <a:gd name="connsiteY19" fmla="*/ 352425 h 1278730"/>
              <a:gd name="connsiteX20" fmla="*/ 97632 w 1378744"/>
              <a:gd name="connsiteY20" fmla="*/ 371475 h 1278730"/>
              <a:gd name="connsiteX21" fmla="*/ 80963 w 1378744"/>
              <a:gd name="connsiteY21" fmla="*/ 390525 h 1278730"/>
              <a:gd name="connsiteX22" fmla="*/ 66675 w 1378744"/>
              <a:gd name="connsiteY22" fmla="*/ 435768 h 1278730"/>
              <a:gd name="connsiteX23" fmla="*/ 54769 w 1378744"/>
              <a:gd name="connsiteY23" fmla="*/ 447675 h 1278730"/>
              <a:gd name="connsiteX24" fmla="*/ 9525 w 1378744"/>
              <a:gd name="connsiteY24" fmla="*/ 466725 h 1278730"/>
              <a:gd name="connsiteX25" fmla="*/ 2382 w 1378744"/>
              <a:gd name="connsiteY25" fmla="*/ 481012 h 1278730"/>
              <a:gd name="connsiteX26" fmla="*/ 4763 w 1378744"/>
              <a:gd name="connsiteY26" fmla="*/ 533400 h 1278730"/>
              <a:gd name="connsiteX27" fmla="*/ 0 w 1378744"/>
              <a:gd name="connsiteY27" fmla="*/ 545306 h 1278730"/>
              <a:gd name="connsiteX28" fmla="*/ 73819 w 1378744"/>
              <a:gd name="connsiteY28" fmla="*/ 588168 h 1278730"/>
              <a:gd name="connsiteX29" fmla="*/ 90488 w 1378744"/>
              <a:gd name="connsiteY29" fmla="*/ 628650 h 1278730"/>
              <a:gd name="connsiteX30" fmla="*/ 83344 w 1378744"/>
              <a:gd name="connsiteY30" fmla="*/ 654843 h 1278730"/>
              <a:gd name="connsiteX31" fmla="*/ 73819 w 1378744"/>
              <a:gd name="connsiteY31" fmla="*/ 697706 h 1278730"/>
              <a:gd name="connsiteX32" fmla="*/ 78582 w 1378744"/>
              <a:gd name="connsiteY32" fmla="*/ 726281 h 1278730"/>
              <a:gd name="connsiteX33" fmla="*/ 95250 w 1378744"/>
              <a:gd name="connsiteY33" fmla="*/ 738187 h 1278730"/>
              <a:gd name="connsiteX34" fmla="*/ 116682 w 1378744"/>
              <a:gd name="connsiteY34" fmla="*/ 735806 h 1278730"/>
              <a:gd name="connsiteX35" fmla="*/ 123825 w 1378744"/>
              <a:gd name="connsiteY35" fmla="*/ 762000 h 1278730"/>
              <a:gd name="connsiteX36" fmla="*/ 126207 w 1378744"/>
              <a:gd name="connsiteY36" fmla="*/ 783431 h 1278730"/>
              <a:gd name="connsiteX37" fmla="*/ 152400 w 1378744"/>
              <a:gd name="connsiteY37" fmla="*/ 812006 h 1278730"/>
              <a:gd name="connsiteX38" fmla="*/ 164307 w 1378744"/>
              <a:gd name="connsiteY38" fmla="*/ 823912 h 1278730"/>
              <a:gd name="connsiteX39" fmla="*/ 173832 w 1378744"/>
              <a:gd name="connsiteY39" fmla="*/ 850106 h 1278730"/>
              <a:gd name="connsiteX40" fmla="*/ 169069 w 1378744"/>
              <a:gd name="connsiteY40" fmla="*/ 878681 h 1278730"/>
              <a:gd name="connsiteX41" fmla="*/ 176213 w 1378744"/>
              <a:gd name="connsiteY41" fmla="*/ 897731 h 1278730"/>
              <a:gd name="connsiteX42" fmla="*/ 200025 w 1378744"/>
              <a:gd name="connsiteY42" fmla="*/ 916781 h 1278730"/>
              <a:gd name="connsiteX43" fmla="*/ 226219 w 1378744"/>
              <a:gd name="connsiteY43" fmla="*/ 916781 h 1278730"/>
              <a:gd name="connsiteX44" fmla="*/ 300038 w 1378744"/>
              <a:gd name="connsiteY44" fmla="*/ 921543 h 1278730"/>
              <a:gd name="connsiteX45" fmla="*/ 395288 w 1378744"/>
              <a:gd name="connsiteY45" fmla="*/ 952500 h 1278730"/>
              <a:gd name="connsiteX46" fmla="*/ 414338 w 1378744"/>
              <a:gd name="connsiteY46" fmla="*/ 988218 h 1278730"/>
              <a:gd name="connsiteX47" fmla="*/ 435769 w 1378744"/>
              <a:gd name="connsiteY47" fmla="*/ 992981 h 1278730"/>
              <a:gd name="connsiteX48" fmla="*/ 464344 w 1378744"/>
              <a:gd name="connsiteY48" fmla="*/ 995362 h 1278730"/>
              <a:gd name="connsiteX49" fmla="*/ 507207 w 1378744"/>
              <a:gd name="connsiteY49" fmla="*/ 1026318 h 1278730"/>
              <a:gd name="connsiteX50" fmla="*/ 521494 w 1378744"/>
              <a:gd name="connsiteY50" fmla="*/ 1069181 h 1278730"/>
              <a:gd name="connsiteX51" fmla="*/ 545307 w 1378744"/>
              <a:gd name="connsiteY51" fmla="*/ 1107281 h 1278730"/>
              <a:gd name="connsiteX52" fmla="*/ 573882 w 1378744"/>
              <a:gd name="connsiteY52" fmla="*/ 1121568 h 1278730"/>
              <a:gd name="connsiteX53" fmla="*/ 585788 w 1378744"/>
              <a:gd name="connsiteY53" fmla="*/ 1131093 h 1278730"/>
              <a:gd name="connsiteX54" fmla="*/ 597694 w 1378744"/>
              <a:gd name="connsiteY54" fmla="*/ 1181100 h 1278730"/>
              <a:gd name="connsiteX55" fmla="*/ 633413 w 1378744"/>
              <a:gd name="connsiteY55" fmla="*/ 1250156 h 1278730"/>
              <a:gd name="connsiteX56" fmla="*/ 692944 w 1378744"/>
              <a:gd name="connsiteY56" fmla="*/ 1278730 h 1278730"/>
              <a:gd name="connsiteX57" fmla="*/ 814388 w 1378744"/>
              <a:gd name="connsiteY57" fmla="*/ 1138237 h 1278730"/>
              <a:gd name="connsiteX58" fmla="*/ 828675 w 1378744"/>
              <a:gd name="connsiteY58" fmla="*/ 1109662 h 1278730"/>
              <a:gd name="connsiteX59" fmla="*/ 833438 w 1378744"/>
              <a:gd name="connsiteY59" fmla="*/ 1085850 h 1278730"/>
              <a:gd name="connsiteX60" fmla="*/ 797719 w 1378744"/>
              <a:gd name="connsiteY60" fmla="*/ 1059656 h 1278730"/>
              <a:gd name="connsiteX61" fmla="*/ 790575 w 1378744"/>
              <a:gd name="connsiteY61" fmla="*/ 1038225 h 1278730"/>
              <a:gd name="connsiteX62" fmla="*/ 790575 w 1378744"/>
              <a:gd name="connsiteY62" fmla="*/ 1021556 h 1278730"/>
              <a:gd name="connsiteX63" fmla="*/ 845344 w 1378744"/>
              <a:gd name="connsiteY63" fmla="*/ 952500 h 1278730"/>
              <a:gd name="connsiteX64" fmla="*/ 845344 w 1378744"/>
              <a:gd name="connsiteY64" fmla="*/ 952500 h 1278730"/>
              <a:gd name="connsiteX65" fmla="*/ 888207 w 1378744"/>
              <a:gd name="connsiteY65" fmla="*/ 966787 h 1278730"/>
              <a:gd name="connsiteX66" fmla="*/ 907257 w 1378744"/>
              <a:gd name="connsiteY66" fmla="*/ 981075 h 1278730"/>
              <a:gd name="connsiteX67" fmla="*/ 938213 w 1378744"/>
              <a:gd name="connsiteY67" fmla="*/ 990600 h 1278730"/>
              <a:gd name="connsiteX68" fmla="*/ 964407 w 1378744"/>
              <a:gd name="connsiteY68" fmla="*/ 985837 h 1278730"/>
              <a:gd name="connsiteX69" fmla="*/ 985838 w 1378744"/>
              <a:gd name="connsiteY69" fmla="*/ 985837 h 1278730"/>
              <a:gd name="connsiteX70" fmla="*/ 995363 w 1378744"/>
              <a:gd name="connsiteY70" fmla="*/ 995362 h 1278730"/>
              <a:gd name="connsiteX71" fmla="*/ 978694 w 1378744"/>
              <a:gd name="connsiteY71" fmla="*/ 1012031 h 1278730"/>
              <a:gd name="connsiteX72" fmla="*/ 969169 w 1378744"/>
              <a:gd name="connsiteY72" fmla="*/ 1031081 h 1278730"/>
              <a:gd name="connsiteX73" fmla="*/ 954882 w 1378744"/>
              <a:gd name="connsiteY73" fmla="*/ 1054893 h 1278730"/>
              <a:gd name="connsiteX74" fmla="*/ 950119 w 1378744"/>
              <a:gd name="connsiteY74" fmla="*/ 1083468 h 1278730"/>
              <a:gd name="connsiteX75" fmla="*/ 962025 w 1378744"/>
              <a:gd name="connsiteY75" fmla="*/ 1107281 h 1278730"/>
              <a:gd name="connsiteX76" fmla="*/ 983457 w 1378744"/>
              <a:gd name="connsiteY76" fmla="*/ 1131093 h 1278730"/>
              <a:gd name="connsiteX77" fmla="*/ 1002507 w 1378744"/>
              <a:gd name="connsiteY77" fmla="*/ 1133475 h 1278730"/>
              <a:gd name="connsiteX78" fmla="*/ 1028700 w 1378744"/>
              <a:gd name="connsiteY78" fmla="*/ 1126331 h 1278730"/>
              <a:gd name="connsiteX79" fmla="*/ 1031082 w 1378744"/>
              <a:gd name="connsiteY79" fmla="*/ 1097756 h 1278730"/>
              <a:gd name="connsiteX80" fmla="*/ 1057275 w 1378744"/>
              <a:gd name="connsiteY80" fmla="*/ 1085850 h 1278730"/>
              <a:gd name="connsiteX81" fmla="*/ 1076325 w 1378744"/>
              <a:gd name="connsiteY81" fmla="*/ 1097756 h 1278730"/>
              <a:gd name="connsiteX82" fmla="*/ 1100138 w 1378744"/>
              <a:gd name="connsiteY82" fmla="*/ 1107281 h 1278730"/>
              <a:gd name="connsiteX83" fmla="*/ 1123950 w 1378744"/>
              <a:gd name="connsiteY83" fmla="*/ 1121568 h 1278730"/>
              <a:gd name="connsiteX84" fmla="*/ 1143000 w 1378744"/>
              <a:gd name="connsiteY84" fmla="*/ 1123950 h 1278730"/>
              <a:gd name="connsiteX85" fmla="*/ 1157288 w 1378744"/>
              <a:gd name="connsiteY85" fmla="*/ 1112043 h 1278730"/>
              <a:gd name="connsiteX86" fmla="*/ 1159669 w 1378744"/>
              <a:gd name="connsiteY86" fmla="*/ 1085850 h 1278730"/>
              <a:gd name="connsiteX87" fmla="*/ 1166813 w 1378744"/>
              <a:gd name="connsiteY87" fmla="*/ 1052512 h 1278730"/>
              <a:gd name="connsiteX88" fmla="*/ 1197769 w 1378744"/>
              <a:gd name="connsiteY88" fmla="*/ 1016793 h 1278730"/>
              <a:gd name="connsiteX89" fmla="*/ 1195388 w 1378744"/>
              <a:gd name="connsiteY89" fmla="*/ 954881 h 1278730"/>
              <a:gd name="connsiteX90" fmla="*/ 1209675 w 1378744"/>
              <a:gd name="connsiteY90" fmla="*/ 945356 h 1278730"/>
              <a:gd name="connsiteX91" fmla="*/ 1235869 w 1378744"/>
              <a:gd name="connsiteY91" fmla="*/ 945356 h 1278730"/>
              <a:gd name="connsiteX92" fmla="*/ 1235869 w 1378744"/>
              <a:gd name="connsiteY92" fmla="*/ 931068 h 1278730"/>
              <a:gd name="connsiteX93" fmla="*/ 1212057 w 1378744"/>
              <a:gd name="connsiteY93" fmla="*/ 912018 h 1278730"/>
              <a:gd name="connsiteX94" fmla="*/ 1195388 w 1378744"/>
              <a:gd name="connsiteY94" fmla="*/ 881062 h 1278730"/>
              <a:gd name="connsiteX95" fmla="*/ 1157288 w 1378744"/>
              <a:gd name="connsiteY95" fmla="*/ 871537 h 1278730"/>
              <a:gd name="connsiteX96" fmla="*/ 1119188 w 1378744"/>
              <a:gd name="connsiteY96" fmla="*/ 859631 h 1278730"/>
              <a:gd name="connsiteX97" fmla="*/ 1119188 w 1378744"/>
              <a:gd name="connsiteY97" fmla="*/ 831056 h 1278730"/>
              <a:gd name="connsiteX98" fmla="*/ 1135857 w 1378744"/>
              <a:gd name="connsiteY98" fmla="*/ 807243 h 1278730"/>
              <a:gd name="connsiteX99" fmla="*/ 1197769 w 1378744"/>
              <a:gd name="connsiteY99" fmla="*/ 759618 h 1278730"/>
              <a:gd name="connsiteX100" fmla="*/ 1247775 w 1378744"/>
              <a:gd name="connsiteY100" fmla="*/ 762000 h 1278730"/>
              <a:gd name="connsiteX101" fmla="*/ 1278732 w 1378744"/>
              <a:gd name="connsiteY101" fmla="*/ 762000 h 1278730"/>
              <a:gd name="connsiteX102" fmla="*/ 1271588 w 1378744"/>
              <a:gd name="connsiteY102" fmla="*/ 735806 h 1278730"/>
              <a:gd name="connsiteX103" fmla="*/ 1378744 w 1378744"/>
              <a:gd name="connsiteY103" fmla="*/ 678656 h 1278730"/>
              <a:gd name="connsiteX104" fmla="*/ 1331119 w 1378744"/>
              <a:gd name="connsiteY104" fmla="*/ 552450 h 1278730"/>
              <a:gd name="connsiteX105" fmla="*/ 1278732 w 1378744"/>
              <a:gd name="connsiteY105" fmla="*/ 514350 h 1278730"/>
              <a:gd name="connsiteX106" fmla="*/ 1252538 w 1378744"/>
              <a:gd name="connsiteY106" fmla="*/ 431006 h 1278730"/>
              <a:gd name="connsiteX107" fmla="*/ 1181100 w 1378744"/>
              <a:gd name="connsiteY107" fmla="*/ 431006 h 1278730"/>
              <a:gd name="connsiteX108" fmla="*/ 1166813 w 1378744"/>
              <a:gd name="connsiteY108" fmla="*/ 395287 h 1278730"/>
              <a:gd name="connsiteX109" fmla="*/ 1107282 w 1378744"/>
              <a:gd name="connsiteY109" fmla="*/ 421481 h 1278730"/>
              <a:gd name="connsiteX110" fmla="*/ 1054894 w 1378744"/>
              <a:gd name="connsiteY110" fmla="*/ 414337 h 1278730"/>
              <a:gd name="connsiteX111" fmla="*/ 1028700 w 1378744"/>
              <a:gd name="connsiteY111" fmla="*/ 371475 h 1278730"/>
              <a:gd name="connsiteX112" fmla="*/ 1023938 w 1378744"/>
              <a:gd name="connsiteY112" fmla="*/ 288131 h 1278730"/>
              <a:gd name="connsiteX113" fmla="*/ 1012032 w 1378744"/>
              <a:gd name="connsiteY113" fmla="*/ 269081 h 1278730"/>
              <a:gd name="connsiteX114" fmla="*/ 1012032 w 1378744"/>
              <a:gd name="connsiteY114" fmla="*/ 211931 h 1278730"/>
              <a:gd name="connsiteX115" fmla="*/ 959644 w 1378744"/>
              <a:gd name="connsiteY115" fmla="*/ 190500 h 1278730"/>
              <a:gd name="connsiteX116" fmla="*/ 914400 w 1378744"/>
              <a:gd name="connsiteY116" fmla="*/ 111918 h 1278730"/>
              <a:gd name="connsiteX117" fmla="*/ 854869 w 1378744"/>
              <a:gd name="connsiteY117" fmla="*/ 76200 h 1278730"/>
              <a:gd name="connsiteX118" fmla="*/ 873919 w 1378744"/>
              <a:gd name="connsiteY118" fmla="*/ 16668 h 1278730"/>
              <a:gd name="connsiteX119" fmla="*/ 783432 w 1378744"/>
              <a:gd name="connsiteY119" fmla="*/ 0 h 1278730"/>
              <a:gd name="connsiteX0" fmla="*/ 783432 w 1378744"/>
              <a:gd name="connsiteY0" fmla="*/ 0 h 1278730"/>
              <a:gd name="connsiteX1" fmla="*/ 738188 w 1378744"/>
              <a:gd name="connsiteY1" fmla="*/ 26193 h 1278730"/>
              <a:gd name="connsiteX2" fmla="*/ 685800 w 1378744"/>
              <a:gd name="connsiteY2" fmla="*/ 28575 h 1278730"/>
              <a:gd name="connsiteX3" fmla="*/ 635794 w 1378744"/>
              <a:gd name="connsiteY3" fmla="*/ 73818 h 1278730"/>
              <a:gd name="connsiteX4" fmla="*/ 633413 w 1378744"/>
              <a:gd name="connsiteY4" fmla="*/ 114300 h 1278730"/>
              <a:gd name="connsiteX5" fmla="*/ 561975 w 1378744"/>
              <a:gd name="connsiteY5" fmla="*/ 190500 h 1278730"/>
              <a:gd name="connsiteX6" fmla="*/ 519113 w 1378744"/>
              <a:gd name="connsiteY6" fmla="*/ 214312 h 1278730"/>
              <a:gd name="connsiteX7" fmla="*/ 485775 w 1378744"/>
              <a:gd name="connsiteY7" fmla="*/ 252412 h 1278730"/>
              <a:gd name="connsiteX8" fmla="*/ 461963 w 1378744"/>
              <a:gd name="connsiteY8" fmla="*/ 273843 h 1278730"/>
              <a:gd name="connsiteX9" fmla="*/ 423863 w 1378744"/>
              <a:gd name="connsiteY9" fmla="*/ 333375 h 1278730"/>
              <a:gd name="connsiteX10" fmla="*/ 378619 w 1378744"/>
              <a:gd name="connsiteY10" fmla="*/ 357187 h 1278730"/>
              <a:gd name="connsiteX11" fmla="*/ 292894 w 1378744"/>
              <a:gd name="connsiteY11" fmla="*/ 376237 h 1278730"/>
              <a:gd name="connsiteX12" fmla="*/ 264319 w 1378744"/>
              <a:gd name="connsiteY12" fmla="*/ 373856 h 1278730"/>
              <a:gd name="connsiteX13" fmla="*/ 240507 w 1378744"/>
              <a:gd name="connsiteY13" fmla="*/ 359568 h 1278730"/>
              <a:gd name="connsiteX14" fmla="*/ 226219 w 1378744"/>
              <a:gd name="connsiteY14" fmla="*/ 338137 h 1278730"/>
              <a:gd name="connsiteX15" fmla="*/ 219075 w 1378744"/>
              <a:gd name="connsiteY15" fmla="*/ 311943 h 1278730"/>
              <a:gd name="connsiteX16" fmla="*/ 204788 w 1378744"/>
              <a:gd name="connsiteY16" fmla="*/ 309562 h 1278730"/>
              <a:gd name="connsiteX17" fmla="*/ 188119 w 1378744"/>
              <a:gd name="connsiteY17" fmla="*/ 304800 h 1278730"/>
              <a:gd name="connsiteX18" fmla="*/ 173832 w 1378744"/>
              <a:gd name="connsiteY18" fmla="*/ 302418 h 1278730"/>
              <a:gd name="connsiteX19" fmla="*/ 128588 w 1378744"/>
              <a:gd name="connsiteY19" fmla="*/ 352425 h 1278730"/>
              <a:gd name="connsiteX20" fmla="*/ 97632 w 1378744"/>
              <a:gd name="connsiteY20" fmla="*/ 371475 h 1278730"/>
              <a:gd name="connsiteX21" fmla="*/ 80963 w 1378744"/>
              <a:gd name="connsiteY21" fmla="*/ 390525 h 1278730"/>
              <a:gd name="connsiteX22" fmla="*/ 66675 w 1378744"/>
              <a:gd name="connsiteY22" fmla="*/ 435768 h 1278730"/>
              <a:gd name="connsiteX23" fmla="*/ 54769 w 1378744"/>
              <a:gd name="connsiteY23" fmla="*/ 447675 h 1278730"/>
              <a:gd name="connsiteX24" fmla="*/ 9525 w 1378744"/>
              <a:gd name="connsiteY24" fmla="*/ 466725 h 1278730"/>
              <a:gd name="connsiteX25" fmla="*/ 2382 w 1378744"/>
              <a:gd name="connsiteY25" fmla="*/ 481012 h 1278730"/>
              <a:gd name="connsiteX26" fmla="*/ 4763 w 1378744"/>
              <a:gd name="connsiteY26" fmla="*/ 533400 h 1278730"/>
              <a:gd name="connsiteX27" fmla="*/ 0 w 1378744"/>
              <a:gd name="connsiteY27" fmla="*/ 545306 h 1278730"/>
              <a:gd name="connsiteX28" fmla="*/ 73819 w 1378744"/>
              <a:gd name="connsiteY28" fmla="*/ 588168 h 1278730"/>
              <a:gd name="connsiteX29" fmla="*/ 90488 w 1378744"/>
              <a:gd name="connsiteY29" fmla="*/ 628650 h 1278730"/>
              <a:gd name="connsiteX30" fmla="*/ 83344 w 1378744"/>
              <a:gd name="connsiteY30" fmla="*/ 654843 h 1278730"/>
              <a:gd name="connsiteX31" fmla="*/ 73819 w 1378744"/>
              <a:gd name="connsiteY31" fmla="*/ 697706 h 1278730"/>
              <a:gd name="connsiteX32" fmla="*/ 78582 w 1378744"/>
              <a:gd name="connsiteY32" fmla="*/ 726281 h 1278730"/>
              <a:gd name="connsiteX33" fmla="*/ 95250 w 1378744"/>
              <a:gd name="connsiteY33" fmla="*/ 738187 h 1278730"/>
              <a:gd name="connsiteX34" fmla="*/ 116682 w 1378744"/>
              <a:gd name="connsiteY34" fmla="*/ 735806 h 1278730"/>
              <a:gd name="connsiteX35" fmla="*/ 123825 w 1378744"/>
              <a:gd name="connsiteY35" fmla="*/ 762000 h 1278730"/>
              <a:gd name="connsiteX36" fmla="*/ 126207 w 1378744"/>
              <a:gd name="connsiteY36" fmla="*/ 783431 h 1278730"/>
              <a:gd name="connsiteX37" fmla="*/ 152400 w 1378744"/>
              <a:gd name="connsiteY37" fmla="*/ 812006 h 1278730"/>
              <a:gd name="connsiteX38" fmla="*/ 164307 w 1378744"/>
              <a:gd name="connsiteY38" fmla="*/ 823912 h 1278730"/>
              <a:gd name="connsiteX39" fmla="*/ 173832 w 1378744"/>
              <a:gd name="connsiteY39" fmla="*/ 850106 h 1278730"/>
              <a:gd name="connsiteX40" fmla="*/ 169069 w 1378744"/>
              <a:gd name="connsiteY40" fmla="*/ 878681 h 1278730"/>
              <a:gd name="connsiteX41" fmla="*/ 176213 w 1378744"/>
              <a:gd name="connsiteY41" fmla="*/ 897731 h 1278730"/>
              <a:gd name="connsiteX42" fmla="*/ 200025 w 1378744"/>
              <a:gd name="connsiteY42" fmla="*/ 916781 h 1278730"/>
              <a:gd name="connsiteX43" fmla="*/ 226219 w 1378744"/>
              <a:gd name="connsiteY43" fmla="*/ 916781 h 1278730"/>
              <a:gd name="connsiteX44" fmla="*/ 300038 w 1378744"/>
              <a:gd name="connsiteY44" fmla="*/ 921543 h 1278730"/>
              <a:gd name="connsiteX45" fmla="*/ 395288 w 1378744"/>
              <a:gd name="connsiteY45" fmla="*/ 952500 h 1278730"/>
              <a:gd name="connsiteX46" fmla="*/ 414338 w 1378744"/>
              <a:gd name="connsiteY46" fmla="*/ 988218 h 1278730"/>
              <a:gd name="connsiteX47" fmla="*/ 435769 w 1378744"/>
              <a:gd name="connsiteY47" fmla="*/ 992981 h 1278730"/>
              <a:gd name="connsiteX48" fmla="*/ 464344 w 1378744"/>
              <a:gd name="connsiteY48" fmla="*/ 995362 h 1278730"/>
              <a:gd name="connsiteX49" fmla="*/ 507207 w 1378744"/>
              <a:gd name="connsiteY49" fmla="*/ 1026318 h 1278730"/>
              <a:gd name="connsiteX50" fmla="*/ 521494 w 1378744"/>
              <a:gd name="connsiteY50" fmla="*/ 1069181 h 1278730"/>
              <a:gd name="connsiteX51" fmla="*/ 545307 w 1378744"/>
              <a:gd name="connsiteY51" fmla="*/ 1107281 h 1278730"/>
              <a:gd name="connsiteX52" fmla="*/ 573882 w 1378744"/>
              <a:gd name="connsiteY52" fmla="*/ 1121568 h 1278730"/>
              <a:gd name="connsiteX53" fmla="*/ 585788 w 1378744"/>
              <a:gd name="connsiteY53" fmla="*/ 1131093 h 1278730"/>
              <a:gd name="connsiteX54" fmla="*/ 597694 w 1378744"/>
              <a:gd name="connsiteY54" fmla="*/ 1181100 h 1278730"/>
              <a:gd name="connsiteX55" fmla="*/ 633413 w 1378744"/>
              <a:gd name="connsiteY55" fmla="*/ 1250156 h 1278730"/>
              <a:gd name="connsiteX56" fmla="*/ 692944 w 1378744"/>
              <a:gd name="connsiteY56" fmla="*/ 1278730 h 1278730"/>
              <a:gd name="connsiteX57" fmla="*/ 721519 w 1378744"/>
              <a:gd name="connsiteY57" fmla="*/ 1245392 h 1278730"/>
              <a:gd name="connsiteX58" fmla="*/ 814388 w 1378744"/>
              <a:gd name="connsiteY58" fmla="*/ 1138237 h 1278730"/>
              <a:gd name="connsiteX59" fmla="*/ 828675 w 1378744"/>
              <a:gd name="connsiteY59" fmla="*/ 1109662 h 1278730"/>
              <a:gd name="connsiteX60" fmla="*/ 833438 w 1378744"/>
              <a:gd name="connsiteY60" fmla="*/ 1085850 h 1278730"/>
              <a:gd name="connsiteX61" fmla="*/ 797719 w 1378744"/>
              <a:gd name="connsiteY61" fmla="*/ 1059656 h 1278730"/>
              <a:gd name="connsiteX62" fmla="*/ 790575 w 1378744"/>
              <a:gd name="connsiteY62" fmla="*/ 1038225 h 1278730"/>
              <a:gd name="connsiteX63" fmla="*/ 790575 w 1378744"/>
              <a:gd name="connsiteY63" fmla="*/ 1021556 h 1278730"/>
              <a:gd name="connsiteX64" fmla="*/ 845344 w 1378744"/>
              <a:gd name="connsiteY64" fmla="*/ 952500 h 1278730"/>
              <a:gd name="connsiteX65" fmla="*/ 845344 w 1378744"/>
              <a:gd name="connsiteY65" fmla="*/ 952500 h 1278730"/>
              <a:gd name="connsiteX66" fmla="*/ 888207 w 1378744"/>
              <a:gd name="connsiteY66" fmla="*/ 966787 h 1278730"/>
              <a:gd name="connsiteX67" fmla="*/ 907257 w 1378744"/>
              <a:gd name="connsiteY67" fmla="*/ 981075 h 1278730"/>
              <a:gd name="connsiteX68" fmla="*/ 938213 w 1378744"/>
              <a:gd name="connsiteY68" fmla="*/ 990600 h 1278730"/>
              <a:gd name="connsiteX69" fmla="*/ 964407 w 1378744"/>
              <a:gd name="connsiteY69" fmla="*/ 985837 h 1278730"/>
              <a:gd name="connsiteX70" fmla="*/ 985838 w 1378744"/>
              <a:gd name="connsiteY70" fmla="*/ 985837 h 1278730"/>
              <a:gd name="connsiteX71" fmla="*/ 995363 w 1378744"/>
              <a:gd name="connsiteY71" fmla="*/ 995362 h 1278730"/>
              <a:gd name="connsiteX72" fmla="*/ 978694 w 1378744"/>
              <a:gd name="connsiteY72" fmla="*/ 1012031 h 1278730"/>
              <a:gd name="connsiteX73" fmla="*/ 969169 w 1378744"/>
              <a:gd name="connsiteY73" fmla="*/ 1031081 h 1278730"/>
              <a:gd name="connsiteX74" fmla="*/ 954882 w 1378744"/>
              <a:gd name="connsiteY74" fmla="*/ 1054893 h 1278730"/>
              <a:gd name="connsiteX75" fmla="*/ 950119 w 1378744"/>
              <a:gd name="connsiteY75" fmla="*/ 1083468 h 1278730"/>
              <a:gd name="connsiteX76" fmla="*/ 962025 w 1378744"/>
              <a:gd name="connsiteY76" fmla="*/ 1107281 h 1278730"/>
              <a:gd name="connsiteX77" fmla="*/ 983457 w 1378744"/>
              <a:gd name="connsiteY77" fmla="*/ 1131093 h 1278730"/>
              <a:gd name="connsiteX78" fmla="*/ 1002507 w 1378744"/>
              <a:gd name="connsiteY78" fmla="*/ 1133475 h 1278730"/>
              <a:gd name="connsiteX79" fmla="*/ 1028700 w 1378744"/>
              <a:gd name="connsiteY79" fmla="*/ 1126331 h 1278730"/>
              <a:gd name="connsiteX80" fmla="*/ 1031082 w 1378744"/>
              <a:gd name="connsiteY80" fmla="*/ 1097756 h 1278730"/>
              <a:gd name="connsiteX81" fmla="*/ 1057275 w 1378744"/>
              <a:gd name="connsiteY81" fmla="*/ 1085850 h 1278730"/>
              <a:gd name="connsiteX82" fmla="*/ 1076325 w 1378744"/>
              <a:gd name="connsiteY82" fmla="*/ 1097756 h 1278730"/>
              <a:gd name="connsiteX83" fmla="*/ 1100138 w 1378744"/>
              <a:gd name="connsiteY83" fmla="*/ 1107281 h 1278730"/>
              <a:gd name="connsiteX84" fmla="*/ 1123950 w 1378744"/>
              <a:gd name="connsiteY84" fmla="*/ 1121568 h 1278730"/>
              <a:gd name="connsiteX85" fmla="*/ 1143000 w 1378744"/>
              <a:gd name="connsiteY85" fmla="*/ 1123950 h 1278730"/>
              <a:gd name="connsiteX86" fmla="*/ 1157288 w 1378744"/>
              <a:gd name="connsiteY86" fmla="*/ 1112043 h 1278730"/>
              <a:gd name="connsiteX87" fmla="*/ 1159669 w 1378744"/>
              <a:gd name="connsiteY87" fmla="*/ 1085850 h 1278730"/>
              <a:gd name="connsiteX88" fmla="*/ 1166813 w 1378744"/>
              <a:gd name="connsiteY88" fmla="*/ 1052512 h 1278730"/>
              <a:gd name="connsiteX89" fmla="*/ 1197769 w 1378744"/>
              <a:gd name="connsiteY89" fmla="*/ 1016793 h 1278730"/>
              <a:gd name="connsiteX90" fmla="*/ 1195388 w 1378744"/>
              <a:gd name="connsiteY90" fmla="*/ 954881 h 1278730"/>
              <a:gd name="connsiteX91" fmla="*/ 1209675 w 1378744"/>
              <a:gd name="connsiteY91" fmla="*/ 945356 h 1278730"/>
              <a:gd name="connsiteX92" fmla="*/ 1235869 w 1378744"/>
              <a:gd name="connsiteY92" fmla="*/ 945356 h 1278730"/>
              <a:gd name="connsiteX93" fmla="*/ 1235869 w 1378744"/>
              <a:gd name="connsiteY93" fmla="*/ 931068 h 1278730"/>
              <a:gd name="connsiteX94" fmla="*/ 1212057 w 1378744"/>
              <a:gd name="connsiteY94" fmla="*/ 912018 h 1278730"/>
              <a:gd name="connsiteX95" fmla="*/ 1195388 w 1378744"/>
              <a:gd name="connsiteY95" fmla="*/ 881062 h 1278730"/>
              <a:gd name="connsiteX96" fmla="*/ 1157288 w 1378744"/>
              <a:gd name="connsiteY96" fmla="*/ 871537 h 1278730"/>
              <a:gd name="connsiteX97" fmla="*/ 1119188 w 1378744"/>
              <a:gd name="connsiteY97" fmla="*/ 859631 h 1278730"/>
              <a:gd name="connsiteX98" fmla="*/ 1119188 w 1378744"/>
              <a:gd name="connsiteY98" fmla="*/ 831056 h 1278730"/>
              <a:gd name="connsiteX99" fmla="*/ 1135857 w 1378744"/>
              <a:gd name="connsiteY99" fmla="*/ 807243 h 1278730"/>
              <a:gd name="connsiteX100" fmla="*/ 1197769 w 1378744"/>
              <a:gd name="connsiteY100" fmla="*/ 759618 h 1278730"/>
              <a:gd name="connsiteX101" fmla="*/ 1247775 w 1378744"/>
              <a:gd name="connsiteY101" fmla="*/ 762000 h 1278730"/>
              <a:gd name="connsiteX102" fmla="*/ 1278732 w 1378744"/>
              <a:gd name="connsiteY102" fmla="*/ 762000 h 1278730"/>
              <a:gd name="connsiteX103" fmla="*/ 1271588 w 1378744"/>
              <a:gd name="connsiteY103" fmla="*/ 735806 h 1278730"/>
              <a:gd name="connsiteX104" fmla="*/ 1378744 w 1378744"/>
              <a:gd name="connsiteY104" fmla="*/ 678656 h 1278730"/>
              <a:gd name="connsiteX105" fmla="*/ 1331119 w 1378744"/>
              <a:gd name="connsiteY105" fmla="*/ 552450 h 1278730"/>
              <a:gd name="connsiteX106" fmla="*/ 1278732 w 1378744"/>
              <a:gd name="connsiteY106" fmla="*/ 514350 h 1278730"/>
              <a:gd name="connsiteX107" fmla="*/ 1252538 w 1378744"/>
              <a:gd name="connsiteY107" fmla="*/ 431006 h 1278730"/>
              <a:gd name="connsiteX108" fmla="*/ 1181100 w 1378744"/>
              <a:gd name="connsiteY108" fmla="*/ 431006 h 1278730"/>
              <a:gd name="connsiteX109" fmla="*/ 1166813 w 1378744"/>
              <a:gd name="connsiteY109" fmla="*/ 395287 h 1278730"/>
              <a:gd name="connsiteX110" fmla="*/ 1107282 w 1378744"/>
              <a:gd name="connsiteY110" fmla="*/ 421481 h 1278730"/>
              <a:gd name="connsiteX111" fmla="*/ 1054894 w 1378744"/>
              <a:gd name="connsiteY111" fmla="*/ 414337 h 1278730"/>
              <a:gd name="connsiteX112" fmla="*/ 1028700 w 1378744"/>
              <a:gd name="connsiteY112" fmla="*/ 371475 h 1278730"/>
              <a:gd name="connsiteX113" fmla="*/ 1023938 w 1378744"/>
              <a:gd name="connsiteY113" fmla="*/ 288131 h 1278730"/>
              <a:gd name="connsiteX114" fmla="*/ 1012032 w 1378744"/>
              <a:gd name="connsiteY114" fmla="*/ 269081 h 1278730"/>
              <a:gd name="connsiteX115" fmla="*/ 1012032 w 1378744"/>
              <a:gd name="connsiteY115" fmla="*/ 211931 h 1278730"/>
              <a:gd name="connsiteX116" fmla="*/ 959644 w 1378744"/>
              <a:gd name="connsiteY116" fmla="*/ 190500 h 1278730"/>
              <a:gd name="connsiteX117" fmla="*/ 914400 w 1378744"/>
              <a:gd name="connsiteY117" fmla="*/ 111918 h 1278730"/>
              <a:gd name="connsiteX118" fmla="*/ 854869 w 1378744"/>
              <a:gd name="connsiteY118" fmla="*/ 76200 h 1278730"/>
              <a:gd name="connsiteX119" fmla="*/ 873919 w 1378744"/>
              <a:gd name="connsiteY119" fmla="*/ 16668 h 1278730"/>
              <a:gd name="connsiteX120" fmla="*/ 783432 w 1378744"/>
              <a:gd name="connsiteY120" fmla="*/ 0 h 1278730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814388 w 1378744"/>
              <a:gd name="connsiteY58" fmla="*/ 1138237 h 1288255"/>
              <a:gd name="connsiteX59" fmla="*/ 828675 w 1378744"/>
              <a:gd name="connsiteY59" fmla="*/ 1109662 h 1288255"/>
              <a:gd name="connsiteX60" fmla="*/ 833438 w 1378744"/>
              <a:gd name="connsiteY60" fmla="*/ 1085850 h 1288255"/>
              <a:gd name="connsiteX61" fmla="*/ 797719 w 1378744"/>
              <a:gd name="connsiteY61" fmla="*/ 1059656 h 1288255"/>
              <a:gd name="connsiteX62" fmla="*/ 790575 w 1378744"/>
              <a:gd name="connsiteY62" fmla="*/ 1038225 h 1288255"/>
              <a:gd name="connsiteX63" fmla="*/ 790575 w 1378744"/>
              <a:gd name="connsiteY63" fmla="*/ 1021556 h 1288255"/>
              <a:gd name="connsiteX64" fmla="*/ 845344 w 1378744"/>
              <a:gd name="connsiteY64" fmla="*/ 952500 h 1288255"/>
              <a:gd name="connsiteX65" fmla="*/ 845344 w 1378744"/>
              <a:gd name="connsiteY65" fmla="*/ 952500 h 1288255"/>
              <a:gd name="connsiteX66" fmla="*/ 888207 w 1378744"/>
              <a:gd name="connsiteY66" fmla="*/ 966787 h 1288255"/>
              <a:gd name="connsiteX67" fmla="*/ 907257 w 1378744"/>
              <a:gd name="connsiteY67" fmla="*/ 981075 h 1288255"/>
              <a:gd name="connsiteX68" fmla="*/ 938213 w 1378744"/>
              <a:gd name="connsiteY68" fmla="*/ 990600 h 1288255"/>
              <a:gd name="connsiteX69" fmla="*/ 964407 w 1378744"/>
              <a:gd name="connsiteY69" fmla="*/ 985837 h 1288255"/>
              <a:gd name="connsiteX70" fmla="*/ 985838 w 1378744"/>
              <a:gd name="connsiteY70" fmla="*/ 985837 h 1288255"/>
              <a:gd name="connsiteX71" fmla="*/ 995363 w 1378744"/>
              <a:gd name="connsiteY71" fmla="*/ 995362 h 1288255"/>
              <a:gd name="connsiteX72" fmla="*/ 978694 w 1378744"/>
              <a:gd name="connsiteY72" fmla="*/ 1012031 h 1288255"/>
              <a:gd name="connsiteX73" fmla="*/ 969169 w 1378744"/>
              <a:gd name="connsiteY73" fmla="*/ 1031081 h 1288255"/>
              <a:gd name="connsiteX74" fmla="*/ 954882 w 1378744"/>
              <a:gd name="connsiteY74" fmla="*/ 1054893 h 1288255"/>
              <a:gd name="connsiteX75" fmla="*/ 950119 w 1378744"/>
              <a:gd name="connsiteY75" fmla="*/ 1083468 h 1288255"/>
              <a:gd name="connsiteX76" fmla="*/ 962025 w 1378744"/>
              <a:gd name="connsiteY76" fmla="*/ 1107281 h 1288255"/>
              <a:gd name="connsiteX77" fmla="*/ 983457 w 1378744"/>
              <a:gd name="connsiteY77" fmla="*/ 1131093 h 1288255"/>
              <a:gd name="connsiteX78" fmla="*/ 1002507 w 1378744"/>
              <a:gd name="connsiteY78" fmla="*/ 1133475 h 1288255"/>
              <a:gd name="connsiteX79" fmla="*/ 1028700 w 1378744"/>
              <a:gd name="connsiteY79" fmla="*/ 1126331 h 1288255"/>
              <a:gd name="connsiteX80" fmla="*/ 1031082 w 1378744"/>
              <a:gd name="connsiteY80" fmla="*/ 1097756 h 1288255"/>
              <a:gd name="connsiteX81" fmla="*/ 1057275 w 1378744"/>
              <a:gd name="connsiteY81" fmla="*/ 1085850 h 1288255"/>
              <a:gd name="connsiteX82" fmla="*/ 1076325 w 1378744"/>
              <a:gd name="connsiteY82" fmla="*/ 1097756 h 1288255"/>
              <a:gd name="connsiteX83" fmla="*/ 1100138 w 1378744"/>
              <a:gd name="connsiteY83" fmla="*/ 1107281 h 1288255"/>
              <a:gd name="connsiteX84" fmla="*/ 1123950 w 1378744"/>
              <a:gd name="connsiteY84" fmla="*/ 1121568 h 1288255"/>
              <a:gd name="connsiteX85" fmla="*/ 1143000 w 1378744"/>
              <a:gd name="connsiteY85" fmla="*/ 1123950 h 1288255"/>
              <a:gd name="connsiteX86" fmla="*/ 1157288 w 1378744"/>
              <a:gd name="connsiteY86" fmla="*/ 1112043 h 1288255"/>
              <a:gd name="connsiteX87" fmla="*/ 1159669 w 1378744"/>
              <a:gd name="connsiteY87" fmla="*/ 1085850 h 1288255"/>
              <a:gd name="connsiteX88" fmla="*/ 1166813 w 1378744"/>
              <a:gd name="connsiteY88" fmla="*/ 1052512 h 1288255"/>
              <a:gd name="connsiteX89" fmla="*/ 1197769 w 1378744"/>
              <a:gd name="connsiteY89" fmla="*/ 1016793 h 1288255"/>
              <a:gd name="connsiteX90" fmla="*/ 1195388 w 1378744"/>
              <a:gd name="connsiteY90" fmla="*/ 954881 h 1288255"/>
              <a:gd name="connsiteX91" fmla="*/ 1209675 w 1378744"/>
              <a:gd name="connsiteY91" fmla="*/ 945356 h 1288255"/>
              <a:gd name="connsiteX92" fmla="*/ 1235869 w 1378744"/>
              <a:gd name="connsiteY92" fmla="*/ 945356 h 1288255"/>
              <a:gd name="connsiteX93" fmla="*/ 1235869 w 1378744"/>
              <a:gd name="connsiteY93" fmla="*/ 931068 h 1288255"/>
              <a:gd name="connsiteX94" fmla="*/ 1212057 w 1378744"/>
              <a:gd name="connsiteY94" fmla="*/ 912018 h 1288255"/>
              <a:gd name="connsiteX95" fmla="*/ 1195388 w 1378744"/>
              <a:gd name="connsiteY95" fmla="*/ 881062 h 1288255"/>
              <a:gd name="connsiteX96" fmla="*/ 1157288 w 1378744"/>
              <a:gd name="connsiteY96" fmla="*/ 871537 h 1288255"/>
              <a:gd name="connsiteX97" fmla="*/ 1119188 w 1378744"/>
              <a:gd name="connsiteY97" fmla="*/ 859631 h 1288255"/>
              <a:gd name="connsiteX98" fmla="*/ 1119188 w 1378744"/>
              <a:gd name="connsiteY98" fmla="*/ 831056 h 1288255"/>
              <a:gd name="connsiteX99" fmla="*/ 1135857 w 1378744"/>
              <a:gd name="connsiteY99" fmla="*/ 807243 h 1288255"/>
              <a:gd name="connsiteX100" fmla="*/ 1197769 w 1378744"/>
              <a:gd name="connsiteY100" fmla="*/ 759618 h 1288255"/>
              <a:gd name="connsiteX101" fmla="*/ 1247775 w 1378744"/>
              <a:gd name="connsiteY101" fmla="*/ 762000 h 1288255"/>
              <a:gd name="connsiteX102" fmla="*/ 1278732 w 1378744"/>
              <a:gd name="connsiteY102" fmla="*/ 762000 h 1288255"/>
              <a:gd name="connsiteX103" fmla="*/ 1271588 w 1378744"/>
              <a:gd name="connsiteY103" fmla="*/ 735806 h 1288255"/>
              <a:gd name="connsiteX104" fmla="*/ 1378744 w 1378744"/>
              <a:gd name="connsiteY104" fmla="*/ 678656 h 1288255"/>
              <a:gd name="connsiteX105" fmla="*/ 1331119 w 1378744"/>
              <a:gd name="connsiteY105" fmla="*/ 552450 h 1288255"/>
              <a:gd name="connsiteX106" fmla="*/ 1278732 w 1378744"/>
              <a:gd name="connsiteY106" fmla="*/ 514350 h 1288255"/>
              <a:gd name="connsiteX107" fmla="*/ 1252538 w 1378744"/>
              <a:gd name="connsiteY107" fmla="*/ 431006 h 1288255"/>
              <a:gd name="connsiteX108" fmla="*/ 1181100 w 1378744"/>
              <a:gd name="connsiteY108" fmla="*/ 431006 h 1288255"/>
              <a:gd name="connsiteX109" fmla="*/ 1166813 w 1378744"/>
              <a:gd name="connsiteY109" fmla="*/ 395287 h 1288255"/>
              <a:gd name="connsiteX110" fmla="*/ 1107282 w 1378744"/>
              <a:gd name="connsiteY110" fmla="*/ 421481 h 1288255"/>
              <a:gd name="connsiteX111" fmla="*/ 1054894 w 1378744"/>
              <a:gd name="connsiteY111" fmla="*/ 414337 h 1288255"/>
              <a:gd name="connsiteX112" fmla="*/ 1028700 w 1378744"/>
              <a:gd name="connsiteY112" fmla="*/ 371475 h 1288255"/>
              <a:gd name="connsiteX113" fmla="*/ 1023938 w 1378744"/>
              <a:gd name="connsiteY113" fmla="*/ 288131 h 1288255"/>
              <a:gd name="connsiteX114" fmla="*/ 1012032 w 1378744"/>
              <a:gd name="connsiteY114" fmla="*/ 269081 h 1288255"/>
              <a:gd name="connsiteX115" fmla="*/ 1012032 w 1378744"/>
              <a:gd name="connsiteY115" fmla="*/ 211931 h 1288255"/>
              <a:gd name="connsiteX116" fmla="*/ 959644 w 1378744"/>
              <a:gd name="connsiteY116" fmla="*/ 190500 h 1288255"/>
              <a:gd name="connsiteX117" fmla="*/ 914400 w 1378744"/>
              <a:gd name="connsiteY117" fmla="*/ 111918 h 1288255"/>
              <a:gd name="connsiteX118" fmla="*/ 854869 w 1378744"/>
              <a:gd name="connsiteY118" fmla="*/ 76200 h 1288255"/>
              <a:gd name="connsiteX119" fmla="*/ 873919 w 1378744"/>
              <a:gd name="connsiteY119" fmla="*/ 16668 h 1288255"/>
              <a:gd name="connsiteX120" fmla="*/ 783432 w 1378744"/>
              <a:gd name="connsiteY120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47713 w 1378744"/>
              <a:gd name="connsiteY58" fmla="*/ 1257299 h 1288255"/>
              <a:gd name="connsiteX59" fmla="*/ 814388 w 1378744"/>
              <a:gd name="connsiteY59" fmla="*/ 1138237 h 1288255"/>
              <a:gd name="connsiteX60" fmla="*/ 828675 w 1378744"/>
              <a:gd name="connsiteY60" fmla="*/ 1109662 h 1288255"/>
              <a:gd name="connsiteX61" fmla="*/ 833438 w 1378744"/>
              <a:gd name="connsiteY61" fmla="*/ 1085850 h 1288255"/>
              <a:gd name="connsiteX62" fmla="*/ 797719 w 1378744"/>
              <a:gd name="connsiteY62" fmla="*/ 1059656 h 1288255"/>
              <a:gd name="connsiteX63" fmla="*/ 790575 w 1378744"/>
              <a:gd name="connsiteY63" fmla="*/ 1038225 h 1288255"/>
              <a:gd name="connsiteX64" fmla="*/ 790575 w 1378744"/>
              <a:gd name="connsiteY64" fmla="*/ 1021556 h 1288255"/>
              <a:gd name="connsiteX65" fmla="*/ 845344 w 1378744"/>
              <a:gd name="connsiteY65" fmla="*/ 952500 h 1288255"/>
              <a:gd name="connsiteX66" fmla="*/ 845344 w 1378744"/>
              <a:gd name="connsiteY66" fmla="*/ 952500 h 1288255"/>
              <a:gd name="connsiteX67" fmla="*/ 888207 w 1378744"/>
              <a:gd name="connsiteY67" fmla="*/ 966787 h 1288255"/>
              <a:gd name="connsiteX68" fmla="*/ 907257 w 1378744"/>
              <a:gd name="connsiteY68" fmla="*/ 981075 h 1288255"/>
              <a:gd name="connsiteX69" fmla="*/ 938213 w 1378744"/>
              <a:gd name="connsiteY69" fmla="*/ 990600 h 1288255"/>
              <a:gd name="connsiteX70" fmla="*/ 964407 w 1378744"/>
              <a:gd name="connsiteY70" fmla="*/ 985837 h 1288255"/>
              <a:gd name="connsiteX71" fmla="*/ 985838 w 1378744"/>
              <a:gd name="connsiteY71" fmla="*/ 985837 h 1288255"/>
              <a:gd name="connsiteX72" fmla="*/ 995363 w 1378744"/>
              <a:gd name="connsiteY72" fmla="*/ 995362 h 1288255"/>
              <a:gd name="connsiteX73" fmla="*/ 978694 w 1378744"/>
              <a:gd name="connsiteY73" fmla="*/ 1012031 h 1288255"/>
              <a:gd name="connsiteX74" fmla="*/ 969169 w 1378744"/>
              <a:gd name="connsiteY74" fmla="*/ 1031081 h 1288255"/>
              <a:gd name="connsiteX75" fmla="*/ 954882 w 1378744"/>
              <a:gd name="connsiteY75" fmla="*/ 1054893 h 1288255"/>
              <a:gd name="connsiteX76" fmla="*/ 950119 w 1378744"/>
              <a:gd name="connsiteY76" fmla="*/ 1083468 h 1288255"/>
              <a:gd name="connsiteX77" fmla="*/ 962025 w 1378744"/>
              <a:gd name="connsiteY77" fmla="*/ 1107281 h 1288255"/>
              <a:gd name="connsiteX78" fmla="*/ 983457 w 1378744"/>
              <a:gd name="connsiteY78" fmla="*/ 1131093 h 1288255"/>
              <a:gd name="connsiteX79" fmla="*/ 1002507 w 1378744"/>
              <a:gd name="connsiteY79" fmla="*/ 1133475 h 1288255"/>
              <a:gd name="connsiteX80" fmla="*/ 1028700 w 1378744"/>
              <a:gd name="connsiteY80" fmla="*/ 1126331 h 1288255"/>
              <a:gd name="connsiteX81" fmla="*/ 1031082 w 1378744"/>
              <a:gd name="connsiteY81" fmla="*/ 1097756 h 1288255"/>
              <a:gd name="connsiteX82" fmla="*/ 1057275 w 1378744"/>
              <a:gd name="connsiteY82" fmla="*/ 1085850 h 1288255"/>
              <a:gd name="connsiteX83" fmla="*/ 1076325 w 1378744"/>
              <a:gd name="connsiteY83" fmla="*/ 1097756 h 1288255"/>
              <a:gd name="connsiteX84" fmla="*/ 1100138 w 1378744"/>
              <a:gd name="connsiteY84" fmla="*/ 1107281 h 1288255"/>
              <a:gd name="connsiteX85" fmla="*/ 1123950 w 1378744"/>
              <a:gd name="connsiteY85" fmla="*/ 1121568 h 1288255"/>
              <a:gd name="connsiteX86" fmla="*/ 1143000 w 1378744"/>
              <a:gd name="connsiteY86" fmla="*/ 1123950 h 1288255"/>
              <a:gd name="connsiteX87" fmla="*/ 1157288 w 1378744"/>
              <a:gd name="connsiteY87" fmla="*/ 1112043 h 1288255"/>
              <a:gd name="connsiteX88" fmla="*/ 1159669 w 1378744"/>
              <a:gd name="connsiteY88" fmla="*/ 1085850 h 1288255"/>
              <a:gd name="connsiteX89" fmla="*/ 1166813 w 1378744"/>
              <a:gd name="connsiteY89" fmla="*/ 1052512 h 1288255"/>
              <a:gd name="connsiteX90" fmla="*/ 1197769 w 1378744"/>
              <a:gd name="connsiteY90" fmla="*/ 1016793 h 1288255"/>
              <a:gd name="connsiteX91" fmla="*/ 1195388 w 1378744"/>
              <a:gd name="connsiteY91" fmla="*/ 954881 h 1288255"/>
              <a:gd name="connsiteX92" fmla="*/ 1209675 w 1378744"/>
              <a:gd name="connsiteY92" fmla="*/ 945356 h 1288255"/>
              <a:gd name="connsiteX93" fmla="*/ 1235869 w 1378744"/>
              <a:gd name="connsiteY93" fmla="*/ 945356 h 1288255"/>
              <a:gd name="connsiteX94" fmla="*/ 1235869 w 1378744"/>
              <a:gd name="connsiteY94" fmla="*/ 931068 h 1288255"/>
              <a:gd name="connsiteX95" fmla="*/ 1212057 w 1378744"/>
              <a:gd name="connsiteY95" fmla="*/ 912018 h 1288255"/>
              <a:gd name="connsiteX96" fmla="*/ 1195388 w 1378744"/>
              <a:gd name="connsiteY96" fmla="*/ 881062 h 1288255"/>
              <a:gd name="connsiteX97" fmla="*/ 1157288 w 1378744"/>
              <a:gd name="connsiteY97" fmla="*/ 871537 h 1288255"/>
              <a:gd name="connsiteX98" fmla="*/ 1119188 w 1378744"/>
              <a:gd name="connsiteY98" fmla="*/ 859631 h 1288255"/>
              <a:gd name="connsiteX99" fmla="*/ 1119188 w 1378744"/>
              <a:gd name="connsiteY99" fmla="*/ 831056 h 1288255"/>
              <a:gd name="connsiteX100" fmla="*/ 1135857 w 1378744"/>
              <a:gd name="connsiteY100" fmla="*/ 807243 h 1288255"/>
              <a:gd name="connsiteX101" fmla="*/ 1197769 w 1378744"/>
              <a:gd name="connsiteY101" fmla="*/ 759618 h 1288255"/>
              <a:gd name="connsiteX102" fmla="*/ 1247775 w 1378744"/>
              <a:gd name="connsiteY102" fmla="*/ 762000 h 1288255"/>
              <a:gd name="connsiteX103" fmla="*/ 1278732 w 1378744"/>
              <a:gd name="connsiteY103" fmla="*/ 762000 h 1288255"/>
              <a:gd name="connsiteX104" fmla="*/ 1271588 w 1378744"/>
              <a:gd name="connsiteY104" fmla="*/ 735806 h 1288255"/>
              <a:gd name="connsiteX105" fmla="*/ 1378744 w 1378744"/>
              <a:gd name="connsiteY105" fmla="*/ 678656 h 1288255"/>
              <a:gd name="connsiteX106" fmla="*/ 1331119 w 1378744"/>
              <a:gd name="connsiteY106" fmla="*/ 552450 h 1288255"/>
              <a:gd name="connsiteX107" fmla="*/ 1278732 w 1378744"/>
              <a:gd name="connsiteY107" fmla="*/ 514350 h 1288255"/>
              <a:gd name="connsiteX108" fmla="*/ 1252538 w 1378744"/>
              <a:gd name="connsiteY108" fmla="*/ 431006 h 1288255"/>
              <a:gd name="connsiteX109" fmla="*/ 1181100 w 1378744"/>
              <a:gd name="connsiteY109" fmla="*/ 431006 h 1288255"/>
              <a:gd name="connsiteX110" fmla="*/ 1166813 w 1378744"/>
              <a:gd name="connsiteY110" fmla="*/ 395287 h 1288255"/>
              <a:gd name="connsiteX111" fmla="*/ 1107282 w 1378744"/>
              <a:gd name="connsiteY111" fmla="*/ 421481 h 1288255"/>
              <a:gd name="connsiteX112" fmla="*/ 1054894 w 1378744"/>
              <a:gd name="connsiteY112" fmla="*/ 414337 h 1288255"/>
              <a:gd name="connsiteX113" fmla="*/ 1028700 w 1378744"/>
              <a:gd name="connsiteY113" fmla="*/ 371475 h 1288255"/>
              <a:gd name="connsiteX114" fmla="*/ 1023938 w 1378744"/>
              <a:gd name="connsiteY114" fmla="*/ 288131 h 1288255"/>
              <a:gd name="connsiteX115" fmla="*/ 1012032 w 1378744"/>
              <a:gd name="connsiteY115" fmla="*/ 269081 h 1288255"/>
              <a:gd name="connsiteX116" fmla="*/ 1012032 w 1378744"/>
              <a:gd name="connsiteY116" fmla="*/ 211931 h 1288255"/>
              <a:gd name="connsiteX117" fmla="*/ 959644 w 1378744"/>
              <a:gd name="connsiteY117" fmla="*/ 190500 h 1288255"/>
              <a:gd name="connsiteX118" fmla="*/ 914400 w 1378744"/>
              <a:gd name="connsiteY118" fmla="*/ 111918 h 1288255"/>
              <a:gd name="connsiteX119" fmla="*/ 854869 w 1378744"/>
              <a:gd name="connsiteY119" fmla="*/ 76200 h 1288255"/>
              <a:gd name="connsiteX120" fmla="*/ 873919 w 1378744"/>
              <a:gd name="connsiteY120" fmla="*/ 16668 h 1288255"/>
              <a:gd name="connsiteX121" fmla="*/ 783432 w 1378744"/>
              <a:gd name="connsiteY121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814388 w 1378744"/>
              <a:gd name="connsiteY59" fmla="*/ 1138237 h 1288255"/>
              <a:gd name="connsiteX60" fmla="*/ 828675 w 1378744"/>
              <a:gd name="connsiteY60" fmla="*/ 1109662 h 1288255"/>
              <a:gd name="connsiteX61" fmla="*/ 833438 w 1378744"/>
              <a:gd name="connsiteY61" fmla="*/ 1085850 h 1288255"/>
              <a:gd name="connsiteX62" fmla="*/ 797719 w 1378744"/>
              <a:gd name="connsiteY62" fmla="*/ 1059656 h 1288255"/>
              <a:gd name="connsiteX63" fmla="*/ 790575 w 1378744"/>
              <a:gd name="connsiteY63" fmla="*/ 1038225 h 1288255"/>
              <a:gd name="connsiteX64" fmla="*/ 790575 w 1378744"/>
              <a:gd name="connsiteY64" fmla="*/ 1021556 h 1288255"/>
              <a:gd name="connsiteX65" fmla="*/ 845344 w 1378744"/>
              <a:gd name="connsiteY65" fmla="*/ 952500 h 1288255"/>
              <a:gd name="connsiteX66" fmla="*/ 845344 w 1378744"/>
              <a:gd name="connsiteY66" fmla="*/ 952500 h 1288255"/>
              <a:gd name="connsiteX67" fmla="*/ 888207 w 1378744"/>
              <a:gd name="connsiteY67" fmla="*/ 966787 h 1288255"/>
              <a:gd name="connsiteX68" fmla="*/ 907257 w 1378744"/>
              <a:gd name="connsiteY68" fmla="*/ 981075 h 1288255"/>
              <a:gd name="connsiteX69" fmla="*/ 938213 w 1378744"/>
              <a:gd name="connsiteY69" fmla="*/ 990600 h 1288255"/>
              <a:gd name="connsiteX70" fmla="*/ 964407 w 1378744"/>
              <a:gd name="connsiteY70" fmla="*/ 985837 h 1288255"/>
              <a:gd name="connsiteX71" fmla="*/ 985838 w 1378744"/>
              <a:gd name="connsiteY71" fmla="*/ 985837 h 1288255"/>
              <a:gd name="connsiteX72" fmla="*/ 995363 w 1378744"/>
              <a:gd name="connsiteY72" fmla="*/ 995362 h 1288255"/>
              <a:gd name="connsiteX73" fmla="*/ 978694 w 1378744"/>
              <a:gd name="connsiteY73" fmla="*/ 1012031 h 1288255"/>
              <a:gd name="connsiteX74" fmla="*/ 969169 w 1378744"/>
              <a:gd name="connsiteY74" fmla="*/ 1031081 h 1288255"/>
              <a:gd name="connsiteX75" fmla="*/ 954882 w 1378744"/>
              <a:gd name="connsiteY75" fmla="*/ 1054893 h 1288255"/>
              <a:gd name="connsiteX76" fmla="*/ 950119 w 1378744"/>
              <a:gd name="connsiteY76" fmla="*/ 1083468 h 1288255"/>
              <a:gd name="connsiteX77" fmla="*/ 962025 w 1378744"/>
              <a:gd name="connsiteY77" fmla="*/ 1107281 h 1288255"/>
              <a:gd name="connsiteX78" fmla="*/ 983457 w 1378744"/>
              <a:gd name="connsiteY78" fmla="*/ 1131093 h 1288255"/>
              <a:gd name="connsiteX79" fmla="*/ 1002507 w 1378744"/>
              <a:gd name="connsiteY79" fmla="*/ 1133475 h 1288255"/>
              <a:gd name="connsiteX80" fmla="*/ 1028700 w 1378744"/>
              <a:gd name="connsiteY80" fmla="*/ 1126331 h 1288255"/>
              <a:gd name="connsiteX81" fmla="*/ 1031082 w 1378744"/>
              <a:gd name="connsiteY81" fmla="*/ 1097756 h 1288255"/>
              <a:gd name="connsiteX82" fmla="*/ 1057275 w 1378744"/>
              <a:gd name="connsiteY82" fmla="*/ 1085850 h 1288255"/>
              <a:gd name="connsiteX83" fmla="*/ 1076325 w 1378744"/>
              <a:gd name="connsiteY83" fmla="*/ 1097756 h 1288255"/>
              <a:gd name="connsiteX84" fmla="*/ 1100138 w 1378744"/>
              <a:gd name="connsiteY84" fmla="*/ 1107281 h 1288255"/>
              <a:gd name="connsiteX85" fmla="*/ 1123950 w 1378744"/>
              <a:gd name="connsiteY85" fmla="*/ 1121568 h 1288255"/>
              <a:gd name="connsiteX86" fmla="*/ 1143000 w 1378744"/>
              <a:gd name="connsiteY86" fmla="*/ 1123950 h 1288255"/>
              <a:gd name="connsiteX87" fmla="*/ 1157288 w 1378744"/>
              <a:gd name="connsiteY87" fmla="*/ 1112043 h 1288255"/>
              <a:gd name="connsiteX88" fmla="*/ 1159669 w 1378744"/>
              <a:gd name="connsiteY88" fmla="*/ 1085850 h 1288255"/>
              <a:gd name="connsiteX89" fmla="*/ 1166813 w 1378744"/>
              <a:gd name="connsiteY89" fmla="*/ 1052512 h 1288255"/>
              <a:gd name="connsiteX90" fmla="*/ 1197769 w 1378744"/>
              <a:gd name="connsiteY90" fmla="*/ 1016793 h 1288255"/>
              <a:gd name="connsiteX91" fmla="*/ 1195388 w 1378744"/>
              <a:gd name="connsiteY91" fmla="*/ 954881 h 1288255"/>
              <a:gd name="connsiteX92" fmla="*/ 1209675 w 1378744"/>
              <a:gd name="connsiteY92" fmla="*/ 945356 h 1288255"/>
              <a:gd name="connsiteX93" fmla="*/ 1235869 w 1378744"/>
              <a:gd name="connsiteY93" fmla="*/ 945356 h 1288255"/>
              <a:gd name="connsiteX94" fmla="*/ 1235869 w 1378744"/>
              <a:gd name="connsiteY94" fmla="*/ 931068 h 1288255"/>
              <a:gd name="connsiteX95" fmla="*/ 1212057 w 1378744"/>
              <a:gd name="connsiteY95" fmla="*/ 912018 h 1288255"/>
              <a:gd name="connsiteX96" fmla="*/ 1195388 w 1378744"/>
              <a:gd name="connsiteY96" fmla="*/ 881062 h 1288255"/>
              <a:gd name="connsiteX97" fmla="*/ 1157288 w 1378744"/>
              <a:gd name="connsiteY97" fmla="*/ 871537 h 1288255"/>
              <a:gd name="connsiteX98" fmla="*/ 1119188 w 1378744"/>
              <a:gd name="connsiteY98" fmla="*/ 859631 h 1288255"/>
              <a:gd name="connsiteX99" fmla="*/ 1119188 w 1378744"/>
              <a:gd name="connsiteY99" fmla="*/ 831056 h 1288255"/>
              <a:gd name="connsiteX100" fmla="*/ 1135857 w 1378744"/>
              <a:gd name="connsiteY100" fmla="*/ 807243 h 1288255"/>
              <a:gd name="connsiteX101" fmla="*/ 1197769 w 1378744"/>
              <a:gd name="connsiteY101" fmla="*/ 759618 h 1288255"/>
              <a:gd name="connsiteX102" fmla="*/ 1247775 w 1378744"/>
              <a:gd name="connsiteY102" fmla="*/ 762000 h 1288255"/>
              <a:gd name="connsiteX103" fmla="*/ 1278732 w 1378744"/>
              <a:gd name="connsiteY103" fmla="*/ 762000 h 1288255"/>
              <a:gd name="connsiteX104" fmla="*/ 1271588 w 1378744"/>
              <a:gd name="connsiteY104" fmla="*/ 735806 h 1288255"/>
              <a:gd name="connsiteX105" fmla="*/ 1378744 w 1378744"/>
              <a:gd name="connsiteY105" fmla="*/ 678656 h 1288255"/>
              <a:gd name="connsiteX106" fmla="*/ 1331119 w 1378744"/>
              <a:gd name="connsiteY106" fmla="*/ 552450 h 1288255"/>
              <a:gd name="connsiteX107" fmla="*/ 1278732 w 1378744"/>
              <a:gd name="connsiteY107" fmla="*/ 514350 h 1288255"/>
              <a:gd name="connsiteX108" fmla="*/ 1252538 w 1378744"/>
              <a:gd name="connsiteY108" fmla="*/ 431006 h 1288255"/>
              <a:gd name="connsiteX109" fmla="*/ 1181100 w 1378744"/>
              <a:gd name="connsiteY109" fmla="*/ 431006 h 1288255"/>
              <a:gd name="connsiteX110" fmla="*/ 1166813 w 1378744"/>
              <a:gd name="connsiteY110" fmla="*/ 395287 h 1288255"/>
              <a:gd name="connsiteX111" fmla="*/ 1107282 w 1378744"/>
              <a:gd name="connsiteY111" fmla="*/ 421481 h 1288255"/>
              <a:gd name="connsiteX112" fmla="*/ 1054894 w 1378744"/>
              <a:gd name="connsiteY112" fmla="*/ 414337 h 1288255"/>
              <a:gd name="connsiteX113" fmla="*/ 1028700 w 1378744"/>
              <a:gd name="connsiteY113" fmla="*/ 371475 h 1288255"/>
              <a:gd name="connsiteX114" fmla="*/ 1023938 w 1378744"/>
              <a:gd name="connsiteY114" fmla="*/ 288131 h 1288255"/>
              <a:gd name="connsiteX115" fmla="*/ 1012032 w 1378744"/>
              <a:gd name="connsiteY115" fmla="*/ 269081 h 1288255"/>
              <a:gd name="connsiteX116" fmla="*/ 1012032 w 1378744"/>
              <a:gd name="connsiteY116" fmla="*/ 211931 h 1288255"/>
              <a:gd name="connsiteX117" fmla="*/ 959644 w 1378744"/>
              <a:gd name="connsiteY117" fmla="*/ 190500 h 1288255"/>
              <a:gd name="connsiteX118" fmla="*/ 914400 w 1378744"/>
              <a:gd name="connsiteY118" fmla="*/ 111918 h 1288255"/>
              <a:gd name="connsiteX119" fmla="*/ 854869 w 1378744"/>
              <a:gd name="connsiteY119" fmla="*/ 76200 h 1288255"/>
              <a:gd name="connsiteX120" fmla="*/ 873919 w 1378744"/>
              <a:gd name="connsiteY120" fmla="*/ 16668 h 1288255"/>
              <a:gd name="connsiteX121" fmla="*/ 783432 w 1378744"/>
              <a:gd name="connsiteY121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81050 w 1378744"/>
              <a:gd name="connsiteY59" fmla="*/ 1240630 h 1288255"/>
              <a:gd name="connsiteX60" fmla="*/ 814388 w 1378744"/>
              <a:gd name="connsiteY60" fmla="*/ 1138237 h 1288255"/>
              <a:gd name="connsiteX61" fmla="*/ 828675 w 1378744"/>
              <a:gd name="connsiteY61" fmla="*/ 1109662 h 1288255"/>
              <a:gd name="connsiteX62" fmla="*/ 833438 w 1378744"/>
              <a:gd name="connsiteY62" fmla="*/ 1085850 h 1288255"/>
              <a:gd name="connsiteX63" fmla="*/ 797719 w 1378744"/>
              <a:gd name="connsiteY63" fmla="*/ 1059656 h 1288255"/>
              <a:gd name="connsiteX64" fmla="*/ 790575 w 1378744"/>
              <a:gd name="connsiteY64" fmla="*/ 1038225 h 1288255"/>
              <a:gd name="connsiteX65" fmla="*/ 790575 w 1378744"/>
              <a:gd name="connsiteY65" fmla="*/ 1021556 h 1288255"/>
              <a:gd name="connsiteX66" fmla="*/ 845344 w 1378744"/>
              <a:gd name="connsiteY66" fmla="*/ 952500 h 1288255"/>
              <a:gd name="connsiteX67" fmla="*/ 845344 w 1378744"/>
              <a:gd name="connsiteY67" fmla="*/ 952500 h 1288255"/>
              <a:gd name="connsiteX68" fmla="*/ 888207 w 1378744"/>
              <a:gd name="connsiteY68" fmla="*/ 966787 h 1288255"/>
              <a:gd name="connsiteX69" fmla="*/ 907257 w 1378744"/>
              <a:gd name="connsiteY69" fmla="*/ 981075 h 1288255"/>
              <a:gd name="connsiteX70" fmla="*/ 938213 w 1378744"/>
              <a:gd name="connsiteY70" fmla="*/ 990600 h 1288255"/>
              <a:gd name="connsiteX71" fmla="*/ 964407 w 1378744"/>
              <a:gd name="connsiteY71" fmla="*/ 985837 h 1288255"/>
              <a:gd name="connsiteX72" fmla="*/ 985838 w 1378744"/>
              <a:gd name="connsiteY72" fmla="*/ 985837 h 1288255"/>
              <a:gd name="connsiteX73" fmla="*/ 995363 w 1378744"/>
              <a:gd name="connsiteY73" fmla="*/ 995362 h 1288255"/>
              <a:gd name="connsiteX74" fmla="*/ 978694 w 1378744"/>
              <a:gd name="connsiteY74" fmla="*/ 1012031 h 1288255"/>
              <a:gd name="connsiteX75" fmla="*/ 969169 w 1378744"/>
              <a:gd name="connsiteY75" fmla="*/ 1031081 h 1288255"/>
              <a:gd name="connsiteX76" fmla="*/ 954882 w 1378744"/>
              <a:gd name="connsiteY76" fmla="*/ 1054893 h 1288255"/>
              <a:gd name="connsiteX77" fmla="*/ 950119 w 1378744"/>
              <a:gd name="connsiteY77" fmla="*/ 1083468 h 1288255"/>
              <a:gd name="connsiteX78" fmla="*/ 962025 w 1378744"/>
              <a:gd name="connsiteY78" fmla="*/ 1107281 h 1288255"/>
              <a:gd name="connsiteX79" fmla="*/ 983457 w 1378744"/>
              <a:gd name="connsiteY79" fmla="*/ 1131093 h 1288255"/>
              <a:gd name="connsiteX80" fmla="*/ 1002507 w 1378744"/>
              <a:gd name="connsiteY80" fmla="*/ 1133475 h 1288255"/>
              <a:gd name="connsiteX81" fmla="*/ 1028700 w 1378744"/>
              <a:gd name="connsiteY81" fmla="*/ 1126331 h 1288255"/>
              <a:gd name="connsiteX82" fmla="*/ 1031082 w 1378744"/>
              <a:gd name="connsiteY82" fmla="*/ 1097756 h 1288255"/>
              <a:gd name="connsiteX83" fmla="*/ 1057275 w 1378744"/>
              <a:gd name="connsiteY83" fmla="*/ 1085850 h 1288255"/>
              <a:gd name="connsiteX84" fmla="*/ 1076325 w 1378744"/>
              <a:gd name="connsiteY84" fmla="*/ 1097756 h 1288255"/>
              <a:gd name="connsiteX85" fmla="*/ 1100138 w 1378744"/>
              <a:gd name="connsiteY85" fmla="*/ 1107281 h 1288255"/>
              <a:gd name="connsiteX86" fmla="*/ 1123950 w 1378744"/>
              <a:gd name="connsiteY86" fmla="*/ 1121568 h 1288255"/>
              <a:gd name="connsiteX87" fmla="*/ 1143000 w 1378744"/>
              <a:gd name="connsiteY87" fmla="*/ 1123950 h 1288255"/>
              <a:gd name="connsiteX88" fmla="*/ 1157288 w 1378744"/>
              <a:gd name="connsiteY88" fmla="*/ 1112043 h 1288255"/>
              <a:gd name="connsiteX89" fmla="*/ 1159669 w 1378744"/>
              <a:gd name="connsiteY89" fmla="*/ 1085850 h 1288255"/>
              <a:gd name="connsiteX90" fmla="*/ 1166813 w 1378744"/>
              <a:gd name="connsiteY90" fmla="*/ 1052512 h 1288255"/>
              <a:gd name="connsiteX91" fmla="*/ 1197769 w 1378744"/>
              <a:gd name="connsiteY91" fmla="*/ 1016793 h 1288255"/>
              <a:gd name="connsiteX92" fmla="*/ 1195388 w 1378744"/>
              <a:gd name="connsiteY92" fmla="*/ 954881 h 1288255"/>
              <a:gd name="connsiteX93" fmla="*/ 1209675 w 1378744"/>
              <a:gd name="connsiteY93" fmla="*/ 945356 h 1288255"/>
              <a:gd name="connsiteX94" fmla="*/ 1235869 w 1378744"/>
              <a:gd name="connsiteY94" fmla="*/ 945356 h 1288255"/>
              <a:gd name="connsiteX95" fmla="*/ 1235869 w 1378744"/>
              <a:gd name="connsiteY95" fmla="*/ 931068 h 1288255"/>
              <a:gd name="connsiteX96" fmla="*/ 1212057 w 1378744"/>
              <a:gd name="connsiteY96" fmla="*/ 912018 h 1288255"/>
              <a:gd name="connsiteX97" fmla="*/ 1195388 w 1378744"/>
              <a:gd name="connsiteY97" fmla="*/ 881062 h 1288255"/>
              <a:gd name="connsiteX98" fmla="*/ 1157288 w 1378744"/>
              <a:gd name="connsiteY98" fmla="*/ 871537 h 1288255"/>
              <a:gd name="connsiteX99" fmla="*/ 1119188 w 1378744"/>
              <a:gd name="connsiteY99" fmla="*/ 859631 h 1288255"/>
              <a:gd name="connsiteX100" fmla="*/ 1119188 w 1378744"/>
              <a:gd name="connsiteY100" fmla="*/ 831056 h 1288255"/>
              <a:gd name="connsiteX101" fmla="*/ 1135857 w 1378744"/>
              <a:gd name="connsiteY101" fmla="*/ 807243 h 1288255"/>
              <a:gd name="connsiteX102" fmla="*/ 1197769 w 1378744"/>
              <a:gd name="connsiteY102" fmla="*/ 759618 h 1288255"/>
              <a:gd name="connsiteX103" fmla="*/ 1247775 w 1378744"/>
              <a:gd name="connsiteY103" fmla="*/ 762000 h 1288255"/>
              <a:gd name="connsiteX104" fmla="*/ 1278732 w 1378744"/>
              <a:gd name="connsiteY104" fmla="*/ 762000 h 1288255"/>
              <a:gd name="connsiteX105" fmla="*/ 1271588 w 1378744"/>
              <a:gd name="connsiteY105" fmla="*/ 735806 h 1288255"/>
              <a:gd name="connsiteX106" fmla="*/ 1378744 w 1378744"/>
              <a:gd name="connsiteY106" fmla="*/ 678656 h 1288255"/>
              <a:gd name="connsiteX107" fmla="*/ 1331119 w 1378744"/>
              <a:gd name="connsiteY107" fmla="*/ 552450 h 1288255"/>
              <a:gd name="connsiteX108" fmla="*/ 1278732 w 1378744"/>
              <a:gd name="connsiteY108" fmla="*/ 514350 h 1288255"/>
              <a:gd name="connsiteX109" fmla="*/ 1252538 w 1378744"/>
              <a:gd name="connsiteY109" fmla="*/ 431006 h 1288255"/>
              <a:gd name="connsiteX110" fmla="*/ 1181100 w 1378744"/>
              <a:gd name="connsiteY110" fmla="*/ 431006 h 1288255"/>
              <a:gd name="connsiteX111" fmla="*/ 1166813 w 1378744"/>
              <a:gd name="connsiteY111" fmla="*/ 395287 h 1288255"/>
              <a:gd name="connsiteX112" fmla="*/ 1107282 w 1378744"/>
              <a:gd name="connsiteY112" fmla="*/ 421481 h 1288255"/>
              <a:gd name="connsiteX113" fmla="*/ 1054894 w 1378744"/>
              <a:gd name="connsiteY113" fmla="*/ 414337 h 1288255"/>
              <a:gd name="connsiteX114" fmla="*/ 1028700 w 1378744"/>
              <a:gd name="connsiteY114" fmla="*/ 371475 h 1288255"/>
              <a:gd name="connsiteX115" fmla="*/ 1023938 w 1378744"/>
              <a:gd name="connsiteY115" fmla="*/ 288131 h 1288255"/>
              <a:gd name="connsiteX116" fmla="*/ 1012032 w 1378744"/>
              <a:gd name="connsiteY116" fmla="*/ 269081 h 1288255"/>
              <a:gd name="connsiteX117" fmla="*/ 1012032 w 1378744"/>
              <a:gd name="connsiteY117" fmla="*/ 211931 h 1288255"/>
              <a:gd name="connsiteX118" fmla="*/ 959644 w 1378744"/>
              <a:gd name="connsiteY118" fmla="*/ 190500 h 1288255"/>
              <a:gd name="connsiteX119" fmla="*/ 914400 w 1378744"/>
              <a:gd name="connsiteY119" fmla="*/ 111918 h 1288255"/>
              <a:gd name="connsiteX120" fmla="*/ 854869 w 1378744"/>
              <a:gd name="connsiteY120" fmla="*/ 76200 h 1288255"/>
              <a:gd name="connsiteX121" fmla="*/ 873919 w 1378744"/>
              <a:gd name="connsiteY121" fmla="*/ 16668 h 1288255"/>
              <a:gd name="connsiteX122" fmla="*/ 783432 w 1378744"/>
              <a:gd name="connsiteY122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814388 w 1378744"/>
              <a:gd name="connsiteY60" fmla="*/ 1138237 h 1288255"/>
              <a:gd name="connsiteX61" fmla="*/ 828675 w 1378744"/>
              <a:gd name="connsiteY61" fmla="*/ 1109662 h 1288255"/>
              <a:gd name="connsiteX62" fmla="*/ 833438 w 1378744"/>
              <a:gd name="connsiteY62" fmla="*/ 1085850 h 1288255"/>
              <a:gd name="connsiteX63" fmla="*/ 797719 w 1378744"/>
              <a:gd name="connsiteY63" fmla="*/ 1059656 h 1288255"/>
              <a:gd name="connsiteX64" fmla="*/ 790575 w 1378744"/>
              <a:gd name="connsiteY64" fmla="*/ 1038225 h 1288255"/>
              <a:gd name="connsiteX65" fmla="*/ 790575 w 1378744"/>
              <a:gd name="connsiteY65" fmla="*/ 1021556 h 1288255"/>
              <a:gd name="connsiteX66" fmla="*/ 845344 w 1378744"/>
              <a:gd name="connsiteY66" fmla="*/ 952500 h 1288255"/>
              <a:gd name="connsiteX67" fmla="*/ 845344 w 1378744"/>
              <a:gd name="connsiteY67" fmla="*/ 952500 h 1288255"/>
              <a:gd name="connsiteX68" fmla="*/ 888207 w 1378744"/>
              <a:gd name="connsiteY68" fmla="*/ 966787 h 1288255"/>
              <a:gd name="connsiteX69" fmla="*/ 907257 w 1378744"/>
              <a:gd name="connsiteY69" fmla="*/ 981075 h 1288255"/>
              <a:gd name="connsiteX70" fmla="*/ 938213 w 1378744"/>
              <a:gd name="connsiteY70" fmla="*/ 990600 h 1288255"/>
              <a:gd name="connsiteX71" fmla="*/ 964407 w 1378744"/>
              <a:gd name="connsiteY71" fmla="*/ 985837 h 1288255"/>
              <a:gd name="connsiteX72" fmla="*/ 985838 w 1378744"/>
              <a:gd name="connsiteY72" fmla="*/ 985837 h 1288255"/>
              <a:gd name="connsiteX73" fmla="*/ 995363 w 1378744"/>
              <a:gd name="connsiteY73" fmla="*/ 995362 h 1288255"/>
              <a:gd name="connsiteX74" fmla="*/ 978694 w 1378744"/>
              <a:gd name="connsiteY74" fmla="*/ 1012031 h 1288255"/>
              <a:gd name="connsiteX75" fmla="*/ 969169 w 1378744"/>
              <a:gd name="connsiteY75" fmla="*/ 1031081 h 1288255"/>
              <a:gd name="connsiteX76" fmla="*/ 954882 w 1378744"/>
              <a:gd name="connsiteY76" fmla="*/ 1054893 h 1288255"/>
              <a:gd name="connsiteX77" fmla="*/ 950119 w 1378744"/>
              <a:gd name="connsiteY77" fmla="*/ 1083468 h 1288255"/>
              <a:gd name="connsiteX78" fmla="*/ 962025 w 1378744"/>
              <a:gd name="connsiteY78" fmla="*/ 1107281 h 1288255"/>
              <a:gd name="connsiteX79" fmla="*/ 983457 w 1378744"/>
              <a:gd name="connsiteY79" fmla="*/ 1131093 h 1288255"/>
              <a:gd name="connsiteX80" fmla="*/ 1002507 w 1378744"/>
              <a:gd name="connsiteY80" fmla="*/ 1133475 h 1288255"/>
              <a:gd name="connsiteX81" fmla="*/ 1028700 w 1378744"/>
              <a:gd name="connsiteY81" fmla="*/ 1126331 h 1288255"/>
              <a:gd name="connsiteX82" fmla="*/ 1031082 w 1378744"/>
              <a:gd name="connsiteY82" fmla="*/ 1097756 h 1288255"/>
              <a:gd name="connsiteX83" fmla="*/ 1057275 w 1378744"/>
              <a:gd name="connsiteY83" fmla="*/ 1085850 h 1288255"/>
              <a:gd name="connsiteX84" fmla="*/ 1076325 w 1378744"/>
              <a:gd name="connsiteY84" fmla="*/ 1097756 h 1288255"/>
              <a:gd name="connsiteX85" fmla="*/ 1100138 w 1378744"/>
              <a:gd name="connsiteY85" fmla="*/ 1107281 h 1288255"/>
              <a:gd name="connsiteX86" fmla="*/ 1123950 w 1378744"/>
              <a:gd name="connsiteY86" fmla="*/ 1121568 h 1288255"/>
              <a:gd name="connsiteX87" fmla="*/ 1143000 w 1378744"/>
              <a:gd name="connsiteY87" fmla="*/ 1123950 h 1288255"/>
              <a:gd name="connsiteX88" fmla="*/ 1157288 w 1378744"/>
              <a:gd name="connsiteY88" fmla="*/ 1112043 h 1288255"/>
              <a:gd name="connsiteX89" fmla="*/ 1159669 w 1378744"/>
              <a:gd name="connsiteY89" fmla="*/ 1085850 h 1288255"/>
              <a:gd name="connsiteX90" fmla="*/ 1166813 w 1378744"/>
              <a:gd name="connsiteY90" fmla="*/ 1052512 h 1288255"/>
              <a:gd name="connsiteX91" fmla="*/ 1197769 w 1378744"/>
              <a:gd name="connsiteY91" fmla="*/ 1016793 h 1288255"/>
              <a:gd name="connsiteX92" fmla="*/ 1195388 w 1378744"/>
              <a:gd name="connsiteY92" fmla="*/ 954881 h 1288255"/>
              <a:gd name="connsiteX93" fmla="*/ 1209675 w 1378744"/>
              <a:gd name="connsiteY93" fmla="*/ 945356 h 1288255"/>
              <a:gd name="connsiteX94" fmla="*/ 1235869 w 1378744"/>
              <a:gd name="connsiteY94" fmla="*/ 945356 h 1288255"/>
              <a:gd name="connsiteX95" fmla="*/ 1235869 w 1378744"/>
              <a:gd name="connsiteY95" fmla="*/ 931068 h 1288255"/>
              <a:gd name="connsiteX96" fmla="*/ 1212057 w 1378744"/>
              <a:gd name="connsiteY96" fmla="*/ 912018 h 1288255"/>
              <a:gd name="connsiteX97" fmla="*/ 1195388 w 1378744"/>
              <a:gd name="connsiteY97" fmla="*/ 881062 h 1288255"/>
              <a:gd name="connsiteX98" fmla="*/ 1157288 w 1378744"/>
              <a:gd name="connsiteY98" fmla="*/ 871537 h 1288255"/>
              <a:gd name="connsiteX99" fmla="*/ 1119188 w 1378744"/>
              <a:gd name="connsiteY99" fmla="*/ 859631 h 1288255"/>
              <a:gd name="connsiteX100" fmla="*/ 1119188 w 1378744"/>
              <a:gd name="connsiteY100" fmla="*/ 831056 h 1288255"/>
              <a:gd name="connsiteX101" fmla="*/ 1135857 w 1378744"/>
              <a:gd name="connsiteY101" fmla="*/ 807243 h 1288255"/>
              <a:gd name="connsiteX102" fmla="*/ 1197769 w 1378744"/>
              <a:gd name="connsiteY102" fmla="*/ 759618 h 1288255"/>
              <a:gd name="connsiteX103" fmla="*/ 1247775 w 1378744"/>
              <a:gd name="connsiteY103" fmla="*/ 762000 h 1288255"/>
              <a:gd name="connsiteX104" fmla="*/ 1278732 w 1378744"/>
              <a:gd name="connsiteY104" fmla="*/ 762000 h 1288255"/>
              <a:gd name="connsiteX105" fmla="*/ 1271588 w 1378744"/>
              <a:gd name="connsiteY105" fmla="*/ 735806 h 1288255"/>
              <a:gd name="connsiteX106" fmla="*/ 1378744 w 1378744"/>
              <a:gd name="connsiteY106" fmla="*/ 678656 h 1288255"/>
              <a:gd name="connsiteX107" fmla="*/ 1331119 w 1378744"/>
              <a:gd name="connsiteY107" fmla="*/ 552450 h 1288255"/>
              <a:gd name="connsiteX108" fmla="*/ 1278732 w 1378744"/>
              <a:gd name="connsiteY108" fmla="*/ 514350 h 1288255"/>
              <a:gd name="connsiteX109" fmla="*/ 1252538 w 1378744"/>
              <a:gd name="connsiteY109" fmla="*/ 431006 h 1288255"/>
              <a:gd name="connsiteX110" fmla="*/ 1181100 w 1378744"/>
              <a:gd name="connsiteY110" fmla="*/ 431006 h 1288255"/>
              <a:gd name="connsiteX111" fmla="*/ 1166813 w 1378744"/>
              <a:gd name="connsiteY111" fmla="*/ 395287 h 1288255"/>
              <a:gd name="connsiteX112" fmla="*/ 1107282 w 1378744"/>
              <a:gd name="connsiteY112" fmla="*/ 421481 h 1288255"/>
              <a:gd name="connsiteX113" fmla="*/ 1054894 w 1378744"/>
              <a:gd name="connsiteY113" fmla="*/ 414337 h 1288255"/>
              <a:gd name="connsiteX114" fmla="*/ 1028700 w 1378744"/>
              <a:gd name="connsiteY114" fmla="*/ 371475 h 1288255"/>
              <a:gd name="connsiteX115" fmla="*/ 1023938 w 1378744"/>
              <a:gd name="connsiteY115" fmla="*/ 288131 h 1288255"/>
              <a:gd name="connsiteX116" fmla="*/ 1012032 w 1378744"/>
              <a:gd name="connsiteY116" fmla="*/ 269081 h 1288255"/>
              <a:gd name="connsiteX117" fmla="*/ 1012032 w 1378744"/>
              <a:gd name="connsiteY117" fmla="*/ 211931 h 1288255"/>
              <a:gd name="connsiteX118" fmla="*/ 959644 w 1378744"/>
              <a:gd name="connsiteY118" fmla="*/ 190500 h 1288255"/>
              <a:gd name="connsiteX119" fmla="*/ 914400 w 1378744"/>
              <a:gd name="connsiteY119" fmla="*/ 111918 h 1288255"/>
              <a:gd name="connsiteX120" fmla="*/ 854869 w 1378744"/>
              <a:gd name="connsiteY120" fmla="*/ 76200 h 1288255"/>
              <a:gd name="connsiteX121" fmla="*/ 873919 w 1378744"/>
              <a:gd name="connsiteY121" fmla="*/ 16668 h 1288255"/>
              <a:gd name="connsiteX122" fmla="*/ 783432 w 1378744"/>
              <a:gd name="connsiteY122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814388 w 1378744"/>
              <a:gd name="connsiteY60" fmla="*/ 1138237 h 1288255"/>
              <a:gd name="connsiteX61" fmla="*/ 788194 w 1378744"/>
              <a:gd name="connsiteY61" fmla="*/ 1193005 h 1288255"/>
              <a:gd name="connsiteX62" fmla="*/ 828675 w 1378744"/>
              <a:gd name="connsiteY62" fmla="*/ 1109662 h 1288255"/>
              <a:gd name="connsiteX63" fmla="*/ 833438 w 1378744"/>
              <a:gd name="connsiteY63" fmla="*/ 1085850 h 1288255"/>
              <a:gd name="connsiteX64" fmla="*/ 797719 w 1378744"/>
              <a:gd name="connsiteY64" fmla="*/ 1059656 h 1288255"/>
              <a:gd name="connsiteX65" fmla="*/ 790575 w 1378744"/>
              <a:gd name="connsiteY65" fmla="*/ 1038225 h 1288255"/>
              <a:gd name="connsiteX66" fmla="*/ 790575 w 1378744"/>
              <a:gd name="connsiteY66" fmla="*/ 1021556 h 1288255"/>
              <a:gd name="connsiteX67" fmla="*/ 845344 w 1378744"/>
              <a:gd name="connsiteY67" fmla="*/ 952500 h 1288255"/>
              <a:gd name="connsiteX68" fmla="*/ 845344 w 1378744"/>
              <a:gd name="connsiteY68" fmla="*/ 952500 h 1288255"/>
              <a:gd name="connsiteX69" fmla="*/ 888207 w 1378744"/>
              <a:gd name="connsiteY69" fmla="*/ 966787 h 1288255"/>
              <a:gd name="connsiteX70" fmla="*/ 907257 w 1378744"/>
              <a:gd name="connsiteY70" fmla="*/ 981075 h 1288255"/>
              <a:gd name="connsiteX71" fmla="*/ 938213 w 1378744"/>
              <a:gd name="connsiteY71" fmla="*/ 990600 h 1288255"/>
              <a:gd name="connsiteX72" fmla="*/ 964407 w 1378744"/>
              <a:gd name="connsiteY72" fmla="*/ 985837 h 1288255"/>
              <a:gd name="connsiteX73" fmla="*/ 985838 w 1378744"/>
              <a:gd name="connsiteY73" fmla="*/ 985837 h 1288255"/>
              <a:gd name="connsiteX74" fmla="*/ 995363 w 1378744"/>
              <a:gd name="connsiteY74" fmla="*/ 995362 h 1288255"/>
              <a:gd name="connsiteX75" fmla="*/ 978694 w 1378744"/>
              <a:gd name="connsiteY75" fmla="*/ 1012031 h 1288255"/>
              <a:gd name="connsiteX76" fmla="*/ 969169 w 1378744"/>
              <a:gd name="connsiteY76" fmla="*/ 1031081 h 1288255"/>
              <a:gd name="connsiteX77" fmla="*/ 954882 w 1378744"/>
              <a:gd name="connsiteY77" fmla="*/ 1054893 h 1288255"/>
              <a:gd name="connsiteX78" fmla="*/ 950119 w 1378744"/>
              <a:gd name="connsiteY78" fmla="*/ 1083468 h 1288255"/>
              <a:gd name="connsiteX79" fmla="*/ 962025 w 1378744"/>
              <a:gd name="connsiteY79" fmla="*/ 1107281 h 1288255"/>
              <a:gd name="connsiteX80" fmla="*/ 983457 w 1378744"/>
              <a:gd name="connsiteY80" fmla="*/ 1131093 h 1288255"/>
              <a:gd name="connsiteX81" fmla="*/ 1002507 w 1378744"/>
              <a:gd name="connsiteY81" fmla="*/ 1133475 h 1288255"/>
              <a:gd name="connsiteX82" fmla="*/ 1028700 w 1378744"/>
              <a:gd name="connsiteY82" fmla="*/ 1126331 h 1288255"/>
              <a:gd name="connsiteX83" fmla="*/ 1031082 w 1378744"/>
              <a:gd name="connsiteY83" fmla="*/ 1097756 h 1288255"/>
              <a:gd name="connsiteX84" fmla="*/ 1057275 w 1378744"/>
              <a:gd name="connsiteY84" fmla="*/ 1085850 h 1288255"/>
              <a:gd name="connsiteX85" fmla="*/ 1076325 w 1378744"/>
              <a:gd name="connsiteY85" fmla="*/ 1097756 h 1288255"/>
              <a:gd name="connsiteX86" fmla="*/ 1100138 w 1378744"/>
              <a:gd name="connsiteY86" fmla="*/ 1107281 h 1288255"/>
              <a:gd name="connsiteX87" fmla="*/ 1123950 w 1378744"/>
              <a:gd name="connsiteY87" fmla="*/ 1121568 h 1288255"/>
              <a:gd name="connsiteX88" fmla="*/ 1143000 w 1378744"/>
              <a:gd name="connsiteY88" fmla="*/ 1123950 h 1288255"/>
              <a:gd name="connsiteX89" fmla="*/ 1157288 w 1378744"/>
              <a:gd name="connsiteY89" fmla="*/ 1112043 h 1288255"/>
              <a:gd name="connsiteX90" fmla="*/ 1159669 w 1378744"/>
              <a:gd name="connsiteY90" fmla="*/ 1085850 h 1288255"/>
              <a:gd name="connsiteX91" fmla="*/ 1166813 w 1378744"/>
              <a:gd name="connsiteY91" fmla="*/ 1052512 h 1288255"/>
              <a:gd name="connsiteX92" fmla="*/ 1197769 w 1378744"/>
              <a:gd name="connsiteY92" fmla="*/ 1016793 h 1288255"/>
              <a:gd name="connsiteX93" fmla="*/ 1195388 w 1378744"/>
              <a:gd name="connsiteY93" fmla="*/ 954881 h 1288255"/>
              <a:gd name="connsiteX94" fmla="*/ 1209675 w 1378744"/>
              <a:gd name="connsiteY94" fmla="*/ 945356 h 1288255"/>
              <a:gd name="connsiteX95" fmla="*/ 1235869 w 1378744"/>
              <a:gd name="connsiteY95" fmla="*/ 945356 h 1288255"/>
              <a:gd name="connsiteX96" fmla="*/ 1235869 w 1378744"/>
              <a:gd name="connsiteY96" fmla="*/ 931068 h 1288255"/>
              <a:gd name="connsiteX97" fmla="*/ 1212057 w 1378744"/>
              <a:gd name="connsiteY97" fmla="*/ 912018 h 1288255"/>
              <a:gd name="connsiteX98" fmla="*/ 1195388 w 1378744"/>
              <a:gd name="connsiteY98" fmla="*/ 881062 h 1288255"/>
              <a:gd name="connsiteX99" fmla="*/ 1157288 w 1378744"/>
              <a:gd name="connsiteY99" fmla="*/ 871537 h 1288255"/>
              <a:gd name="connsiteX100" fmla="*/ 1119188 w 1378744"/>
              <a:gd name="connsiteY100" fmla="*/ 859631 h 1288255"/>
              <a:gd name="connsiteX101" fmla="*/ 1119188 w 1378744"/>
              <a:gd name="connsiteY101" fmla="*/ 831056 h 1288255"/>
              <a:gd name="connsiteX102" fmla="*/ 1135857 w 1378744"/>
              <a:gd name="connsiteY102" fmla="*/ 807243 h 1288255"/>
              <a:gd name="connsiteX103" fmla="*/ 1197769 w 1378744"/>
              <a:gd name="connsiteY103" fmla="*/ 759618 h 1288255"/>
              <a:gd name="connsiteX104" fmla="*/ 1247775 w 1378744"/>
              <a:gd name="connsiteY104" fmla="*/ 762000 h 1288255"/>
              <a:gd name="connsiteX105" fmla="*/ 1278732 w 1378744"/>
              <a:gd name="connsiteY105" fmla="*/ 762000 h 1288255"/>
              <a:gd name="connsiteX106" fmla="*/ 1271588 w 1378744"/>
              <a:gd name="connsiteY106" fmla="*/ 735806 h 1288255"/>
              <a:gd name="connsiteX107" fmla="*/ 1378744 w 1378744"/>
              <a:gd name="connsiteY107" fmla="*/ 678656 h 1288255"/>
              <a:gd name="connsiteX108" fmla="*/ 1331119 w 1378744"/>
              <a:gd name="connsiteY108" fmla="*/ 552450 h 1288255"/>
              <a:gd name="connsiteX109" fmla="*/ 1278732 w 1378744"/>
              <a:gd name="connsiteY109" fmla="*/ 514350 h 1288255"/>
              <a:gd name="connsiteX110" fmla="*/ 1252538 w 1378744"/>
              <a:gd name="connsiteY110" fmla="*/ 431006 h 1288255"/>
              <a:gd name="connsiteX111" fmla="*/ 1181100 w 1378744"/>
              <a:gd name="connsiteY111" fmla="*/ 431006 h 1288255"/>
              <a:gd name="connsiteX112" fmla="*/ 1166813 w 1378744"/>
              <a:gd name="connsiteY112" fmla="*/ 395287 h 1288255"/>
              <a:gd name="connsiteX113" fmla="*/ 1107282 w 1378744"/>
              <a:gd name="connsiteY113" fmla="*/ 421481 h 1288255"/>
              <a:gd name="connsiteX114" fmla="*/ 1054894 w 1378744"/>
              <a:gd name="connsiteY114" fmla="*/ 414337 h 1288255"/>
              <a:gd name="connsiteX115" fmla="*/ 1028700 w 1378744"/>
              <a:gd name="connsiteY115" fmla="*/ 371475 h 1288255"/>
              <a:gd name="connsiteX116" fmla="*/ 1023938 w 1378744"/>
              <a:gd name="connsiteY116" fmla="*/ 288131 h 1288255"/>
              <a:gd name="connsiteX117" fmla="*/ 1012032 w 1378744"/>
              <a:gd name="connsiteY117" fmla="*/ 269081 h 1288255"/>
              <a:gd name="connsiteX118" fmla="*/ 1012032 w 1378744"/>
              <a:gd name="connsiteY118" fmla="*/ 211931 h 1288255"/>
              <a:gd name="connsiteX119" fmla="*/ 959644 w 1378744"/>
              <a:gd name="connsiteY119" fmla="*/ 190500 h 1288255"/>
              <a:gd name="connsiteX120" fmla="*/ 914400 w 1378744"/>
              <a:gd name="connsiteY120" fmla="*/ 111918 h 1288255"/>
              <a:gd name="connsiteX121" fmla="*/ 854869 w 1378744"/>
              <a:gd name="connsiteY121" fmla="*/ 76200 h 1288255"/>
              <a:gd name="connsiteX122" fmla="*/ 873919 w 1378744"/>
              <a:gd name="connsiteY122" fmla="*/ 16668 h 1288255"/>
              <a:gd name="connsiteX123" fmla="*/ 783432 w 1378744"/>
              <a:gd name="connsiteY123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814388 w 1378744"/>
              <a:gd name="connsiteY60" fmla="*/ 1138237 h 1288255"/>
              <a:gd name="connsiteX61" fmla="*/ 795337 w 1378744"/>
              <a:gd name="connsiteY61" fmla="*/ 1212055 h 1288255"/>
              <a:gd name="connsiteX62" fmla="*/ 828675 w 1378744"/>
              <a:gd name="connsiteY62" fmla="*/ 1109662 h 1288255"/>
              <a:gd name="connsiteX63" fmla="*/ 833438 w 1378744"/>
              <a:gd name="connsiteY63" fmla="*/ 1085850 h 1288255"/>
              <a:gd name="connsiteX64" fmla="*/ 797719 w 1378744"/>
              <a:gd name="connsiteY64" fmla="*/ 1059656 h 1288255"/>
              <a:gd name="connsiteX65" fmla="*/ 790575 w 1378744"/>
              <a:gd name="connsiteY65" fmla="*/ 1038225 h 1288255"/>
              <a:gd name="connsiteX66" fmla="*/ 790575 w 1378744"/>
              <a:gd name="connsiteY66" fmla="*/ 1021556 h 1288255"/>
              <a:gd name="connsiteX67" fmla="*/ 845344 w 1378744"/>
              <a:gd name="connsiteY67" fmla="*/ 952500 h 1288255"/>
              <a:gd name="connsiteX68" fmla="*/ 845344 w 1378744"/>
              <a:gd name="connsiteY68" fmla="*/ 952500 h 1288255"/>
              <a:gd name="connsiteX69" fmla="*/ 888207 w 1378744"/>
              <a:gd name="connsiteY69" fmla="*/ 966787 h 1288255"/>
              <a:gd name="connsiteX70" fmla="*/ 907257 w 1378744"/>
              <a:gd name="connsiteY70" fmla="*/ 981075 h 1288255"/>
              <a:gd name="connsiteX71" fmla="*/ 938213 w 1378744"/>
              <a:gd name="connsiteY71" fmla="*/ 990600 h 1288255"/>
              <a:gd name="connsiteX72" fmla="*/ 964407 w 1378744"/>
              <a:gd name="connsiteY72" fmla="*/ 985837 h 1288255"/>
              <a:gd name="connsiteX73" fmla="*/ 985838 w 1378744"/>
              <a:gd name="connsiteY73" fmla="*/ 985837 h 1288255"/>
              <a:gd name="connsiteX74" fmla="*/ 995363 w 1378744"/>
              <a:gd name="connsiteY74" fmla="*/ 995362 h 1288255"/>
              <a:gd name="connsiteX75" fmla="*/ 978694 w 1378744"/>
              <a:gd name="connsiteY75" fmla="*/ 1012031 h 1288255"/>
              <a:gd name="connsiteX76" fmla="*/ 969169 w 1378744"/>
              <a:gd name="connsiteY76" fmla="*/ 1031081 h 1288255"/>
              <a:gd name="connsiteX77" fmla="*/ 954882 w 1378744"/>
              <a:gd name="connsiteY77" fmla="*/ 1054893 h 1288255"/>
              <a:gd name="connsiteX78" fmla="*/ 950119 w 1378744"/>
              <a:gd name="connsiteY78" fmla="*/ 1083468 h 1288255"/>
              <a:gd name="connsiteX79" fmla="*/ 962025 w 1378744"/>
              <a:gd name="connsiteY79" fmla="*/ 1107281 h 1288255"/>
              <a:gd name="connsiteX80" fmla="*/ 983457 w 1378744"/>
              <a:gd name="connsiteY80" fmla="*/ 1131093 h 1288255"/>
              <a:gd name="connsiteX81" fmla="*/ 1002507 w 1378744"/>
              <a:gd name="connsiteY81" fmla="*/ 1133475 h 1288255"/>
              <a:gd name="connsiteX82" fmla="*/ 1028700 w 1378744"/>
              <a:gd name="connsiteY82" fmla="*/ 1126331 h 1288255"/>
              <a:gd name="connsiteX83" fmla="*/ 1031082 w 1378744"/>
              <a:gd name="connsiteY83" fmla="*/ 1097756 h 1288255"/>
              <a:gd name="connsiteX84" fmla="*/ 1057275 w 1378744"/>
              <a:gd name="connsiteY84" fmla="*/ 1085850 h 1288255"/>
              <a:gd name="connsiteX85" fmla="*/ 1076325 w 1378744"/>
              <a:gd name="connsiteY85" fmla="*/ 1097756 h 1288255"/>
              <a:gd name="connsiteX86" fmla="*/ 1100138 w 1378744"/>
              <a:gd name="connsiteY86" fmla="*/ 1107281 h 1288255"/>
              <a:gd name="connsiteX87" fmla="*/ 1123950 w 1378744"/>
              <a:gd name="connsiteY87" fmla="*/ 1121568 h 1288255"/>
              <a:gd name="connsiteX88" fmla="*/ 1143000 w 1378744"/>
              <a:gd name="connsiteY88" fmla="*/ 1123950 h 1288255"/>
              <a:gd name="connsiteX89" fmla="*/ 1157288 w 1378744"/>
              <a:gd name="connsiteY89" fmla="*/ 1112043 h 1288255"/>
              <a:gd name="connsiteX90" fmla="*/ 1159669 w 1378744"/>
              <a:gd name="connsiteY90" fmla="*/ 1085850 h 1288255"/>
              <a:gd name="connsiteX91" fmla="*/ 1166813 w 1378744"/>
              <a:gd name="connsiteY91" fmla="*/ 1052512 h 1288255"/>
              <a:gd name="connsiteX92" fmla="*/ 1197769 w 1378744"/>
              <a:gd name="connsiteY92" fmla="*/ 1016793 h 1288255"/>
              <a:gd name="connsiteX93" fmla="*/ 1195388 w 1378744"/>
              <a:gd name="connsiteY93" fmla="*/ 954881 h 1288255"/>
              <a:gd name="connsiteX94" fmla="*/ 1209675 w 1378744"/>
              <a:gd name="connsiteY94" fmla="*/ 945356 h 1288255"/>
              <a:gd name="connsiteX95" fmla="*/ 1235869 w 1378744"/>
              <a:gd name="connsiteY95" fmla="*/ 945356 h 1288255"/>
              <a:gd name="connsiteX96" fmla="*/ 1235869 w 1378744"/>
              <a:gd name="connsiteY96" fmla="*/ 931068 h 1288255"/>
              <a:gd name="connsiteX97" fmla="*/ 1212057 w 1378744"/>
              <a:gd name="connsiteY97" fmla="*/ 912018 h 1288255"/>
              <a:gd name="connsiteX98" fmla="*/ 1195388 w 1378744"/>
              <a:gd name="connsiteY98" fmla="*/ 881062 h 1288255"/>
              <a:gd name="connsiteX99" fmla="*/ 1157288 w 1378744"/>
              <a:gd name="connsiteY99" fmla="*/ 871537 h 1288255"/>
              <a:gd name="connsiteX100" fmla="*/ 1119188 w 1378744"/>
              <a:gd name="connsiteY100" fmla="*/ 859631 h 1288255"/>
              <a:gd name="connsiteX101" fmla="*/ 1119188 w 1378744"/>
              <a:gd name="connsiteY101" fmla="*/ 831056 h 1288255"/>
              <a:gd name="connsiteX102" fmla="*/ 1135857 w 1378744"/>
              <a:gd name="connsiteY102" fmla="*/ 807243 h 1288255"/>
              <a:gd name="connsiteX103" fmla="*/ 1197769 w 1378744"/>
              <a:gd name="connsiteY103" fmla="*/ 759618 h 1288255"/>
              <a:gd name="connsiteX104" fmla="*/ 1247775 w 1378744"/>
              <a:gd name="connsiteY104" fmla="*/ 762000 h 1288255"/>
              <a:gd name="connsiteX105" fmla="*/ 1278732 w 1378744"/>
              <a:gd name="connsiteY105" fmla="*/ 762000 h 1288255"/>
              <a:gd name="connsiteX106" fmla="*/ 1271588 w 1378744"/>
              <a:gd name="connsiteY106" fmla="*/ 735806 h 1288255"/>
              <a:gd name="connsiteX107" fmla="*/ 1378744 w 1378744"/>
              <a:gd name="connsiteY107" fmla="*/ 678656 h 1288255"/>
              <a:gd name="connsiteX108" fmla="*/ 1331119 w 1378744"/>
              <a:gd name="connsiteY108" fmla="*/ 552450 h 1288255"/>
              <a:gd name="connsiteX109" fmla="*/ 1278732 w 1378744"/>
              <a:gd name="connsiteY109" fmla="*/ 514350 h 1288255"/>
              <a:gd name="connsiteX110" fmla="*/ 1252538 w 1378744"/>
              <a:gd name="connsiteY110" fmla="*/ 431006 h 1288255"/>
              <a:gd name="connsiteX111" fmla="*/ 1181100 w 1378744"/>
              <a:gd name="connsiteY111" fmla="*/ 431006 h 1288255"/>
              <a:gd name="connsiteX112" fmla="*/ 1166813 w 1378744"/>
              <a:gd name="connsiteY112" fmla="*/ 395287 h 1288255"/>
              <a:gd name="connsiteX113" fmla="*/ 1107282 w 1378744"/>
              <a:gd name="connsiteY113" fmla="*/ 421481 h 1288255"/>
              <a:gd name="connsiteX114" fmla="*/ 1054894 w 1378744"/>
              <a:gd name="connsiteY114" fmla="*/ 414337 h 1288255"/>
              <a:gd name="connsiteX115" fmla="*/ 1028700 w 1378744"/>
              <a:gd name="connsiteY115" fmla="*/ 371475 h 1288255"/>
              <a:gd name="connsiteX116" fmla="*/ 1023938 w 1378744"/>
              <a:gd name="connsiteY116" fmla="*/ 288131 h 1288255"/>
              <a:gd name="connsiteX117" fmla="*/ 1012032 w 1378744"/>
              <a:gd name="connsiteY117" fmla="*/ 269081 h 1288255"/>
              <a:gd name="connsiteX118" fmla="*/ 1012032 w 1378744"/>
              <a:gd name="connsiteY118" fmla="*/ 211931 h 1288255"/>
              <a:gd name="connsiteX119" fmla="*/ 959644 w 1378744"/>
              <a:gd name="connsiteY119" fmla="*/ 190500 h 1288255"/>
              <a:gd name="connsiteX120" fmla="*/ 914400 w 1378744"/>
              <a:gd name="connsiteY120" fmla="*/ 111918 h 1288255"/>
              <a:gd name="connsiteX121" fmla="*/ 854869 w 1378744"/>
              <a:gd name="connsiteY121" fmla="*/ 76200 h 1288255"/>
              <a:gd name="connsiteX122" fmla="*/ 873919 w 1378744"/>
              <a:gd name="connsiteY122" fmla="*/ 16668 h 1288255"/>
              <a:gd name="connsiteX123" fmla="*/ 783432 w 1378744"/>
              <a:gd name="connsiteY123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814388 w 1378744"/>
              <a:gd name="connsiteY60" fmla="*/ 1138237 h 1288255"/>
              <a:gd name="connsiteX61" fmla="*/ 795337 w 1378744"/>
              <a:gd name="connsiteY61" fmla="*/ 1212055 h 1288255"/>
              <a:gd name="connsiteX62" fmla="*/ 828675 w 1378744"/>
              <a:gd name="connsiteY62" fmla="*/ 1109662 h 1288255"/>
              <a:gd name="connsiteX63" fmla="*/ 812007 w 1378744"/>
              <a:gd name="connsiteY63" fmla="*/ 1171574 h 1288255"/>
              <a:gd name="connsiteX64" fmla="*/ 833438 w 1378744"/>
              <a:gd name="connsiteY64" fmla="*/ 1085850 h 1288255"/>
              <a:gd name="connsiteX65" fmla="*/ 797719 w 1378744"/>
              <a:gd name="connsiteY65" fmla="*/ 1059656 h 1288255"/>
              <a:gd name="connsiteX66" fmla="*/ 790575 w 1378744"/>
              <a:gd name="connsiteY66" fmla="*/ 1038225 h 1288255"/>
              <a:gd name="connsiteX67" fmla="*/ 790575 w 1378744"/>
              <a:gd name="connsiteY67" fmla="*/ 1021556 h 1288255"/>
              <a:gd name="connsiteX68" fmla="*/ 845344 w 1378744"/>
              <a:gd name="connsiteY68" fmla="*/ 952500 h 1288255"/>
              <a:gd name="connsiteX69" fmla="*/ 845344 w 1378744"/>
              <a:gd name="connsiteY69" fmla="*/ 952500 h 1288255"/>
              <a:gd name="connsiteX70" fmla="*/ 888207 w 1378744"/>
              <a:gd name="connsiteY70" fmla="*/ 966787 h 1288255"/>
              <a:gd name="connsiteX71" fmla="*/ 907257 w 1378744"/>
              <a:gd name="connsiteY71" fmla="*/ 981075 h 1288255"/>
              <a:gd name="connsiteX72" fmla="*/ 938213 w 1378744"/>
              <a:gd name="connsiteY72" fmla="*/ 990600 h 1288255"/>
              <a:gd name="connsiteX73" fmla="*/ 964407 w 1378744"/>
              <a:gd name="connsiteY73" fmla="*/ 985837 h 1288255"/>
              <a:gd name="connsiteX74" fmla="*/ 985838 w 1378744"/>
              <a:gd name="connsiteY74" fmla="*/ 985837 h 1288255"/>
              <a:gd name="connsiteX75" fmla="*/ 995363 w 1378744"/>
              <a:gd name="connsiteY75" fmla="*/ 995362 h 1288255"/>
              <a:gd name="connsiteX76" fmla="*/ 978694 w 1378744"/>
              <a:gd name="connsiteY76" fmla="*/ 1012031 h 1288255"/>
              <a:gd name="connsiteX77" fmla="*/ 969169 w 1378744"/>
              <a:gd name="connsiteY77" fmla="*/ 1031081 h 1288255"/>
              <a:gd name="connsiteX78" fmla="*/ 954882 w 1378744"/>
              <a:gd name="connsiteY78" fmla="*/ 1054893 h 1288255"/>
              <a:gd name="connsiteX79" fmla="*/ 950119 w 1378744"/>
              <a:gd name="connsiteY79" fmla="*/ 1083468 h 1288255"/>
              <a:gd name="connsiteX80" fmla="*/ 962025 w 1378744"/>
              <a:gd name="connsiteY80" fmla="*/ 1107281 h 1288255"/>
              <a:gd name="connsiteX81" fmla="*/ 983457 w 1378744"/>
              <a:gd name="connsiteY81" fmla="*/ 1131093 h 1288255"/>
              <a:gd name="connsiteX82" fmla="*/ 1002507 w 1378744"/>
              <a:gd name="connsiteY82" fmla="*/ 1133475 h 1288255"/>
              <a:gd name="connsiteX83" fmla="*/ 1028700 w 1378744"/>
              <a:gd name="connsiteY83" fmla="*/ 1126331 h 1288255"/>
              <a:gd name="connsiteX84" fmla="*/ 1031082 w 1378744"/>
              <a:gd name="connsiteY84" fmla="*/ 1097756 h 1288255"/>
              <a:gd name="connsiteX85" fmla="*/ 1057275 w 1378744"/>
              <a:gd name="connsiteY85" fmla="*/ 1085850 h 1288255"/>
              <a:gd name="connsiteX86" fmla="*/ 1076325 w 1378744"/>
              <a:gd name="connsiteY86" fmla="*/ 1097756 h 1288255"/>
              <a:gd name="connsiteX87" fmla="*/ 1100138 w 1378744"/>
              <a:gd name="connsiteY87" fmla="*/ 1107281 h 1288255"/>
              <a:gd name="connsiteX88" fmla="*/ 1123950 w 1378744"/>
              <a:gd name="connsiteY88" fmla="*/ 1121568 h 1288255"/>
              <a:gd name="connsiteX89" fmla="*/ 1143000 w 1378744"/>
              <a:gd name="connsiteY89" fmla="*/ 1123950 h 1288255"/>
              <a:gd name="connsiteX90" fmla="*/ 1157288 w 1378744"/>
              <a:gd name="connsiteY90" fmla="*/ 1112043 h 1288255"/>
              <a:gd name="connsiteX91" fmla="*/ 1159669 w 1378744"/>
              <a:gd name="connsiteY91" fmla="*/ 1085850 h 1288255"/>
              <a:gd name="connsiteX92" fmla="*/ 1166813 w 1378744"/>
              <a:gd name="connsiteY92" fmla="*/ 1052512 h 1288255"/>
              <a:gd name="connsiteX93" fmla="*/ 1197769 w 1378744"/>
              <a:gd name="connsiteY93" fmla="*/ 1016793 h 1288255"/>
              <a:gd name="connsiteX94" fmla="*/ 1195388 w 1378744"/>
              <a:gd name="connsiteY94" fmla="*/ 954881 h 1288255"/>
              <a:gd name="connsiteX95" fmla="*/ 1209675 w 1378744"/>
              <a:gd name="connsiteY95" fmla="*/ 945356 h 1288255"/>
              <a:gd name="connsiteX96" fmla="*/ 1235869 w 1378744"/>
              <a:gd name="connsiteY96" fmla="*/ 945356 h 1288255"/>
              <a:gd name="connsiteX97" fmla="*/ 1235869 w 1378744"/>
              <a:gd name="connsiteY97" fmla="*/ 931068 h 1288255"/>
              <a:gd name="connsiteX98" fmla="*/ 1212057 w 1378744"/>
              <a:gd name="connsiteY98" fmla="*/ 912018 h 1288255"/>
              <a:gd name="connsiteX99" fmla="*/ 1195388 w 1378744"/>
              <a:gd name="connsiteY99" fmla="*/ 881062 h 1288255"/>
              <a:gd name="connsiteX100" fmla="*/ 1157288 w 1378744"/>
              <a:gd name="connsiteY100" fmla="*/ 871537 h 1288255"/>
              <a:gd name="connsiteX101" fmla="*/ 1119188 w 1378744"/>
              <a:gd name="connsiteY101" fmla="*/ 859631 h 1288255"/>
              <a:gd name="connsiteX102" fmla="*/ 1119188 w 1378744"/>
              <a:gd name="connsiteY102" fmla="*/ 831056 h 1288255"/>
              <a:gd name="connsiteX103" fmla="*/ 1135857 w 1378744"/>
              <a:gd name="connsiteY103" fmla="*/ 807243 h 1288255"/>
              <a:gd name="connsiteX104" fmla="*/ 1197769 w 1378744"/>
              <a:gd name="connsiteY104" fmla="*/ 759618 h 1288255"/>
              <a:gd name="connsiteX105" fmla="*/ 1247775 w 1378744"/>
              <a:gd name="connsiteY105" fmla="*/ 762000 h 1288255"/>
              <a:gd name="connsiteX106" fmla="*/ 1278732 w 1378744"/>
              <a:gd name="connsiteY106" fmla="*/ 762000 h 1288255"/>
              <a:gd name="connsiteX107" fmla="*/ 1271588 w 1378744"/>
              <a:gd name="connsiteY107" fmla="*/ 735806 h 1288255"/>
              <a:gd name="connsiteX108" fmla="*/ 1378744 w 1378744"/>
              <a:gd name="connsiteY108" fmla="*/ 678656 h 1288255"/>
              <a:gd name="connsiteX109" fmla="*/ 1331119 w 1378744"/>
              <a:gd name="connsiteY109" fmla="*/ 552450 h 1288255"/>
              <a:gd name="connsiteX110" fmla="*/ 1278732 w 1378744"/>
              <a:gd name="connsiteY110" fmla="*/ 514350 h 1288255"/>
              <a:gd name="connsiteX111" fmla="*/ 1252538 w 1378744"/>
              <a:gd name="connsiteY111" fmla="*/ 431006 h 1288255"/>
              <a:gd name="connsiteX112" fmla="*/ 1181100 w 1378744"/>
              <a:gd name="connsiteY112" fmla="*/ 431006 h 1288255"/>
              <a:gd name="connsiteX113" fmla="*/ 1166813 w 1378744"/>
              <a:gd name="connsiteY113" fmla="*/ 395287 h 1288255"/>
              <a:gd name="connsiteX114" fmla="*/ 1107282 w 1378744"/>
              <a:gd name="connsiteY114" fmla="*/ 421481 h 1288255"/>
              <a:gd name="connsiteX115" fmla="*/ 1054894 w 1378744"/>
              <a:gd name="connsiteY115" fmla="*/ 414337 h 1288255"/>
              <a:gd name="connsiteX116" fmla="*/ 1028700 w 1378744"/>
              <a:gd name="connsiteY116" fmla="*/ 371475 h 1288255"/>
              <a:gd name="connsiteX117" fmla="*/ 1023938 w 1378744"/>
              <a:gd name="connsiteY117" fmla="*/ 288131 h 1288255"/>
              <a:gd name="connsiteX118" fmla="*/ 1012032 w 1378744"/>
              <a:gd name="connsiteY118" fmla="*/ 269081 h 1288255"/>
              <a:gd name="connsiteX119" fmla="*/ 1012032 w 1378744"/>
              <a:gd name="connsiteY119" fmla="*/ 211931 h 1288255"/>
              <a:gd name="connsiteX120" fmla="*/ 959644 w 1378744"/>
              <a:gd name="connsiteY120" fmla="*/ 190500 h 1288255"/>
              <a:gd name="connsiteX121" fmla="*/ 914400 w 1378744"/>
              <a:gd name="connsiteY121" fmla="*/ 111918 h 1288255"/>
              <a:gd name="connsiteX122" fmla="*/ 854869 w 1378744"/>
              <a:gd name="connsiteY122" fmla="*/ 76200 h 1288255"/>
              <a:gd name="connsiteX123" fmla="*/ 873919 w 1378744"/>
              <a:gd name="connsiteY123" fmla="*/ 16668 h 1288255"/>
              <a:gd name="connsiteX124" fmla="*/ 783432 w 1378744"/>
              <a:gd name="connsiteY124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814388 w 1378744"/>
              <a:gd name="connsiteY60" fmla="*/ 1138237 h 1288255"/>
              <a:gd name="connsiteX61" fmla="*/ 795337 w 1378744"/>
              <a:gd name="connsiteY61" fmla="*/ 1212055 h 1288255"/>
              <a:gd name="connsiteX62" fmla="*/ 828675 w 1378744"/>
              <a:gd name="connsiteY62" fmla="*/ 1109662 h 1288255"/>
              <a:gd name="connsiteX63" fmla="*/ 809625 w 1378744"/>
              <a:gd name="connsiteY63" fmla="*/ 1197768 h 1288255"/>
              <a:gd name="connsiteX64" fmla="*/ 833438 w 1378744"/>
              <a:gd name="connsiteY64" fmla="*/ 1085850 h 1288255"/>
              <a:gd name="connsiteX65" fmla="*/ 797719 w 1378744"/>
              <a:gd name="connsiteY65" fmla="*/ 1059656 h 1288255"/>
              <a:gd name="connsiteX66" fmla="*/ 790575 w 1378744"/>
              <a:gd name="connsiteY66" fmla="*/ 1038225 h 1288255"/>
              <a:gd name="connsiteX67" fmla="*/ 790575 w 1378744"/>
              <a:gd name="connsiteY67" fmla="*/ 1021556 h 1288255"/>
              <a:gd name="connsiteX68" fmla="*/ 845344 w 1378744"/>
              <a:gd name="connsiteY68" fmla="*/ 952500 h 1288255"/>
              <a:gd name="connsiteX69" fmla="*/ 845344 w 1378744"/>
              <a:gd name="connsiteY69" fmla="*/ 952500 h 1288255"/>
              <a:gd name="connsiteX70" fmla="*/ 888207 w 1378744"/>
              <a:gd name="connsiteY70" fmla="*/ 966787 h 1288255"/>
              <a:gd name="connsiteX71" fmla="*/ 907257 w 1378744"/>
              <a:gd name="connsiteY71" fmla="*/ 981075 h 1288255"/>
              <a:gd name="connsiteX72" fmla="*/ 938213 w 1378744"/>
              <a:gd name="connsiteY72" fmla="*/ 990600 h 1288255"/>
              <a:gd name="connsiteX73" fmla="*/ 964407 w 1378744"/>
              <a:gd name="connsiteY73" fmla="*/ 985837 h 1288255"/>
              <a:gd name="connsiteX74" fmla="*/ 985838 w 1378744"/>
              <a:gd name="connsiteY74" fmla="*/ 985837 h 1288255"/>
              <a:gd name="connsiteX75" fmla="*/ 995363 w 1378744"/>
              <a:gd name="connsiteY75" fmla="*/ 995362 h 1288255"/>
              <a:gd name="connsiteX76" fmla="*/ 978694 w 1378744"/>
              <a:gd name="connsiteY76" fmla="*/ 1012031 h 1288255"/>
              <a:gd name="connsiteX77" fmla="*/ 969169 w 1378744"/>
              <a:gd name="connsiteY77" fmla="*/ 1031081 h 1288255"/>
              <a:gd name="connsiteX78" fmla="*/ 954882 w 1378744"/>
              <a:gd name="connsiteY78" fmla="*/ 1054893 h 1288255"/>
              <a:gd name="connsiteX79" fmla="*/ 950119 w 1378744"/>
              <a:gd name="connsiteY79" fmla="*/ 1083468 h 1288255"/>
              <a:gd name="connsiteX80" fmla="*/ 962025 w 1378744"/>
              <a:gd name="connsiteY80" fmla="*/ 1107281 h 1288255"/>
              <a:gd name="connsiteX81" fmla="*/ 983457 w 1378744"/>
              <a:gd name="connsiteY81" fmla="*/ 1131093 h 1288255"/>
              <a:gd name="connsiteX82" fmla="*/ 1002507 w 1378744"/>
              <a:gd name="connsiteY82" fmla="*/ 1133475 h 1288255"/>
              <a:gd name="connsiteX83" fmla="*/ 1028700 w 1378744"/>
              <a:gd name="connsiteY83" fmla="*/ 1126331 h 1288255"/>
              <a:gd name="connsiteX84" fmla="*/ 1031082 w 1378744"/>
              <a:gd name="connsiteY84" fmla="*/ 1097756 h 1288255"/>
              <a:gd name="connsiteX85" fmla="*/ 1057275 w 1378744"/>
              <a:gd name="connsiteY85" fmla="*/ 1085850 h 1288255"/>
              <a:gd name="connsiteX86" fmla="*/ 1076325 w 1378744"/>
              <a:gd name="connsiteY86" fmla="*/ 1097756 h 1288255"/>
              <a:gd name="connsiteX87" fmla="*/ 1100138 w 1378744"/>
              <a:gd name="connsiteY87" fmla="*/ 1107281 h 1288255"/>
              <a:gd name="connsiteX88" fmla="*/ 1123950 w 1378744"/>
              <a:gd name="connsiteY88" fmla="*/ 1121568 h 1288255"/>
              <a:gd name="connsiteX89" fmla="*/ 1143000 w 1378744"/>
              <a:gd name="connsiteY89" fmla="*/ 1123950 h 1288255"/>
              <a:gd name="connsiteX90" fmla="*/ 1157288 w 1378744"/>
              <a:gd name="connsiteY90" fmla="*/ 1112043 h 1288255"/>
              <a:gd name="connsiteX91" fmla="*/ 1159669 w 1378744"/>
              <a:gd name="connsiteY91" fmla="*/ 1085850 h 1288255"/>
              <a:gd name="connsiteX92" fmla="*/ 1166813 w 1378744"/>
              <a:gd name="connsiteY92" fmla="*/ 1052512 h 1288255"/>
              <a:gd name="connsiteX93" fmla="*/ 1197769 w 1378744"/>
              <a:gd name="connsiteY93" fmla="*/ 1016793 h 1288255"/>
              <a:gd name="connsiteX94" fmla="*/ 1195388 w 1378744"/>
              <a:gd name="connsiteY94" fmla="*/ 954881 h 1288255"/>
              <a:gd name="connsiteX95" fmla="*/ 1209675 w 1378744"/>
              <a:gd name="connsiteY95" fmla="*/ 945356 h 1288255"/>
              <a:gd name="connsiteX96" fmla="*/ 1235869 w 1378744"/>
              <a:gd name="connsiteY96" fmla="*/ 945356 h 1288255"/>
              <a:gd name="connsiteX97" fmla="*/ 1235869 w 1378744"/>
              <a:gd name="connsiteY97" fmla="*/ 931068 h 1288255"/>
              <a:gd name="connsiteX98" fmla="*/ 1212057 w 1378744"/>
              <a:gd name="connsiteY98" fmla="*/ 912018 h 1288255"/>
              <a:gd name="connsiteX99" fmla="*/ 1195388 w 1378744"/>
              <a:gd name="connsiteY99" fmla="*/ 881062 h 1288255"/>
              <a:gd name="connsiteX100" fmla="*/ 1157288 w 1378744"/>
              <a:gd name="connsiteY100" fmla="*/ 871537 h 1288255"/>
              <a:gd name="connsiteX101" fmla="*/ 1119188 w 1378744"/>
              <a:gd name="connsiteY101" fmla="*/ 859631 h 1288255"/>
              <a:gd name="connsiteX102" fmla="*/ 1119188 w 1378744"/>
              <a:gd name="connsiteY102" fmla="*/ 831056 h 1288255"/>
              <a:gd name="connsiteX103" fmla="*/ 1135857 w 1378744"/>
              <a:gd name="connsiteY103" fmla="*/ 807243 h 1288255"/>
              <a:gd name="connsiteX104" fmla="*/ 1197769 w 1378744"/>
              <a:gd name="connsiteY104" fmla="*/ 759618 h 1288255"/>
              <a:gd name="connsiteX105" fmla="*/ 1247775 w 1378744"/>
              <a:gd name="connsiteY105" fmla="*/ 762000 h 1288255"/>
              <a:gd name="connsiteX106" fmla="*/ 1278732 w 1378744"/>
              <a:gd name="connsiteY106" fmla="*/ 762000 h 1288255"/>
              <a:gd name="connsiteX107" fmla="*/ 1271588 w 1378744"/>
              <a:gd name="connsiteY107" fmla="*/ 735806 h 1288255"/>
              <a:gd name="connsiteX108" fmla="*/ 1378744 w 1378744"/>
              <a:gd name="connsiteY108" fmla="*/ 678656 h 1288255"/>
              <a:gd name="connsiteX109" fmla="*/ 1331119 w 1378744"/>
              <a:gd name="connsiteY109" fmla="*/ 552450 h 1288255"/>
              <a:gd name="connsiteX110" fmla="*/ 1278732 w 1378744"/>
              <a:gd name="connsiteY110" fmla="*/ 514350 h 1288255"/>
              <a:gd name="connsiteX111" fmla="*/ 1252538 w 1378744"/>
              <a:gd name="connsiteY111" fmla="*/ 431006 h 1288255"/>
              <a:gd name="connsiteX112" fmla="*/ 1181100 w 1378744"/>
              <a:gd name="connsiteY112" fmla="*/ 431006 h 1288255"/>
              <a:gd name="connsiteX113" fmla="*/ 1166813 w 1378744"/>
              <a:gd name="connsiteY113" fmla="*/ 395287 h 1288255"/>
              <a:gd name="connsiteX114" fmla="*/ 1107282 w 1378744"/>
              <a:gd name="connsiteY114" fmla="*/ 421481 h 1288255"/>
              <a:gd name="connsiteX115" fmla="*/ 1054894 w 1378744"/>
              <a:gd name="connsiteY115" fmla="*/ 414337 h 1288255"/>
              <a:gd name="connsiteX116" fmla="*/ 1028700 w 1378744"/>
              <a:gd name="connsiteY116" fmla="*/ 371475 h 1288255"/>
              <a:gd name="connsiteX117" fmla="*/ 1023938 w 1378744"/>
              <a:gd name="connsiteY117" fmla="*/ 288131 h 1288255"/>
              <a:gd name="connsiteX118" fmla="*/ 1012032 w 1378744"/>
              <a:gd name="connsiteY118" fmla="*/ 269081 h 1288255"/>
              <a:gd name="connsiteX119" fmla="*/ 1012032 w 1378744"/>
              <a:gd name="connsiteY119" fmla="*/ 211931 h 1288255"/>
              <a:gd name="connsiteX120" fmla="*/ 959644 w 1378744"/>
              <a:gd name="connsiteY120" fmla="*/ 190500 h 1288255"/>
              <a:gd name="connsiteX121" fmla="*/ 914400 w 1378744"/>
              <a:gd name="connsiteY121" fmla="*/ 111918 h 1288255"/>
              <a:gd name="connsiteX122" fmla="*/ 854869 w 1378744"/>
              <a:gd name="connsiteY122" fmla="*/ 76200 h 1288255"/>
              <a:gd name="connsiteX123" fmla="*/ 873919 w 1378744"/>
              <a:gd name="connsiteY123" fmla="*/ 16668 h 1288255"/>
              <a:gd name="connsiteX124" fmla="*/ 783432 w 1378744"/>
              <a:gd name="connsiteY124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800101 w 1378744"/>
              <a:gd name="connsiteY60" fmla="*/ 1142999 h 1288255"/>
              <a:gd name="connsiteX61" fmla="*/ 795337 w 1378744"/>
              <a:gd name="connsiteY61" fmla="*/ 1212055 h 1288255"/>
              <a:gd name="connsiteX62" fmla="*/ 828675 w 1378744"/>
              <a:gd name="connsiteY62" fmla="*/ 1109662 h 1288255"/>
              <a:gd name="connsiteX63" fmla="*/ 809625 w 1378744"/>
              <a:gd name="connsiteY63" fmla="*/ 1197768 h 1288255"/>
              <a:gd name="connsiteX64" fmla="*/ 833438 w 1378744"/>
              <a:gd name="connsiteY64" fmla="*/ 1085850 h 1288255"/>
              <a:gd name="connsiteX65" fmla="*/ 797719 w 1378744"/>
              <a:gd name="connsiteY65" fmla="*/ 1059656 h 1288255"/>
              <a:gd name="connsiteX66" fmla="*/ 790575 w 1378744"/>
              <a:gd name="connsiteY66" fmla="*/ 1038225 h 1288255"/>
              <a:gd name="connsiteX67" fmla="*/ 790575 w 1378744"/>
              <a:gd name="connsiteY67" fmla="*/ 1021556 h 1288255"/>
              <a:gd name="connsiteX68" fmla="*/ 845344 w 1378744"/>
              <a:gd name="connsiteY68" fmla="*/ 952500 h 1288255"/>
              <a:gd name="connsiteX69" fmla="*/ 845344 w 1378744"/>
              <a:gd name="connsiteY69" fmla="*/ 952500 h 1288255"/>
              <a:gd name="connsiteX70" fmla="*/ 888207 w 1378744"/>
              <a:gd name="connsiteY70" fmla="*/ 966787 h 1288255"/>
              <a:gd name="connsiteX71" fmla="*/ 907257 w 1378744"/>
              <a:gd name="connsiteY71" fmla="*/ 981075 h 1288255"/>
              <a:gd name="connsiteX72" fmla="*/ 938213 w 1378744"/>
              <a:gd name="connsiteY72" fmla="*/ 990600 h 1288255"/>
              <a:gd name="connsiteX73" fmla="*/ 964407 w 1378744"/>
              <a:gd name="connsiteY73" fmla="*/ 985837 h 1288255"/>
              <a:gd name="connsiteX74" fmla="*/ 985838 w 1378744"/>
              <a:gd name="connsiteY74" fmla="*/ 985837 h 1288255"/>
              <a:gd name="connsiteX75" fmla="*/ 995363 w 1378744"/>
              <a:gd name="connsiteY75" fmla="*/ 995362 h 1288255"/>
              <a:gd name="connsiteX76" fmla="*/ 978694 w 1378744"/>
              <a:gd name="connsiteY76" fmla="*/ 1012031 h 1288255"/>
              <a:gd name="connsiteX77" fmla="*/ 969169 w 1378744"/>
              <a:gd name="connsiteY77" fmla="*/ 1031081 h 1288255"/>
              <a:gd name="connsiteX78" fmla="*/ 954882 w 1378744"/>
              <a:gd name="connsiteY78" fmla="*/ 1054893 h 1288255"/>
              <a:gd name="connsiteX79" fmla="*/ 950119 w 1378744"/>
              <a:gd name="connsiteY79" fmla="*/ 1083468 h 1288255"/>
              <a:gd name="connsiteX80" fmla="*/ 962025 w 1378744"/>
              <a:gd name="connsiteY80" fmla="*/ 1107281 h 1288255"/>
              <a:gd name="connsiteX81" fmla="*/ 983457 w 1378744"/>
              <a:gd name="connsiteY81" fmla="*/ 1131093 h 1288255"/>
              <a:gd name="connsiteX82" fmla="*/ 1002507 w 1378744"/>
              <a:gd name="connsiteY82" fmla="*/ 1133475 h 1288255"/>
              <a:gd name="connsiteX83" fmla="*/ 1028700 w 1378744"/>
              <a:gd name="connsiteY83" fmla="*/ 1126331 h 1288255"/>
              <a:gd name="connsiteX84" fmla="*/ 1031082 w 1378744"/>
              <a:gd name="connsiteY84" fmla="*/ 1097756 h 1288255"/>
              <a:gd name="connsiteX85" fmla="*/ 1057275 w 1378744"/>
              <a:gd name="connsiteY85" fmla="*/ 1085850 h 1288255"/>
              <a:gd name="connsiteX86" fmla="*/ 1076325 w 1378744"/>
              <a:gd name="connsiteY86" fmla="*/ 1097756 h 1288255"/>
              <a:gd name="connsiteX87" fmla="*/ 1100138 w 1378744"/>
              <a:gd name="connsiteY87" fmla="*/ 1107281 h 1288255"/>
              <a:gd name="connsiteX88" fmla="*/ 1123950 w 1378744"/>
              <a:gd name="connsiteY88" fmla="*/ 1121568 h 1288255"/>
              <a:gd name="connsiteX89" fmla="*/ 1143000 w 1378744"/>
              <a:gd name="connsiteY89" fmla="*/ 1123950 h 1288255"/>
              <a:gd name="connsiteX90" fmla="*/ 1157288 w 1378744"/>
              <a:gd name="connsiteY90" fmla="*/ 1112043 h 1288255"/>
              <a:gd name="connsiteX91" fmla="*/ 1159669 w 1378744"/>
              <a:gd name="connsiteY91" fmla="*/ 1085850 h 1288255"/>
              <a:gd name="connsiteX92" fmla="*/ 1166813 w 1378744"/>
              <a:gd name="connsiteY92" fmla="*/ 1052512 h 1288255"/>
              <a:gd name="connsiteX93" fmla="*/ 1197769 w 1378744"/>
              <a:gd name="connsiteY93" fmla="*/ 1016793 h 1288255"/>
              <a:gd name="connsiteX94" fmla="*/ 1195388 w 1378744"/>
              <a:gd name="connsiteY94" fmla="*/ 954881 h 1288255"/>
              <a:gd name="connsiteX95" fmla="*/ 1209675 w 1378744"/>
              <a:gd name="connsiteY95" fmla="*/ 945356 h 1288255"/>
              <a:gd name="connsiteX96" fmla="*/ 1235869 w 1378744"/>
              <a:gd name="connsiteY96" fmla="*/ 945356 h 1288255"/>
              <a:gd name="connsiteX97" fmla="*/ 1235869 w 1378744"/>
              <a:gd name="connsiteY97" fmla="*/ 931068 h 1288255"/>
              <a:gd name="connsiteX98" fmla="*/ 1212057 w 1378744"/>
              <a:gd name="connsiteY98" fmla="*/ 912018 h 1288255"/>
              <a:gd name="connsiteX99" fmla="*/ 1195388 w 1378744"/>
              <a:gd name="connsiteY99" fmla="*/ 881062 h 1288255"/>
              <a:gd name="connsiteX100" fmla="*/ 1157288 w 1378744"/>
              <a:gd name="connsiteY100" fmla="*/ 871537 h 1288255"/>
              <a:gd name="connsiteX101" fmla="*/ 1119188 w 1378744"/>
              <a:gd name="connsiteY101" fmla="*/ 859631 h 1288255"/>
              <a:gd name="connsiteX102" fmla="*/ 1119188 w 1378744"/>
              <a:gd name="connsiteY102" fmla="*/ 831056 h 1288255"/>
              <a:gd name="connsiteX103" fmla="*/ 1135857 w 1378744"/>
              <a:gd name="connsiteY103" fmla="*/ 807243 h 1288255"/>
              <a:gd name="connsiteX104" fmla="*/ 1197769 w 1378744"/>
              <a:gd name="connsiteY104" fmla="*/ 759618 h 1288255"/>
              <a:gd name="connsiteX105" fmla="*/ 1247775 w 1378744"/>
              <a:gd name="connsiteY105" fmla="*/ 762000 h 1288255"/>
              <a:gd name="connsiteX106" fmla="*/ 1278732 w 1378744"/>
              <a:gd name="connsiteY106" fmla="*/ 762000 h 1288255"/>
              <a:gd name="connsiteX107" fmla="*/ 1271588 w 1378744"/>
              <a:gd name="connsiteY107" fmla="*/ 735806 h 1288255"/>
              <a:gd name="connsiteX108" fmla="*/ 1378744 w 1378744"/>
              <a:gd name="connsiteY108" fmla="*/ 678656 h 1288255"/>
              <a:gd name="connsiteX109" fmla="*/ 1331119 w 1378744"/>
              <a:gd name="connsiteY109" fmla="*/ 552450 h 1288255"/>
              <a:gd name="connsiteX110" fmla="*/ 1278732 w 1378744"/>
              <a:gd name="connsiteY110" fmla="*/ 514350 h 1288255"/>
              <a:gd name="connsiteX111" fmla="*/ 1252538 w 1378744"/>
              <a:gd name="connsiteY111" fmla="*/ 431006 h 1288255"/>
              <a:gd name="connsiteX112" fmla="*/ 1181100 w 1378744"/>
              <a:gd name="connsiteY112" fmla="*/ 431006 h 1288255"/>
              <a:gd name="connsiteX113" fmla="*/ 1166813 w 1378744"/>
              <a:gd name="connsiteY113" fmla="*/ 395287 h 1288255"/>
              <a:gd name="connsiteX114" fmla="*/ 1107282 w 1378744"/>
              <a:gd name="connsiteY114" fmla="*/ 421481 h 1288255"/>
              <a:gd name="connsiteX115" fmla="*/ 1054894 w 1378744"/>
              <a:gd name="connsiteY115" fmla="*/ 414337 h 1288255"/>
              <a:gd name="connsiteX116" fmla="*/ 1028700 w 1378744"/>
              <a:gd name="connsiteY116" fmla="*/ 371475 h 1288255"/>
              <a:gd name="connsiteX117" fmla="*/ 1023938 w 1378744"/>
              <a:gd name="connsiteY117" fmla="*/ 288131 h 1288255"/>
              <a:gd name="connsiteX118" fmla="*/ 1012032 w 1378744"/>
              <a:gd name="connsiteY118" fmla="*/ 269081 h 1288255"/>
              <a:gd name="connsiteX119" fmla="*/ 1012032 w 1378744"/>
              <a:gd name="connsiteY119" fmla="*/ 211931 h 1288255"/>
              <a:gd name="connsiteX120" fmla="*/ 959644 w 1378744"/>
              <a:gd name="connsiteY120" fmla="*/ 190500 h 1288255"/>
              <a:gd name="connsiteX121" fmla="*/ 914400 w 1378744"/>
              <a:gd name="connsiteY121" fmla="*/ 111918 h 1288255"/>
              <a:gd name="connsiteX122" fmla="*/ 854869 w 1378744"/>
              <a:gd name="connsiteY122" fmla="*/ 76200 h 1288255"/>
              <a:gd name="connsiteX123" fmla="*/ 873919 w 1378744"/>
              <a:gd name="connsiteY123" fmla="*/ 16668 h 1288255"/>
              <a:gd name="connsiteX124" fmla="*/ 783432 w 1378744"/>
              <a:gd name="connsiteY124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795338 w 1378744"/>
              <a:gd name="connsiteY60" fmla="*/ 1209674 h 1288255"/>
              <a:gd name="connsiteX61" fmla="*/ 795337 w 1378744"/>
              <a:gd name="connsiteY61" fmla="*/ 1212055 h 1288255"/>
              <a:gd name="connsiteX62" fmla="*/ 828675 w 1378744"/>
              <a:gd name="connsiteY62" fmla="*/ 1109662 h 1288255"/>
              <a:gd name="connsiteX63" fmla="*/ 809625 w 1378744"/>
              <a:gd name="connsiteY63" fmla="*/ 1197768 h 1288255"/>
              <a:gd name="connsiteX64" fmla="*/ 833438 w 1378744"/>
              <a:gd name="connsiteY64" fmla="*/ 1085850 h 1288255"/>
              <a:gd name="connsiteX65" fmla="*/ 797719 w 1378744"/>
              <a:gd name="connsiteY65" fmla="*/ 1059656 h 1288255"/>
              <a:gd name="connsiteX66" fmla="*/ 790575 w 1378744"/>
              <a:gd name="connsiteY66" fmla="*/ 1038225 h 1288255"/>
              <a:gd name="connsiteX67" fmla="*/ 790575 w 1378744"/>
              <a:gd name="connsiteY67" fmla="*/ 1021556 h 1288255"/>
              <a:gd name="connsiteX68" fmla="*/ 845344 w 1378744"/>
              <a:gd name="connsiteY68" fmla="*/ 952500 h 1288255"/>
              <a:gd name="connsiteX69" fmla="*/ 845344 w 1378744"/>
              <a:gd name="connsiteY69" fmla="*/ 952500 h 1288255"/>
              <a:gd name="connsiteX70" fmla="*/ 888207 w 1378744"/>
              <a:gd name="connsiteY70" fmla="*/ 966787 h 1288255"/>
              <a:gd name="connsiteX71" fmla="*/ 907257 w 1378744"/>
              <a:gd name="connsiteY71" fmla="*/ 981075 h 1288255"/>
              <a:gd name="connsiteX72" fmla="*/ 938213 w 1378744"/>
              <a:gd name="connsiteY72" fmla="*/ 990600 h 1288255"/>
              <a:gd name="connsiteX73" fmla="*/ 964407 w 1378744"/>
              <a:gd name="connsiteY73" fmla="*/ 985837 h 1288255"/>
              <a:gd name="connsiteX74" fmla="*/ 985838 w 1378744"/>
              <a:gd name="connsiteY74" fmla="*/ 985837 h 1288255"/>
              <a:gd name="connsiteX75" fmla="*/ 995363 w 1378744"/>
              <a:gd name="connsiteY75" fmla="*/ 995362 h 1288255"/>
              <a:gd name="connsiteX76" fmla="*/ 978694 w 1378744"/>
              <a:gd name="connsiteY76" fmla="*/ 1012031 h 1288255"/>
              <a:gd name="connsiteX77" fmla="*/ 969169 w 1378744"/>
              <a:gd name="connsiteY77" fmla="*/ 1031081 h 1288255"/>
              <a:gd name="connsiteX78" fmla="*/ 954882 w 1378744"/>
              <a:gd name="connsiteY78" fmla="*/ 1054893 h 1288255"/>
              <a:gd name="connsiteX79" fmla="*/ 950119 w 1378744"/>
              <a:gd name="connsiteY79" fmla="*/ 1083468 h 1288255"/>
              <a:gd name="connsiteX80" fmla="*/ 962025 w 1378744"/>
              <a:gd name="connsiteY80" fmla="*/ 1107281 h 1288255"/>
              <a:gd name="connsiteX81" fmla="*/ 983457 w 1378744"/>
              <a:gd name="connsiteY81" fmla="*/ 1131093 h 1288255"/>
              <a:gd name="connsiteX82" fmla="*/ 1002507 w 1378744"/>
              <a:gd name="connsiteY82" fmla="*/ 1133475 h 1288255"/>
              <a:gd name="connsiteX83" fmla="*/ 1028700 w 1378744"/>
              <a:gd name="connsiteY83" fmla="*/ 1126331 h 1288255"/>
              <a:gd name="connsiteX84" fmla="*/ 1031082 w 1378744"/>
              <a:gd name="connsiteY84" fmla="*/ 1097756 h 1288255"/>
              <a:gd name="connsiteX85" fmla="*/ 1057275 w 1378744"/>
              <a:gd name="connsiteY85" fmla="*/ 1085850 h 1288255"/>
              <a:gd name="connsiteX86" fmla="*/ 1076325 w 1378744"/>
              <a:gd name="connsiteY86" fmla="*/ 1097756 h 1288255"/>
              <a:gd name="connsiteX87" fmla="*/ 1100138 w 1378744"/>
              <a:gd name="connsiteY87" fmla="*/ 1107281 h 1288255"/>
              <a:gd name="connsiteX88" fmla="*/ 1123950 w 1378744"/>
              <a:gd name="connsiteY88" fmla="*/ 1121568 h 1288255"/>
              <a:gd name="connsiteX89" fmla="*/ 1143000 w 1378744"/>
              <a:gd name="connsiteY89" fmla="*/ 1123950 h 1288255"/>
              <a:gd name="connsiteX90" fmla="*/ 1157288 w 1378744"/>
              <a:gd name="connsiteY90" fmla="*/ 1112043 h 1288255"/>
              <a:gd name="connsiteX91" fmla="*/ 1159669 w 1378744"/>
              <a:gd name="connsiteY91" fmla="*/ 1085850 h 1288255"/>
              <a:gd name="connsiteX92" fmla="*/ 1166813 w 1378744"/>
              <a:gd name="connsiteY92" fmla="*/ 1052512 h 1288255"/>
              <a:gd name="connsiteX93" fmla="*/ 1197769 w 1378744"/>
              <a:gd name="connsiteY93" fmla="*/ 1016793 h 1288255"/>
              <a:gd name="connsiteX94" fmla="*/ 1195388 w 1378744"/>
              <a:gd name="connsiteY94" fmla="*/ 954881 h 1288255"/>
              <a:gd name="connsiteX95" fmla="*/ 1209675 w 1378744"/>
              <a:gd name="connsiteY95" fmla="*/ 945356 h 1288255"/>
              <a:gd name="connsiteX96" fmla="*/ 1235869 w 1378744"/>
              <a:gd name="connsiteY96" fmla="*/ 945356 h 1288255"/>
              <a:gd name="connsiteX97" fmla="*/ 1235869 w 1378744"/>
              <a:gd name="connsiteY97" fmla="*/ 931068 h 1288255"/>
              <a:gd name="connsiteX98" fmla="*/ 1212057 w 1378744"/>
              <a:gd name="connsiteY98" fmla="*/ 912018 h 1288255"/>
              <a:gd name="connsiteX99" fmla="*/ 1195388 w 1378744"/>
              <a:gd name="connsiteY99" fmla="*/ 881062 h 1288255"/>
              <a:gd name="connsiteX100" fmla="*/ 1157288 w 1378744"/>
              <a:gd name="connsiteY100" fmla="*/ 871537 h 1288255"/>
              <a:gd name="connsiteX101" fmla="*/ 1119188 w 1378744"/>
              <a:gd name="connsiteY101" fmla="*/ 859631 h 1288255"/>
              <a:gd name="connsiteX102" fmla="*/ 1119188 w 1378744"/>
              <a:gd name="connsiteY102" fmla="*/ 831056 h 1288255"/>
              <a:gd name="connsiteX103" fmla="*/ 1135857 w 1378744"/>
              <a:gd name="connsiteY103" fmla="*/ 807243 h 1288255"/>
              <a:gd name="connsiteX104" fmla="*/ 1197769 w 1378744"/>
              <a:gd name="connsiteY104" fmla="*/ 759618 h 1288255"/>
              <a:gd name="connsiteX105" fmla="*/ 1247775 w 1378744"/>
              <a:gd name="connsiteY105" fmla="*/ 762000 h 1288255"/>
              <a:gd name="connsiteX106" fmla="*/ 1278732 w 1378744"/>
              <a:gd name="connsiteY106" fmla="*/ 762000 h 1288255"/>
              <a:gd name="connsiteX107" fmla="*/ 1271588 w 1378744"/>
              <a:gd name="connsiteY107" fmla="*/ 735806 h 1288255"/>
              <a:gd name="connsiteX108" fmla="*/ 1378744 w 1378744"/>
              <a:gd name="connsiteY108" fmla="*/ 678656 h 1288255"/>
              <a:gd name="connsiteX109" fmla="*/ 1331119 w 1378744"/>
              <a:gd name="connsiteY109" fmla="*/ 552450 h 1288255"/>
              <a:gd name="connsiteX110" fmla="*/ 1278732 w 1378744"/>
              <a:gd name="connsiteY110" fmla="*/ 514350 h 1288255"/>
              <a:gd name="connsiteX111" fmla="*/ 1252538 w 1378744"/>
              <a:gd name="connsiteY111" fmla="*/ 431006 h 1288255"/>
              <a:gd name="connsiteX112" fmla="*/ 1181100 w 1378744"/>
              <a:gd name="connsiteY112" fmla="*/ 431006 h 1288255"/>
              <a:gd name="connsiteX113" fmla="*/ 1166813 w 1378744"/>
              <a:gd name="connsiteY113" fmla="*/ 395287 h 1288255"/>
              <a:gd name="connsiteX114" fmla="*/ 1107282 w 1378744"/>
              <a:gd name="connsiteY114" fmla="*/ 421481 h 1288255"/>
              <a:gd name="connsiteX115" fmla="*/ 1054894 w 1378744"/>
              <a:gd name="connsiteY115" fmla="*/ 414337 h 1288255"/>
              <a:gd name="connsiteX116" fmla="*/ 1028700 w 1378744"/>
              <a:gd name="connsiteY116" fmla="*/ 371475 h 1288255"/>
              <a:gd name="connsiteX117" fmla="*/ 1023938 w 1378744"/>
              <a:gd name="connsiteY117" fmla="*/ 288131 h 1288255"/>
              <a:gd name="connsiteX118" fmla="*/ 1012032 w 1378744"/>
              <a:gd name="connsiteY118" fmla="*/ 269081 h 1288255"/>
              <a:gd name="connsiteX119" fmla="*/ 1012032 w 1378744"/>
              <a:gd name="connsiteY119" fmla="*/ 211931 h 1288255"/>
              <a:gd name="connsiteX120" fmla="*/ 959644 w 1378744"/>
              <a:gd name="connsiteY120" fmla="*/ 190500 h 1288255"/>
              <a:gd name="connsiteX121" fmla="*/ 914400 w 1378744"/>
              <a:gd name="connsiteY121" fmla="*/ 111918 h 1288255"/>
              <a:gd name="connsiteX122" fmla="*/ 854869 w 1378744"/>
              <a:gd name="connsiteY122" fmla="*/ 76200 h 1288255"/>
              <a:gd name="connsiteX123" fmla="*/ 873919 w 1378744"/>
              <a:gd name="connsiteY123" fmla="*/ 16668 h 1288255"/>
              <a:gd name="connsiteX124" fmla="*/ 783432 w 1378744"/>
              <a:gd name="connsiteY124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795338 w 1378744"/>
              <a:gd name="connsiteY60" fmla="*/ 1209674 h 1288255"/>
              <a:gd name="connsiteX61" fmla="*/ 795337 w 1378744"/>
              <a:gd name="connsiteY61" fmla="*/ 1212055 h 1288255"/>
              <a:gd name="connsiteX62" fmla="*/ 809625 w 1378744"/>
              <a:gd name="connsiteY62" fmla="*/ 1197768 h 1288255"/>
              <a:gd name="connsiteX63" fmla="*/ 833438 w 1378744"/>
              <a:gd name="connsiteY63" fmla="*/ 1085850 h 1288255"/>
              <a:gd name="connsiteX64" fmla="*/ 797719 w 1378744"/>
              <a:gd name="connsiteY64" fmla="*/ 1059656 h 1288255"/>
              <a:gd name="connsiteX65" fmla="*/ 790575 w 1378744"/>
              <a:gd name="connsiteY65" fmla="*/ 1038225 h 1288255"/>
              <a:gd name="connsiteX66" fmla="*/ 790575 w 1378744"/>
              <a:gd name="connsiteY66" fmla="*/ 1021556 h 1288255"/>
              <a:gd name="connsiteX67" fmla="*/ 845344 w 1378744"/>
              <a:gd name="connsiteY67" fmla="*/ 952500 h 1288255"/>
              <a:gd name="connsiteX68" fmla="*/ 845344 w 1378744"/>
              <a:gd name="connsiteY68" fmla="*/ 952500 h 1288255"/>
              <a:gd name="connsiteX69" fmla="*/ 888207 w 1378744"/>
              <a:gd name="connsiteY69" fmla="*/ 966787 h 1288255"/>
              <a:gd name="connsiteX70" fmla="*/ 907257 w 1378744"/>
              <a:gd name="connsiteY70" fmla="*/ 981075 h 1288255"/>
              <a:gd name="connsiteX71" fmla="*/ 938213 w 1378744"/>
              <a:gd name="connsiteY71" fmla="*/ 990600 h 1288255"/>
              <a:gd name="connsiteX72" fmla="*/ 964407 w 1378744"/>
              <a:gd name="connsiteY72" fmla="*/ 985837 h 1288255"/>
              <a:gd name="connsiteX73" fmla="*/ 985838 w 1378744"/>
              <a:gd name="connsiteY73" fmla="*/ 985837 h 1288255"/>
              <a:gd name="connsiteX74" fmla="*/ 995363 w 1378744"/>
              <a:gd name="connsiteY74" fmla="*/ 995362 h 1288255"/>
              <a:gd name="connsiteX75" fmla="*/ 978694 w 1378744"/>
              <a:gd name="connsiteY75" fmla="*/ 1012031 h 1288255"/>
              <a:gd name="connsiteX76" fmla="*/ 969169 w 1378744"/>
              <a:gd name="connsiteY76" fmla="*/ 1031081 h 1288255"/>
              <a:gd name="connsiteX77" fmla="*/ 954882 w 1378744"/>
              <a:gd name="connsiteY77" fmla="*/ 1054893 h 1288255"/>
              <a:gd name="connsiteX78" fmla="*/ 950119 w 1378744"/>
              <a:gd name="connsiteY78" fmla="*/ 1083468 h 1288255"/>
              <a:gd name="connsiteX79" fmla="*/ 962025 w 1378744"/>
              <a:gd name="connsiteY79" fmla="*/ 1107281 h 1288255"/>
              <a:gd name="connsiteX80" fmla="*/ 983457 w 1378744"/>
              <a:gd name="connsiteY80" fmla="*/ 1131093 h 1288255"/>
              <a:gd name="connsiteX81" fmla="*/ 1002507 w 1378744"/>
              <a:gd name="connsiteY81" fmla="*/ 1133475 h 1288255"/>
              <a:gd name="connsiteX82" fmla="*/ 1028700 w 1378744"/>
              <a:gd name="connsiteY82" fmla="*/ 1126331 h 1288255"/>
              <a:gd name="connsiteX83" fmla="*/ 1031082 w 1378744"/>
              <a:gd name="connsiteY83" fmla="*/ 1097756 h 1288255"/>
              <a:gd name="connsiteX84" fmla="*/ 1057275 w 1378744"/>
              <a:gd name="connsiteY84" fmla="*/ 1085850 h 1288255"/>
              <a:gd name="connsiteX85" fmla="*/ 1076325 w 1378744"/>
              <a:gd name="connsiteY85" fmla="*/ 1097756 h 1288255"/>
              <a:gd name="connsiteX86" fmla="*/ 1100138 w 1378744"/>
              <a:gd name="connsiteY86" fmla="*/ 1107281 h 1288255"/>
              <a:gd name="connsiteX87" fmla="*/ 1123950 w 1378744"/>
              <a:gd name="connsiteY87" fmla="*/ 1121568 h 1288255"/>
              <a:gd name="connsiteX88" fmla="*/ 1143000 w 1378744"/>
              <a:gd name="connsiteY88" fmla="*/ 1123950 h 1288255"/>
              <a:gd name="connsiteX89" fmla="*/ 1157288 w 1378744"/>
              <a:gd name="connsiteY89" fmla="*/ 1112043 h 1288255"/>
              <a:gd name="connsiteX90" fmla="*/ 1159669 w 1378744"/>
              <a:gd name="connsiteY90" fmla="*/ 1085850 h 1288255"/>
              <a:gd name="connsiteX91" fmla="*/ 1166813 w 1378744"/>
              <a:gd name="connsiteY91" fmla="*/ 1052512 h 1288255"/>
              <a:gd name="connsiteX92" fmla="*/ 1197769 w 1378744"/>
              <a:gd name="connsiteY92" fmla="*/ 1016793 h 1288255"/>
              <a:gd name="connsiteX93" fmla="*/ 1195388 w 1378744"/>
              <a:gd name="connsiteY93" fmla="*/ 954881 h 1288255"/>
              <a:gd name="connsiteX94" fmla="*/ 1209675 w 1378744"/>
              <a:gd name="connsiteY94" fmla="*/ 945356 h 1288255"/>
              <a:gd name="connsiteX95" fmla="*/ 1235869 w 1378744"/>
              <a:gd name="connsiteY95" fmla="*/ 945356 h 1288255"/>
              <a:gd name="connsiteX96" fmla="*/ 1235869 w 1378744"/>
              <a:gd name="connsiteY96" fmla="*/ 931068 h 1288255"/>
              <a:gd name="connsiteX97" fmla="*/ 1212057 w 1378744"/>
              <a:gd name="connsiteY97" fmla="*/ 912018 h 1288255"/>
              <a:gd name="connsiteX98" fmla="*/ 1195388 w 1378744"/>
              <a:gd name="connsiteY98" fmla="*/ 881062 h 1288255"/>
              <a:gd name="connsiteX99" fmla="*/ 1157288 w 1378744"/>
              <a:gd name="connsiteY99" fmla="*/ 871537 h 1288255"/>
              <a:gd name="connsiteX100" fmla="*/ 1119188 w 1378744"/>
              <a:gd name="connsiteY100" fmla="*/ 859631 h 1288255"/>
              <a:gd name="connsiteX101" fmla="*/ 1119188 w 1378744"/>
              <a:gd name="connsiteY101" fmla="*/ 831056 h 1288255"/>
              <a:gd name="connsiteX102" fmla="*/ 1135857 w 1378744"/>
              <a:gd name="connsiteY102" fmla="*/ 807243 h 1288255"/>
              <a:gd name="connsiteX103" fmla="*/ 1197769 w 1378744"/>
              <a:gd name="connsiteY103" fmla="*/ 759618 h 1288255"/>
              <a:gd name="connsiteX104" fmla="*/ 1247775 w 1378744"/>
              <a:gd name="connsiteY104" fmla="*/ 762000 h 1288255"/>
              <a:gd name="connsiteX105" fmla="*/ 1278732 w 1378744"/>
              <a:gd name="connsiteY105" fmla="*/ 762000 h 1288255"/>
              <a:gd name="connsiteX106" fmla="*/ 1271588 w 1378744"/>
              <a:gd name="connsiteY106" fmla="*/ 735806 h 1288255"/>
              <a:gd name="connsiteX107" fmla="*/ 1378744 w 1378744"/>
              <a:gd name="connsiteY107" fmla="*/ 678656 h 1288255"/>
              <a:gd name="connsiteX108" fmla="*/ 1331119 w 1378744"/>
              <a:gd name="connsiteY108" fmla="*/ 552450 h 1288255"/>
              <a:gd name="connsiteX109" fmla="*/ 1278732 w 1378744"/>
              <a:gd name="connsiteY109" fmla="*/ 514350 h 1288255"/>
              <a:gd name="connsiteX110" fmla="*/ 1252538 w 1378744"/>
              <a:gd name="connsiteY110" fmla="*/ 431006 h 1288255"/>
              <a:gd name="connsiteX111" fmla="*/ 1181100 w 1378744"/>
              <a:gd name="connsiteY111" fmla="*/ 431006 h 1288255"/>
              <a:gd name="connsiteX112" fmla="*/ 1166813 w 1378744"/>
              <a:gd name="connsiteY112" fmla="*/ 395287 h 1288255"/>
              <a:gd name="connsiteX113" fmla="*/ 1107282 w 1378744"/>
              <a:gd name="connsiteY113" fmla="*/ 421481 h 1288255"/>
              <a:gd name="connsiteX114" fmla="*/ 1054894 w 1378744"/>
              <a:gd name="connsiteY114" fmla="*/ 414337 h 1288255"/>
              <a:gd name="connsiteX115" fmla="*/ 1028700 w 1378744"/>
              <a:gd name="connsiteY115" fmla="*/ 371475 h 1288255"/>
              <a:gd name="connsiteX116" fmla="*/ 1023938 w 1378744"/>
              <a:gd name="connsiteY116" fmla="*/ 288131 h 1288255"/>
              <a:gd name="connsiteX117" fmla="*/ 1012032 w 1378744"/>
              <a:gd name="connsiteY117" fmla="*/ 269081 h 1288255"/>
              <a:gd name="connsiteX118" fmla="*/ 1012032 w 1378744"/>
              <a:gd name="connsiteY118" fmla="*/ 211931 h 1288255"/>
              <a:gd name="connsiteX119" fmla="*/ 959644 w 1378744"/>
              <a:gd name="connsiteY119" fmla="*/ 190500 h 1288255"/>
              <a:gd name="connsiteX120" fmla="*/ 914400 w 1378744"/>
              <a:gd name="connsiteY120" fmla="*/ 111918 h 1288255"/>
              <a:gd name="connsiteX121" fmla="*/ 854869 w 1378744"/>
              <a:gd name="connsiteY121" fmla="*/ 76200 h 1288255"/>
              <a:gd name="connsiteX122" fmla="*/ 873919 w 1378744"/>
              <a:gd name="connsiteY122" fmla="*/ 16668 h 1288255"/>
              <a:gd name="connsiteX123" fmla="*/ 783432 w 1378744"/>
              <a:gd name="connsiteY123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795338 w 1378744"/>
              <a:gd name="connsiteY60" fmla="*/ 1209674 h 1288255"/>
              <a:gd name="connsiteX61" fmla="*/ 795337 w 1378744"/>
              <a:gd name="connsiteY61" fmla="*/ 1212055 h 1288255"/>
              <a:gd name="connsiteX62" fmla="*/ 809625 w 1378744"/>
              <a:gd name="connsiteY62" fmla="*/ 1197768 h 1288255"/>
              <a:gd name="connsiteX63" fmla="*/ 821532 w 1378744"/>
              <a:gd name="connsiteY63" fmla="*/ 1133474 h 1288255"/>
              <a:gd name="connsiteX64" fmla="*/ 833438 w 1378744"/>
              <a:gd name="connsiteY64" fmla="*/ 1085850 h 1288255"/>
              <a:gd name="connsiteX65" fmla="*/ 797719 w 1378744"/>
              <a:gd name="connsiteY65" fmla="*/ 1059656 h 1288255"/>
              <a:gd name="connsiteX66" fmla="*/ 790575 w 1378744"/>
              <a:gd name="connsiteY66" fmla="*/ 1038225 h 1288255"/>
              <a:gd name="connsiteX67" fmla="*/ 790575 w 1378744"/>
              <a:gd name="connsiteY67" fmla="*/ 1021556 h 1288255"/>
              <a:gd name="connsiteX68" fmla="*/ 845344 w 1378744"/>
              <a:gd name="connsiteY68" fmla="*/ 952500 h 1288255"/>
              <a:gd name="connsiteX69" fmla="*/ 845344 w 1378744"/>
              <a:gd name="connsiteY69" fmla="*/ 952500 h 1288255"/>
              <a:gd name="connsiteX70" fmla="*/ 888207 w 1378744"/>
              <a:gd name="connsiteY70" fmla="*/ 966787 h 1288255"/>
              <a:gd name="connsiteX71" fmla="*/ 907257 w 1378744"/>
              <a:gd name="connsiteY71" fmla="*/ 981075 h 1288255"/>
              <a:gd name="connsiteX72" fmla="*/ 938213 w 1378744"/>
              <a:gd name="connsiteY72" fmla="*/ 990600 h 1288255"/>
              <a:gd name="connsiteX73" fmla="*/ 964407 w 1378744"/>
              <a:gd name="connsiteY73" fmla="*/ 985837 h 1288255"/>
              <a:gd name="connsiteX74" fmla="*/ 985838 w 1378744"/>
              <a:gd name="connsiteY74" fmla="*/ 985837 h 1288255"/>
              <a:gd name="connsiteX75" fmla="*/ 995363 w 1378744"/>
              <a:gd name="connsiteY75" fmla="*/ 995362 h 1288255"/>
              <a:gd name="connsiteX76" fmla="*/ 978694 w 1378744"/>
              <a:gd name="connsiteY76" fmla="*/ 1012031 h 1288255"/>
              <a:gd name="connsiteX77" fmla="*/ 969169 w 1378744"/>
              <a:gd name="connsiteY77" fmla="*/ 1031081 h 1288255"/>
              <a:gd name="connsiteX78" fmla="*/ 954882 w 1378744"/>
              <a:gd name="connsiteY78" fmla="*/ 1054893 h 1288255"/>
              <a:gd name="connsiteX79" fmla="*/ 950119 w 1378744"/>
              <a:gd name="connsiteY79" fmla="*/ 1083468 h 1288255"/>
              <a:gd name="connsiteX80" fmla="*/ 962025 w 1378744"/>
              <a:gd name="connsiteY80" fmla="*/ 1107281 h 1288255"/>
              <a:gd name="connsiteX81" fmla="*/ 983457 w 1378744"/>
              <a:gd name="connsiteY81" fmla="*/ 1131093 h 1288255"/>
              <a:gd name="connsiteX82" fmla="*/ 1002507 w 1378744"/>
              <a:gd name="connsiteY82" fmla="*/ 1133475 h 1288255"/>
              <a:gd name="connsiteX83" fmla="*/ 1028700 w 1378744"/>
              <a:gd name="connsiteY83" fmla="*/ 1126331 h 1288255"/>
              <a:gd name="connsiteX84" fmla="*/ 1031082 w 1378744"/>
              <a:gd name="connsiteY84" fmla="*/ 1097756 h 1288255"/>
              <a:gd name="connsiteX85" fmla="*/ 1057275 w 1378744"/>
              <a:gd name="connsiteY85" fmla="*/ 1085850 h 1288255"/>
              <a:gd name="connsiteX86" fmla="*/ 1076325 w 1378744"/>
              <a:gd name="connsiteY86" fmla="*/ 1097756 h 1288255"/>
              <a:gd name="connsiteX87" fmla="*/ 1100138 w 1378744"/>
              <a:gd name="connsiteY87" fmla="*/ 1107281 h 1288255"/>
              <a:gd name="connsiteX88" fmla="*/ 1123950 w 1378744"/>
              <a:gd name="connsiteY88" fmla="*/ 1121568 h 1288255"/>
              <a:gd name="connsiteX89" fmla="*/ 1143000 w 1378744"/>
              <a:gd name="connsiteY89" fmla="*/ 1123950 h 1288255"/>
              <a:gd name="connsiteX90" fmla="*/ 1157288 w 1378744"/>
              <a:gd name="connsiteY90" fmla="*/ 1112043 h 1288255"/>
              <a:gd name="connsiteX91" fmla="*/ 1159669 w 1378744"/>
              <a:gd name="connsiteY91" fmla="*/ 1085850 h 1288255"/>
              <a:gd name="connsiteX92" fmla="*/ 1166813 w 1378744"/>
              <a:gd name="connsiteY92" fmla="*/ 1052512 h 1288255"/>
              <a:gd name="connsiteX93" fmla="*/ 1197769 w 1378744"/>
              <a:gd name="connsiteY93" fmla="*/ 1016793 h 1288255"/>
              <a:gd name="connsiteX94" fmla="*/ 1195388 w 1378744"/>
              <a:gd name="connsiteY94" fmla="*/ 954881 h 1288255"/>
              <a:gd name="connsiteX95" fmla="*/ 1209675 w 1378744"/>
              <a:gd name="connsiteY95" fmla="*/ 945356 h 1288255"/>
              <a:gd name="connsiteX96" fmla="*/ 1235869 w 1378744"/>
              <a:gd name="connsiteY96" fmla="*/ 945356 h 1288255"/>
              <a:gd name="connsiteX97" fmla="*/ 1235869 w 1378744"/>
              <a:gd name="connsiteY97" fmla="*/ 931068 h 1288255"/>
              <a:gd name="connsiteX98" fmla="*/ 1212057 w 1378744"/>
              <a:gd name="connsiteY98" fmla="*/ 912018 h 1288255"/>
              <a:gd name="connsiteX99" fmla="*/ 1195388 w 1378744"/>
              <a:gd name="connsiteY99" fmla="*/ 881062 h 1288255"/>
              <a:gd name="connsiteX100" fmla="*/ 1157288 w 1378744"/>
              <a:gd name="connsiteY100" fmla="*/ 871537 h 1288255"/>
              <a:gd name="connsiteX101" fmla="*/ 1119188 w 1378744"/>
              <a:gd name="connsiteY101" fmla="*/ 859631 h 1288255"/>
              <a:gd name="connsiteX102" fmla="*/ 1119188 w 1378744"/>
              <a:gd name="connsiteY102" fmla="*/ 831056 h 1288255"/>
              <a:gd name="connsiteX103" fmla="*/ 1135857 w 1378744"/>
              <a:gd name="connsiteY103" fmla="*/ 807243 h 1288255"/>
              <a:gd name="connsiteX104" fmla="*/ 1197769 w 1378744"/>
              <a:gd name="connsiteY104" fmla="*/ 759618 h 1288255"/>
              <a:gd name="connsiteX105" fmla="*/ 1247775 w 1378744"/>
              <a:gd name="connsiteY105" fmla="*/ 762000 h 1288255"/>
              <a:gd name="connsiteX106" fmla="*/ 1278732 w 1378744"/>
              <a:gd name="connsiteY106" fmla="*/ 762000 h 1288255"/>
              <a:gd name="connsiteX107" fmla="*/ 1271588 w 1378744"/>
              <a:gd name="connsiteY107" fmla="*/ 735806 h 1288255"/>
              <a:gd name="connsiteX108" fmla="*/ 1378744 w 1378744"/>
              <a:gd name="connsiteY108" fmla="*/ 678656 h 1288255"/>
              <a:gd name="connsiteX109" fmla="*/ 1331119 w 1378744"/>
              <a:gd name="connsiteY109" fmla="*/ 552450 h 1288255"/>
              <a:gd name="connsiteX110" fmla="*/ 1278732 w 1378744"/>
              <a:gd name="connsiteY110" fmla="*/ 514350 h 1288255"/>
              <a:gd name="connsiteX111" fmla="*/ 1252538 w 1378744"/>
              <a:gd name="connsiteY111" fmla="*/ 431006 h 1288255"/>
              <a:gd name="connsiteX112" fmla="*/ 1181100 w 1378744"/>
              <a:gd name="connsiteY112" fmla="*/ 431006 h 1288255"/>
              <a:gd name="connsiteX113" fmla="*/ 1166813 w 1378744"/>
              <a:gd name="connsiteY113" fmla="*/ 395287 h 1288255"/>
              <a:gd name="connsiteX114" fmla="*/ 1107282 w 1378744"/>
              <a:gd name="connsiteY114" fmla="*/ 421481 h 1288255"/>
              <a:gd name="connsiteX115" fmla="*/ 1054894 w 1378744"/>
              <a:gd name="connsiteY115" fmla="*/ 414337 h 1288255"/>
              <a:gd name="connsiteX116" fmla="*/ 1028700 w 1378744"/>
              <a:gd name="connsiteY116" fmla="*/ 371475 h 1288255"/>
              <a:gd name="connsiteX117" fmla="*/ 1023938 w 1378744"/>
              <a:gd name="connsiteY117" fmla="*/ 288131 h 1288255"/>
              <a:gd name="connsiteX118" fmla="*/ 1012032 w 1378744"/>
              <a:gd name="connsiteY118" fmla="*/ 269081 h 1288255"/>
              <a:gd name="connsiteX119" fmla="*/ 1012032 w 1378744"/>
              <a:gd name="connsiteY119" fmla="*/ 211931 h 1288255"/>
              <a:gd name="connsiteX120" fmla="*/ 959644 w 1378744"/>
              <a:gd name="connsiteY120" fmla="*/ 190500 h 1288255"/>
              <a:gd name="connsiteX121" fmla="*/ 914400 w 1378744"/>
              <a:gd name="connsiteY121" fmla="*/ 111918 h 1288255"/>
              <a:gd name="connsiteX122" fmla="*/ 854869 w 1378744"/>
              <a:gd name="connsiteY122" fmla="*/ 76200 h 1288255"/>
              <a:gd name="connsiteX123" fmla="*/ 873919 w 1378744"/>
              <a:gd name="connsiteY123" fmla="*/ 16668 h 1288255"/>
              <a:gd name="connsiteX124" fmla="*/ 783432 w 1378744"/>
              <a:gd name="connsiteY124" fmla="*/ 0 h 1288255"/>
              <a:gd name="connsiteX0" fmla="*/ 783432 w 1378744"/>
              <a:gd name="connsiteY0" fmla="*/ 0 h 1288255"/>
              <a:gd name="connsiteX1" fmla="*/ 738188 w 1378744"/>
              <a:gd name="connsiteY1" fmla="*/ 26193 h 1288255"/>
              <a:gd name="connsiteX2" fmla="*/ 685800 w 1378744"/>
              <a:gd name="connsiteY2" fmla="*/ 28575 h 1288255"/>
              <a:gd name="connsiteX3" fmla="*/ 635794 w 1378744"/>
              <a:gd name="connsiteY3" fmla="*/ 73818 h 1288255"/>
              <a:gd name="connsiteX4" fmla="*/ 633413 w 1378744"/>
              <a:gd name="connsiteY4" fmla="*/ 114300 h 1288255"/>
              <a:gd name="connsiteX5" fmla="*/ 561975 w 1378744"/>
              <a:gd name="connsiteY5" fmla="*/ 190500 h 1288255"/>
              <a:gd name="connsiteX6" fmla="*/ 519113 w 1378744"/>
              <a:gd name="connsiteY6" fmla="*/ 214312 h 1288255"/>
              <a:gd name="connsiteX7" fmla="*/ 485775 w 1378744"/>
              <a:gd name="connsiteY7" fmla="*/ 252412 h 1288255"/>
              <a:gd name="connsiteX8" fmla="*/ 461963 w 1378744"/>
              <a:gd name="connsiteY8" fmla="*/ 273843 h 1288255"/>
              <a:gd name="connsiteX9" fmla="*/ 423863 w 1378744"/>
              <a:gd name="connsiteY9" fmla="*/ 333375 h 1288255"/>
              <a:gd name="connsiteX10" fmla="*/ 378619 w 1378744"/>
              <a:gd name="connsiteY10" fmla="*/ 357187 h 1288255"/>
              <a:gd name="connsiteX11" fmla="*/ 292894 w 1378744"/>
              <a:gd name="connsiteY11" fmla="*/ 376237 h 1288255"/>
              <a:gd name="connsiteX12" fmla="*/ 264319 w 1378744"/>
              <a:gd name="connsiteY12" fmla="*/ 373856 h 1288255"/>
              <a:gd name="connsiteX13" fmla="*/ 240507 w 1378744"/>
              <a:gd name="connsiteY13" fmla="*/ 359568 h 1288255"/>
              <a:gd name="connsiteX14" fmla="*/ 226219 w 1378744"/>
              <a:gd name="connsiteY14" fmla="*/ 338137 h 1288255"/>
              <a:gd name="connsiteX15" fmla="*/ 219075 w 1378744"/>
              <a:gd name="connsiteY15" fmla="*/ 311943 h 1288255"/>
              <a:gd name="connsiteX16" fmla="*/ 204788 w 1378744"/>
              <a:gd name="connsiteY16" fmla="*/ 309562 h 1288255"/>
              <a:gd name="connsiteX17" fmla="*/ 188119 w 1378744"/>
              <a:gd name="connsiteY17" fmla="*/ 304800 h 1288255"/>
              <a:gd name="connsiteX18" fmla="*/ 173832 w 1378744"/>
              <a:gd name="connsiteY18" fmla="*/ 302418 h 1288255"/>
              <a:gd name="connsiteX19" fmla="*/ 128588 w 1378744"/>
              <a:gd name="connsiteY19" fmla="*/ 352425 h 1288255"/>
              <a:gd name="connsiteX20" fmla="*/ 97632 w 1378744"/>
              <a:gd name="connsiteY20" fmla="*/ 371475 h 1288255"/>
              <a:gd name="connsiteX21" fmla="*/ 80963 w 1378744"/>
              <a:gd name="connsiteY21" fmla="*/ 390525 h 1288255"/>
              <a:gd name="connsiteX22" fmla="*/ 66675 w 1378744"/>
              <a:gd name="connsiteY22" fmla="*/ 435768 h 1288255"/>
              <a:gd name="connsiteX23" fmla="*/ 54769 w 1378744"/>
              <a:gd name="connsiteY23" fmla="*/ 447675 h 1288255"/>
              <a:gd name="connsiteX24" fmla="*/ 9525 w 1378744"/>
              <a:gd name="connsiteY24" fmla="*/ 466725 h 1288255"/>
              <a:gd name="connsiteX25" fmla="*/ 2382 w 1378744"/>
              <a:gd name="connsiteY25" fmla="*/ 481012 h 1288255"/>
              <a:gd name="connsiteX26" fmla="*/ 4763 w 1378744"/>
              <a:gd name="connsiteY26" fmla="*/ 533400 h 1288255"/>
              <a:gd name="connsiteX27" fmla="*/ 0 w 1378744"/>
              <a:gd name="connsiteY27" fmla="*/ 545306 h 1288255"/>
              <a:gd name="connsiteX28" fmla="*/ 73819 w 1378744"/>
              <a:gd name="connsiteY28" fmla="*/ 588168 h 1288255"/>
              <a:gd name="connsiteX29" fmla="*/ 90488 w 1378744"/>
              <a:gd name="connsiteY29" fmla="*/ 628650 h 1288255"/>
              <a:gd name="connsiteX30" fmla="*/ 83344 w 1378744"/>
              <a:gd name="connsiteY30" fmla="*/ 654843 h 1288255"/>
              <a:gd name="connsiteX31" fmla="*/ 73819 w 1378744"/>
              <a:gd name="connsiteY31" fmla="*/ 697706 h 1288255"/>
              <a:gd name="connsiteX32" fmla="*/ 78582 w 1378744"/>
              <a:gd name="connsiteY32" fmla="*/ 726281 h 1288255"/>
              <a:gd name="connsiteX33" fmla="*/ 95250 w 1378744"/>
              <a:gd name="connsiteY33" fmla="*/ 738187 h 1288255"/>
              <a:gd name="connsiteX34" fmla="*/ 116682 w 1378744"/>
              <a:gd name="connsiteY34" fmla="*/ 735806 h 1288255"/>
              <a:gd name="connsiteX35" fmla="*/ 123825 w 1378744"/>
              <a:gd name="connsiteY35" fmla="*/ 762000 h 1288255"/>
              <a:gd name="connsiteX36" fmla="*/ 126207 w 1378744"/>
              <a:gd name="connsiteY36" fmla="*/ 783431 h 1288255"/>
              <a:gd name="connsiteX37" fmla="*/ 152400 w 1378744"/>
              <a:gd name="connsiteY37" fmla="*/ 812006 h 1288255"/>
              <a:gd name="connsiteX38" fmla="*/ 164307 w 1378744"/>
              <a:gd name="connsiteY38" fmla="*/ 823912 h 1288255"/>
              <a:gd name="connsiteX39" fmla="*/ 173832 w 1378744"/>
              <a:gd name="connsiteY39" fmla="*/ 850106 h 1288255"/>
              <a:gd name="connsiteX40" fmla="*/ 169069 w 1378744"/>
              <a:gd name="connsiteY40" fmla="*/ 878681 h 1288255"/>
              <a:gd name="connsiteX41" fmla="*/ 176213 w 1378744"/>
              <a:gd name="connsiteY41" fmla="*/ 897731 h 1288255"/>
              <a:gd name="connsiteX42" fmla="*/ 200025 w 1378744"/>
              <a:gd name="connsiteY42" fmla="*/ 916781 h 1288255"/>
              <a:gd name="connsiteX43" fmla="*/ 226219 w 1378744"/>
              <a:gd name="connsiteY43" fmla="*/ 916781 h 1288255"/>
              <a:gd name="connsiteX44" fmla="*/ 300038 w 1378744"/>
              <a:gd name="connsiteY44" fmla="*/ 921543 h 1288255"/>
              <a:gd name="connsiteX45" fmla="*/ 395288 w 1378744"/>
              <a:gd name="connsiteY45" fmla="*/ 952500 h 1288255"/>
              <a:gd name="connsiteX46" fmla="*/ 414338 w 1378744"/>
              <a:gd name="connsiteY46" fmla="*/ 988218 h 1288255"/>
              <a:gd name="connsiteX47" fmla="*/ 435769 w 1378744"/>
              <a:gd name="connsiteY47" fmla="*/ 992981 h 1288255"/>
              <a:gd name="connsiteX48" fmla="*/ 464344 w 1378744"/>
              <a:gd name="connsiteY48" fmla="*/ 995362 h 1288255"/>
              <a:gd name="connsiteX49" fmla="*/ 507207 w 1378744"/>
              <a:gd name="connsiteY49" fmla="*/ 1026318 h 1288255"/>
              <a:gd name="connsiteX50" fmla="*/ 521494 w 1378744"/>
              <a:gd name="connsiteY50" fmla="*/ 1069181 h 1288255"/>
              <a:gd name="connsiteX51" fmla="*/ 545307 w 1378744"/>
              <a:gd name="connsiteY51" fmla="*/ 1107281 h 1288255"/>
              <a:gd name="connsiteX52" fmla="*/ 573882 w 1378744"/>
              <a:gd name="connsiteY52" fmla="*/ 1121568 h 1288255"/>
              <a:gd name="connsiteX53" fmla="*/ 585788 w 1378744"/>
              <a:gd name="connsiteY53" fmla="*/ 1131093 h 1288255"/>
              <a:gd name="connsiteX54" fmla="*/ 597694 w 1378744"/>
              <a:gd name="connsiteY54" fmla="*/ 1181100 h 1288255"/>
              <a:gd name="connsiteX55" fmla="*/ 633413 w 1378744"/>
              <a:gd name="connsiteY55" fmla="*/ 1250156 h 1288255"/>
              <a:gd name="connsiteX56" fmla="*/ 692944 w 1378744"/>
              <a:gd name="connsiteY56" fmla="*/ 1278730 h 1288255"/>
              <a:gd name="connsiteX57" fmla="*/ 728663 w 1378744"/>
              <a:gd name="connsiteY57" fmla="*/ 1288255 h 1288255"/>
              <a:gd name="connsiteX58" fmla="*/ 771525 w 1378744"/>
              <a:gd name="connsiteY58" fmla="*/ 1269205 h 1288255"/>
              <a:gd name="connsiteX59" fmla="*/ 771525 w 1378744"/>
              <a:gd name="connsiteY59" fmla="*/ 1235868 h 1288255"/>
              <a:gd name="connsiteX60" fmla="*/ 795338 w 1378744"/>
              <a:gd name="connsiteY60" fmla="*/ 1209674 h 1288255"/>
              <a:gd name="connsiteX61" fmla="*/ 795337 w 1378744"/>
              <a:gd name="connsiteY61" fmla="*/ 1212055 h 1288255"/>
              <a:gd name="connsiteX62" fmla="*/ 809625 w 1378744"/>
              <a:gd name="connsiteY62" fmla="*/ 1197768 h 1288255"/>
              <a:gd name="connsiteX63" fmla="*/ 823914 w 1378744"/>
              <a:gd name="connsiteY63" fmla="*/ 1147762 h 1288255"/>
              <a:gd name="connsiteX64" fmla="*/ 833438 w 1378744"/>
              <a:gd name="connsiteY64" fmla="*/ 1085850 h 1288255"/>
              <a:gd name="connsiteX65" fmla="*/ 797719 w 1378744"/>
              <a:gd name="connsiteY65" fmla="*/ 1059656 h 1288255"/>
              <a:gd name="connsiteX66" fmla="*/ 790575 w 1378744"/>
              <a:gd name="connsiteY66" fmla="*/ 1038225 h 1288255"/>
              <a:gd name="connsiteX67" fmla="*/ 790575 w 1378744"/>
              <a:gd name="connsiteY67" fmla="*/ 1021556 h 1288255"/>
              <a:gd name="connsiteX68" fmla="*/ 845344 w 1378744"/>
              <a:gd name="connsiteY68" fmla="*/ 952500 h 1288255"/>
              <a:gd name="connsiteX69" fmla="*/ 845344 w 1378744"/>
              <a:gd name="connsiteY69" fmla="*/ 952500 h 1288255"/>
              <a:gd name="connsiteX70" fmla="*/ 888207 w 1378744"/>
              <a:gd name="connsiteY70" fmla="*/ 966787 h 1288255"/>
              <a:gd name="connsiteX71" fmla="*/ 907257 w 1378744"/>
              <a:gd name="connsiteY71" fmla="*/ 981075 h 1288255"/>
              <a:gd name="connsiteX72" fmla="*/ 938213 w 1378744"/>
              <a:gd name="connsiteY72" fmla="*/ 990600 h 1288255"/>
              <a:gd name="connsiteX73" fmla="*/ 964407 w 1378744"/>
              <a:gd name="connsiteY73" fmla="*/ 985837 h 1288255"/>
              <a:gd name="connsiteX74" fmla="*/ 985838 w 1378744"/>
              <a:gd name="connsiteY74" fmla="*/ 985837 h 1288255"/>
              <a:gd name="connsiteX75" fmla="*/ 995363 w 1378744"/>
              <a:gd name="connsiteY75" fmla="*/ 995362 h 1288255"/>
              <a:gd name="connsiteX76" fmla="*/ 978694 w 1378744"/>
              <a:gd name="connsiteY76" fmla="*/ 1012031 h 1288255"/>
              <a:gd name="connsiteX77" fmla="*/ 969169 w 1378744"/>
              <a:gd name="connsiteY77" fmla="*/ 1031081 h 1288255"/>
              <a:gd name="connsiteX78" fmla="*/ 954882 w 1378744"/>
              <a:gd name="connsiteY78" fmla="*/ 1054893 h 1288255"/>
              <a:gd name="connsiteX79" fmla="*/ 950119 w 1378744"/>
              <a:gd name="connsiteY79" fmla="*/ 1083468 h 1288255"/>
              <a:gd name="connsiteX80" fmla="*/ 962025 w 1378744"/>
              <a:gd name="connsiteY80" fmla="*/ 1107281 h 1288255"/>
              <a:gd name="connsiteX81" fmla="*/ 983457 w 1378744"/>
              <a:gd name="connsiteY81" fmla="*/ 1131093 h 1288255"/>
              <a:gd name="connsiteX82" fmla="*/ 1002507 w 1378744"/>
              <a:gd name="connsiteY82" fmla="*/ 1133475 h 1288255"/>
              <a:gd name="connsiteX83" fmla="*/ 1028700 w 1378744"/>
              <a:gd name="connsiteY83" fmla="*/ 1126331 h 1288255"/>
              <a:gd name="connsiteX84" fmla="*/ 1031082 w 1378744"/>
              <a:gd name="connsiteY84" fmla="*/ 1097756 h 1288255"/>
              <a:gd name="connsiteX85" fmla="*/ 1057275 w 1378744"/>
              <a:gd name="connsiteY85" fmla="*/ 1085850 h 1288255"/>
              <a:gd name="connsiteX86" fmla="*/ 1076325 w 1378744"/>
              <a:gd name="connsiteY86" fmla="*/ 1097756 h 1288255"/>
              <a:gd name="connsiteX87" fmla="*/ 1100138 w 1378744"/>
              <a:gd name="connsiteY87" fmla="*/ 1107281 h 1288255"/>
              <a:gd name="connsiteX88" fmla="*/ 1123950 w 1378744"/>
              <a:gd name="connsiteY88" fmla="*/ 1121568 h 1288255"/>
              <a:gd name="connsiteX89" fmla="*/ 1143000 w 1378744"/>
              <a:gd name="connsiteY89" fmla="*/ 1123950 h 1288255"/>
              <a:gd name="connsiteX90" fmla="*/ 1157288 w 1378744"/>
              <a:gd name="connsiteY90" fmla="*/ 1112043 h 1288255"/>
              <a:gd name="connsiteX91" fmla="*/ 1159669 w 1378744"/>
              <a:gd name="connsiteY91" fmla="*/ 1085850 h 1288255"/>
              <a:gd name="connsiteX92" fmla="*/ 1166813 w 1378744"/>
              <a:gd name="connsiteY92" fmla="*/ 1052512 h 1288255"/>
              <a:gd name="connsiteX93" fmla="*/ 1197769 w 1378744"/>
              <a:gd name="connsiteY93" fmla="*/ 1016793 h 1288255"/>
              <a:gd name="connsiteX94" fmla="*/ 1195388 w 1378744"/>
              <a:gd name="connsiteY94" fmla="*/ 954881 h 1288255"/>
              <a:gd name="connsiteX95" fmla="*/ 1209675 w 1378744"/>
              <a:gd name="connsiteY95" fmla="*/ 945356 h 1288255"/>
              <a:gd name="connsiteX96" fmla="*/ 1235869 w 1378744"/>
              <a:gd name="connsiteY96" fmla="*/ 945356 h 1288255"/>
              <a:gd name="connsiteX97" fmla="*/ 1235869 w 1378744"/>
              <a:gd name="connsiteY97" fmla="*/ 931068 h 1288255"/>
              <a:gd name="connsiteX98" fmla="*/ 1212057 w 1378744"/>
              <a:gd name="connsiteY98" fmla="*/ 912018 h 1288255"/>
              <a:gd name="connsiteX99" fmla="*/ 1195388 w 1378744"/>
              <a:gd name="connsiteY99" fmla="*/ 881062 h 1288255"/>
              <a:gd name="connsiteX100" fmla="*/ 1157288 w 1378744"/>
              <a:gd name="connsiteY100" fmla="*/ 871537 h 1288255"/>
              <a:gd name="connsiteX101" fmla="*/ 1119188 w 1378744"/>
              <a:gd name="connsiteY101" fmla="*/ 859631 h 1288255"/>
              <a:gd name="connsiteX102" fmla="*/ 1119188 w 1378744"/>
              <a:gd name="connsiteY102" fmla="*/ 831056 h 1288255"/>
              <a:gd name="connsiteX103" fmla="*/ 1135857 w 1378744"/>
              <a:gd name="connsiteY103" fmla="*/ 807243 h 1288255"/>
              <a:gd name="connsiteX104" fmla="*/ 1197769 w 1378744"/>
              <a:gd name="connsiteY104" fmla="*/ 759618 h 1288255"/>
              <a:gd name="connsiteX105" fmla="*/ 1247775 w 1378744"/>
              <a:gd name="connsiteY105" fmla="*/ 762000 h 1288255"/>
              <a:gd name="connsiteX106" fmla="*/ 1278732 w 1378744"/>
              <a:gd name="connsiteY106" fmla="*/ 762000 h 1288255"/>
              <a:gd name="connsiteX107" fmla="*/ 1271588 w 1378744"/>
              <a:gd name="connsiteY107" fmla="*/ 735806 h 1288255"/>
              <a:gd name="connsiteX108" fmla="*/ 1378744 w 1378744"/>
              <a:gd name="connsiteY108" fmla="*/ 678656 h 1288255"/>
              <a:gd name="connsiteX109" fmla="*/ 1331119 w 1378744"/>
              <a:gd name="connsiteY109" fmla="*/ 552450 h 1288255"/>
              <a:gd name="connsiteX110" fmla="*/ 1278732 w 1378744"/>
              <a:gd name="connsiteY110" fmla="*/ 514350 h 1288255"/>
              <a:gd name="connsiteX111" fmla="*/ 1252538 w 1378744"/>
              <a:gd name="connsiteY111" fmla="*/ 431006 h 1288255"/>
              <a:gd name="connsiteX112" fmla="*/ 1181100 w 1378744"/>
              <a:gd name="connsiteY112" fmla="*/ 431006 h 1288255"/>
              <a:gd name="connsiteX113" fmla="*/ 1166813 w 1378744"/>
              <a:gd name="connsiteY113" fmla="*/ 395287 h 1288255"/>
              <a:gd name="connsiteX114" fmla="*/ 1107282 w 1378744"/>
              <a:gd name="connsiteY114" fmla="*/ 421481 h 1288255"/>
              <a:gd name="connsiteX115" fmla="*/ 1054894 w 1378744"/>
              <a:gd name="connsiteY115" fmla="*/ 414337 h 1288255"/>
              <a:gd name="connsiteX116" fmla="*/ 1028700 w 1378744"/>
              <a:gd name="connsiteY116" fmla="*/ 371475 h 1288255"/>
              <a:gd name="connsiteX117" fmla="*/ 1023938 w 1378744"/>
              <a:gd name="connsiteY117" fmla="*/ 288131 h 1288255"/>
              <a:gd name="connsiteX118" fmla="*/ 1012032 w 1378744"/>
              <a:gd name="connsiteY118" fmla="*/ 269081 h 1288255"/>
              <a:gd name="connsiteX119" fmla="*/ 1012032 w 1378744"/>
              <a:gd name="connsiteY119" fmla="*/ 211931 h 1288255"/>
              <a:gd name="connsiteX120" fmla="*/ 959644 w 1378744"/>
              <a:gd name="connsiteY120" fmla="*/ 190500 h 1288255"/>
              <a:gd name="connsiteX121" fmla="*/ 914400 w 1378744"/>
              <a:gd name="connsiteY121" fmla="*/ 111918 h 1288255"/>
              <a:gd name="connsiteX122" fmla="*/ 854869 w 1378744"/>
              <a:gd name="connsiteY122" fmla="*/ 76200 h 1288255"/>
              <a:gd name="connsiteX123" fmla="*/ 873919 w 1378744"/>
              <a:gd name="connsiteY123" fmla="*/ 16668 h 1288255"/>
              <a:gd name="connsiteX124" fmla="*/ 783432 w 1378744"/>
              <a:gd name="connsiteY124" fmla="*/ 0 h 1288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</a:cxnLst>
            <a:rect l="l" t="t" r="r" b="b"/>
            <a:pathLst>
              <a:path w="1378744" h="1288255">
                <a:moveTo>
                  <a:pt x="783432" y="0"/>
                </a:moveTo>
                <a:lnTo>
                  <a:pt x="738188" y="26193"/>
                </a:lnTo>
                <a:lnTo>
                  <a:pt x="685800" y="28575"/>
                </a:lnTo>
                <a:lnTo>
                  <a:pt x="635794" y="73818"/>
                </a:lnTo>
                <a:lnTo>
                  <a:pt x="633413" y="114300"/>
                </a:lnTo>
                <a:lnTo>
                  <a:pt x="561975" y="190500"/>
                </a:lnTo>
                <a:lnTo>
                  <a:pt x="519113" y="214312"/>
                </a:lnTo>
                <a:lnTo>
                  <a:pt x="485775" y="252412"/>
                </a:lnTo>
                <a:lnTo>
                  <a:pt x="461963" y="273843"/>
                </a:lnTo>
                <a:lnTo>
                  <a:pt x="423863" y="333375"/>
                </a:lnTo>
                <a:lnTo>
                  <a:pt x="378619" y="357187"/>
                </a:lnTo>
                <a:lnTo>
                  <a:pt x="292894" y="376237"/>
                </a:lnTo>
                <a:lnTo>
                  <a:pt x="264319" y="373856"/>
                </a:lnTo>
                <a:lnTo>
                  <a:pt x="240507" y="359568"/>
                </a:lnTo>
                <a:lnTo>
                  <a:pt x="226219" y="338137"/>
                </a:lnTo>
                <a:lnTo>
                  <a:pt x="219075" y="311943"/>
                </a:lnTo>
                <a:lnTo>
                  <a:pt x="204788" y="309562"/>
                </a:lnTo>
                <a:lnTo>
                  <a:pt x="188119" y="304800"/>
                </a:lnTo>
                <a:lnTo>
                  <a:pt x="173832" y="302418"/>
                </a:lnTo>
                <a:lnTo>
                  <a:pt x="128588" y="352425"/>
                </a:lnTo>
                <a:lnTo>
                  <a:pt x="97632" y="371475"/>
                </a:lnTo>
                <a:lnTo>
                  <a:pt x="80963" y="390525"/>
                </a:lnTo>
                <a:lnTo>
                  <a:pt x="66675" y="435768"/>
                </a:lnTo>
                <a:lnTo>
                  <a:pt x="54769" y="447675"/>
                </a:lnTo>
                <a:lnTo>
                  <a:pt x="9525" y="466725"/>
                </a:lnTo>
                <a:lnTo>
                  <a:pt x="2382" y="481012"/>
                </a:lnTo>
                <a:lnTo>
                  <a:pt x="4763" y="533400"/>
                </a:lnTo>
                <a:lnTo>
                  <a:pt x="0" y="545306"/>
                </a:lnTo>
                <a:lnTo>
                  <a:pt x="73819" y="588168"/>
                </a:lnTo>
                <a:lnTo>
                  <a:pt x="90488" y="628650"/>
                </a:lnTo>
                <a:lnTo>
                  <a:pt x="83344" y="654843"/>
                </a:lnTo>
                <a:lnTo>
                  <a:pt x="73819" y="697706"/>
                </a:lnTo>
                <a:lnTo>
                  <a:pt x="78582" y="726281"/>
                </a:lnTo>
                <a:lnTo>
                  <a:pt x="95250" y="738187"/>
                </a:lnTo>
                <a:lnTo>
                  <a:pt x="116682" y="735806"/>
                </a:lnTo>
                <a:lnTo>
                  <a:pt x="123825" y="762000"/>
                </a:lnTo>
                <a:lnTo>
                  <a:pt x="126207" y="783431"/>
                </a:lnTo>
                <a:lnTo>
                  <a:pt x="152400" y="812006"/>
                </a:lnTo>
                <a:lnTo>
                  <a:pt x="164307" y="823912"/>
                </a:lnTo>
                <a:lnTo>
                  <a:pt x="173832" y="850106"/>
                </a:lnTo>
                <a:lnTo>
                  <a:pt x="169069" y="878681"/>
                </a:lnTo>
                <a:lnTo>
                  <a:pt x="176213" y="897731"/>
                </a:lnTo>
                <a:lnTo>
                  <a:pt x="200025" y="916781"/>
                </a:lnTo>
                <a:lnTo>
                  <a:pt x="226219" y="916781"/>
                </a:lnTo>
                <a:lnTo>
                  <a:pt x="300038" y="921543"/>
                </a:lnTo>
                <a:lnTo>
                  <a:pt x="395288" y="952500"/>
                </a:lnTo>
                <a:lnTo>
                  <a:pt x="414338" y="988218"/>
                </a:lnTo>
                <a:lnTo>
                  <a:pt x="435769" y="992981"/>
                </a:lnTo>
                <a:lnTo>
                  <a:pt x="464344" y="995362"/>
                </a:lnTo>
                <a:lnTo>
                  <a:pt x="507207" y="1026318"/>
                </a:lnTo>
                <a:lnTo>
                  <a:pt x="521494" y="1069181"/>
                </a:lnTo>
                <a:lnTo>
                  <a:pt x="545307" y="1107281"/>
                </a:lnTo>
                <a:lnTo>
                  <a:pt x="573882" y="1121568"/>
                </a:lnTo>
                <a:lnTo>
                  <a:pt x="585788" y="1131093"/>
                </a:lnTo>
                <a:lnTo>
                  <a:pt x="597694" y="1181100"/>
                </a:lnTo>
                <a:lnTo>
                  <a:pt x="633413" y="1250156"/>
                </a:lnTo>
                <a:lnTo>
                  <a:pt x="692944" y="1278730"/>
                </a:lnTo>
                <a:lnTo>
                  <a:pt x="728663" y="1288255"/>
                </a:lnTo>
                <a:lnTo>
                  <a:pt x="771525" y="1269205"/>
                </a:lnTo>
                <a:lnTo>
                  <a:pt x="771525" y="1235868"/>
                </a:lnTo>
                <a:lnTo>
                  <a:pt x="795338" y="1209674"/>
                </a:lnTo>
                <a:cubicBezTo>
                  <a:pt x="795338" y="1210468"/>
                  <a:pt x="795337" y="1211261"/>
                  <a:pt x="795337" y="1212055"/>
                </a:cubicBezTo>
                <a:lnTo>
                  <a:pt x="809625" y="1197768"/>
                </a:lnTo>
                <a:lnTo>
                  <a:pt x="823914" y="1147762"/>
                </a:lnTo>
                <a:lnTo>
                  <a:pt x="833438" y="1085850"/>
                </a:lnTo>
                <a:lnTo>
                  <a:pt x="797719" y="1059656"/>
                </a:lnTo>
                <a:lnTo>
                  <a:pt x="790575" y="1038225"/>
                </a:lnTo>
                <a:lnTo>
                  <a:pt x="790575" y="1021556"/>
                </a:lnTo>
                <a:lnTo>
                  <a:pt x="845344" y="952500"/>
                </a:lnTo>
                <a:lnTo>
                  <a:pt x="845344" y="952500"/>
                </a:lnTo>
                <a:lnTo>
                  <a:pt x="888207" y="966787"/>
                </a:lnTo>
                <a:lnTo>
                  <a:pt x="907257" y="981075"/>
                </a:lnTo>
                <a:lnTo>
                  <a:pt x="938213" y="990600"/>
                </a:lnTo>
                <a:lnTo>
                  <a:pt x="964407" y="985837"/>
                </a:lnTo>
                <a:lnTo>
                  <a:pt x="985838" y="985837"/>
                </a:lnTo>
                <a:lnTo>
                  <a:pt x="995363" y="995362"/>
                </a:lnTo>
                <a:lnTo>
                  <a:pt x="978694" y="1012031"/>
                </a:lnTo>
                <a:lnTo>
                  <a:pt x="969169" y="1031081"/>
                </a:lnTo>
                <a:lnTo>
                  <a:pt x="954882" y="1054893"/>
                </a:lnTo>
                <a:lnTo>
                  <a:pt x="950119" y="1083468"/>
                </a:lnTo>
                <a:lnTo>
                  <a:pt x="962025" y="1107281"/>
                </a:lnTo>
                <a:lnTo>
                  <a:pt x="983457" y="1131093"/>
                </a:lnTo>
                <a:lnTo>
                  <a:pt x="1002507" y="1133475"/>
                </a:lnTo>
                <a:lnTo>
                  <a:pt x="1028700" y="1126331"/>
                </a:lnTo>
                <a:lnTo>
                  <a:pt x="1031082" y="1097756"/>
                </a:lnTo>
                <a:lnTo>
                  <a:pt x="1057275" y="1085850"/>
                </a:lnTo>
                <a:lnTo>
                  <a:pt x="1076325" y="1097756"/>
                </a:lnTo>
                <a:lnTo>
                  <a:pt x="1100138" y="1107281"/>
                </a:lnTo>
                <a:lnTo>
                  <a:pt x="1123950" y="1121568"/>
                </a:lnTo>
                <a:lnTo>
                  <a:pt x="1143000" y="1123950"/>
                </a:lnTo>
                <a:lnTo>
                  <a:pt x="1157288" y="1112043"/>
                </a:lnTo>
                <a:lnTo>
                  <a:pt x="1159669" y="1085850"/>
                </a:lnTo>
                <a:lnTo>
                  <a:pt x="1166813" y="1052512"/>
                </a:lnTo>
                <a:lnTo>
                  <a:pt x="1197769" y="1016793"/>
                </a:lnTo>
                <a:cubicBezTo>
                  <a:pt x="1196975" y="996156"/>
                  <a:pt x="1196182" y="975518"/>
                  <a:pt x="1195388" y="954881"/>
                </a:cubicBezTo>
                <a:lnTo>
                  <a:pt x="1209675" y="945356"/>
                </a:lnTo>
                <a:lnTo>
                  <a:pt x="1235869" y="945356"/>
                </a:lnTo>
                <a:lnTo>
                  <a:pt x="1235869" y="931068"/>
                </a:lnTo>
                <a:lnTo>
                  <a:pt x="1212057" y="912018"/>
                </a:lnTo>
                <a:lnTo>
                  <a:pt x="1195388" y="881062"/>
                </a:lnTo>
                <a:lnTo>
                  <a:pt x="1157288" y="871537"/>
                </a:lnTo>
                <a:lnTo>
                  <a:pt x="1119188" y="859631"/>
                </a:lnTo>
                <a:lnTo>
                  <a:pt x="1119188" y="831056"/>
                </a:lnTo>
                <a:lnTo>
                  <a:pt x="1135857" y="807243"/>
                </a:lnTo>
                <a:lnTo>
                  <a:pt x="1197769" y="759618"/>
                </a:lnTo>
                <a:lnTo>
                  <a:pt x="1247775" y="762000"/>
                </a:lnTo>
                <a:lnTo>
                  <a:pt x="1278732" y="762000"/>
                </a:lnTo>
                <a:lnTo>
                  <a:pt x="1271588" y="735806"/>
                </a:lnTo>
                <a:lnTo>
                  <a:pt x="1378744" y="678656"/>
                </a:lnTo>
                <a:lnTo>
                  <a:pt x="1331119" y="552450"/>
                </a:lnTo>
                <a:lnTo>
                  <a:pt x="1278732" y="514350"/>
                </a:lnTo>
                <a:lnTo>
                  <a:pt x="1252538" y="431006"/>
                </a:lnTo>
                <a:lnTo>
                  <a:pt x="1181100" y="431006"/>
                </a:lnTo>
                <a:lnTo>
                  <a:pt x="1166813" y="395287"/>
                </a:lnTo>
                <a:lnTo>
                  <a:pt x="1107282" y="421481"/>
                </a:lnTo>
                <a:lnTo>
                  <a:pt x="1054894" y="414337"/>
                </a:lnTo>
                <a:lnTo>
                  <a:pt x="1028700" y="371475"/>
                </a:lnTo>
                <a:lnTo>
                  <a:pt x="1023938" y="288131"/>
                </a:lnTo>
                <a:lnTo>
                  <a:pt x="1012032" y="269081"/>
                </a:lnTo>
                <a:lnTo>
                  <a:pt x="1012032" y="211931"/>
                </a:lnTo>
                <a:lnTo>
                  <a:pt x="959644" y="190500"/>
                </a:lnTo>
                <a:lnTo>
                  <a:pt x="914400" y="111918"/>
                </a:lnTo>
                <a:lnTo>
                  <a:pt x="854869" y="76200"/>
                </a:lnTo>
                <a:lnTo>
                  <a:pt x="873919" y="16668"/>
                </a:lnTo>
                <a:lnTo>
                  <a:pt x="783432" y="0"/>
                </a:ln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1730380" y="2618323"/>
            <a:ext cx="1584325" cy="1037167"/>
          </a:xfrm>
          <a:custGeom>
            <a:avLst/>
            <a:gdLst>
              <a:gd name="connsiteX0" fmla="*/ 33338 w 1583531"/>
              <a:gd name="connsiteY0" fmla="*/ 840582 h 1038225"/>
              <a:gd name="connsiteX1" fmla="*/ 116681 w 1583531"/>
              <a:gd name="connsiteY1" fmla="*/ 862013 h 1038225"/>
              <a:gd name="connsiteX2" fmla="*/ 126206 w 1583531"/>
              <a:gd name="connsiteY2" fmla="*/ 878682 h 1038225"/>
              <a:gd name="connsiteX3" fmla="*/ 123825 w 1583531"/>
              <a:gd name="connsiteY3" fmla="*/ 935832 h 1038225"/>
              <a:gd name="connsiteX4" fmla="*/ 130969 w 1583531"/>
              <a:gd name="connsiteY4" fmla="*/ 942975 h 1038225"/>
              <a:gd name="connsiteX5" fmla="*/ 188119 w 1583531"/>
              <a:gd name="connsiteY5" fmla="*/ 964407 h 1038225"/>
              <a:gd name="connsiteX6" fmla="*/ 204788 w 1583531"/>
              <a:gd name="connsiteY6" fmla="*/ 997744 h 1038225"/>
              <a:gd name="connsiteX7" fmla="*/ 228600 w 1583531"/>
              <a:gd name="connsiteY7" fmla="*/ 1002507 h 1038225"/>
              <a:gd name="connsiteX8" fmla="*/ 250031 w 1583531"/>
              <a:gd name="connsiteY8" fmla="*/ 990600 h 1038225"/>
              <a:gd name="connsiteX9" fmla="*/ 278606 w 1583531"/>
              <a:gd name="connsiteY9" fmla="*/ 973932 h 1038225"/>
              <a:gd name="connsiteX10" fmla="*/ 300038 w 1583531"/>
              <a:gd name="connsiteY10" fmla="*/ 981075 h 1038225"/>
              <a:gd name="connsiteX11" fmla="*/ 316706 w 1583531"/>
              <a:gd name="connsiteY11" fmla="*/ 1004888 h 1038225"/>
              <a:gd name="connsiteX12" fmla="*/ 326231 w 1583531"/>
              <a:gd name="connsiteY12" fmla="*/ 1023938 h 1038225"/>
              <a:gd name="connsiteX13" fmla="*/ 347663 w 1583531"/>
              <a:gd name="connsiteY13" fmla="*/ 1035844 h 1038225"/>
              <a:gd name="connsiteX14" fmla="*/ 402431 w 1583531"/>
              <a:gd name="connsiteY14" fmla="*/ 1038225 h 1038225"/>
              <a:gd name="connsiteX15" fmla="*/ 407194 w 1583531"/>
              <a:gd name="connsiteY15" fmla="*/ 1014413 h 1038225"/>
              <a:gd name="connsiteX16" fmla="*/ 411956 w 1583531"/>
              <a:gd name="connsiteY16" fmla="*/ 985838 h 1038225"/>
              <a:gd name="connsiteX17" fmla="*/ 428625 w 1583531"/>
              <a:gd name="connsiteY17" fmla="*/ 959644 h 1038225"/>
              <a:gd name="connsiteX18" fmla="*/ 535781 w 1583531"/>
              <a:gd name="connsiteY18" fmla="*/ 912019 h 1038225"/>
              <a:gd name="connsiteX19" fmla="*/ 557213 w 1583531"/>
              <a:gd name="connsiteY19" fmla="*/ 931069 h 1038225"/>
              <a:gd name="connsiteX20" fmla="*/ 566738 w 1583531"/>
              <a:gd name="connsiteY20" fmla="*/ 1004888 h 1038225"/>
              <a:gd name="connsiteX21" fmla="*/ 631031 w 1583531"/>
              <a:gd name="connsiteY21" fmla="*/ 1019175 h 1038225"/>
              <a:gd name="connsiteX22" fmla="*/ 669131 w 1583531"/>
              <a:gd name="connsiteY22" fmla="*/ 1019175 h 1038225"/>
              <a:gd name="connsiteX23" fmla="*/ 700088 w 1583531"/>
              <a:gd name="connsiteY23" fmla="*/ 995363 h 1038225"/>
              <a:gd name="connsiteX24" fmla="*/ 750094 w 1583531"/>
              <a:gd name="connsiteY24" fmla="*/ 978694 h 1038225"/>
              <a:gd name="connsiteX25" fmla="*/ 771525 w 1583531"/>
              <a:gd name="connsiteY25" fmla="*/ 985838 h 1038225"/>
              <a:gd name="connsiteX26" fmla="*/ 812006 w 1583531"/>
              <a:gd name="connsiteY26" fmla="*/ 1028700 h 1038225"/>
              <a:gd name="connsiteX27" fmla="*/ 826294 w 1583531"/>
              <a:gd name="connsiteY27" fmla="*/ 1028700 h 1038225"/>
              <a:gd name="connsiteX28" fmla="*/ 850106 w 1583531"/>
              <a:gd name="connsiteY28" fmla="*/ 992982 h 1038225"/>
              <a:gd name="connsiteX29" fmla="*/ 871538 w 1583531"/>
              <a:gd name="connsiteY29" fmla="*/ 966788 h 1038225"/>
              <a:gd name="connsiteX30" fmla="*/ 902494 w 1583531"/>
              <a:gd name="connsiteY30" fmla="*/ 959644 h 1038225"/>
              <a:gd name="connsiteX31" fmla="*/ 928688 w 1583531"/>
              <a:gd name="connsiteY31" fmla="*/ 964407 h 1038225"/>
              <a:gd name="connsiteX32" fmla="*/ 981075 w 1583531"/>
              <a:gd name="connsiteY32" fmla="*/ 995363 h 1038225"/>
              <a:gd name="connsiteX33" fmla="*/ 1047750 w 1583531"/>
              <a:gd name="connsiteY33" fmla="*/ 995363 h 1038225"/>
              <a:gd name="connsiteX34" fmla="*/ 1100138 w 1583531"/>
              <a:gd name="connsiteY34" fmla="*/ 1012032 h 1038225"/>
              <a:gd name="connsiteX35" fmla="*/ 1202531 w 1583531"/>
              <a:gd name="connsiteY35" fmla="*/ 862013 h 1038225"/>
              <a:gd name="connsiteX36" fmla="*/ 1243013 w 1583531"/>
              <a:gd name="connsiteY36" fmla="*/ 876300 h 1038225"/>
              <a:gd name="connsiteX37" fmla="*/ 1331119 w 1583531"/>
              <a:gd name="connsiteY37" fmla="*/ 752475 h 1038225"/>
              <a:gd name="connsiteX38" fmla="*/ 1269206 w 1583531"/>
              <a:gd name="connsiteY38" fmla="*/ 695325 h 1038225"/>
              <a:gd name="connsiteX39" fmla="*/ 1269206 w 1583531"/>
              <a:gd name="connsiteY39" fmla="*/ 685800 h 1038225"/>
              <a:gd name="connsiteX40" fmla="*/ 1364456 w 1583531"/>
              <a:gd name="connsiteY40" fmla="*/ 683419 h 1038225"/>
              <a:gd name="connsiteX41" fmla="*/ 1407319 w 1583531"/>
              <a:gd name="connsiteY41" fmla="*/ 700088 h 1038225"/>
              <a:gd name="connsiteX42" fmla="*/ 1431131 w 1583531"/>
              <a:gd name="connsiteY42" fmla="*/ 657225 h 1038225"/>
              <a:gd name="connsiteX43" fmla="*/ 1531144 w 1583531"/>
              <a:gd name="connsiteY43" fmla="*/ 623888 h 1038225"/>
              <a:gd name="connsiteX44" fmla="*/ 1578769 w 1583531"/>
              <a:gd name="connsiteY44" fmla="*/ 588169 h 1038225"/>
              <a:gd name="connsiteX45" fmla="*/ 1583531 w 1583531"/>
              <a:gd name="connsiteY45" fmla="*/ 564357 h 1038225"/>
              <a:gd name="connsiteX46" fmla="*/ 1564481 w 1583531"/>
              <a:gd name="connsiteY46" fmla="*/ 557213 h 1038225"/>
              <a:gd name="connsiteX47" fmla="*/ 1547813 w 1583531"/>
              <a:gd name="connsiteY47" fmla="*/ 466725 h 1038225"/>
              <a:gd name="connsiteX48" fmla="*/ 1519238 w 1583531"/>
              <a:gd name="connsiteY48" fmla="*/ 433388 h 1038225"/>
              <a:gd name="connsiteX49" fmla="*/ 1443038 w 1583531"/>
              <a:gd name="connsiteY49" fmla="*/ 426244 h 1038225"/>
              <a:gd name="connsiteX50" fmla="*/ 1431131 w 1583531"/>
              <a:gd name="connsiteY50" fmla="*/ 404813 h 1038225"/>
              <a:gd name="connsiteX51" fmla="*/ 1412081 w 1583531"/>
              <a:gd name="connsiteY51" fmla="*/ 388144 h 1038225"/>
              <a:gd name="connsiteX52" fmla="*/ 1373981 w 1583531"/>
              <a:gd name="connsiteY52" fmla="*/ 385763 h 1038225"/>
              <a:gd name="connsiteX53" fmla="*/ 1323975 w 1583531"/>
              <a:gd name="connsiteY53" fmla="*/ 342900 h 1038225"/>
              <a:gd name="connsiteX54" fmla="*/ 1276350 w 1583531"/>
              <a:gd name="connsiteY54" fmla="*/ 383382 h 1038225"/>
              <a:gd name="connsiteX55" fmla="*/ 1252538 w 1583531"/>
              <a:gd name="connsiteY55" fmla="*/ 383382 h 1038225"/>
              <a:gd name="connsiteX56" fmla="*/ 1219200 w 1583531"/>
              <a:gd name="connsiteY56" fmla="*/ 340519 h 1038225"/>
              <a:gd name="connsiteX57" fmla="*/ 1171575 w 1583531"/>
              <a:gd name="connsiteY57" fmla="*/ 340519 h 1038225"/>
              <a:gd name="connsiteX58" fmla="*/ 1135856 w 1583531"/>
              <a:gd name="connsiteY58" fmla="*/ 311944 h 1038225"/>
              <a:gd name="connsiteX59" fmla="*/ 1095375 w 1583531"/>
              <a:gd name="connsiteY59" fmla="*/ 319088 h 1038225"/>
              <a:gd name="connsiteX60" fmla="*/ 992981 w 1583531"/>
              <a:gd name="connsiteY60" fmla="*/ 309563 h 1038225"/>
              <a:gd name="connsiteX61" fmla="*/ 940594 w 1583531"/>
              <a:gd name="connsiteY61" fmla="*/ 326232 h 1038225"/>
              <a:gd name="connsiteX62" fmla="*/ 919163 w 1583531"/>
              <a:gd name="connsiteY62" fmla="*/ 304800 h 1038225"/>
              <a:gd name="connsiteX63" fmla="*/ 904875 w 1583531"/>
              <a:gd name="connsiteY63" fmla="*/ 302419 h 1038225"/>
              <a:gd name="connsiteX64" fmla="*/ 900113 w 1583531"/>
              <a:gd name="connsiteY64" fmla="*/ 269082 h 1038225"/>
              <a:gd name="connsiteX65" fmla="*/ 895350 w 1583531"/>
              <a:gd name="connsiteY65" fmla="*/ 261938 h 1038225"/>
              <a:gd name="connsiteX66" fmla="*/ 845344 w 1583531"/>
              <a:gd name="connsiteY66" fmla="*/ 297657 h 1038225"/>
              <a:gd name="connsiteX67" fmla="*/ 833438 w 1583531"/>
              <a:gd name="connsiteY67" fmla="*/ 345282 h 1038225"/>
              <a:gd name="connsiteX68" fmla="*/ 850106 w 1583531"/>
              <a:gd name="connsiteY68" fmla="*/ 369094 h 1038225"/>
              <a:gd name="connsiteX69" fmla="*/ 850106 w 1583531"/>
              <a:gd name="connsiteY69" fmla="*/ 438150 h 1038225"/>
              <a:gd name="connsiteX70" fmla="*/ 876300 w 1583531"/>
              <a:gd name="connsiteY70" fmla="*/ 450057 h 1038225"/>
              <a:gd name="connsiteX71" fmla="*/ 881063 w 1583531"/>
              <a:gd name="connsiteY71" fmla="*/ 469107 h 1038225"/>
              <a:gd name="connsiteX72" fmla="*/ 864394 w 1583531"/>
              <a:gd name="connsiteY72" fmla="*/ 495300 h 1038225"/>
              <a:gd name="connsiteX73" fmla="*/ 842963 w 1583531"/>
              <a:gd name="connsiteY73" fmla="*/ 495300 h 1038225"/>
              <a:gd name="connsiteX74" fmla="*/ 821531 w 1583531"/>
              <a:gd name="connsiteY74" fmla="*/ 447675 h 1038225"/>
              <a:gd name="connsiteX75" fmla="*/ 778669 w 1583531"/>
              <a:gd name="connsiteY75" fmla="*/ 433388 h 1038225"/>
              <a:gd name="connsiteX76" fmla="*/ 771525 w 1583531"/>
              <a:gd name="connsiteY76" fmla="*/ 414338 h 1038225"/>
              <a:gd name="connsiteX77" fmla="*/ 807244 w 1583531"/>
              <a:gd name="connsiteY77" fmla="*/ 340519 h 1038225"/>
              <a:gd name="connsiteX78" fmla="*/ 826294 w 1583531"/>
              <a:gd name="connsiteY78" fmla="*/ 269082 h 1038225"/>
              <a:gd name="connsiteX79" fmla="*/ 842963 w 1583531"/>
              <a:gd name="connsiteY79" fmla="*/ 259557 h 1038225"/>
              <a:gd name="connsiteX80" fmla="*/ 883444 w 1583531"/>
              <a:gd name="connsiteY80" fmla="*/ 192882 h 1038225"/>
              <a:gd name="connsiteX81" fmla="*/ 931069 w 1583531"/>
              <a:gd name="connsiteY81" fmla="*/ 171450 h 1038225"/>
              <a:gd name="connsiteX82" fmla="*/ 935831 w 1583531"/>
              <a:gd name="connsiteY82" fmla="*/ 140494 h 1038225"/>
              <a:gd name="connsiteX83" fmla="*/ 950119 w 1583531"/>
              <a:gd name="connsiteY83" fmla="*/ 123825 h 1038225"/>
              <a:gd name="connsiteX84" fmla="*/ 945356 w 1583531"/>
              <a:gd name="connsiteY84" fmla="*/ 83344 h 1038225"/>
              <a:gd name="connsiteX85" fmla="*/ 890588 w 1583531"/>
              <a:gd name="connsiteY85" fmla="*/ 69057 h 1038225"/>
              <a:gd name="connsiteX86" fmla="*/ 864394 w 1583531"/>
              <a:gd name="connsiteY86" fmla="*/ 38100 h 1038225"/>
              <a:gd name="connsiteX87" fmla="*/ 792956 w 1583531"/>
              <a:gd name="connsiteY87" fmla="*/ 33338 h 1038225"/>
              <a:gd name="connsiteX88" fmla="*/ 759619 w 1583531"/>
              <a:gd name="connsiteY88" fmla="*/ 0 h 1038225"/>
              <a:gd name="connsiteX89" fmla="*/ 757238 w 1583531"/>
              <a:gd name="connsiteY89" fmla="*/ 30957 h 1038225"/>
              <a:gd name="connsiteX90" fmla="*/ 745331 w 1583531"/>
              <a:gd name="connsiteY90" fmla="*/ 52388 h 1038225"/>
              <a:gd name="connsiteX91" fmla="*/ 635794 w 1583531"/>
              <a:gd name="connsiteY91" fmla="*/ 114300 h 1038225"/>
              <a:gd name="connsiteX92" fmla="*/ 642938 w 1583531"/>
              <a:gd name="connsiteY92" fmla="*/ 135732 h 1038225"/>
              <a:gd name="connsiteX93" fmla="*/ 561975 w 1583531"/>
              <a:gd name="connsiteY93" fmla="*/ 138113 h 1038225"/>
              <a:gd name="connsiteX94" fmla="*/ 495300 w 1583531"/>
              <a:gd name="connsiteY94" fmla="*/ 185738 h 1038225"/>
              <a:gd name="connsiteX95" fmla="*/ 483394 w 1583531"/>
              <a:gd name="connsiteY95" fmla="*/ 202407 h 1038225"/>
              <a:gd name="connsiteX96" fmla="*/ 485775 w 1583531"/>
              <a:gd name="connsiteY96" fmla="*/ 233363 h 1038225"/>
              <a:gd name="connsiteX97" fmla="*/ 552450 w 1583531"/>
              <a:gd name="connsiteY97" fmla="*/ 257175 h 1038225"/>
              <a:gd name="connsiteX98" fmla="*/ 571500 w 1583531"/>
              <a:gd name="connsiteY98" fmla="*/ 283369 h 1038225"/>
              <a:gd name="connsiteX99" fmla="*/ 597694 w 1583531"/>
              <a:gd name="connsiteY99" fmla="*/ 307182 h 1038225"/>
              <a:gd name="connsiteX100" fmla="*/ 597694 w 1583531"/>
              <a:gd name="connsiteY100" fmla="*/ 321469 h 1038225"/>
              <a:gd name="connsiteX101" fmla="*/ 573881 w 1583531"/>
              <a:gd name="connsiteY101" fmla="*/ 321469 h 1038225"/>
              <a:gd name="connsiteX102" fmla="*/ 566738 w 1583531"/>
              <a:gd name="connsiteY102" fmla="*/ 330994 h 1038225"/>
              <a:gd name="connsiteX103" fmla="*/ 557213 w 1583531"/>
              <a:gd name="connsiteY103" fmla="*/ 400050 h 1038225"/>
              <a:gd name="connsiteX104" fmla="*/ 538163 w 1583531"/>
              <a:gd name="connsiteY104" fmla="*/ 426244 h 1038225"/>
              <a:gd name="connsiteX105" fmla="*/ 523875 w 1583531"/>
              <a:gd name="connsiteY105" fmla="*/ 490538 h 1038225"/>
              <a:gd name="connsiteX106" fmla="*/ 495300 w 1583531"/>
              <a:gd name="connsiteY106" fmla="*/ 500063 h 1038225"/>
              <a:gd name="connsiteX107" fmla="*/ 454819 w 1583531"/>
              <a:gd name="connsiteY107" fmla="*/ 481013 h 1038225"/>
              <a:gd name="connsiteX108" fmla="*/ 428625 w 1583531"/>
              <a:gd name="connsiteY108" fmla="*/ 471488 h 1038225"/>
              <a:gd name="connsiteX109" fmla="*/ 428625 w 1583531"/>
              <a:gd name="connsiteY109" fmla="*/ 471488 h 1038225"/>
              <a:gd name="connsiteX110" fmla="*/ 392906 w 1583531"/>
              <a:gd name="connsiteY110" fmla="*/ 478632 h 1038225"/>
              <a:gd name="connsiteX111" fmla="*/ 388144 w 1583531"/>
              <a:gd name="connsiteY111" fmla="*/ 502444 h 1038225"/>
              <a:gd name="connsiteX112" fmla="*/ 352425 w 1583531"/>
              <a:gd name="connsiteY112" fmla="*/ 507207 h 1038225"/>
              <a:gd name="connsiteX113" fmla="*/ 319088 w 1583531"/>
              <a:gd name="connsiteY113" fmla="*/ 466725 h 1038225"/>
              <a:gd name="connsiteX114" fmla="*/ 316706 w 1583531"/>
              <a:gd name="connsiteY114" fmla="*/ 442913 h 1038225"/>
              <a:gd name="connsiteX115" fmla="*/ 326231 w 1583531"/>
              <a:gd name="connsiteY115" fmla="*/ 407194 h 1038225"/>
              <a:gd name="connsiteX116" fmla="*/ 345281 w 1583531"/>
              <a:gd name="connsiteY116" fmla="*/ 383382 h 1038225"/>
              <a:gd name="connsiteX117" fmla="*/ 359569 w 1583531"/>
              <a:gd name="connsiteY117" fmla="*/ 369094 h 1038225"/>
              <a:gd name="connsiteX118" fmla="*/ 345281 w 1583531"/>
              <a:gd name="connsiteY118" fmla="*/ 357188 h 1038225"/>
              <a:gd name="connsiteX119" fmla="*/ 302419 w 1583531"/>
              <a:gd name="connsiteY119" fmla="*/ 366713 h 1038225"/>
              <a:gd name="connsiteX120" fmla="*/ 266700 w 1583531"/>
              <a:gd name="connsiteY120" fmla="*/ 352425 h 1038225"/>
              <a:gd name="connsiteX121" fmla="*/ 242888 w 1583531"/>
              <a:gd name="connsiteY121" fmla="*/ 342900 h 1038225"/>
              <a:gd name="connsiteX122" fmla="*/ 211931 w 1583531"/>
              <a:gd name="connsiteY122" fmla="*/ 328613 h 1038225"/>
              <a:gd name="connsiteX123" fmla="*/ 154781 w 1583531"/>
              <a:gd name="connsiteY123" fmla="*/ 392907 h 1038225"/>
              <a:gd name="connsiteX124" fmla="*/ 157163 w 1583531"/>
              <a:gd name="connsiteY124" fmla="*/ 435769 h 1038225"/>
              <a:gd name="connsiteX125" fmla="*/ 190500 w 1583531"/>
              <a:gd name="connsiteY125" fmla="*/ 466725 h 1038225"/>
              <a:gd name="connsiteX126" fmla="*/ 169069 w 1583531"/>
              <a:gd name="connsiteY126" fmla="*/ 578644 h 1038225"/>
              <a:gd name="connsiteX127" fmla="*/ 138113 w 1583531"/>
              <a:gd name="connsiteY127" fmla="*/ 604838 h 1038225"/>
              <a:gd name="connsiteX128" fmla="*/ 130969 w 1583531"/>
              <a:gd name="connsiteY128" fmla="*/ 650082 h 1038225"/>
              <a:gd name="connsiteX129" fmla="*/ 85725 w 1583531"/>
              <a:gd name="connsiteY129" fmla="*/ 661988 h 1038225"/>
              <a:gd name="connsiteX130" fmla="*/ 80963 w 1583531"/>
              <a:gd name="connsiteY130" fmla="*/ 688182 h 1038225"/>
              <a:gd name="connsiteX131" fmla="*/ 11906 w 1583531"/>
              <a:gd name="connsiteY131" fmla="*/ 721519 h 1038225"/>
              <a:gd name="connsiteX132" fmla="*/ 0 w 1583531"/>
              <a:gd name="connsiteY132" fmla="*/ 738188 h 1038225"/>
              <a:gd name="connsiteX133" fmla="*/ 16669 w 1583531"/>
              <a:gd name="connsiteY133" fmla="*/ 771525 h 1038225"/>
              <a:gd name="connsiteX134" fmla="*/ 33338 w 1583531"/>
              <a:gd name="connsiteY134" fmla="*/ 840582 h 103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1583531" h="1038225">
                <a:moveTo>
                  <a:pt x="33338" y="840582"/>
                </a:moveTo>
                <a:lnTo>
                  <a:pt x="116681" y="862013"/>
                </a:lnTo>
                <a:lnTo>
                  <a:pt x="126206" y="878682"/>
                </a:lnTo>
                <a:cubicBezTo>
                  <a:pt x="125412" y="897732"/>
                  <a:pt x="124619" y="916782"/>
                  <a:pt x="123825" y="935832"/>
                </a:cubicBezTo>
                <a:lnTo>
                  <a:pt x="130969" y="942975"/>
                </a:lnTo>
                <a:lnTo>
                  <a:pt x="188119" y="964407"/>
                </a:lnTo>
                <a:lnTo>
                  <a:pt x="204788" y="997744"/>
                </a:lnTo>
                <a:lnTo>
                  <a:pt x="228600" y="1002507"/>
                </a:lnTo>
                <a:lnTo>
                  <a:pt x="250031" y="990600"/>
                </a:lnTo>
                <a:lnTo>
                  <a:pt x="278606" y="973932"/>
                </a:lnTo>
                <a:lnTo>
                  <a:pt x="300038" y="981075"/>
                </a:lnTo>
                <a:lnTo>
                  <a:pt x="316706" y="1004888"/>
                </a:lnTo>
                <a:lnTo>
                  <a:pt x="326231" y="1023938"/>
                </a:lnTo>
                <a:lnTo>
                  <a:pt x="347663" y="1035844"/>
                </a:lnTo>
                <a:lnTo>
                  <a:pt x="402431" y="1038225"/>
                </a:lnTo>
                <a:lnTo>
                  <a:pt x="407194" y="1014413"/>
                </a:lnTo>
                <a:lnTo>
                  <a:pt x="411956" y="985838"/>
                </a:lnTo>
                <a:lnTo>
                  <a:pt x="428625" y="959644"/>
                </a:lnTo>
                <a:lnTo>
                  <a:pt x="535781" y="912019"/>
                </a:lnTo>
                <a:lnTo>
                  <a:pt x="557213" y="931069"/>
                </a:lnTo>
                <a:lnTo>
                  <a:pt x="566738" y="1004888"/>
                </a:lnTo>
                <a:lnTo>
                  <a:pt x="631031" y="1019175"/>
                </a:lnTo>
                <a:lnTo>
                  <a:pt x="669131" y="1019175"/>
                </a:lnTo>
                <a:lnTo>
                  <a:pt x="700088" y="995363"/>
                </a:lnTo>
                <a:lnTo>
                  <a:pt x="750094" y="978694"/>
                </a:lnTo>
                <a:lnTo>
                  <a:pt x="771525" y="985838"/>
                </a:lnTo>
                <a:lnTo>
                  <a:pt x="812006" y="1028700"/>
                </a:lnTo>
                <a:lnTo>
                  <a:pt x="826294" y="1028700"/>
                </a:lnTo>
                <a:lnTo>
                  <a:pt x="850106" y="992982"/>
                </a:lnTo>
                <a:lnTo>
                  <a:pt x="871538" y="966788"/>
                </a:lnTo>
                <a:lnTo>
                  <a:pt x="902494" y="959644"/>
                </a:lnTo>
                <a:lnTo>
                  <a:pt x="928688" y="964407"/>
                </a:lnTo>
                <a:lnTo>
                  <a:pt x="981075" y="995363"/>
                </a:lnTo>
                <a:lnTo>
                  <a:pt x="1047750" y="995363"/>
                </a:lnTo>
                <a:lnTo>
                  <a:pt x="1100138" y="1012032"/>
                </a:lnTo>
                <a:lnTo>
                  <a:pt x="1202531" y="862013"/>
                </a:lnTo>
                <a:lnTo>
                  <a:pt x="1243013" y="876300"/>
                </a:lnTo>
                <a:lnTo>
                  <a:pt x="1331119" y="752475"/>
                </a:lnTo>
                <a:lnTo>
                  <a:pt x="1269206" y="695325"/>
                </a:lnTo>
                <a:lnTo>
                  <a:pt x="1269206" y="685800"/>
                </a:lnTo>
                <a:lnTo>
                  <a:pt x="1364456" y="683419"/>
                </a:lnTo>
                <a:lnTo>
                  <a:pt x="1407319" y="700088"/>
                </a:lnTo>
                <a:lnTo>
                  <a:pt x="1431131" y="657225"/>
                </a:lnTo>
                <a:lnTo>
                  <a:pt x="1531144" y="623888"/>
                </a:lnTo>
                <a:lnTo>
                  <a:pt x="1578769" y="588169"/>
                </a:lnTo>
                <a:lnTo>
                  <a:pt x="1583531" y="564357"/>
                </a:lnTo>
                <a:lnTo>
                  <a:pt x="1564481" y="557213"/>
                </a:lnTo>
                <a:lnTo>
                  <a:pt x="1547813" y="466725"/>
                </a:lnTo>
                <a:lnTo>
                  <a:pt x="1519238" y="433388"/>
                </a:lnTo>
                <a:lnTo>
                  <a:pt x="1443038" y="426244"/>
                </a:lnTo>
                <a:lnTo>
                  <a:pt x="1431131" y="404813"/>
                </a:lnTo>
                <a:lnTo>
                  <a:pt x="1412081" y="388144"/>
                </a:lnTo>
                <a:lnTo>
                  <a:pt x="1373981" y="385763"/>
                </a:lnTo>
                <a:lnTo>
                  <a:pt x="1323975" y="342900"/>
                </a:lnTo>
                <a:lnTo>
                  <a:pt x="1276350" y="383382"/>
                </a:lnTo>
                <a:lnTo>
                  <a:pt x="1252538" y="383382"/>
                </a:lnTo>
                <a:lnTo>
                  <a:pt x="1219200" y="340519"/>
                </a:lnTo>
                <a:lnTo>
                  <a:pt x="1171575" y="340519"/>
                </a:lnTo>
                <a:lnTo>
                  <a:pt x="1135856" y="311944"/>
                </a:lnTo>
                <a:lnTo>
                  <a:pt x="1095375" y="319088"/>
                </a:lnTo>
                <a:lnTo>
                  <a:pt x="992981" y="309563"/>
                </a:lnTo>
                <a:lnTo>
                  <a:pt x="940594" y="326232"/>
                </a:lnTo>
                <a:lnTo>
                  <a:pt x="919163" y="304800"/>
                </a:lnTo>
                <a:lnTo>
                  <a:pt x="904875" y="302419"/>
                </a:lnTo>
                <a:lnTo>
                  <a:pt x="900113" y="269082"/>
                </a:lnTo>
                <a:lnTo>
                  <a:pt x="895350" y="261938"/>
                </a:lnTo>
                <a:lnTo>
                  <a:pt x="845344" y="297657"/>
                </a:lnTo>
                <a:lnTo>
                  <a:pt x="833438" y="345282"/>
                </a:lnTo>
                <a:lnTo>
                  <a:pt x="850106" y="369094"/>
                </a:lnTo>
                <a:lnTo>
                  <a:pt x="850106" y="438150"/>
                </a:lnTo>
                <a:lnTo>
                  <a:pt x="876300" y="450057"/>
                </a:lnTo>
                <a:lnTo>
                  <a:pt x="881063" y="469107"/>
                </a:lnTo>
                <a:lnTo>
                  <a:pt x="864394" y="495300"/>
                </a:lnTo>
                <a:lnTo>
                  <a:pt x="842963" y="495300"/>
                </a:lnTo>
                <a:lnTo>
                  <a:pt x="821531" y="447675"/>
                </a:lnTo>
                <a:lnTo>
                  <a:pt x="778669" y="433388"/>
                </a:lnTo>
                <a:lnTo>
                  <a:pt x="771525" y="414338"/>
                </a:lnTo>
                <a:lnTo>
                  <a:pt x="807244" y="340519"/>
                </a:lnTo>
                <a:lnTo>
                  <a:pt x="826294" y="269082"/>
                </a:lnTo>
                <a:lnTo>
                  <a:pt x="842963" y="259557"/>
                </a:lnTo>
                <a:lnTo>
                  <a:pt x="883444" y="192882"/>
                </a:lnTo>
                <a:lnTo>
                  <a:pt x="931069" y="171450"/>
                </a:lnTo>
                <a:lnTo>
                  <a:pt x="935831" y="140494"/>
                </a:lnTo>
                <a:lnTo>
                  <a:pt x="950119" y="123825"/>
                </a:lnTo>
                <a:lnTo>
                  <a:pt x="945356" y="83344"/>
                </a:lnTo>
                <a:lnTo>
                  <a:pt x="890588" y="69057"/>
                </a:lnTo>
                <a:lnTo>
                  <a:pt x="864394" y="38100"/>
                </a:lnTo>
                <a:lnTo>
                  <a:pt x="792956" y="33338"/>
                </a:lnTo>
                <a:lnTo>
                  <a:pt x="759619" y="0"/>
                </a:lnTo>
                <a:lnTo>
                  <a:pt x="757238" y="30957"/>
                </a:lnTo>
                <a:lnTo>
                  <a:pt x="745331" y="52388"/>
                </a:lnTo>
                <a:lnTo>
                  <a:pt x="635794" y="114300"/>
                </a:lnTo>
                <a:lnTo>
                  <a:pt x="642938" y="135732"/>
                </a:lnTo>
                <a:lnTo>
                  <a:pt x="561975" y="138113"/>
                </a:lnTo>
                <a:lnTo>
                  <a:pt x="495300" y="185738"/>
                </a:lnTo>
                <a:lnTo>
                  <a:pt x="483394" y="202407"/>
                </a:lnTo>
                <a:lnTo>
                  <a:pt x="485775" y="233363"/>
                </a:lnTo>
                <a:lnTo>
                  <a:pt x="552450" y="257175"/>
                </a:lnTo>
                <a:lnTo>
                  <a:pt x="571500" y="283369"/>
                </a:lnTo>
                <a:lnTo>
                  <a:pt x="597694" y="307182"/>
                </a:lnTo>
                <a:lnTo>
                  <a:pt x="597694" y="321469"/>
                </a:lnTo>
                <a:lnTo>
                  <a:pt x="573881" y="321469"/>
                </a:lnTo>
                <a:lnTo>
                  <a:pt x="566738" y="330994"/>
                </a:lnTo>
                <a:lnTo>
                  <a:pt x="557213" y="400050"/>
                </a:lnTo>
                <a:lnTo>
                  <a:pt x="538163" y="426244"/>
                </a:lnTo>
                <a:lnTo>
                  <a:pt x="523875" y="490538"/>
                </a:lnTo>
                <a:lnTo>
                  <a:pt x="495300" y="500063"/>
                </a:lnTo>
                <a:lnTo>
                  <a:pt x="454819" y="481013"/>
                </a:lnTo>
                <a:lnTo>
                  <a:pt x="428625" y="471488"/>
                </a:lnTo>
                <a:lnTo>
                  <a:pt x="428625" y="471488"/>
                </a:lnTo>
                <a:lnTo>
                  <a:pt x="392906" y="478632"/>
                </a:lnTo>
                <a:lnTo>
                  <a:pt x="388144" y="502444"/>
                </a:lnTo>
                <a:lnTo>
                  <a:pt x="352425" y="507207"/>
                </a:lnTo>
                <a:lnTo>
                  <a:pt x="319088" y="466725"/>
                </a:lnTo>
                <a:lnTo>
                  <a:pt x="316706" y="442913"/>
                </a:lnTo>
                <a:lnTo>
                  <a:pt x="326231" y="407194"/>
                </a:lnTo>
                <a:lnTo>
                  <a:pt x="345281" y="383382"/>
                </a:lnTo>
                <a:lnTo>
                  <a:pt x="359569" y="369094"/>
                </a:lnTo>
                <a:lnTo>
                  <a:pt x="345281" y="357188"/>
                </a:lnTo>
                <a:lnTo>
                  <a:pt x="302419" y="366713"/>
                </a:lnTo>
                <a:lnTo>
                  <a:pt x="266700" y="352425"/>
                </a:lnTo>
                <a:lnTo>
                  <a:pt x="242888" y="342900"/>
                </a:lnTo>
                <a:lnTo>
                  <a:pt x="211931" y="328613"/>
                </a:lnTo>
                <a:lnTo>
                  <a:pt x="154781" y="392907"/>
                </a:lnTo>
                <a:lnTo>
                  <a:pt x="157163" y="435769"/>
                </a:lnTo>
                <a:lnTo>
                  <a:pt x="190500" y="466725"/>
                </a:lnTo>
                <a:lnTo>
                  <a:pt x="169069" y="578644"/>
                </a:lnTo>
                <a:lnTo>
                  <a:pt x="138113" y="604838"/>
                </a:lnTo>
                <a:lnTo>
                  <a:pt x="130969" y="650082"/>
                </a:lnTo>
                <a:lnTo>
                  <a:pt x="85725" y="661988"/>
                </a:lnTo>
                <a:lnTo>
                  <a:pt x="80963" y="688182"/>
                </a:lnTo>
                <a:lnTo>
                  <a:pt x="11906" y="721519"/>
                </a:lnTo>
                <a:lnTo>
                  <a:pt x="0" y="738188"/>
                </a:lnTo>
                <a:lnTo>
                  <a:pt x="16669" y="771525"/>
                </a:lnTo>
                <a:lnTo>
                  <a:pt x="33338" y="840582"/>
                </a:lnTo>
                <a:close/>
              </a:path>
            </a:pathLst>
          </a:custGeom>
          <a:solidFill>
            <a:srgbClr val="F5910B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3406781" y="2542121"/>
            <a:ext cx="766763" cy="592667"/>
          </a:xfrm>
          <a:custGeom>
            <a:avLst/>
            <a:gdLst>
              <a:gd name="connsiteX0" fmla="*/ 0 w 766763"/>
              <a:gd name="connsiteY0" fmla="*/ 559594 h 592932"/>
              <a:gd name="connsiteX1" fmla="*/ 97631 w 766763"/>
              <a:gd name="connsiteY1" fmla="*/ 564357 h 592932"/>
              <a:gd name="connsiteX2" fmla="*/ 111919 w 766763"/>
              <a:gd name="connsiteY2" fmla="*/ 573882 h 592932"/>
              <a:gd name="connsiteX3" fmla="*/ 123825 w 766763"/>
              <a:gd name="connsiteY3" fmla="*/ 571500 h 592932"/>
              <a:gd name="connsiteX4" fmla="*/ 154781 w 766763"/>
              <a:gd name="connsiteY4" fmla="*/ 592932 h 592932"/>
              <a:gd name="connsiteX5" fmla="*/ 192881 w 766763"/>
              <a:gd name="connsiteY5" fmla="*/ 566738 h 592932"/>
              <a:gd name="connsiteX6" fmla="*/ 192881 w 766763"/>
              <a:gd name="connsiteY6" fmla="*/ 566738 h 592932"/>
              <a:gd name="connsiteX7" fmla="*/ 269081 w 766763"/>
              <a:gd name="connsiteY7" fmla="*/ 588169 h 592932"/>
              <a:gd name="connsiteX8" fmla="*/ 290513 w 766763"/>
              <a:gd name="connsiteY8" fmla="*/ 550069 h 592932"/>
              <a:gd name="connsiteX9" fmla="*/ 350044 w 766763"/>
              <a:gd name="connsiteY9" fmla="*/ 550069 h 592932"/>
              <a:gd name="connsiteX10" fmla="*/ 385763 w 766763"/>
              <a:gd name="connsiteY10" fmla="*/ 523875 h 592932"/>
              <a:gd name="connsiteX11" fmla="*/ 414338 w 766763"/>
              <a:gd name="connsiteY11" fmla="*/ 521494 h 592932"/>
              <a:gd name="connsiteX12" fmla="*/ 464344 w 766763"/>
              <a:gd name="connsiteY12" fmla="*/ 540544 h 592932"/>
              <a:gd name="connsiteX13" fmla="*/ 497681 w 766763"/>
              <a:gd name="connsiteY13" fmla="*/ 561975 h 592932"/>
              <a:gd name="connsiteX14" fmla="*/ 550069 w 766763"/>
              <a:gd name="connsiteY14" fmla="*/ 528638 h 592932"/>
              <a:gd name="connsiteX15" fmla="*/ 590550 w 766763"/>
              <a:gd name="connsiteY15" fmla="*/ 533400 h 592932"/>
              <a:gd name="connsiteX16" fmla="*/ 604838 w 766763"/>
              <a:gd name="connsiteY16" fmla="*/ 464344 h 592932"/>
              <a:gd name="connsiteX17" fmla="*/ 602456 w 766763"/>
              <a:gd name="connsiteY17" fmla="*/ 445294 h 592932"/>
              <a:gd name="connsiteX18" fmla="*/ 688181 w 766763"/>
              <a:gd name="connsiteY18" fmla="*/ 395288 h 592932"/>
              <a:gd name="connsiteX19" fmla="*/ 702469 w 766763"/>
              <a:gd name="connsiteY19" fmla="*/ 381000 h 592932"/>
              <a:gd name="connsiteX20" fmla="*/ 762000 w 766763"/>
              <a:gd name="connsiteY20" fmla="*/ 361950 h 592932"/>
              <a:gd name="connsiteX21" fmla="*/ 762000 w 766763"/>
              <a:gd name="connsiteY21" fmla="*/ 316707 h 592932"/>
              <a:gd name="connsiteX22" fmla="*/ 733425 w 766763"/>
              <a:gd name="connsiteY22" fmla="*/ 307182 h 592932"/>
              <a:gd name="connsiteX23" fmla="*/ 719138 w 766763"/>
              <a:gd name="connsiteY23" fmla="*/ 283369 h 592932"/>
              <a:gd name="connsiteX24" fmla="*/ 726281 w 766763"/>
              <a:gd name="connsiteY24" fmla="*/ 254794 h 592932"/>
              <a:gd name="connsiteX25" fmla="*/ 762000 w 766763"/>
              <a:gd name="connsiteY25" fmla="*/ 245269 h 592932"/>
              <a:gd name="connsiteX26" fmla="*/ 766763 w 766763"/>
              <a:gd name="connsiteY26" fmla="*/ 223838 h 592932"/>
              <a:gd name="connsiteX27" fmla="*/ 754856 w 766763"/>
              <a:gd name="connsiteY27" fmla="*/ 214313 h 592932"/>
              <a:gd name="connsiteX28" fmla="*/ 754856 w 766763"/>
              <a:gd name="connsiteY28" fmla="*/ 183357 h 592932"/>
              <a:gd name="connsiteX29" fmla="*/ 650081 w 766763"/>
              <a:gd name="connsiteY29" fmla="*/ 214313 h 592932"/>
              <a:gd name="connsiteX30" fmla="*/ 631031 w 766763"/>
              <a:gd name="connsiteY30" fmla="*/ 214313 h 592932"/>
              <a:gd name="connsiteX31" fmla="*/ 592931 w 766763"/>
              <a:gd name="connsiteY31" fmla="*/ 180975 h 592932"/>
              <a:gd name="connsiteX32" fmla="*/ 561975 w 766763"/>
              <a:gd name="connsiteY32" fmla="*/ 188119 h 592932"/>
              <a:gd name="connsiteX33" fmla="*/ 540544 w 766763"/>
              <a:gd name="connsiteY33" fmla="*/ 202407 h 592932"/>
              <a:gd name="connsiteX34" fmla="*/ 509588 w 766763"/>
              <a:gd name="connsiteY34" fmla="*/ 195263 h 592932"/>
              <a:gd name="connsiteX35" fmla="*/ 473869 w 766763"/>
              <a:gd name="connsiteY35" fmla="*/ 190500 h 592932"/>
              <a:gd name="connsiteX36" fmla="*/ 414338 w 766763"/>
              <a:gd name="connsiteY36" fmla="*/ 185738 h 592932"/>
              <a:gd name="connsiteX37" fmla="*/ 392906 w 766763"/>
              <a:gd name="connsiteY37" fmla="*/ 154782 h 592932"/>
              <a:gd name="connsiteX38" fmla="*/ 371475 w 766763"/>
              <a:gd name="connsiteY38" fmla="*/ 126207 h 592932"/>
              <a:gd name="connsiteX39" fmla="*/ 342900 w 766763"/>
              <a:gd name="connsiteY39" fmla="*/ 126207 h 592932"/>
              <a:gd name="connsiteX40" fmla="*/ 311944 w 766763"/>
              <a:gd name="connsiteY40" fmla="*/ 142875 h 592932"/>
              <a:gd name="connsiteX41" fmla="*/ 283369 w 766763"/>
              <a:gd name="connsiteY41" fmla="*/ 135732 h 592932"/>
              <a:gd name="connsiteX42" fmla="*/ 259556 w 766763"/>
              <a:gd name="connsiteY42" fmla="*/ 97632 h 592932"/>
              <a:gd name="connsiteX43" fmla="*/ 233363 w 766763"/>
              <a:gd name="connsiteY43" fmla="*/ 76200 h 592932"/>
              <a:gd name="connsiteX44" fmla="*/ 221456 w 766763"/>
              <a:gd name="connsiteY44" fmla="*/ 73819 h 592932"/>
              <a:gd name="connsiteX45" fmla="*/ 180975 w 766763"/>
              <a:gd name="connsiteY45" fmla="*/ 21432 h 592932"/>
              <a:gd name="connsiteX46" fmla="*/ 159544 w 766763"/>
              <a:gd name="connsiteY46" fmla="*/ 0 h 592932"/>
              <a:gd name="connsiteX47" fmla="*/ 107156 w 766763"/>
              <a:gd name="connsiteY47" fmla="*/ 2382 h 592932"/>
              <a:gd name="connsiteX48" fmla="*/ 83344 w 766763"/>
              <a:gd name="connsiteY48" fmla="*/ 42863 h 592932"/>
              <a:gd name="connsiteX49" fmla="*/ 85725 w 766763"/>
              <a:gd name="connsiteY49" fmla="*/ 69057 h 592932"/>
              <a:gd name="connsiteX50" fmla="*/ 104775 w 766763"/>
              <a:gd name="connsiteY50" fmla="*/ 90488 h 592932"/>
              <a:gd name="connsiteX51" fmla="*/ 116681 w 766763"/>
              <a:gd name="connsiteY51" fmla="*/ 102394 h 592932"/>
              <a:gd name="connsiteX52" fmla="*/ 145256 w 766763"/>
              <a:gd name="connsiteY52" fmla="*/ 109538 h 592932"/>
              <a:gd name="connsiteX53" fmla="*/ 161925 w 766763"/>
              <a:gd name="connsiteY53" fmla="*/ 121444 h 592932"/>
              <a:gd name="connsiteX54" fmla="*/ 159544 w 766763"/>
              <a:gd name="connsiteY54" fmla="*/ 138113 h 592932"/>
              <a:gd name="connsiteX55" fmla="*/ 104775 w 766763"/>
              <a:gd name="connsiteY55" fmla="*/ 200025 h 592932"/>
              <a:gd name="connsiteX56" fmla="*/ 107156 w 766763"/>
              <a:gd name="connsiteY56" fmla="*/ 245269 h 592932"/>
              <a:gd name="connsiteX57" fmla="*/ 140494 w 766763"/>
              <a:gd name="connsiteY57" fmla="*/ 300038 h 592932"/>
              <a:gd name="connsiteX58" fmla="*/ 166688 w 766763"/>
              <a:gd name="connsiteY58" fmla="*/ 338138 h 592932"/>
              <a:gd name="connsiteX59" fmla="*/ 133350 w 766763"/>
              <a:gd name="connsiteY59" fmla="*/ 381000 h 592932"/>
              <a:gd name="connsiteX60" fmla="*/ 80963 w 766763"/>
              <a:gd name="connsiteY60" fmla="*/ 359569 h 592932"/>
              <a:gd name="connsiteX61" fmla="*/ 50006 w 766763"/>
              <a:gd name="connsiteY61" fmla="*/ 404813 h 592932"/>
              <a:gd name="connsiteX62" fmla="*/ 19050 w 766763"/>
              <a:gd name="connsiteY62" fmla="*/ 421482 h 592932"/>
              <a:gd name="connsiteX63" fmla="*/ 4763 w 766763"/>
              <a:gd name="connsiteY63" fmla="*/ 457200 h 592932"/>
              <a:gd name="connsiteX64" fmla="*/ 0 w 766763"/>
              <a:gd name="connsiteY64" fmla="*/ 559594 h 592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766763" h="592932">
                <a:moveTo>
                  <a:pt x="0" y="559594"/>
                </a:moveTo>
                <a:lnTo>
                  <a:pt x="97631" y="564357"/>
                </a:lnTo>
                <a:lnTo>
                  <a:pt x="111919" y="573882"/>
                </a:lnTo>
                <a:lnTo>
                  <a:pt x="123825" y="571500"/>
                </a:lnTo>
                <a:lnTo>
                  <a:pt x="154781" y="592932"/>
                </a:lnTo>
                <a:lnTo>
                  <a:pt x="192881" y="566738"/>
                </a:lnTo>
                <a:lnTo>
                  <a:pt x="192881" y="566738"/>
                </a:lnTo>
                <a:lnTo>
                  <a:pt x="269081" y="588169"/>
                </a:lnTo>
                <a:lnTo>
                  <a:pt x="290513" y="550069"/>
                </a:lnTo>
                <a:lnTo>
                  <a:pt x="350044" y="550069"/>
                </a:lnTo>
                <a:lnTo>
                  <a:pt x="385763" y="523875"/>
                </a:lnTo>
                <a:lnTo>
                  <a:pt x="414338" y="521494"/>
                </a:lnTo>
                <a:lnTo>
                  <a:pt x="464344" y="540544"/>
                </a:lnTo>
                <a:lnTo>
                  <a:pt x="497681" y="561975"/>
                </a:lnTo>
                <a:lnTo>
                  <a:pt x="550069" y="528638"/>
                </a:lnTo>
                <a:lnTo>
                  <a:pt x="590550" y="533400"/>
                </a:lnTo>
                <a:lnTo>
                  <a:pt x="604838" y="464344"/>
                </a:lnTo>
                <a:lnTo>
                  <a:pt x="602456" y="445294"/>
                </a:lnTo>
                <a:lnTo>
                  <a:pt x="688181" y="395288"/>
                </a:lnTo>
                <a:lnTo>
                  <a:pt x="702469" y="381000"/>
                </a:lnTo>
                <a:lnTo>
                  <a:pt x="762000" y="361950"/>
                </a:lnTo>
                <a:lnTo>
                  <a:pt x="762000" y="316707"/>
                </a:lnTo>
                <a:lnTo>
                  <a:pt x="733425" y="307182"/>
                </a:lnTo>
                <a:lnTo>
                  <a:pt x="719138" y="283369"/>
                </a:lnTo>
                <a:lnTo>
                  <a:pt x="726281" y="254794"/>
                </a:lnTo>
                <a:lnTo>
                  <a:pt x="762000" y="245269"/>
                </a:lnTo>
                <a:lnTo>
                  <a:pt x="766763" y="223838"/>
                </a:lnTo>
                <a:lnTo>
                  <a:pt x="754856" y="214313"/>
                </a:lnTo>
                <a:lnTo>
                  <a:pt x="754856" y="183357"/>
                </a:lnTo>
                <a:lnTo>
                  <a:pt x="650081" y="214313"/>
                </a:lnTo>
                <a:lnTo>
                  <a:pt x="631031" y="214313"/>
                </a:lnTo>
                <a:lnTo>
                  <a:pt x="592931" y="180975"/>
                </a:lnTo>
                <a:lnTo>
                  <a:pt x="561975" y="188119"/>
                </a:lnTo>
                <a:lnTo>
                  <a:pt x="540544" y="202407"/>
                </a:lnTo>
                <a:lnTo>
                  <a:pt x="509588" y="195263"/>
                </a:lnTo>
                <a:lnTo>
                  <a:pt x="473869" y="190500"/>
                </a:lnTo>
                <a:lnTo>
                  <a:pt x="414338" y="185738"/>
                </a:lnTo>
                <a:lnTo>
                  <a:pt x="392906" y="154782"/>
                </a:lnTo>
                <a:lnTo>
                  <a:pt x="371475" y="126207"/>
                </a:lnTo>
                <a:lnTo>
                  <a:pt x="342900" y="126207"/>
                </a:lnTo>
                <a:lnTo>
                  <a:pt x="311944" y="142875"/>
                </a:lnTo>
                <a:lnTo>
                  <a:pt x="283369" y="135732"/>
                </a:lnTo>
                <a:lnTo>
                  <a:pt x="259556" y="97632"/>
                </a:lnTo>
                <a:lnTo>
                  <a:pt x="233363" y="76200"/>
                </a:lnTo>
                <a:lnTo>
                  <a:pt x="221456" y="73819"/>
                </a:lnTo>
                <a:lnTo>
                  <a:pt x="180975" y="21432"/>
                </a:lnTo>
                <a:lnTo>
                  <a:pt x="159544" y="0"/>
                </a:lnTo>
                <a:lnTo>
                  <a:pt x="107156" y="2382"/>
                </a:lnTo>
                <a:lnTo>
                  <a:pt x="83344" y="42863"/>
                </a:lnTo>
                <a:lnTo>
                  <a:pt x="85725" y="69057"/>
                </a:lnTo>
                <a:lnTo>
                  <a:pt x="104775" y="90488"/>
                </a:lnTo>
                <a:lnTo>
                  <a:pt x="116681" y="102394"/>
                </a:lnTo>
                <a:lnTo>
                  <a:pt x="145256" y="109538"/>
                </a:lnTo>
                <a:lnTo>
                  <a:pt x="161925" y="121444"/>
                </a:lnTo>
                <a:lnTo>
                  <a:pt x="159544" y="138113"/>
                </a:lnTo>
                <a:lnTo>
                  <a:pt x="104775" y="200025"/>
                </a:lnTo>
                <a:lnTo>
                  <a:pt x="107156" y="245269"/>
                </a:lnTo>
                <a:lnTo>
                  <a:pt x="140494" y="300038"/>
                </a:lnTo>
                <a:lnTo>
                  <a:pt x="166688" y="338138"/>
                </a:lnTo>
                <a:lnTo>
                  <a:pt x="133350" y="381000"/>
                </a:lnTo>
                <a:lnTo>
                  <a:pt x="80963" y="359569"/>
                </a:lnTo>
                <a:lnTo>
                  <a:pt x="50006" y="404813"/>
                </a:lnTo>
                <a:lnTo>
                  <a:pt x="19050" y="421482"/>
                </a:lnTo>
                <a:lnTo>
                  <a:pt x="4763" y="457200"/>
                </a:lnTo>
                <a:lnTo>
                  <a:pt x="0" y="559594"/>
                </a:lnTo>
                <a:close/>
              </a:path>
            </a:pathLst>
          </a:custGeom>
          <a:solidFill>
            <a:srgbClr val="0066FF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4191000" y="2438403"/>
            <a:ext cx="128588" cy="190500"/>
          </a:xfrm>
          <a:custGeom>
            <a:avLst/>
            <a:gdLst>
              <a:gd name="connsiteX0" fmla="*/ 2382 w 128588"/>
              <a:gd name="connsiteY0" fmla="*/ 11906 h 183356"/>
              <a:gd name="connsiteX1" fmla="*/ 16669 w 128588"/>
              <a:gd name="connsiteY1" fmla="*/ 71437 h 183356"/>
              <a:gd name="connsiteX2" fmla="*/ 16669 w 128588"/>
              <a:gd name="connsiteY2" fmla="*/ 95250 h 183356"/>
              <a:gd name="connsiteX3" fmla="*/ 4763 w 128588"/>
              <a:gd name="connsiteY3" fmla="*/ 114300 h 183356"/>
              <a:gd name="connsiteX4" fmla="*/ 0 w 128588"/>
              <a:gd name="connsiteY4" fmla="*/ 169068 h 183356"/>
              <a:gd name="connsiteX5" fmla="*/ 26194 w 128588"/>
              <a:gd name="connsiteY5" fmla="*/ 183356 h 183356"/>
              <a:gd name="connsiteX6" fmla="*/ 61913 w 128588"/>
              <a:gd name="connsiteY6" fmla="*/ 178593 h 183356"/>
              <a:gd name="connsiteX7" fmla="*/ 61913 w 128588"/>
              <a:gd name="connsiteY7" fmla="*/ 178593 h 183356"/>
              <a:gd name="connsiteX8" fmla="*/ 95250 w 128588"/>
              <a:gd name="connsiteY8" fmla="*/ 142875 h 183356"/>
              <a:gd name="connsiteX9" fmla="*/ 128588 w 128588"/>
              <a:gd name="connsiteY9" fmla="*/ 107156 h 183356"/>
              <a:gd name="connsiteX10" fmla="*/ 119063 w 128588"/>
              <a:gd name="connsiteY10" fmla="*/ 85725 h 183356"/>
              <a:gd name="connsiteX11" fmla="*/ 114300 w 128588"/>
              <a:gd name="connsiteY11" fmla="*/ 28575 h 183356"/>
              <a:gd name="connsiteX12" fmla="*/ 88107 w 128588"/>
              <a:gd name="connsiteY12" fmla="*/ 7143 h 183356"/>
              <a:gd name="connsiteX13" fmla="*/ 54769 w 128588"/>
              <a:gd name="connsiteY13" fmla="*/ 0 h 183356"/>
              <a:gd name="connsiteX14" fmla="*/ 2382 w 128588"/>
              <a:gd name="connsiteY14" fmla="*/ 11906 h 183356"/>
              <a:gd name="connsiteX0" fmla="*/ 2382 w 128588"/>
              <a:gd name="connsiteY0" fmla="*/ 11906 h 183356"/>
              <a:gd name="connsiteX1" fmla="*/ 16669 w 128588"/>
              <a:gd name="connsiteY1" fmla="*/ 71437 h 183356"/>
              <a:gd name="connsiteX2" fmla="*/ 16669 w 128588"/>
              <a:gd name="connsiteY2" fmla="*/ 95250 h 183356"/>
              <a:gd name="connsiteX3" fmla="*/ 4763 w 128588"/>
              <a:gd name="connsiteY3" fmla="*/ 114300 h 183356"/>
              <a:gd name="connsiteX4" fmla="*/ 0 w 128588"/>
              <a:gd name="connsiteY4" fmla="*/ 169068 h 183356"/>
              <a:gd name="connsiteX5" fmla="*/ 26194 w 128588"/>
              <a:gd name="connsiteY5" fmla="*/ 183356 h 183356"/>
              <a:gd name="connsiteX6" fmla="*/ 61913 w 128588"/>
              <a:gd name="connsiteY6" fmla="*/ 178593 h 183356"/>
              <a:gd name="connsiteX7" fmla="*/ 61913 w 128588"/>
              <a:gd name="connsiteY7" fmla="*/ 178593 h 183356"/>
              <a:gd name="connsiteX8" fmla="*/ 90488 w 128588"/>
              <a:gd name="connsiteY8" fmla="*/ 171450 h 183356"/>
              <a:gd name="connsiteX9" fmla="*/ 128588 w 128588"/>
              <a:gd name="connsiteY9" fmla="*/ 107156 h 183356"/>
              <a:gd name="connsiteX10" fmla="*/ 119063 w 128588"/>
              <a:gd name="connsiteY10" fmla="*/ 85725 h 183356"/>
              <a:gd name="connsiteX11" fmla="*/ 114300 w 128588"/>
              <a:gd name="connsiteY11" fmla="*/ 28575 h 183356"/>
              <a:gd name="connsiteX12" fmla="*/ 88107 w 128588"/>
              <a:gd name="connsiteY12" fmla="*/ 7143 h 183356"/>
              <a:gd name="connsiteX13" fmla="*/ 54769 w 128588"/>
              <a:gd name="connsiteY13" fmla="*/ 0 h 183356"/>
              <a:gd name="connsiteX14" fmla="*/ 2382 w 128588"/>
              <a:gd name="connsiteY14" fmla="*/ 11906 h 183356"/>
              <a:gd name="connsiteX0" fmla="*/ 2382 w 128588"/>
              <a:gd name="connsiteY0" fmla="*/ 11906 h 188118"/>
              <a:gd name="connsiteX1" fmla="*/ 16669 w 128588"/>
              <a:gd name="connsiteY1" fmla="*/ 71437 h 188118"/>
              <a:gd name="connsiteX2" fmla="*/ 16669 w 128588"/>
              <a:gd name="connsiteY2" fmla="*/ 95250 h 188118"/>
              <a:gd name="connsiteX3" fmla="*/ 4763 w 128588"/>
              <a:gd name="connsiteY3" fmla="*/ 114300 h 188118"/>
              <a:gd name="connsiteX4" fmla="*/ 0 w 128588"/>
              <a:gd name="connsiteY4" fmla="*/ 169068 h 188118"/>
              <a:gd name="connsiteX5" fmla="*/ 26194 w 128588"/>
              <a:gd name="connsiteY5" fmla="*/ 183356 h 188118"/>
              <a:gd name="connsiteX6" fmla="*/ 61913 w 128588"/>
              <a:gd name="connsiteY6" fmla="*/ 178593 h 188118"/>
              <a:gd name="connsiteX7" fmla="*/ 66675 w 128588"/>
              <a:gd name="connsiteY7" fmla="*/ 188118 h 188118"/>
              <a:gd name="connsiteX8" fmla="*/ 90488 w 128588"/>
              <a:gd name="connsiteY8" fmla="*/ 171450 h 188118"/>
              <a:gd name="connsiteX9" fmla="*/ 128588 w 128588"/>
              <a:gd name="connsiteY9" fmla="*/ 107156 h 188118"/>
              <a:gd name="connsiteX10" fmla="*/ 119063 w 128588"/>
              <a:gd name="connsiteY10" fmla="*/ 85725 h 188118"/>
              <a:gd name="connsiteX11" fmla="*/ 114300 w 128588"/>
              <a:gd name="connsiteY11" fmla="*/ 28575 h 188118"/>
              <a:gd name="connsiteX12" fmla="*/ 88107 w 128588"/>
              <a:gd name="connsiteY12" fmla="*/ 7143 h 188118"/>
              <a:gd name="connsiteX13" fmla="*/ 54769 w 128588"/>
              <a:gd name="connsiteY13" fmla="*/ 0 h 188118"/>
              <a:gd name="connsiteX14" fmla="*/ 2382 w 128588"/>
              <a:gd name="connsiteY14" fmla="*/ 11906 h 188118"/>
              <a:gd name="connsiteX0" fmla="*/ 2382 w 128588"/>
              <a:gd name="connsiteY0" fmla="*/ 11906 h 190940"/>
              <a:gd name="connsiteX1" fmla="*/ 16669 w 128588"/>
              <a:gd name="connsiteY1" fmla="*/ 71437 h 190940"/>
              <a:gd name="connsiteX2" fmla="*/ 16669 w 128588"/>
              <a:gd name="connsiteY2" fmla="*/ 95250 h 190940"/>
              <a:gd name="connsiteX3" fmla="*/ 4763 w 128588"/>
              <a:gd name="connsiteY3" fmla="*/ 114300 h 190940"/>
              <a:gd name="connsiteX4" fmla="*/ 0 w 128588"/>
              <a:gd name="connsiteY4" fmla="*/ 169068 h 190940"/>
              <a:gd name="connsiteX5" fmla="*/ 26194 w 128588"/>
              <a:gd name="connsiteY5" fmla="*/ 183356 h 190940"/>
              <a:gd name="connsiteX6" fmla="*/ 57151 w 128588"/>
              <a:gd name="connsiteY6" fmla="*/ 190499 h 190940"/>
              <a:gd name="connsiteX7" fmla="*/ 66675 w 128588"/>
              <a:gd name="connsiteY7" fmla="*/ 188118 h 190940"/>
              <a:gd name="connsiteX8" fmla="*/ 90488 w 128588"/>
              <a:gd name="connsiteY8" fmla="*/ 171450 h 190940"/>
              <a:gd name="connsiteX9" fmla="*/ 128588 w 128588"/>
              <a:gd name="connsiteY9" fmla="*/ 107156 h 190940"/>
              <a:gd name="connsiteX10" fmla="*/ 119063 w 128588"/>
              <a:gd name="connsiteY10" fmla="*/ 85725 h 190940"/>
              <a:gd name="connsiteX11" fmla="*/ 114300 w 128588"/>
              <a:gd name="connsiteY11" fmla="*/ 28575 h 190940"/>
              <a:gd name="connsiteX12" fmla="*/ 88107 w 128588"/>
              <a:gd name="connsiteY12" fmla="*/ 7143 h 190940"/>
              <a:gd name="connsiteX13" fmla="*/ 54769 w 128588"/>
              <a:gd name="connsiteY13" fmla="*/ 0 h 190940"/>
              <a:gd name="connsiteX14" fmla="*/ 2382 w 128588"/>
              <a:gd name="connsiteY14" fmla="*/ 11906 h 190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8588" h="190940">
                <a:moveTo>
                  <a:pt x="2382" y="11906"/>
                </a:moveTo>
                <a:lnTo>
                  <a:pt x="16669" y="71437"/>
                </a:lnTo>
                <a:lnTo>
                  <a:pt x="16669" y="95250"/>
                </a:lnTo>
                <a:lnTo>
                  <a:pt x="4763" y="114300"/>
                </a:lnTo>
                <a:lnTo>
                  <a:pt x="0" y="169068"/>
                </a:lnTo>
                <a:lnTo>
                  <a:pt x="26194" y="183356"/>
                </a:lnTo>
                <a:cubicBezTo>
                  <a:pt x="38100" y="181768"/>
                  <a:pt x="50404" y="189705"/>
                  <a:pt x="57151" y="190499"/>
                </a:cubicBezTo>
                <a:cubicBezTo>
                  <a:pt x="63898" y="191293"/>
                  <a:pt x="61119" y="191293"/>
                  <a:pt x="66675" y="188118"/>
                </a:cubicBezTo>
                <a:cubicBezTo>
                  <a:pt x="72231" y="184943"/>
                  <a:pt x="80169" y="184944"/>
                  <a:pt x="90488" y="171450"/>
                </a:cubicBezTo>
                <a:cubicBezTo>
                  <a:pt x="100807" y="157956"/>
                  <a:pt x="115888" y="128587"/>
                  <a:pt x="128588" y="107156"/>
                </a:cubicBezTo>
                <a:lnTo>
                  <a:pt x="119063" y="85725"/>
                </a:lnTo>
                <a:lnTo>
                  <a:pt x="114300" y="28575"/>
                </a:lnTo>
                <a:lnTo>
                  <a:pt x="88107" y="7143"/>
                </a:lnTo>
                <a:lnTo>
                  <a:pt x="54769" y="0"/>
                </a:lnTo>
                <a:lnTo>
                  <a:pt x="2382" y="11906"/>
                </a:lnTo>
                <a:close/>
              </a:path>
            </a:pathLst>
          </a:custGeom>
          <a:solidFill>
            <a:srgbClr val="FF33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781425" y="2542123"/>
            <a:ext cx="763588" cy="1087967"/>
          </a:xfrm>
          <a:custGeom>
            <a:avLst/>
            <a:gdLst>
              <a:gd name="connsiteX0" fmla="*/ 319088 w 764382"/>
              <a:gd name="connsiteY0" fmla="*/ 392907 h 1088232"/>
              <a:gd name="connsiteX1" fmla="*/ 350044 w 764382"/>
              <a:gd name="connsiteY1" fmla="*/ 466725 h 1088232"/>
              <a:gd name="connsiteX2" fmla="*/ 340519 w 764382"/>
              <a:gd name="connsiteY2" fmla="*/ 509588 h 1088232"/>
              <a:gd name="connsiteX3" fmla="*/ 333375 w 764382"/>
              <a:gd name="connsiteY3" fmla="*/ 559594 h 1088232"/>
              <a:gd name="connsiteX4" fmla="*/ 247650 w 764382"/>
              <a:gd name="connsiteY4" fmla="*/ 633413 h 1088232"/>
              <a:gd name="connsiteX5" fmla="*/ 238125 w 764382"/>
              <a:gd name="connsiteY5" fmla="*/ 690563 h 1088232"/>
              <a:gd name="connsiteX6" fmla="*/ 135732 w 764382"/>
              <a:gd name="connsiteY6" fmla="*/ 711994 h 1088232"/>
              <a:gd name="connsiteX7" fmla="*/ 116682 w 764382"/>
              <a:gd name="connsiteY7" fmla="*/ 738188 h 1088232"/>
              <a:gd name="connsiteX8" fmla="*/ 30957 w 764382"/>
              <a:gd name="connsiteY8" fmla="*/ 707232 h 1088232"/>
              <a:gd name="connsiteX9" fmla="*/ 16669 w 764382"/>
              <a:gd name="connsiteY9" fmla="*/ 707232 h 1088232"/>
              <a:gd name="connsiteX10" fmla="*/ 7144 w 764382"/>
              <a:gd name="connsiteY10" fmla="*/ 735807 h 1088232"/>
              <a:gd name="connsiteX11" fmla="*/ 0 w 764382"/>
              <a:gd name="connsiteY11" fmla="*/ 752475 h 1088232"/>
              <a:gd name="connsiteX12" fmla="*/ 26194 w 764382"/>
              <a:gd name="connsiteY12" fmla="*/ 781050 h 1088232"/>
              <a:gd name="connsiteX13" fmla="*/ 45244 w 764382"/>
              <a:gd name="connsiteY13" fmla="*/ 778669 h 1088232"/>
              <a:gd name="connsiteX14" fmla="*/ 52388 w 764382"/>
              <a:gd name="connsiteY14" fmla="*/ 819150 h 1088232"/>
              <a:gd name="connsiteX15" fmla="*/ 66675 w 764382"/>
              <a:gd name="connsiteY15" fmla="*/ 840582 h 1088232"/>
              <a:gd name="connsiteX16" fmla="*/ 92869 w 764382"/>
              <a:gd name="connsiteY16" fmla="*/ 831057 h 1088232"/>
              <a:gd name="connsiteX17" fmla="*/ 109538 w 764382"/>
              <a:gd name="connsiteY17" fmla="*/ 819150 h 1088232"/>
              <a:gd name="connsiteX18" fmla="*/ 133350 w 764382"/>
              <a:gd name="connsiteY18" fmla="*/ 819150 h 1088232"/>
              <a:gd name="connsiteX19" fmla="*/ 142875 w 764382"/>
              <a:gd name="connsiteY19" fmla="*/ 912019 h 1088232"/>
              <a:gd name="connsiteX20" fmla="*/ 171450 w 764382"/>
              <a:gd name="connsiteY20" fmla="*/ 933450 h 1088232"/>
              <a:gd name="connsiteX21" fmla="*/ 180975 w 764382"/>
              <a:gd name="connsiteY21" fmla="*/ 966788 h 1088232"/>
              <a:gd name="connsiteX22" fmla="*/ 221457 w 764382"/>
              <a:gd name="connsiteY22" fmla="*/ 992982 h 1088232"/>
              <a:gd name="connsiteX23" fmla="*/ 254794 w 764382"/>
              <a:gd name="connsiteY23" fmla="*/ 1035844 h 1088232"/>
              <a:gd name="connsiteX24" fmla="*/ 280988 w 764382"/>
              <a:gd name="connsiteY24" fmla="*/ 1054894 h 1088232"/>
              <a:gd name="connsiteX25" fmla="*/ 307182 w 764382"/>
              <a:gd name="connsiteY25" fmla="*/ 1081088 h 1088232"/>
              <a:gd name="connsiteX26" fmla="*/ 319088 w 764382"/>
              <a:gd name="connsiteY26" fmla="*/ 1088232 h 1088232"/>
              <a:gd name="connsiteX27" fmla="*/ 347663 w 764382"/>
              <a:gd name="connsiteY27" fmla="*/ 1076325 h 1088232"/>
              <a:gd name="connsiteX28" fmla="*/ 357188 w 764382"/>
              <a:gd name="connsiteY28" fmla="*/ 1050132 h 1088232"/>
              <a:gd name="connsiteX29" fmla="*/ 392907 w 764382"/>
              <a:gd name="connsiteY29" fmla="*/ 1033463 h 1088232"/>
              <a:gd name="connsiteX30" fmla="*/ 414338 w 764382"/>
              <a:gd name="connsiteY30" fmla="*/ 1033463 h 1088232"/>
              <a:gd name="connsiteX31" fmla="*/ 438150 w 764382"/>
              <a:gd name="connsiteY31" fmla="*/ 1045369 h 1088232"/>
              <a:gd name="connsiteX32" fmla="*/ 461963 w 764382"/>
              <a:gd name="connsiteY32" fmla="*/ 1073944 h 1088232"/>
              <a:gd name="connsiteX33" fmla="*/ 461963 w 764382"/>
              <a:gd name="connsiteY33" fmla="*/ 1073944 h 1088232"/>
              <a:gd name="connsiteX34" fmla="*/ 511969 w 764382"/>
              <a:gd name="connsiteY34" fmla="*/ 1033463 h 1088232"/>
              <a:gd name="connsiteX35" fmla="*/ 547688 w 764382"/>
              <a:gd name="connsiteY35" fmla="*/ 1033463 h 1088232"/>
              <a:gd name="connsiteX36" fmla="*/ 585788 w 764382"/>
              <a:gd name="connsiteY36" fmla="*/ 1012032 h 1088232"/>
              <a:gd name="connsiteX37" fmla="*/ 583407 w 764382"/>
              <a:gd name="connsiteY37" fmla="*/ 964407 h 1088232"/>
              <a:gd name="connsiteX38" fmla="*/ 578644 w 764382"/>
              <a:gd name="connsiteY38" fmla="*/ 947738 h 1088232"/>
              <a:gd name="connsiteX39" fmla="*/ 583407 w 764382"/>
              <a:gd name="connsiteY39" fmla="*/ 902494 h 1088232"/>
              <a:gd name="connsiteX40" fmla="*/ 581025 w 764382"/>
              <a:gd name="connsiteY40" fmla="*/ 842963 h 1088232"/>
              <a:gd name="connsiteX41" fmla="*/ 573882 w 764382"/>
              <a:gd name="connsiteY41" fmla="*/ 812007 h 1088232"/>
              <a:gd name="connsiteX42" fmla="*/ 542925 w 764382"/>
              <a:gd name="connsiteY42" fmla="*/ 778669 h 1088232"/>
              <a:gd name="connsiteX43" fmla="*/ 526257 w 764382"/>
              <a:gd name="connsiteY43" fmla="*/ 762000 h 1088232"/>
              <a:gd name="connsiteX44" fmla="*/ 531019 w 764382"/>
              <a:gd name="connsiteY44" fmla="*/ 742950 h 1088232"/>
              <a:gd name="connsiteX45" fmla="*/ 526257 w 764382"/>
              <a:gd name="connsiteY45" fmla="*/ 726282 h 1088232"/>
              <a:gd name="connsiteX46" fmla="*/ 519113 w 764382"/>
              <a:gd name="connsiteY46" fmla="*/ 700088 h 1088232"/>
              <a:gd name="connsiteX47" fmla="*/ 531019 w 764382"/>
              <a:gd name="connsiteY47" fmla="*/ 673894 h 1088232"/>
              <a:gd name="connsiteX48" fmla="*/ 542925 w 764382"/>
              <a:gd name="connsiteY48" fmla="*/ 659607 h 1088232"/>
              <a:gd name="connsiteX49" fmla="*/ 528638 w 764382"/>
              <a:gd name="connsiteY49" fmla="*/ 640557 h 1088232"/>
              <a:gd name="connsiteX50" fmla="*/ 519113 w 764382"/>
              <a:gd name="connsiteY50" fmla="*/ 616744 h 1088232"/>
              <a:gd name="connsiteX51" fmla="*/ 502444 w 764382"/>
              <a:gd name="connsiteY51" fmla="*/ 611982 h 1088232"/>
              <a:gd name="connsiteX52" fmla="*/ 488157 w 764382"/>
              <a:gd name="connsiteY52" fmla="*/ 604838 h 1088232"/>
              <a:gd name="connsiteX53" fmla="*/ 481013 w 764382"/>
              <a:gd name="connsiteY53" fmla="*/ 607219 h 1088232"/>
              <a:gd name="connsiteX54" fmla="*/ 464344 w 764382"/>
              <a:gd name="connsiteY54" fmla="*/ 557213 h 1088232"/>
              <a:gd name="connsiteX55" fmla="*/ 450057 w 764382"/>
              <a:gd name="connsiteY55" fmla="*/ 540544 h 1088232"/>
              <a:gd name="connsiteX56" fmla="*/ 445294 w 764382"/>
              <a:gd name="connsiteY56" fmla="*/ 492919 h 1088232"/>
              <a:gd name="connsiteX57" fmla="*/ 464344 w 764382"/>
              <a:gd name="connsiteY57" fmla="*/ 473869 h 1088232"/>
              <a:gd name="connsiteX58" fmla="*/ 476250 w 764382"/>
              <a:gd name="connsiteY58" fmla="*/ 438150 h 1088232"/>
              <a:gd name="connsiteX59" fmla="*/ 528638 w 764382"/>
              <a:gd name="connsiteY59" fmla="*/ 428625 h 1088232"/>
              <a:gd name="connsiteX60" fmla="*/ 557213 w 764382"/>
              <a:gd name="connsiteY60" fmla="*/ 426244 h 1088232"/>
              <a:gd name="connsiteX61" fmla="*/ 559594 w 764382"/>
              <a:gd name="connsiteY61" fmla="*/ 395288 h 1088232"/>
              <a:gd name="connsiteX62" fmla="*/ 540544 w 764382"/>
              <a:gd name="connsiteY62" fmla="*/ 364332 h 1088232"/>
              <a:gd name="connsiteX63" fmla="*/ 521494 w 764382"/>
              <a:gd name="connsiteY63" fmla="*/ 364332 h 1088232"/>
              <a:gd name="connsiteX64" fmla="*/ 497682 w 764382"/>
              <a:gd name="connsiteY64" fmla="*/ 335757 h 1088232"/>
              <a:gd name="connsiteX65" fmla="*/ 461963 w 764382"/>
              <a:gd name="connsiteY65" fmla="*/ 323850 h 1088232"/>
              <a:gd name="connsiteX66" fmla="*/ 433388 w 764382"/>
              <a:gd name="connsiteY66" fmla="*/ 319088 h 1088232"/>
              <a:gd name="connsiteX67" fmla="*/ 445294 w 764382"/>
              <a:gd name="connsiteY67" fmla="*/ 278607 h 1088232"/>
              <a:gd name="connsiteX68" fmla="*/ 442913 w 764382"/>
              <a:gd name="connsiteY68" fmla="*/ 250032 h 1088232"/>
              <a:gd name="connsiteX69" fmla="*/ 457200 w 764382"/>
              <a:gd name="connsiteY69" fmla="*/ 202407 h 1088232"/>
              <a:gd name="connsiteX70" fmla="*/ 500063 w 764382"/>
              <a:gd name="connsiteY70" fmla="*/ 200025 h 1088232"/>
              <a:gd name="connsiteX71" fmla="*/ 531019 w 764382"/>
              <a:gd name="connsiteY71" fmla="*/ 216694 h 1088232"/>
              <a:gd name="connsiteX72" fmla="*/ 578644 w 764382"/>
              <a:gd name="connsiteY72" fmla="*/ 233363 h 1088232"/>
              <a:gd name="connsiteX73" fmla="*/ 604838 w 764382"/>
              <a:gd name="connsiteY73" fmla="*/ 252413 h 1088232"/>
              <a:gd name="connsiteX74" fmla="*/ 614363 w 764382"/>
              <a:gd name="connsiteY74" fmla="*/ 271463 h 1088232"/>
              <a:gd name="connsiteX75" fmla="*/ 626269 w 764382"/>
              <a:gd name="connsiteY75" fmla="*/ 280988 h 1088232"/>
              <a:gd name="connsiteX76" fmla="*/ 650082 w 764382"/>
              <a:gd name="connsiteY76" fmla="*/ 271463 h 1088232"/>
              <a:gd name="connsiteX77" fmla="*/ 671513 w 764382"/>
              <a:gd name="connsiteY77" fmla="*/ 259557 h 1088232"/>
              <a:gd name="connsiteX78" fmla="*/ 683419 w 764382"/>
              <a:gd name="connsiteY78" fmla="*/ 230982 h 1088232"/>
              <a:gd name="connsiteX79" fmla="*/ 697707 w 764382"/>
              <a:gd name="connsiteY79" fmla="*/ 204788 h 1088232"/>
              <a:gd name="connsiteX80" fmla="*/ 716757 w 764382"/>
              <a:gd name="connsiteY80" fmla="*/ 166688 h 1088232"/>
              <a:gd name="connsiteX81" fmla="*/ 719138 w 764382"/>
              <a:gd name="connsiteY81" fmla="*/ 150019 h 1088232"/>
              <a:gd name="connsiteX82" fmla="*/ 750094 w 764382"/>
              <a:gd name="connsiteY82" fmla="*/ 140494 h 1088232"/>
              <a:gd name="connsiteX83" fmla="*/ 764382 w 764382"/>
              <a:gd name="connsiteY83" fmla="*/ 119063 h 1088232"/>
              <a:gd name="connsiteX84" fmla="*/ 759619 w 764382"/>
              <a:gd name="connsiteY84" fmla="*/ 102394 h 1088232"/>
              <a:gd name="connsiteX85" fmla="*/ 728663 w 764382"/>
              <a:gd name="connsiteY85" fmla="*/ 100013 h 1088232"/>
              <a:gd name="connsiteX86" fmla="*/ 704850 w 764382"/>
              <a:gd name="connsiteY86" fmla="*/ 107157 h 1088232"/>
              <a:gd name="connsiteX87" fmla="*/ 695325 w 764382"/>
              <a:gd name="connsiteY87" fmla="*/ 126207 h 1088232"/>
              <a:gd name="connsiteX88" fmla="*/ 661988 w 764382"/>
              <a:gd name="connsiteY88" fmla="*/ 121444 h 1088232"/>
              <a:gd name="connsiteX89" fmla="*/ 633413 w 764382"/>
              <a:gd name="connsiteY89" fmla="*/ 114300 h 1088232"/>
              <a:gd name="connsiteX90" fmla="*/ 602457 w 764382"/>
              <a:gd name="connsiteY90" fmla="*/ 102394 h 1088232"/>
              <a:gd name="connsiteX91" fmla="*/ 581025 w 764382"/>
              <a:gd name="connsiteY91" fmla="*/ 83344 h 1088232"/>
              <a:gd name="connsiteX92" fmla="*/ 569119 w 764382"/>
              <a:gd name="connsiteY92" fmla="*/ 50007 h 1088232"/>
              <a:gd name="connsiteX93" fmla="*/ 559594 w 764382"/>
              <a:gd name="connsiteY93" fmla="*/ 16669 h 1088232"/>
              <a:gd name="connsiteX94" fmla="*/ 550069 w 764382"/>
              <a:gd name="connsiteY94" fmla="*/ 0 h 1088232"/>
              <a:gd name="connsiteX95" fmla="*/ 535782 w 764382"/>
              <a:gd name="connsiteY95" fmla="*/ 9525 h 1088232"/>
              <a:gd name="connsiteX96" fmla="*/ 481013 w 764382"/>
              <a:gd name="connsiteY96" fmla="*/ 83344 h 1088232"/>
              <a:gd name="connsiteX97" fmla="*/ 433388 w 764382"/>
              <a:gd name="connsiteY97" fmla="*/ 80963 h 1088232"/>
              <a:gd name="connsiteX98" fmla="*/ 414338 w 764382"/>
              <a:gd name="connsiteY98" fmla="*/ 71438 h 1088232"/>
              <a:gd name="connsiteX99" fmla="*/ 404813 w 764382"/>
              <a:gd name="connsiteY99" fmla="*/ 61913 h 1088232"/>
              <a:gd name="connsiteX100" fmla="*/ 411957 w 764382"/>
              <a:gd name="connsiteY100" fmla="*/ 107157 h 1088232"/>
              <a:gd name="connsiteX101" fmla="*/ 421482 w 764382"/>
              <a:gd name="connsiteY101" fmla="*/ 130969 h 1088232"/>
              <a:gd name="connsiteX102" fmla="*/ 421482 w 764382"/>
              <a:gd name="connsiteY102" fmla="*/ 159544 h 1088232"/>
              <a:gd name="connsiteX103" fmla="*/ 411957 w 764382"/>
              <a:gd name="connsiteY103" fmla="*/ 180975 h 1088232"/>
              <a:gd name="connsiteX104" fmla="*/ 383382 w 764382"/>
              <a:gd name="connsiteY104" fmla="*/ 192882 h 1088232"/>
              <a:gd name="connsiteX105" fmla="*/ 388144 w 764382"/>
              <a:gd name="connsiteY105" fmla="*/ 221457 h 1088232"/>
              <a:gd name="connsiteX106" fmla="*/ 385763 w 764382"/>
              <a:gd name="connsiteY106" fmla="*/ 238125 h 1088232"/>
              <a:gd name="connsiteX107" fmla="*/ 376238 w 764382"/>
              <a:gd name="connsiteY107" fmla="*/ 254794 h 1088232"/>
              <a:gd name="connsiteX108" fmla="*/ 350044 w 764382"/>
              <a:gd name="connsiteY108" fmla="*/ 264319 h 1088232"/>
              <a:gd name="connsiteX109" fmla="*/ 347663 w 764382"/>
              <a:gd name="connsiteY109" fmla="*/ 292894 h 1088232"/>
              <a:gd name="connsiteX110" fmla="*/ 347663 w 764382"/>
              <a:gd name="connsiteY110" fmla="*/ 292894 h 1088232"/>
              <a:gd name="connsiteX111" fmla="*/ 385763 w 764382"/>
              <a:gd name="connsiteY111" fmla="*/ 314325 h 1088232"/>
              <a:gd name="connsiteX112" fmla="*/ 385763 w 764382"/>
              <a:gd name="connsiteY112" fmla="*/ 359569 h 1088232"/>
              <a:gd name="connsiteX113" fmla="*/ 319088 w 764382"/>
              <a:gd name="connsiteY113" fmla="*/ 392907 h 1088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764382" h="1088232">
                <a:moveTo>
                  <a:pt x="319088" y="392907"/>
                </a:moveTo>
                <a:lnTo>
                  <a:pt x="350044" y="466725"/>
                </a:lnTo>
                <a:lnTo>
                  <a:pt x="340519" y="509588"/>
                </a:lnTo>
                <a:lnTo>
                  <a:pt x="333375" y="559594"/>
                </a:lnTo>
                <a:lnTo>
                  <a:pt x="247650" y="633413"/>
                </a:lnTo>
                <a:lnTo>
                  <a:pt x="238125" y="690563"/>
                </a:lnTo>
                <a:lnTo>
                  <a:pt x="135732" y="711994"/>
                </a:lnTo>
                <a:lnTo>
                  <a:pt x="116682" y="738188"/>
                </a:lnTo>
                <a:lnTo>
                  <a:pt x="30957" y="707232"/>
                </a:lnTo>
                <a:lnTo>
                  <a:pt x="16669" y="707232"/>
                </a:lnTo>
                <a:lnTo>
                  <a:pt x="7144" y="735807"/>
                </a:lnTo>
                <a:lnTo>
                  <a:pt x="0" y="752475"/>
                </a:lnTo>
                <a:lnTo>
                  <a:pt x="26194" y="781050"/>
                </a:lnTo>
                <a:lnTo>
                  <a:pt x="45244" y="778669"/>
                </a:lnTo>
                <a:lnTo>
                  <a:pt x="52388" y="819150"/>
                </a:lnTo>
                <a:lnTo>
                  <a:pt x="66675" y="840582"/>
                </a:lnTo>
                <a:lnTo>
                  <a:pt x="92869" y="831057"/>
                </a:lnTo>
                <a:lnTo>
                  <a:pt x="109538" y="819150"/>
                </a:lnTo>
                <a:lnTo>
                  <a:pt x="133350" y="819150"/>
                </a:lnTo>
                <a:lnTo>
                  <a:pt x="142875" y="912019"/>
                </a:lnTo>
                <a:lnTo>
                  <a:pt x="171450" y="933450"/>
                </a:lnTo>
                <a:lnTo>
                  <a:pt x="180975" y="966788"/>
                </a:lnTo>
                <a:lnTo>
                  <a:pt x="221457" y="992982"/>
                </a:lnTo>
                <a:lnTo>
                  <a:pt x="254794" y="1035844"/>
                </a:lnTo>
                <a:lnTo>
                  <a:pt x="280988" y="1054894"/>
                </a:lnTo>
                <a:lnTo>
                  <a:pt x="307182" y="1081088"/>
                </a:lnTo>
                <a:lnTo>
                  <a:pt x="319088" y="1088232"/>
                </a:lnTo>
                <a:lnTo>
                  <a:pt x="347663" y="1076325"/>
                </a:lnTo>
                <a:lnTo>
                  <a:pt x="357188" y="1050132"/>
                </a:lnTo>
                <a:lnTo>
                  <a:pt x="392907" y="1033463"/>
                </a:lnTo>
                <a:lnTo>
                  <a:pt x="414338" y="1033463"/>
                </a:lnTo>
                <a:lnTo>
                  <a:pt x="438150" y="1045369"/>
                </a:lnTo>
                <a:lnTo>
                  <a:pt x="461963" y="1073944"/>
                </a:lnTo>
                <a:lnTo>
                  <a:pt x="461963" y="1073944"/>
                </a:lnTo>
                <a:lnTo>
                  <a:pt x="511969" y="1033463"/>
                </a:lnTo>
                <a:lnTo>
                  <a:pt x="547688" y="1033463"/>
                </a:lnTo>
                <a:lnTo>
                  <a:pt x="585788" y="1012032"/>
                </a:lnTo>
                <a:lnTo>
                  <a:pt x="583407" y="964407"/>
                </a:lnTo>
                <a:lnTo>
                  <a:pt x="578644" y="947738"/>
                </a:lnTo>
                <a:lnTo>
                  <a:pt x="583407" y="902494"/>
                </a:lnTo>
                <a:lnTo>
                  <a:pt x="581025" y="842963"/>
                </a:lnTo>
                <a:lnTo>
                  <a:pt x="573882" y="812007"/>
                </a:lnTo>
                <a:lnTo>
                  <a:pt x="542925" y="778669"/>
                </a:lnTo>
                <a:lnTo>
                  <a:pt x="526257" y="762000"/>
                </a:lnTo>
                <a:lnTo>
                  <a:pt x="531019" y="742950"/>
                </a:lnTo>
                <a:lnTo>
                  <a:pt x="526257" y="726282"/>
                </a:lnTo>
                <a:lnTo>
                  <a:pt x="519113" y="700088"/>
                </a:lnTo>
                <a:lnTo>
                  <a:pt x="531019" y="673894"/>
                </a:lnTo>
                <a:lnTo>
                  <a:pt x="542925" y="659607"/>
                </a:lnTo>
                <a:lnTo>
                  <a:pt x="528638" y="640557"/>
                </a:lnTo>
                <a:lnTo>
                  <a:pt x="519113" y="616744"/>
                </a:lnTo>
                <a:lnTo>
                  <a:pt x="502444" y="611982"/>
                </a:lnTo>
                <a:lnTo>
                  <a:pt x="488157" y="604838"/>
                </a:lnTo>
                <a:lnTo>
                  <a:pt x="481013" y="607219"/>
                </a:lnTo>
                <a:lnTo>
                  <a:pt x="464344" y="557213"/>
                </a:lnTo>
                <a:lnTo>
                  <a:pt x="450057" y="540544"/>
                </a:lnTo>
                <a:lnTo>
                  <a:pt x="445294" y="492919"/>
                </a:lnTo>
                <a:lnTo>
                  <a:pt x="464344" y="473869"/>
                </a:lnTo>
                <a:lnTo>
                  <a:pt x="476250" y="438150"/>
                </a:lnTo>
                <a:lnTo>
                  <a:pt x="528638" y="428625"/>
                </a:lnTo>
                <a:lnTo>
                  <a:pt x="557213" y="426244"/>
                </a:lnTo>
                <a:lnTo>
                  <a:pt x="559594" y="395288"/>
                </a:lnTo>
                <a:lnTo>
                  <a:pt x="540544" y="364332"/>
                </a:lnTo>
                <a:lnTo>
                  <a:pt x="521494" y="364332"/>
                </a:lnTo>
                <a:lnTo>
                  <a:pt x="497682" y="335757"/>
                </a:lnTo>
                <a:lnTo>
                  <a:pt x="461963" y="323850"/>
                </a:lnTo>
                <a:lnTo>
                  <a:pt x="433388" y="319088"/>
                </a:lnTo>
                <a:lnTo>
                  <a:pt x="445294" y="278607"/>
                </a:lnTo>
                <a:lnTo>
                  <a:pt x="442913" y="250032"/>
                </a:lnTo>
                <a:lnTo>
                  <a:pt x="457200" y="202407"/>
                </a:lnTo>
                <a:lnTo>
                  <a:pt x="500063" y="200025"/>
                </a:lnTo>
                <a:lnTo>
                  <a:pt x="531019" y="216694"/>
                </a:lnTo>
                <a:lnTo>
                  <a:pt x="578644" y="233363"/>
                </a:lnTo>
                <a:lnTo>
                  <a:pt x="604838" y="252413"/>
                </a:lnTo>
                <a:lnTo>
                  <a:pt x="614363" y="271463"/>
                </a:lnTo>
                <a:lnTo>
                  <a:pt x="626269" y="280988"/>
                </a:lnTo>
                <a:lnTo>
                  <a:pt x="650082" y="271463"/>
                </a:lnTo>
                <a:lnTo>
                  <a:pt x="671513" y="259557"/>
                </a:lnTo>
                <a:lnTo>
                  <a:pt x="683419" y="230982"/>
                </a:lnTo>
                <a:lnTo>
                  <a:pt x="697707" y="204788"/>
                </a:lnTo>
                <a:lnTo>
                  <a:pt x="716757" y="166688"/>
                </a:lnTo>
                <a:lnTo>
                  <a:pt x="719138" y="150019"/>
                </a:lnTo>
                <a:lnTo>
                  <a:pt x="750094" y="140494"/>
                </a:lnTo>
                <a:lnTo>
                  <a:pt x="764382" y="119063"/>
                </a:lnTo>
                <a:lnTo>
                  <a:pt x="759619" y="102394"/>
                </a:lnTo>
                <a:lnTo>
                  <a:pt x="728663" y="100013"/>
                </a:lnTo>
                <a:lnTo>
                  <a:pt x="704850" y="107157"/>
                </a:lnTo>
                <a:lnTo>
                  <a:pt x="695325" y="126207"/>
                </a:lnTo>
                <a:lnTo>
                  <a:pt x="661988" y="121444"/>
                </a:lnTo>
                <a:lnTo>
                  <a:pt x="633413" y="114300"/>
                </a:lnTo>
                <a:lnTo>
                  <a:pt x="602457" y="102394"/>
                </a:lnTo>
                <a:lnTo>
                  <a:pt x="581025" y="83344"/>
                </a:lnTo>
                <a:lnTo>
                  <a:pt x="569119" y="50007"/>
                </a:lnTo>
                <a:lnTo>
                  <a:pt x="559594" y="16669"/>
                </a:lnTo>
                <a:lnTo>
                  <a:pt x="550069" y="0"/>
                </a:lnTo>
                <a:lnTo>
                  <a:pt x="535782" y="9525"/>
                </a:lnTo>
                <a:lnTo>
                  <a:pt x="481013" y="83344"/>
                </a:lnTo>
                <a:lnTo>
                  <a:pt x="433388" y="80963"/>
                </a:lnTo>
                <a:lnTo>
                  <a:pt x="414338" y="71438"/>
                </a:lnTo>
                <a:lnTo>
                  <a:pt x="404813" y="61913"/>
                </a:lnTo>
                <a:lnTo>
                  <a:pt x="411957" y="107157"/>
                </a:lnTo>
                <a:lnTo>
                  <a:pt x="421482" y="130969"/>
                </a:lnTo>
                <a:lnTo>
                  <a:pt x="421482" y="159544"/>
                </a:lnTo>
                <a:lnTo>
                  <a:pt x="411957" y="180975"/>
                </a:lnTo>
                <a:lnTo>
                  <a:pt x="383382" y="192882"/>
                </a:lnTo>
                <a:lnTo>
                  <a:pt x="388144" y="221457"/>
                </a:lnTo>
                <a:lnTo>
                  <a:pt x="385763" y="238125"/>
                </a:lnTo>
                <a:lnTo>
                  <a:pt x="376238" y="254794"/>
                </a:lnTo>
                <a:lnTo>
                  <a:pt x="350044" y="264319"/>
                </a:lnTo>
                <a:lnTo>
                  <a:pt x="347663" y="292894"/>
                </a:lnTo>
                <a:lnTo>
                  <a:pt x="347663" y="292894"/>
                </a:lnTo>
                <a:lnTo>
                  <a:pt x="385763" y="314325"/>
                </a:lnTo>
                <a:lnTo>
                  <a:pt x="385763" y="359569"/>
                </a:lnTo>
                <a:lnTo>
                  <a:pt x="319088" y="392907"/>
                </a:lnTo>
                <a:close/>
              </a:path>
            </a:pathLst>
          </a:custGeom>
          <a:solidFill>
            <a:srgbClr val="00CC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838201" y="2912533"/>
            <a:ext cx="973138" cy="863600"/>
          </a:xfrm>
          <a:custGeom>
            <a:avLst/>
            <a:gdLst>
              <a:gd name="connsiteX0" fmla="*/ 461963 w 973932"/>
              <a:gd name="connsiteY0" fmla="*/ 0 h 864394"/>
              <a:gd name="connsiteX1" fmla="*/ 454819 w 973932"/>
              <a:gd name="connsiteY1" fmla="*/ 71438 h 864394"/>
              <a:gd name="connsiteX2" fmla="*/ 411957 w 973932"/>
              <a:gd name="connsiteY2" fmla="*/ 78582 h 864394"/>
              <a:gd name="connsiteX3" fmla="*/ 395288 w 973932"/>
              <a:gd name="connsiteY3" fmla="*/ 66675 h 864394"/>
              <a:gd name="connsiteX4" fmla="*/ 359569 w 973932"/>
              <a:gd name="connsiteY4" fmla="*/ 64294 h 864394"/>
              <a:gd name="connsiteX5" fmla="*/ 333375 w 973932"/>
              <a:gd name="connsiteY5" fmla="*/ 64294 h 864394"/>
              <a:gd name="connsiteX6" fmla="*/ 304800 w 973932"/>
              <a:gd name="connsiteY6" fmla="*/ 76200 h 864394"/>
              <a:gd name="connsiteX7" fmla="*/ 271463 w 973932"/>
              <a:gd name="connsiteY7" fmla="*/ 100013 h 864394"/>
              <a:gd name="connsiteX8" fmla="*/ 214313 w 973932"/>
              <a:gd name="connsiteY8" fmla="*/ 59532 h 864394"/>
              <a:gd name="connsiteX9" fmla="*/ 142875 w 973932"/>
              <a:gd name="connsiteY9" fmla="*/ 61913 h 864394"/>
              <a:gd name="connsiteX10" fmla="*/ 92869 w 973932"/>
              <a:gd name="connsiteY10" fmla="*/ 50007 h 864394"/>
              <a:gd name="connsiteX11" fmla="*/ 33338 w 973932"/>
              <a:gd name="connsiteY11" fmla="*/ 97632 h 864394"/>
              <a:gd name="connsiteX12" fmla="*/ 4763 w 973932"/>
              <a:gd name="connsiteY12" fmla="*/ 121444 h 864394"/>
              <a:gd name="connsiteX13" fmla="*/ 0 w 973932"/>
              <a:gd name="connsiteY13" fmla="*/ 147638 h 864394"/>
              <a:gd name="connsiteX14" fmla="*/ 47625 w 973932"/>
              <a:gd name="connsiteY14" fmla="*/ 200025 h 864394"/>
              <a:gd name="connsiteX15" fmla="*/ 66675 w 973932"/>
              <a:gd name="connsiteY15" fmla="*/ 271463 h 864394"/>
              <a:gd name="connsiteX16" fmla="*/ 102394 w 973932"/>
              <a:gd name="connsiteY16" fmla="*/ 300038 h 864394"/>
              <a:gd name="connsiteX17" fmla="*/ 130969 w 973932"/>
              <a:gd name="connsiteY17" fmla="*/ 319088 h 864394"/>
              <a:gd name="connsiteX18" fmla="*/ 166688 w 973932"/>
              <a:gd name="connsiteY18" fmla="*/ 333375 h 864394"/>
              <a:gd name="connsiteX19" fmla="*/ 192882 w 973932"/>
              <a:gd name="connsiteY19" fmla="*/ 338138 h 864394"/>
              <a:gd name="connsiteX20" fmla="*/ 228600 w 973932"/>
              <a:gd name="connsiteY20" fmla="*/ 326232 h 864394"/>
              <a:gd name="connsiteX21" fmla="*/ 252413 w 973932"/>
              <a:gd name="connsiteY21" fmla="*/ 316707 h 864394"/>
              <a:gd name="connsiteX22" fmla="*/ 271463 w 973932"/>
              <a:gd name="connsiteY22" fmla="*/ 304800 h 864394"/>
              <a:gd name="connsiteX23" fmla="*/ 300038 w 973932"/>
              <a:gd name="connsiteY23" fmla="*/ 288132 h 864394"/>
              <a:gd name="connsiteX24" fmla="*/ 321469 w 973932"/>
              <a:gd name="connsiteY24" fmla="*/ 309563 h 864394"/>
              <a:gd name="connsiteX25" fmla="*/ 319088 w 973932"/>
              <a:gd name="connsiteY25" fmla="*/ 342900 h 864394"/>
              <a:gd name="connsiteX26" fmla="*/ 300038 w 973932"/>
              <a:gd name="connsiteY26" fmla="*/ 381000 h 864394"/>
              <a:gd name="connsiteX27" fmla="*/ 271463 w 973932"/>
              <a:gd name="connsiteY27" fmla="*/ 411957 h 864394"/>
              <a:gd name="connsiteX28" fmla="*/ 238125 w 973932"/>
              <a:gd name="connsiteY28" fmla="*/ 423863 h 864394"/>
              <a:gd name="connsiteX29" fmla="*/ 211932 w 973932"/>
              <a:gd name="connsiteY29" fmla="*/ 431007 h 864394"/>
              <a:gd name="connsiteX30" fmla="*/ 161925 w 973932"/>
              <a:gd name="connsiteY30" fmla="*/ 433388 h 864394"/>
              <a:gd name="connsiteX31" fmla="*/ 123825 w 973932"/>
              <a:gd name="connsiteY31" fmla="*/ 416719 h 864394"/>
              <a:gd name="connsiteX32" fmla="*/ 123825 w 973932"/>
              <a:gd name="connsiteY32" fmla="*/ 395288 h 864394"/>
              <a:gd name="connsiteX33" fmla="*/ 107157 w 973932"/>
              <a:gd name="connsiteY33" fmla="*/ 376238 h 864394"/>
              <a:gd name="connsiteX34" fmla="*/ 107157 w 973932"/>
              <a:gd name="connsiteY34" fmla="*/ 376238 h 864394"/>
              <a:gd name="connsiteX35" fmla="*/ 78582 w 973932"/>
              <a:gd name="connsiteY35" fmla="*/ 416719 h 864394"/>
              <a:gd name="connsiteX36" fmla="*/ 66675 w 973932"/>
              <a:gd name="connsiteY36" fmla="*/ 461963 h 864394"/>
              <a:gd name="connsiteX37" fmla="*/ 88107 w 973932"/>
              <a:gd name="connsiteY37" fmla="*/ 481013 h 864394"/>
              <a:gd name="connsiteX38" fmla="*/ 109538 w 973932"/>
              <a:gd name="connsiteY38" fmla="*/ 511969 h 864394"/>
              <a:gd name="connsiteX39" fmla="*/ 140494 w 973932"/>
              <a:gd name="connsiteY39" fmla="*/ 533400 h 864394"/>
              <a:gd name="connsiteX40" fmla="*/ 145257 w 973932"/>
              <a:gd name="connsiteY40" fmla="*/ 557213 h 864394"/>
              <a:gd name="connsiteX41" fmla="*/ 152400 w 973932"/>
              <a:gd name="connsiteY41" fmla="*/ 566738 h 864394"/>
              <a:gd name="connsiteX42" fmla="*/ 180975 w 973932"/>
              <a:gd name="connsiteY42" fmla="*/ 595313 h 864394"/>
              <a:gd name="connsiteX43" fmla="*/ 188119 w 973932"/>
              <a:gd name="connsiteY43" fmla="*/ 661988 h 864394"/>
              <a:gd name="connsiteX44" fmla="*/ 209550 w 973932"/>
              <a:gd name="connsiteY44" fmla="*/ 681038 h 864394"/>
              <a:gd name="connsiteX45" fmla="*/ 233363 w 973932"/>
              <a:gd name="connsiteY45" fmla="*/ 688182 h 864394"/>
              <a:gd name="connsiteX46" fmla="*/ 252413 w 973932"/>
              <a:gd name="connsiteY46" fmla="*/ 702469 h 864394"/>
              <a:gd name="connsiteX47" fmla="*/ 278607 w 973932"/>
              <a:gd name="connsiteY47" fmla="*/ 721519 h 864394"/>
              <a:gd name="connsiteX48" fmla="*/ 307182 w 973932"/>
              <a:gd name="connsiteY48" fmla="*/ 766763 h 864394"/>
              <a:gd name="connsiteX49" fmla="*/ 340519 w 973932"/>
              <a:gd name="connsiteY49" fmla="*/ 773907 h 864394"/>
              <a:gd name="connsiteX50" fmla="*/ 359569 w 973932"/>
              <a:gd name="connsiteY50" fmla="*/ 759619 h 864394"/>
              <a:gd name="connsiteX51" fmla="*/ 357188 w 973932"/>
              <a:gd name="connsiteY51" fmla="*/ 738188 h 864394"/>
              <a:gd name="connsiteX52" fmla="*/ 364332 w 973932"/>
              <a:gd name="connsiteY52" fmla="*/ 716757 h 864394"/>
              <a:gd name="connsiteX53" fmla="*/ 383382 w 973932"/>
              <a:gd name="connsiteY53" fmla="*/ 711994 h 864394"/>
              <a:gd name="connsiteX54" fmla="*/ 404813 w 973932"/>
              <a:gd name="connsiteY54" fmla="*/ 721519 h 864394"/>
              <a:gd name="connsiteX55" fmla="*/ 431007 w 973932"/>
              <a:gd name="connsiteY55" fmla="*/ 733425 h 864394"/>
              <a:gd name="connsiteX56" fmla="*/ 454819 w 973932"/>
              <a:gd name="connsiteY56" fmla="*/ 740569 h 864394"/>
              <a:gd name="connsiteX57" fmla="*/ 476250 w 973932"/>
              <a:gd name="connsiteY57" fmla="*/ 728663 h 864394"/>
              <a:gd name="connsiteX58" fmla="*/ 490538 w 973932"/>
              <a:gd name="connsiteY58" fmla="*/ 704850 h 864394"/>
              <a:gd name="connsiteX59" fmla="*/ 523875 w 973932"/>
              <a:gd name="connsiteY59" fmla="*/ 683419 h 864394"/>
              <a:gd name="connsiteX60" fmla="*/ 557213 w 973932"/>
              <a:gd name="connsiteY60" fmla="*/ 685800 h 864394"/>
              <a:gd name="connsiteX61" fmla="*/ 576263 w 973932"/>
              <a:gd name="connsiteY61" fmla="*/ 664369 h 864394"/>
              <a:gd name="connsiteX62" fmla="*/ 585788 w 973932"/>
              <a:gd name="connsiteY62" fmla="*/ 626269 h 864394"/>
              <a:gd name="connsiteX63" fmla="*/ 578644 w 973932"/>
              <a:gd name="connsiteY63" fmla="*/ 585788 h 864394"/>
              <a:gd name="connsiteX64" fmla="*/ 590550 w 973932"/>
              <a:gd name="connsiteY64" fmla="*/ 533400 h 864394"/>
              <a:gd name="connsiteX65" fmla="*/ 590550 w 973932"/>
              <a:gd name="connsiteY65" fmla="*/ 490538 h 864394"/>
              <a:gd name="connsiteX66" fmla="*/ 621507 w 973932"/>
              <a:gd name="connsiteY66" fmla="*/ 473869 h 864394"/>
              <a:gd name="connsiteX67" fmla="*/ 650082 w 973932"/>
              <a:gd name="connsiteY67" fmla="*/ 492919 h 864394"/>
              <a:gd name="connsiteX68" fmla="*/ 652463 w 973932"/>
              <a:gd name="connsiteY68" fmla="*/ 523875 h 864394"/>
              <a:gd name="connsiteX69" fmla="*/ 645319 w 973932"/>
              <a:gd name="connsiteY69" fmla="*/ 550069 h 864394"/>
              <a:gd name="connsiteX70" fmla="*/ 645319 w 973932"/>
              <a:gd name="connsiteY70" fmla="*/ 581025 h 864394"/>
              <a:gd name="connsiteX71" fmla="*/ 666750 w 973932"/>
              <a:gd name="connsiteY71" fmla="*/ 602457 h 864394"/>
              <a:gd name="connsiteX72" fmla="*/ 669132 w 973932"/>
              <a:gd name="connsiteY72" fmla="*/ 654844 h 864394"/>
              <a:gd name="connsiteX73" fmla="*/ 645319 w 973932"/>
              <a:gd name="connsiteY73" fmla="*/ 709613 h 864394"/>
              <a:gd name="connsiteX74" fmla="*/ 642938 w 973932"/>
              <a:gd name="connsiteY74" fmla="*/ 771525 h 864394"/>
              <a:gd name="connsiteX75" fmla="*/ 640557 w 973932"/>
              <a:gd name="connsiteY75" fmla="*/ 795338 h 864394"/>
              <a:gd name="connsiteX76" fmla="*/ 640557 w 973932"/>
              <a:gd name="connsiteY76" fmla="*/ 814388 h 864394"/>
              <a:gd name="connsiteX77" fmla="*/ 621507 w 973932"/>
              <a:gd name="connsiteY77" fmla="*/ 826294 h 864394"/>
              <a:gd name="connsiteX78" fmla="*/ 623888 w 973932"/>
              <a:gd name="connsiteY78" fmla="*/ 845344 h 864394"/>
              <a:gd name="connsiteX79" fmla="*/ 640557 w 973932"/>
              <a:gd name="connsiteY79" fmla="*/ 857250 h 864394"/>
              <a:gd name="connsiteX80" fmla="*/ 659607 w 973932"/>
              <a:gd name="connsiteY80" fmla="*/ 850107 h 864394"/>
              <a:gd name="connsiteX81" fmla="*/ 678657 w 973932"/>
              <a:gd name="connsiteY81" fmla="*/ 857250 h 864394"/>
              <a:gd name="connsiteX82" fmla="*/ 702469 w 973932"/>
              <a:gd name="connsiteY82" fmla="*/ 862013 h 864394"/>
              <a:gd name="connsiteX83" fmla="*/ 726282 w 973932"/>
              <a:gd name="connsiteY83" fmla="*/ 864394 h 864394"/>
              <a:gd name="connsiteX84" fmla="*/ 752475 w 973932"/>
              <a:gd name="connsiteY84" fmla="*/ 852488 h 864394"/>
              <a:gd name="connsiteX85" fmla="*/ 766763 w 973932"/>
              <a:gd name="connsiteY85" fmla="*/ 823913 h 864394"/>
              <a:gd name="connsiteX86" fmla="*/ 773907 w 973932"/>
              <a:gd name="connsiteY86" fmla="*/ 792957 h 864394"/>
              <a:gd name="connsiteX87" fmla="*/ 766763 w 973932"/>
              <a:gd name="connsiteY87" fmla="*/ 769144 h 864394"/>
              <a:gd name="connsiteX88" fmla="*/ 795338 w 973932"/>
              <a:gd name="connsiteY88" fmla="*/ 764382 h 864394"/>
              <a:gd name="connsiteX89" fmla="*/ 831057 w 973932"/>
              <a:gd name="connsiteY89" fmla="*/ 709613 h 864394"/>
              <a:gd name="connsiteX90" fmla="*/ 890588 w 973932"/>
              <a:gd name="connsiteY90" fmla="*/ 688182 h 864394"/>
              <a:gd name="connsiteX91" fmla="*/ 902494 w 973932"/>
              <a:gd name="connsiteY91" fmla="*/ 661988 h 864394"/>
              <a:gd name="connsiteX92" fmla="*/ 902494 w 973932"/>
              <a:gd name="connsiteY92" fmla="*/ 661988 h 864394"/>
              <a:gd name="connsiteX93" fmla="*/ 864394 w 973932"/>
              <a:gd name="connsiteY93" fmla="*/ 645319 h 864394"/>
              <a:gd name="connsiteX94" fmla="*/ 845344 w 973932"/>
              <a:gd name="connsiteY94" fmla="*/ 600075 h 864394"/>
              <a:gd name="connsiteX95" fmla="*/ 881063 w 973932"/>
              <a:gd name="connsiteY95" fmla="*/ 581025 h 864394"/>
              <a:gd name="connsiteX96" fmla="*/ 921544 w 973932"/>
              <a:gd name="connsiteY96" fmla="*/ 538163 h 864394"/>
              <a:gd name="connsiteX97" fmla="*/ 912019 w 973932"/>
              <a:gd name="connsiteY97" fmla="*/ 492919 h 864394"/>
              <a:gd name="connsiteX98" fmla="*/ 907257 w 973932"/>
              <a:gd name="connsiteY98" fmla="*/ 466725 h 864394"/>
              <a:gd name="connsiteX99" fmla="*/ 892969 w 973932"/>
              <a:gd name="connsiteY99" fmla="*/ 442913 h 864394"/>
              <a:gd name="connsiteX100" fmla="*/ 907257 w 973932"/>
              <a:gd name="connsiteY100" fmla="*/ 421482 h 864394"/>
              <a:gd name="connsiteX101" fmla="*/ 935832 w 973932"/>
              <a:gd name="connsiteY101" fmla="*/ 411957 h 864394"/>
              <a:gd name="connsiteX102" fmla="*/ 962025 w 973932"/>
              <a:gd name="connsiteY102" fmla="*/ 402432 h 864394"/>
              <a:gd name="connsiteX103" fmla="*/ 973932 w 973932"/>
              <a:gd name="connsiteY103" fmla="*/ 395288 h 864394"/>
              <a:gd name="connsiteX104" fmla="*/ 973932 w 973932"/>
              <a:gd name="connsiteY104" fmla="*/ 361950 h 864394"/>
              <a:gd name="connsiteX105" fmla="*/ 892969 w 973932"/>
              <a:gd name="connsiteY105" fmla="*/ 328613 h 864394"/>
              <a:gd name="connsiteX106" fmla="*/ 854869 w 973932"/>
              <a:gd name="connsiteY106" fmla="*/ 257175 h 864394"/>
              <a:gd name="connsiteX107" fmla="*/ 840582 w 973932"/>
              <a:gd name="connsiteY107" fmla="*/ 204788 h 864394"/>
              <a:gd name="connsiteX108" fmla="*/ 804863 w 973932"/>
              <a:gd name="connsiteY108" fmla="*/ 190500 h 864394"/>
              <a:gd name="connsiteX109" fmla="*/ 785813 w 973932"/>
              <a:gd name="connsiteY109" fmla="*/ 164307 h 864394"/>
              <a:gd name="connsiteX110" fmla="*/ 769144 w 973932"/>
              <a:gd name="connsiteY110" fmla="*/ 102394 h 864394"/>
              <a:gd name="connsiteX111" fmla="*/ 726282 w 973932"/>
              <a:gd name="connsiteY111" fmla="*/ 76200 h 864394"/>
              <a:gd name="connsiteX112" fmla="*/ 669132 w 973932"/>
              <a:gd name="connsiteY112" fmla="*/ 71438 h 864394"/>
              <a:gd name="connsiteX113" fmla="*/ 650082 w 973932"/>
              <a:gd name="connsiteY113" fmla="*/ 30957 h 864394"/>
              <a:gd name="connsiteX114" fmla="*/ 559594 w 973932"/>
              <a:gd name="connsiteY114" fmla="*/ 4763 h 864394"/>
              <a:gd name="connsiteX115" fmla="*/ 461963 w 973932"/>
              <a:gd name="connsiteY115" fmla="*/ 0 h 864394"/>
              <a:gd name="connsiteX0" fmla="*/ 461963 w 973932"/>
              <a:gd name="connsiteY0" fmla="*/ 0 h 864394"/>
              <a:gd name="connsiteX1" fmla="*/ 454819 w 973932"/>
              <a:gd name="connsiteY1" fmla="*/ 71438 h 864394"/>
              <a:gd name="connsiteX2" fmla="*/ 411957 w 973932"/>
              <a:gd name="connsiteY2" fmla="*/ 78582 h 864394"/>
              <a:gd name="connsiteX3" fmla="*/ 395288 w 973932"/>
              <a:gd name="connsiteY3" fmla="*/ 66675 h 864394"/>
              <a:gd name="connsiteX4" fmla="*/ 359569 w 973932"/>
              <a:gd name="connsiteY4" fmla="*/ 64294 h 864394"/>
              <a:gd name="connsiteX5" fmla="*/ 333375 w 973932"/>
              <a:gd name="connsiteY5" fmla="*/ 64294 h 864394"/>
              <a:gd name="connsiteX6" fmla="*/ 304800 w 973932"/>
              <a:gd name="connsiteY6" fmla="*/ 76200 h 864394"/>
              <a:gd name="connsiteX7" fmla="*/ 271463 w 973932"/>
              <a:gd name="connsiteY7" fmla="*/ 100013 h 864394"/>
              <a:gd name="connsiteX8" fmla="*/ 214313 w 973932"/>
              <a:gd name="connsiteY8" fmla="*/ 59532 h 864394"/>
              <a:gd name="connsiteX9" fmla="*/ 142875 w 973932"/>
              <a:gd name="connsiteY9" fmla="*/ 61913 h 864394"/>
              <a:gd name="connsiteX10" fmla="*/ 92869 w 973932"/>
              <a:gd name="connsiteY10" fmla="*/ 50007 h 864394"/>
              <a:gd name="connsiteX11" fmla="*/ 33338 w 973932"/>
              <a:gd name="connsiteY11" fmla="*/ 97632 h 864394"/>
              <a:gd name="connsiteX12" fmla="*/ 4763 w 973932"/>
              <a:gd name="connsiteY12" fmla="*/ 121444 h 864394"/>
              <a:gd name="connsiteX13" fmla="*/ 0 w 973932"/>
              <a:gd name="connsiteY13" fmla="*/ 147638 h 864394"/>
              <a:gd name="connsiteX14" fmla="*/ 47625 w 973932"/>
              <a:gd name="connsiteY14" fmla="*/ 200025 h 864394"/>
              <a:gd name="connsiteX15" fmla="*/ 66675 w 973932"/>
              <a:gd name="connsiteY15" fmla="*/ 271463 h 864394"/>
              <a:gd name="connsiteX16" fmla="*/ 102394 w 973932"/>
              <a:gd name="connsiteY16" fmla="*/ 300038 h 864394"/>
              <a:gd name="connsiteX17" fmla="*/ 130969 w 973932"/>
              <a:gd name="connsiteY17" fmla="*/ 319088 h 864394"/>
              <a:gd name="connsiteX18" fmla="*/ 166688 w 973932"/>
              <a:gd name="connsiteY18" fmla="*/ 333375 h 864394"/>
              <a:gd name="connsiteX19" fmla="*/ 192882 w 973932"/>
              <a:gd name="connsiteY19" fmla="*/ 338138 h 864394"/>
              <a:gd name="connsiteX20" fmla="*/ 228600 w 973932"/>
              <a:gd name="connsiteY20" fmla="*/ 326232 h 864394"/>
              <a:gd name="connsiteX21" fmla="*/ 252413 w 973932"/>
              <a:gd name="connsiteY21" fmla="*/ 316707 h 864394"/>
              <a:gd name="connsiteX22" fmla="*/ 271463 w 973932"/>
              <a:gd name="connsiteY22" fmla="*/ 304800 h 864394"/>
              <a:gd name="connsiteX23" fmla="*/ 300038 w 973932"/>
              <a:gd name="connsiteY23" fmla="*/ 288132 h 864394"/>
              <a:gd name="connsiteX24" fmla="*/ 321469 w 973932"/>
              <a:gd name="connsiteY24" fmla="*/ 309563 h 864394"/>
              <a:gd name="connsiteX25" fmla="*/ 319088 w 973932"/>
              <a:gd name="connsiteY25" fmla="*/ 342900 h 864394"/>
              <a:gd name="connsiteX26" fmla="*/ 300038 w 973932"/>
              <a:gd name="connsiteY26" fmla="*/ 381000 h 864394"/>
              <a:gd name="connsiteX27" fmla="*/ 271463 w 973932"/>
              <a:gd name="connsiteY27" fmla="*/ 411957 h 864394"/>
              <a:gd name="connsiteX28" fmla="*/ 238125 w 973932"/>
              <a:gd name="connsiteY28" fmla="*/ 423863 h 864394"/>
              <a:gd name="connsiteX29" fmla="*/ 211932 w 973932"/>
              <a:gd name="connsiteY29" fmla="*/ 431007 h 864394"/>
              <a:gd name="connsiteX30" fmla="*/ 161925 w 973932"/>
              <a:gd name="connsiteY30" fmla="*/ 433388 h 864394"/>
              <a:gd name="connsiteX31" fmla="*/ 123825 w 973932"/>
              <a:gd name="connsiteY31" fmla="*/ 416719 h 864394"/>
              <a:gd name="connsiteX32" fmla="*/ 123825 w 973932"/>
              <a:gd name="connsiteY32" fmla="*/ 395288 h 864394"/>
              <a:gd name="connsiteX33" fmla="*/ 107157 w 973932"/>
              <a:gd name="connsiteY33" fmla="*/ 376238 h 864394"/>
              <a:gd name="connsiteX34" fmla="*/ 107157 w 973932"/>
              <a:gd name="connsiteY34" fmla="*/ 376238 h 864394"/>
              <a:gd name="connsiteX35" fmla="*/ 78582 w 973932"/>
              <a:gd name="connsiteY35" fmla="*/ 416719 h 864394"/>
              <a:gd name="connsiteX36" fmla="*/ 66675 w 973932"/>
              <a:gd name="connsiteY36" fmla="*/ 461963 h 864394"/>
              <a:gd name="connsiteX37" fmla="*/ 88107 w 973932"/>
              <a:gd name="connsiteY37" fmla="*/ 481013 h 864394"/>
              <a:gd name="connsiteX38" fmla="*/ 109538 w 973932"/>
              <a:gd name="connsiteY38" fmla="*/ 511969 h 864394"/>
              <a:gd name="connsiteX39" fmla="*/ 140494 w 973932"/>
              <a:gd name="connsiteY39" fmla="*/ 533400 h 864394"/>
              <a:gd name="connsiteX40" fmla="*/ 145257 w 973932"/>
              <a:gd name="connsiteY40" fmla="*/ 557213 h 864394"/>
              <a:gd name="connsiteX41" fmla="*/ 152400 w 973932"/>
              <a:gd name="connsiteY41" fmla="*/ 566738 h 864394"/>
              <a:gd name="connsiteX42" fmla="*/ 180975 w 973932"/>
              <a:gd name="connsiteY42" fmla="*/ 595313 h 864394"/>
              <a:gd name="connsiteX43" fmla="*/ 188119 w 973932"/>
              <a:gd name="connsiteY43" fmla="*/ 661988 h 864394"/>
              <a:gd name="connsiteX44" fmla="*/ 209550 w 973932"/>
              <a:gd name="connsiteY44" fmla="*/ 681038 h 864394"/>
              <a:gd name="connsiteX45" fmla="*/ 233363 w 973932"/>
              <a:gd name="connsiteY45" fmla="*/ 688182 h 864394"/>
              <a:gd name="connsiteX46" fmla="*/ 252413 w 973932"/>
              <a:gd name="connsiteY46" fmla="*/ 702469 h 864394"/>
              <a:gd name="connsiteX47" fmla="*/ 278607 w 973932"/>
              <a:gd name="connsiteY47" fmla="*/ 721519 h 864394"/>
              <a:gd name="connsiteX48" fmla="*/ 307182 w 973932"/>
              <a:gd name="connsiteY48" fmla="*/ 766763 h 864394"/>
              <a:gd name="connsiteX49" fmla="*/ 340519 w 973932"/>
              <a:gd name="connsiteY49" fmla="*/ 773907 h 864394"/>
              <a:gd name="connsiteX50" fmla="*/ 359569 w 973932"/>
              <a:gd name="connsiteY50" fmla="*/ 759619 h 864394"/>
              <a:gd name="connsiteX51" fmla="*/ 357188 w 973932"/>
              <a:gd name="connsiteY51" fmla="*/ 738188 h 864394"/>
              <a:gd name="connsiteX52" fmla="*/ 364332 w 973932"/>
              <a:gd name="connsiteY52" fmla="*/ 716757 h 864394"/>
              <a:gd name="connsiteX53" fmla="*/ 383382 w 973932"/>
              <a:gd name="connsiteY53" fmla="*/ 711994 h 864394"/>
              <a:gd name="connsiteX54" fmla="*/ 404813 w 973932"/>
              <a:gd name="connsiteY54" fmla="*/ 721519 h 864394"/>
              <a:gd name="connsiteX55" fmla="*/ 431007 w 973932"/>
              <a:gd name="connsiteY55" fmla="*/ 733425 h 864394"/>
              <a:gd name="connsiteX56" fmla="*/ 454819 w 973932"/>
              <a:gd name="connsiteY56" fmla="*/ 740569 h 864394"/>
              <a:gd name="connsiteX57" fmla="*/ 476250 w 973932"/>
              <a:gd name="connsiteY57" fmla="*/ 728663 h 864394"/>
              <a:gd name="connsiteX58" fmla="*/ 490538 w 973932"/>
              <a:gd name="connsiteY58" fmla="*/ 704850 h 864394"/>
              <a:gd name="connsiteX59" fmla="*/ 523875 w 973932"/>
              <a:gd name="connsiteY59" fmla="*/ 683419 h 864394"/>
              <a:gd name="connsiteX60" fmla="*/ 557213 w 973932"/>
              <a:gd name="connsiteY60" fmla="*/ 685800 h 864394"/>
              <a:gd name="connsiteX61" fmla="*/ 576263 w 973932"/>
              <a:gd name="connsiteY61" fmla="*/ 664369 h 864394"/>
              <a:gd name="connsiteX62" fmla="*/ 585788 w 973932"/>
              <a:gd name="connsiteY62" fmla="*/ 626269 h 864394"/>
              <a:gd name="connsiteX63" fmla="*/ 578644 w 973932"/>
              <a:gd name="connsiteY63" fmla="*/ 585788 h 864394"/>
              <a:gd name="connsiteX64" fmla="*/ 602457 w 973932"/>
              <a:gd name="connsiteY64" fmla="*/ 535781 h 864394"/>
              <a:gd name="connsiteX65" fmla="*/ 590550 w 973932"/>
              <a:gd name="connsiteY65" fmla="*/ 490538 h 864394"/>
              <a:gd name="connsiteX66" fmla="*/ 621507 w 973932"/>
              <a:gd name="connsiteY66" fmla="*/ 473869 h 864394"/>
              <a:gd name="connsiteX67" fmla="*/ 650082 w 973932"/>
              <a:gd name="connsiteY67" fmla="*/ 492919 h 864394"/>
              <a:gd name="connsiteX68" fmla="*/ 652463 w 973932"/>
              <a:gd name="connsiteY68" fmla="*/ 523875 h 864394"/>
              <a:gd name="connsiteX69" fmla="*/ 645319 w 973932"/>
              <a:gd name="connsiteY69" fmla="*/ 550069 h 864394"/>
              <a:gd name="connsiteX70" fmla="*/ 645319 w 973932"/>
              <a:gd name="connsiteY70" fmla="*/ 581025 h 864394"/>
              <a:gd name="connsiteX71" fmla="*/ 666750 w 973932"/>
              <a:gd name="connsiteY71" fmla="*/ 602457 h 864394"/>
              <a:gd name="connsiteX72" fmla="*/ 669132 w 973932"/>
              <a:gd name="connsiteY72" fmla="*/ 654844 h 864394"/>
              <a:gd name="connsiteX73" fmla="*/ 645319 w 973932"/>
              <a:gd name="connsiteY73" fmla="*/ 709613 h 864394"/>
              <a:gd name="connsiteX74" fmla="*/ 642938 w 973932"/>
              <a:gd name="connsiteY74" fmla="*/ 771525 h 864394"/>
              <a:gd name="connsiteX75" fmla="*/ 640557 w 973932"/>
              <a:gd name="connsiteY75" fmla="*/ 795338 h 864394"/>
              <a:gd name="connsiteX76" fmla="*/ 640557 w 973932"/>
              <a:gd name="connsiteY76" fmla="*/ 814388 h 864394"/>
              <a:gd name="connsiteX77" fmla="*/ 621507 w 973932"/>
              <a:gd name="connsiteY77" fmla="*/ 826294 h 864394"/>
              <a:gd name="connsiteX78" fmla="*/ 623888 w 973932"/>
              <a:gd name="connsiteY78" fmla="*/ 845344 h 864394"/>
              <a:gd name="connsiteX79" fmla="*/ 640557 w 973932"/>
              <a:gd name="connsiteY79" fmla="*/ 857250 h 864394"/>
              <a:gd name="connsiteX80" fmla="*/ 659607 w 973932"/>
              <a:gd name="connsiteY80" fmla="*/ 850107 h 864394"/>
              <a:gd name="connsiteX81" fmla="*/ 678657 w 973932"/>
              <a:gd name="connsiteY81" fmla="*/ 857250 h 864394"/>
              <a:gd name="connsiteX82" fmla="*/ 702469 w 973932"/>
              <a:gd name="connsiteY82" fmla="*/ 862013 h 864394"/>
              <a:gd name="connsiteX83" fmla="*/ 726282 w 973932"/>
              <a:gd name="connsiteY83" fmla="*/ 864394 h 864394"/>
              <a:gd name="connsiteX84" fmla="*/ 752475 w 973932"/>
              <a:gd name="connsiteY84" fmla="*/ 852488 h 864394"/>
              <a:gd name="connsiteX85" fmla="*/ 766763 w 973932"/>
              <a:gd name="connsiteY85" fmla="*/ 823913 h 864394"/>
              <a:gd name="connsiteX86" fmla="*/ 773907 w 973932"/>
              <a:gd name="connsiteY86" fmla="*/ 792957 h 864394"/>
              <a:gd name="connsiteX87" fmla="*/ 766763 w 973932"/>
              <a:gd name="connsiteY87" fmla="*/ 769144 h 864394"/>
              <a:gd name="connsiteX88" fmla="*/ 795338 w 973932"/>
              <a:gd name="connsiteY88" fmla="*/ 764382 h 864394"/>
              <a:gd name="connsiteX89" fmla="*/ 831057 w 973932"/>
              <a:gd name="connsiteY89" fmla="*/ 709613 h 864394"/>
              <a:gd name="connsiteX90" fmla="*/ 890588 w 973932"/>
              <a:gd name="connsiteY90" fmla="*/ 688182 h 864394"/>
              <a:gd name="connsiteX91" fmla="*/ 902494 w 973932"/>
              <a:gd name="connsiteY91" fmla="*/ 661988 h 864394"/>
              <a:gd name="connsiteX92" fmla="*/ 902494 w 973932"/>
              <a:gd name="connsiteY92" fmla="*/ 661988 h 864394"/>
              <a:gd name="connsiteX93" fmla="*/ 864394 w 973932"/>
              <a:gd name="connsiteY93" fmla="*/ 645319 h 864394"/>
              <a:gd name="connsiteX94" fmla="*/ 845344 w 973932"/>
              <a:gd name="connsiteY94" fmla="*/ 600075 h 864394"/>
              <a:gd name="connsiteX95" fmla="*/ 881063 w 973932"/>
              <a:gd name="connsiteY95" fmla="*/ 581025 h 864394"/>
              <a:gd name="connsiteX96" fmla="*/ 921544 w 973932"/>
              <a:gd name="connsiteY96" fmla="*/ 538163 h 864394"/>
              <a:gd name="connsiteX97" fmla="*/ 912019 w 973932"/>
              <a:gd name="connsiteY97" fmla="*/ 492919 h 864394"/>
              <a:gd name="connsiteX98" fmla="*/ 907257 w 973932"/>
              <a:gd name="connsiteY98" fmla="*/ 466725 h 864394"/>
              <a:gd name="connsiteX99" fmla="*/ 892969 w 973932"/>
              <a:gd name="connsiteY99" fmla="*/ 442913 h 864394"/>
              <a:gd name="connsiteX100" fmla="*/ 907257 w 973932"/>
              <a:gd name="connsiteY100" fmla="*/ 421482 h 864394"/>
              <a:gd name="connsiteX101" fmla="*/ 935832 w 973932"/>
              <a:gd name="connsiteY101" fmla="*/ 411957 h 864394"/>
              <a:gd name="connsiteX102" fmla="*/ 962025 w 973932"/>
              <a:gd name="connsiteY102" fmla="*/ 402432 h 864394"/>
              <a:gd name="connsiteX103" fmla="*/ 973932 w 973932"/>
              <a:gd name="connsiteY103" fmla="*/ 395288 h 864394"/>
              <a:gd name="connsiteX104" fmla="*/ 973932 w 973932"/>
              <a:gd name="connsiteY104" fmla="*/ 361950 h 864394"/>
              <a:gd name="connsiteX105" fmla="*/ 892969 w 973932"/>
              <a:gd name="connsiteY105" fmla="*/ 328613 h 864394"/>
              <a:gd name="connsiteX106" fmla="*/ 854869 w 973932"/>
              <a:gd name="connsiteY106" fmla="*/ 257175 h 864394"/>
              <a:gd name="connsiteX107" fmla="*/ 840582 w 973932"/>
              <a:gd name="connsiteY107" fmla="*/ 204788 h 864394"/>
              <a:gd name="connsiteX108" fmla="*/ 804863 w 973932"/>
              <a:gd name="connsiteY108" fmla="*/ 190500 h 864394"/>
              <a:gd name="connsiteX109" fmla="*/ 785813 w 973932"/>
              <a:gd name="connsiteY109" fmla="*/ 164307 h 864394"/>
              <a:gd name="connsiteX110" fmla="*/ 769144 w 973932"/>
              <a:gd name="connsiteY110" fmla="*/ 102394 h 864394"/>
              <a:gd name="connsiteX111" fmla="*/ 726282 w 973932"/>
              <a:gd name="connsiteY111" fmla="*/ 76200 h 864394"/>
              <a:gd name="connsiteX112" fmla="*/ 669132 w 973932"/>
              <a:gd name="connsiteY112" fmla="*/ 71438 h 864394"/>
              <a:gd name="connsiteX113" fmla="*/ 650082 w 973932"/>
              <a:gd name="connsiteY113" fmla="*/ 30957 h 864394"/>
              <a:gd name="connsiteX114" fmla="*/ 559594 w 973932"/>
              <a:gd name="connsiteY114" fmla="*/ 4763 h 864394"/>
              <a:gd name="connsiteX115" fmla="*/ 461963 w 973932"/>
              <a:gd name="connsiteY115" fmla="*/ 0 h 864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973932" h="864394">
                <a:moveTo>
                  <a:pt x="461963" y="0"/>
                </a:moveTo>
                <a:lnTo>
                  <a:pt x="454819" y="71438"/>
                </a:lnTo>
                <a:lnTo>
                  <a:pt x="411957" y="78582"/>
                </a:lnTo>
                <a:lnTo>
                  <a:pt x="395288" y="66675"/>
                </a:lnTo>
                <a:lnTo>
                  <a:pt x="359569" y="64294"/>
                </a:lnTo>
                <a:lnTo>
                  <a:pt x="333375" y="64294"/>
                </a:lnTo>
                <a:lnTo>
                  <a:pt x="304800" y="76200"/>
                </a:lnTo>
                <a:lnTo>
                  <a:pt x="271463" y="100013"/>
                </a:lnTo>
                <a:lnTo>
                  <a:pt x="214313" y="59532"/>
                </a:lnTo>
                <a:lnTo>
                  <a:pt x="142875" y="61913"/>
                </a:lnTo>
                <a:lnTo>
                  <a:pt x="92869" y="50007"/>
                </a:lnTo>
                <a:lnTo>
                  <a:pt x="33338" y="97632"/>
                </a:lnTo>
                <a:lnTo>
                  <a:pt x="4763" y="121444"/>
                </a:lnTo>
                <a:lnTo>
                  <a:pt x="0" y="147638"/>
                </a:lnTo>
                <a:lnTo>
                  <a:pt x="47625" y="200025"/>
                </a:lnTo>
                <a:lnTo>
                  <a:pt x="66675" y="271463"/>
                </a:lnTo>
                <a:lnTo>
                  <a:pt x="102394" y="300038"/>
                </a:lnTo>
                <a:lnTo>
                  <a:pt x="130969" y="319088"/>
                </a:lnTo>
                <a:lnTo>
                  <a:pt x="166688" y="333375"/>
                </a:lnTo>
                <a:lnTo>
                  <a:pt x="192882" y="338138"/>
                </a:lnTo>
                <a:lnTo>
                  <a:pt x="228600" y="326232"/>
                </a:lnTo>
                <a:lnTo>
                  <a:pt x="252413" y="316707"/>
                </a:lnTo>
                <a:lnTo>
                  <a:pt x="271463" y="304800"/>
                </a:lnTo>
                <a:lnTo>
                  <a:pt x="300038" y="288132"/>
                </a:lnTo>
                <a:lnTo>
                  <a:pt x="321469" y="309563"/>
                </a:lnTo>
                <a:lnTo>
                  <a:pt x="319088" y="342900"/>
                </a:lnTo>
                <a:lnTo>
                  <a:pt x="300038" y="381000"/>
                </a:lnTo>
                <a:lnTo>
                  <a:pt x="271463" y="411957"/>
                </a:lnTo>
                <a:lnTo>
                  <a:pt x="238125" y="423863"/>
                </a:lnTo>
                <a:lnTo>
                  <a:pt x="211932" y="431007"/>
                </a:lnTo>
                <a:lnTo>
                  <a:pt x="161925" y="433388"/>
                </a:lnTo>
                <a:lnTo>
                  <a:pt x="123825" y="416719"/>
                </a:lnTo>
                <a:lnTo>
                  <a:pt x="123825" y="395288"/>
                </a:lnTo>
                <a:lnTo>
                  <a:pt x="107157" y="376238"/>
                </a:lnTo>
                <a:lnTo>
                  <a:pt x="107157" y="376238"/>
                </a:lnTo>
                <a:lnTo>
                  <a:pt x="78582" y="416719"/>
                </a:lnTo>
                <a:lnTo>
                  <a:pt x="66675" y="461963"/>
                </a:lnTo>
                <a:lnTo>
                  <a:pt x="88107" y="481013"/>
                </a:lnTo>
                <a:lnTo>
                  <a:pt x="109538" y="511969"/>
                </a:lnTo>
                <a:lnTo>
                  <a:pt x="140494" y="533400"/>
                </a:lnTo>
                <a:lnTo>
                  <a:pt x="145257" y="557213"/>
                </a:lnTo>
                <a:lnTo>
                  <a:pt x="152400" y="566738"/>
                </a:lnTo>
                <a:lnTo>
                  <a:pt x="180975" y="595313"/>
                </a:lnTo>
                <a:lnTo>
                  <a:pt x="188119" y="661988"/>
                </a:lnTo>
                <a:lnTo>
                  <a:pt x="209550" y="681038"/>
                </a:lnTo>
                <a:lnTo>
                  <a:pt x="233363" y="688182"/>
                </a:lnTo>
                <a:lnTo>
                  <a:pt x="252413" y="702469"/>
                </a:lnTo>
                <a:lnTo>
                  <a:pt x="278607" y="721519"/>
                </a:lnTo>
                <a:lnTo>
                  <a:pt x="307182" y="766763"/>
                </a:lnTo>
                <a:lnTo>
                  <a:pt x="340519" y="773907"/>
                </a:lnTo>
                <a:lnTo>
                  <a:pt x="359569" y="759619"/>
                </a:lnTo>
                <a:lnTo>
                  <a:pt x="357188" y="738188"/>
                </a:lnTo>
                <a:lnTo>
                  <a:pt x="364332" y="716757"/>
                </a:lnTo>
                <a:lnTo>
                  <a:pt x="383382" y="711994"/>
                </a:lnTo>
                <a:lnTo>
                  <a:pt x="404813" y="721519"/>
                </a:lnTo>
                <a:lnTo>
                  <a:pt x="431007" y="733425"/>
                </a:lnTo>
                <a:lnTo>
                  <a:pt x="454819" y="740569"/>
                </a:lnTo>
                <a:lnTo>
                  <a:pt x="476250" y="728663"/>
                </a:lnTo>
                <a:lnTo>
                  <a:pt x="490538" y="704850"/>
                </a:lnTo>
                <a:lnTo>
                  <a:pt x="523875" y="683419"/>
                </a:lnTo>
                <a:lnTo>
                  <a:pt x="557213" y="685800"/>
                </a:lnTo>
                <a:lnTo>
                  <a:pt x="576263" y="664369"/>
                </a:lnTo>
                <a:lnTo>
                  <a:pt x="585788" y="626269"/>
                </a:lnTo>
                <a:lnTo>
                  <a:pt x="578644" y="585788"/>
                </a:lnTo>
                <a:lnTo>
                  <a:pt x="602457" y="535781"/>
                </a:lnTo>
                <a:lnTo>
                  <a:pt x="590550" y="490538"/>
                </a:lnTo>
                <a:lnTo>
                  <a:pt x="621507" y="473869"/>
                </a:lnTo>
                <a:lnTo>
                  <a:pt x="650082" y="492919"/>
                </a:lnTo>
                <a:lnTo>
                  <a:pt x="652463" y="523875"/>
                </a:lnTo>
                <a:lnTo>
                  <a:pt x="645319" y="550069"/>
                </a:lnTo>
                <a:lnTo>
                  <a:pt x="645319" y="581025"/>
                </a:lnTo>
                <a:lnTo>
                  <a:pt x="666750" y="602457"/>
                </a:lnTo>
                <a:lnTo>
                  <a:pt x="669132" y="654844"/>
                </a:lnTo>
                <a:lnTo>
                  <a:pt x="645319" y="709613"/>
                </a:lnTo>
                <a:cubicBezTo>
                  <a:pt x="644525" y="730250"/>
                  <a:pt x="643732" y="750888"/>
                  <a:pt x="642938" y="771525"/>
                </a:cubicBezTo>
                <a:lnTo>
                  <a:pt x="640557" y="795338"/>
                </a:lnTo>
                <a:lnTo>
                  <a:pt x="640557" y="814388"/>
                </a:lnTo>
                <a:lnTo>
                  <a:pt x="621507" y="826294"/>
                </a:lnTo>
                <a:lnTo>
                  <a:pt x="623888" y="845344"/>
                </a:lnTo>
                <a:lnTo>
                  <a:pt x="640557" y="857250"/>
                </a:lnTo>
                <a:lnTo>
                  <a:pt x="659607" y="850107"/>
                </a:lnTo>
                <a:lnTo>
                  <a:pt x="678657" y="857250"/>
                </a:lnTo>
                <a:lnTo>
                  <a:pt x="702469" y="862013"/>
                </a:lnTo>
                <a:lnTo>
                  <a:pt x="726282" y="864394"/>
                </a:lnTo>
                <a:lnTo>
                  <a:pt x="752475" y="852488"/>
                </a:lnTo>
                <a:lnTo>
                  <a:pt x="766763" y="823913"/>
                </a:lnTo>
                <a:lnTo>
                  <a:pt x="773907" y="792957"/>
                </a:lnTo>
                <a:lnTo>
                  <a:pt x="766763" y="769144"/>
                </a:lnTo>
                <a:lnTo>
                  <a:pt x="795338" y="764382"/>
                </a:lnTo>
                <a:lnTo>
                  <a:pt x="831057" y="709613"/>
                </a:lnTo>
                <a:lnTo>
                  <a:pt x="890588" y="688182"/>
                </a:lnTo>
                <a:lnTo>
                  <a:pt x="902494" y="661988"/>
                </a:lnTo>
                <a:lnTo>
                  <a:pt x="902494" y="661988"/>
                </a:lnTo>
                <a:lnTo>
                  <a:pt x="864394" y="645319"/>
                </a:lnTo>
                <a:lnTo>
                  <a:pt x="845344" y="600075"/>
                </a:lnTo>
                <a:lnTo>
                  <a:pt x="881063" y="581025"/>
                </a:lnTo>
                <a:lnTo>
                  <a:pt x="921544" y="538163"/>
                </a:lnTo>
                <a:lnTo>
                  <a:pt x="912019" y="492919"/>
                </a:lnTo>
                <a:lnTo>
                  <a:pt x="907257" y="466725"/>
                </a:lnTo>
                <a:lnTo>
                  <a:pt x="892969" y="442913"/>
                </a:lnTo>
                <a:lnTo>
                  <a:pt x="907257" y="421482"/>
                </a:lnTo>
                <a:lnTo>
                  <a:pt x="935832" y="411957"/>
                </a:lnTo>
                <a:lnTo>
                  <a:pt x="962025" y="402432"/>
                </a:lnTo>
                <a:lnTo>
                  <a:pt x="973932" y="395288"/>
                </a:lnTo>
                <a:lnTo>
                  <a:pt x="973932" y="361950"/>
                </a:lnTo>
                <a:lnTo>
                  <a:pt x="892969" y="328613"/>
                </a:lnTo>
                <a:lnTo>
                  <a:pt x="854869" y="257175"/>
                </a:lnTo>
                <a:lnTo>
                  <a:pt x="840582" y="204788"/>
                </a:lnTo>
                <a:lnTo>
                  <a:pt x="804863" y="190500"/>
                </a:lnTo>
                <a:lnTo>
                  <a:pt x="785813" y="164307"/>
                </a:lnTo>
                <a:lnTo>
                  <a:pt x="769144" y="102394"/>
                </a:lnTo>
                <a:lnTo>
                  <a:pt x="726282" y="76200"/>
                </a:lnTo>
                <a:lnTo>
                  <a:pt x="669132" y="71438"/>
                </a:lnTo>
                <a:lnTo>
                  <a:pt x="650082" y="30957"/>
                </a:lnTo>
                <a:lnTo>
                  <a:pt x="559594" y="4763"/>
                </a:lnTo>
                <a:lnTo>
                  <a:pt x="461963" y="0"/>
                </a:lnTo>
                <a:close/>
              </a:path>
            </a:pathLst>
          </a:custGeom>
          <a:solidFill>
            <a:srgbClr val="00FFFF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1511306" y="4627039"/>
            <a:ext cx="117475" cy="158751"/>
          </a:xfrm>
          <a:custGeom>
            <a:avLst/>
            <a:gdLst>
              <a:gd name="connsiteX0" fmla="*/ 0 w 116681"/>
              <a:gd name="connsiteY0" fmla="*/ 0 h 157163"/>
              <a:gd name="connsiteX1" fmla="*/ 38100 w 116681"/>
              <a:gd name="connsiteY1" fmla="*/ 97632 h 157163"/>
              <a:gd name="connsiteX2" fmla="*/ 90488 w 116681"/>
              <a:gd name="connsiteY2" fmla="*/ 157163 h 157163"/>
              <a:gd name="connsiteX3" fmla="*/ 109538 w 116681"/>
              <a:gd name="connsiteY3" fmla="*/ 121444 h 157163"/>
              <a:gd name="connsiteX4" fmla="*/ 116681 w 116681"/>
              <a:gd name="connsiteY4" fmla="*/ 97632 h 157163"/>
              <a:gd name="connsiteX5" fmla="*/ 111919 w 116681"/>
              <a:gd name="connsiteY5" fmla="*/ 50007 h 157163"/>
              <a:gd name="connsiteX6" fmla="*/ 0 w 116681"/>
              <a:gd name="connsiteY6" fmla="*/ 0 h 157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681" h="157163">
                <a:moveTo>
                  <a:pt x="0" y="0"/>
                </a:moveTo>
                <a:lnTo>
                  <a:pt x="38100" y="97632"/>
                </a:lnTo>
                <a:lnTo>
                  <a:pt x="90488" y="157163"/>
                </a:lnTo>
                <a:lnTo>
                  <a:pt x="109538" y="121444"/>
                </a:lnTo>
                <a:lnTo>
                  <a:pt x="116681" y="97632"/>
                </a:lnTo>
                <a:lnTo>
                  <a:pt x="111919" y="50007"/>
                </a:lnTo>
                <a:lnTo>
                  <a:pt x="0" y="0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1595444" y="4180420"/>
            <a:ext cx="782637" cy="1276349"/>
          </a:xfrm>
          <a:custGeom>
            <a:avLst/>
            <a:gdLst>
              <a:gd name="connsiteX0" fmla="*/ 0 w 783431"/>
              <a:gd name="connsiteY0" fmla="*/ 614363 h 1090613"/>
              <a:gd name="connsiteX1" fmla="*/ 21431 w 783431"/>
              <a:gd name="connsiteY1" fmla="*/ 661988 h 1090613"/>
              <a:gd name="connsiteX2" fmla="*/ 28575 w 783431"/>
              <a:gd name="connsiteY2" fmla="*/ 742950 h 1090613"/>
              <a:gd name="connsiteX3" fmla="*/ 76200 w 783431"/>
              <a:gd name="connsiteY3" fmla="*/ 814388 h 1090613"/>
              <a:gd name="connsiteX4" fmla="*/ 102394 w 783431"/>
              <a:gd name="connsiteY4" fmla="*/ 919163 h 1090613"/>
              <a:gd name="connsiteX5" fmla="*/ 116681 w 783431"/>
              <a:gd name="connsiteY5" fmla="*/ 947738 h 1090613"/>
              <a:gd name="connsiteX6" fmla="*/ 130969 w 783431"/>
              <a:gd name="connsiteY6" fmla="*/ 995363 h 1090613"/>
              <a:gd name="connsiteX7" fmla="*/ 150019 w 783431"/>
              <a:gd name="connsiteY7" fmla="*/ 1023938 h 1090613"/>
              <a:gd name="connsiteX8" fmla="*/ 159544 w 783431"/>
              <a:gd name="connsiteY8" fmla="*/ 1042988 h 1090613"/>
              <a:gd name="connsiteX9" fmla="*/ 197644 w 783431"/>
              <a:gd name="connsiteY9" fmla="*/ 1069182 h 1090613"/>
              <a:gd name="connsiteX10" fmla="*/ 245269 w 783431"/>
              <a:gd name="connsiteY10" fmla="*/ 1090613 h 1090613"/>
              <a:gd name="connsiteX11" fmla="*/ 604837 w 783431"/>
              <a:gd name="connsiteY11" fmla="*/ 1085850 h 1090613"/>
              <a:gd name="connsiteX12" fmla="*/ 585787 w 783431"/>
              <a:gd name="connsiteY12" fmla="*/ 1035844 h 1090613"/>
              <a:gd name="connsiteX13" fmla="*/ 607219 w 783431"/>
              <a:gd name="connsiteY13" fmla="*/ 1021557 h 1090613"/>
              <a:gd name="connsiteX14" fmla="*/ 645319 w 783431"/>
              <a:gd name="connsiteY14" fmla="*/ 1016794 h 1090613"/>
              <a:gd name="connsiteX15" fmla="*/ 685800 w 783431"/>
              <a:gd name="connsiteY15" fmla="*/ 997744 h 1090613"/>
              <a:gd name="connsiteX16" fmla="*/ 716756 w 783431"/>
              <a:gd name="connsiteY16" fmla="*/ 1002507 h 1090613"/>
              <a:gd name="connsiteX17" fmla="*/ 738187 w 783431"/>
              <a:gd name="connsiteY17" fmla="*/ 969169 h 1090613"/>
              <a:gd name="connsiteX18" fmla="*/ 783431 w 783431"/>
              <a:gd name="connsiteY18" fmla="*/ 933450 h 1090613"/>
              <a:gd name="connsiteX19" fmla="*/ 776287 w 783431"/>
              <a:gd name="connsiteY19" fmla="*/ 907257 h 1090613"/>
              <a:gd name="connsiteX20" fmla="*/ 752475 w 783431"/>
              <a:gd name="connsiteY20" fmla="*/ 888207 h 1090613"/>
              <a:gd name="connsiteX21" fmla="*/ 752475 w 783431"/>
              <a:gd name="connsiteY21" fmla="*/ 864394 h 1090613"/>
              <a:gd name="connsiteX22" fmla="*/ 728662 w 783431"/>
              <a:gd name="connsiteY22" fmla="*/ 852488 h 1090613"/>
              <a:gd name="connsiteX23" fmla="*/ 711994 w 783431"/>
              <a:gd name="connsiteY23" fmla="*/ 802482 h 1090613"/>
              <a:gd name="connsiteX24" fmla="*/ 688181 w 783431"/>
              <a:gd name="connsiteY24" fmla="*/ 814388 h 1090613"/>
              <a:gd name="connsiteX25" fmla="*/ 659606 w 783431"/>
              <a:gd name="connsiteY25" fmla="*/ 814388 h 1090613"/>
              <a:gd name="connsiteX26" fmla="*/ 647700 w 783431"/>
              <a:gd name="connsiteY26" fmla="*/ 847725 h 1090613"/>
              <a:gd name="connsiteX27" fmla="*/ 623887 w 783431"/>
              <a:gd name="connsiteY27" fmla="*/ 847725 h 1090613"/>
              <a:gd name="connsiteX28" fmla="*/ 576262 w 783431"/>
              <a:gd name="connsiteY28" fmla="*/ 828675 h 1090613"/>
              <a:gd name="connsiteX29" fmla="*/ 554831 w 783431"/>
              <a:gd name="connsiteY29" fmla="*/ 816769 h 1090613"/>
              <a:gd name="connsiteX30" fmla="*/ 547687 w 783431"/>
              <a:gd name="connsiteY30" fmla="*/ 783432 h 1090613"/>
              <a:gd name="connsiteX31" fmla="*/ 561975 w 783431"/>
              <a:gd name="connsiteY31" fmla="*/ 754857 h 1090613"/>
              <a:gd name="connsiteX32" fmla="*/ 533400 w 783431"/>
              <a:gd name="connsiteY32" fmla="*/ 733425 h 1090613"/>
              <a:gd name="connsiteX33" fmla="*/ 509587 w 783431"/>
              <a:gd name="connsiteY33" fmla="*/ 711994 h 1090613"/>
              <a:gd name="connsiteX34" fmla="*/ 473869 w 783431"/>
              <a:gd name="connsiteY34" fmla="*/ 711994 h 1090613"/>
              <a:gd name="connsiteX35" fmla="*/ 435769 w 783431"/>
              <a:gd name="connsiteY35" fmla="*/ 711994 h 1090613"/>
              <a:gd name="connsiteX36" fmla="*/ 438150 w 783431"/>
              <a:gd name="connsiteY36" fmla="*/ 669132 h 1090613"/>
              <a:gd name="connsiteX37" fmla="*/ 428625 w 783431"/>
              <a:gd name="connsiteY37" fmla="*/ 642938 h 1090613"/>
              <a:gd name="connsiteX38" fmla="*/ 423862 w 783431"/>
              <a:gd name="connsiteY38" fmla="*/ 607219 h 1090613"/>
              <a:gd name="connsiteX39" fmla="*/ 426244 w 783431"/>
              <a:gd name="connsiteY39" fmla="*/ 578644 h 1090613"/>
              <a:gd name="connsiteX40" fmla="*/ 440531 w 783431"/>
              <a:gd name="connsiteY40" fmla="*/ 566738 h 1090613"/>
              <a:gd name="connsiteX41" fmla="*/ 450056 w 783431"/>
              <a:gd name="connsiteY41" fmla="*/ 535782 h 1090613"/>
              <a:gd name="connsiteX42" fmla="*/ 457200 w 783431"/>
              <a:gd name="connsiteY42" fmla="*/ 519113 h 1090613"/>
              <a:gd name="connsiteX43" fmla="*/ 481012 w 783431"/>
              <a:gd name="connsiteY43" fmla="*/ 526257 h 1090613"/>
              <a:gd name="connsiteX44" fmla="*/ 495300 w 783431"/>
              <a:gd name="connsiteY44" fmla="*/ 576263 h 1090613"/>
              <a:gd name="connsiteX45" fmla="*/ 507206 w 783431"/>
              <a:gd name="connsiteY45" fmla="*/ 581025 h 1090613"/>
              <a:gd name="connsiteX46" fmla="*/ 526256 w 783431"/>
              <a:gd name="connsiteY46" fmla="*/ 583407 h 1090613"/>
              <a:gd name="connsiteX47" fmla="*/ 554831 w 783431"/>
              <a:gd name="connsiteY47" fmla="*/ 583407 h 1090613"/>
              <a:gd name="connsiteX48" fmla="*/ 557212 w 783431"/>
              <a:gd name="connsiteY48" fmla="*/ 547688 h 1090613"/>
              <a:gd name="connsiteX49" fmla="*/ 545306 w 783431"/>
              <a:gd name="connsiteY49" fmla="*/ 502444 h 1090613"/>
              <a:gd name="connsiteX50" fmla="*/ 545306 w 783431"/>
              <a:gd name="connsiteY50" fmla="*/ 476250 h 1090613"/>
              <a:gd name="connsiteX51" fmla="*/ 581025 w 783431"/>
              <a:gd name="connsiteY51" fmla="*/ 454819 h 1090613"/>
              <a:gd name="connsiteX52" fmla="*/ 604837 w 783431"/>
              <a:gd name="connsiteY52" fmla="*/ 435769 h 1090613"/>
              <a:gd name="connsiteX53" fmla="*/ 640556 w 783431"/>
              <a:gd name="connsiteY53" fmla="*/ 414338 h 1090613"/>
              <a:gd name="connsiteX54" fmla="*/ 645319 w 783431"/>
              <a:gd name="connsiteY54" fmla="*/ 395288 h 1090613"/>
              <a:gd name="connsiteX55" fmla="*/ 633412 w 783431"/>
              <a:gd name="connsiteY55" fmla="*/ 371475 h 1090613"/>
              <a:gd name="connsiteX56" fmla="*/ 614362 w 783431"/>
              <a:gd name="connsiteY56" fmla="*/ 369094 h 1090613"/>
              <a:gd name="connsiteX57" fmla="*/ 609600 w 783431"/>
              <a:gd name="connsiteY57" fmla="*/ 366713 h 1090613"/>
              <a:gd name="connsiteX58" fmla="*/ 597694 w 783431"/>
              <a:gd name="connsiteY58" fmla="*/ 357188 h 1090613"/>
              <a:gd name="connsiteX59" fmla="*/ 611981 w 783431"/>
              <a:gd name="connsiteY59" fmla="*/ 345282 h 1090613"/>
              <a:gd name="connsiteX60" fmla="*/ 652462 w 783431"/>
              <a:gd name="connsiteY60" fmla="*/ 316707 h 1090613"/>
              <a:gd name="connsiteX61" fmla="*/ 678656 w 783431"/>
              <a:gd name="connsiteY61" fmla="*/ 264319 h 1090613"/>
              <a:gd name="connsiteX62" fmla="*/ 666750 w 783431"/>
              <a:gd name="connsiteY62" fmla="*/ 242888 h 1090613"/>
              <a:gd name="connsiteX63" fmla="*/ 638175 w 783431"/>
              <a:gd name="connsiteY63" fmla="*/ 219075 h 1090613"/>
              <a:gd name="connsiteX64" fmla="*/ 642937 w 783431"/>
              <a:gd name="connsiteY64" fmla="*/ 180975 h 1090613"/>
              <a:gd name="connsiteX65" fmla="*/ 673894 w 783431"/>
              <a:gd name="connsiteY65" fmla="*/ 171450 h 1090613"/>
              <a:gd name="connsiteX66" fmla="*/ 700087 w 783431"/>
              <a:gd name="connsiteY66" fmla="*/ 142875 h 1090613"/>
              <a:gd name="connsiteX67" fmla="*/ 700087 w 783431"/>
              <a:gd name="connsiteY67" fmla="*/ 111919 h 1090613"/>
              <a:gd name="connsiteX68" fmla="*/ 666750 w 783431"/>
              <a:gd name="connsiteY68" fmla="*/ 107157 h 1090613"/>
              <a:gd name="connsiteX69" fmla="*/ 645319 w 783431"/>
              <a:gd name="connsiteY69" fmla="*/ 102394 h 1090613"/>
              <a:gd name="connsiteX70" fmla="*/ 645319 w 783431"/>
              <a:gd name="connsiteY70" fmla="*/ 102394 h 1090613"/>
              <a:gd name="connsiteX71" fmla="*/ 678656 w 783431"/>
              <a:gd name="connsiteY71" fmla="*/ 69057 h 1090613"/>
              <a:gd name="connsiteX72" fmla="*/ 685800 w 783431"/>
              <a:gd name="connsiteY72" fmla="*/ 40482 h 1090613"/>
              <a:gd name="connsiteX73" fmla="*/ 678656 w 783431"/>
              <a:gd name="connsiteY73" fmla="*/ 21432 h 1090613"/>
              <a:gd name="connsiteX74" fmla="*/ 695325 w 783431"/>
              <a:gd name="connsiteY74" fmla="*/ 2382 h 1090613"/>
              <a:gd name="connsiteX75" fmla="*/ 628650 w 783431"/>
              <a:gd name="connsiteY75" fmla="*/ 0 h 1090613"/>
              <a:gd name="connsiteX76" fmla="*/ 552450 w 783431"/>
              <a:gd name="connsiteY76" fmla="*/ 52388 h 1090613"/>
              <a:gd name="connsiteX77" fmla="*/ 538162 w 783431"/>
              <a:gd name="connsiteY77" fmla="*/ 90488 h 1090613"/>
              <a:gd name="connsiteX78" fmla="*/ 445294 w 783431"/>
              <a:gd name="connsiteY78" fmla="*/ 126207 h 1090613"/>
              <a:gd name="connsiteX79" fmla="*/ 397669 w 783431"/>
              <a:gd name="connsiteY79" fmla="*/ 159544 h 1090613"/>
              <a:gd name="connsiteX80" fmla="*/ 376237 w 783431"/>
              <a:gd name="connsiteY80" fmla="*/ 190500 h 1090613"/>
              <a:gd name="connsiteX81" fmla="*/ 350044 w 783431"/>
              <a:gd name="connsiteY81" fmla="*/ 140494 h 1090613"/>
              <a:gd name="connsiteX82" fmla="*/ 316706 w 783431"/>
              <a:gd name="connsiteY82" fmla="*/ 140494 h 1090613"/>
              <a:gd name="connsiteX83" fmla="*/ 304800 w 783431"/>
              <a:gd name="connsiteY83" fmla="*/ 166688 h 1090613"/>
              <a:gd name="connsiteX84" fmla="*/ 280987 w 783431"/>
              <a:gd name="connsiteY84" fmla="*/ 230982 h 1090613"/>
              <a:gd name="connsiteX85" fmla="*/ 154781 w 783431"/>
              <a:gd name="connsiteY85" fmla="*/ 223838 h 1090613"/>
              <a:gd name="connsiteX86" fmla="*/ 140494 w 783431"/>
              <a:gd name="connsiteY86" fmla="*/ 245269 h 1090613"/>
              <a:gd name="connsiteX87" fmla="*/ 138112 w 783431"/>
              <a:gd name="connsiteY87" fmla="*/ 280988 h 1090613"/>
              <a:gd name="connsiteX88" fmla="*/ 66675 w 783431"/>
              <a:gd name="connsiteY88" fmla="*/ 309563 h 1090613"/>
              <a:gd name="connsiteX89" fmla="*/ 54769 w 783431"/>
              <a:gd name="connsiteY89" fmla="*/ 323850 h 1090613"/>
              <a:gd name="connsiteX90" fmla="*/ 66675 w 783431"/>
              <a:gd name="connsiteY90" fmla="*/ 381000 h 1090613"/>
              <a:gd name="connsiteX91" fmla="*/ 19050 w 783431"/>
              <a:gd name="connsiteY91" fmla="*/ 423863 h 1090613"/>
              <a:gd name="connsiteX92" fmla="*/ 26194 w 783431"/>
              <a:gd name="connsiteY92" fmla="*/ 490538 h 1090613"/>
              <a:gd name="connsiteX93" fmla="*/ 33337 w 783431"/>
              <a:gd name="connsiteY93" fmla="*/ 554832 h 1090613"/>
              <a:gd name="connsiteX94" fmla="*/ 0 w 783431"/>
              <a:gd name="connsiteY94" fmla="*/ 614363 h 1090613"/>
              <a:gd name="connsiteX0" fmla="*/ 0 w 783431"/>
              <a:gd name="connsiteY0" fmla="*/ 614363 h 1090613"/>
              <a:gd name="connsiteX1" fmla="*/ 21431 w 783431"/>
              <a:gd name="connsiteY1" fmla="*/ 661988 h 1090613"/>
              <a:gd name="connsiteX2" fmla="*/ 28575 w 783431"/>
              <a:gd name="connsiteY2" fmla="*/ 742950 h 1090613"/>
              <a:gd name="connsiteX3" fmla="*/ 76200 w 783431"/>
              <a:gd name="connsiteY3" fmla="*/ 814388 h 1090613"/>
              <a:gd name="connsiteX4" fmla="*/ 102394 w 783431"/>
              <a:gd name="connsiteY4" fmla="*/ 919163 h 1090613"/>
              <a:gd name="connsiteX5" fmla="*/ 116681 w 783431"/>
              <a:gd name="connsiteY5" fmla="*/ 947738 h 1090613"/>
              <a:gd name="connsiteX6" fmla="*/ 130969 w 783431"/>
              <a:gd name="connsiteY6" fmla="*/ 995363 h 1090613"/>
              <a:gd name="connsiteX7" fmla="*/ 150019 w 783431"/>
              <a:gd name="connsiteY7" fmla="*/ 1023938 h 1090613"/>
              <a:gd name="connsiteX8" fmla="*/ 159544 w 783431"/>
              <a:gd name="connsiteY8" fmla="*/ 1042988 h 1090613"/>
              <a:gd name="connsiteX9" fmla="*/ 197644 w 783431"/>
              <a:gd name="connsiteY9" fmla="*/ 1069182 h 1090613"/>
              <a:gd name="connsiteX10" fmla="*/ 245269 w 783431"/>
              <a:gd name="connsiteY10" fmla="*/ 1090613 h 1090613"/>
              <a:gd name="connsiteX11" fmla="*/ 319087 w 783431"/>
              <a:gd name="connsiteY11" fmla="*/ 1090613 h 1090613"/>
              <a:gd name="connsiteX12" fmla="*/ 604837 w 783431"/>
              <a:gd name="connsiteY12" fmla="*/ 1085850 h 1090613"/>
              <a:gd name="connsiteX13" fmla="*/ 585787 w 783431"/>
              <a:gd name="connsiteY13" fmla="*/ 1035844 h 1090613"/>
              <a:gd name="connsiteX14" fmla="*/ 607219 w 783431"/>
              <a:gd name="connsiteY14" fmla="*/ 1021557 h 1090613"/>
              <a:gd name="connsiteX15" fmla="*/ 645319 w 783431"/>
              <a:gd name="connsiteY15" fmla="*/ 1016794 h 1090613"/>
              <a:gd name="connsiteX16" fmla="*/ 685800 w 783431"/>
              <a:gd name="connsiteY16" fmla="*/ 997744 h 1090613"/>
              <a:gd name="connsiteX17" fmla="*/ 716756 w 783431"/>
              <a:gd name="connsiteY17" fmla="*/ 1002507 h 1090613"/>
              <a:gd name="connsiteX18" fmla="*/ 738187 w 783431"/>
              <a:gd name="connsiteY18" fmla="*/ 969169 h 1090613"/>
              <a:gd name="connsiteX19" fmla="*/ 783431 w 783431"/>
              <a:gd name="connsiteY19" fmla="*/ 933450 h 1090613"/>
              <a:gd name="connsiteX20" fmla="*/ 776287 w 783431"/>
              <a:gd name="connsiteY20" fmla="*/ 907257 h 1090613"/>
              <a:gd name="connsiteX21" fmla="*/ 752475 w 783431"/>
              <a:gd name="connsiteY21" fmla="*/ 888207 h 1090613"/>
              <a:gd name="connsiteX22" fmla="*/ 752475 w 783431"/>
              <a:gd name="connsiteY22" fmla="*/ 864394 h 1090613"/>
              <a:gd name="connsiteX23" fmla="*/ 728662 w 783431"/>
              <a:gd name="connsiteY23" fmla="*/ 852488 h 1090613"/>
              <a:gd name="connsiteX24" fmla="*/ 711994 w 783431"/>
              <a:gd name="connsiteY24" fmla="*/ 802482 h 1090613"/>
              <a:gd name="connsiteX25" fmla="*/ 688181 w 783431"/>
              <a:gd name="connsiteY25" fmla="*/ 814388 h 1090613"/>
              <a:gd name="connsiteX26" fmla="*/ 659606 w 783431"/>
              <a:gd name="connsiteY26" fmla="*/ 814388 h 1090613"/>
              <a:gd name="connsiteX27" fmla="*/ 647700 w 783431"/>
              <a:gd name="connsiteY27" fmla="*/ 847725 h 1090613"/>
              <a:gd name="connsiteX28" fmla="*/ 623887 w 783431"/>
              <a:gd name="connsiteY28" fmla="*/ 847725 h 1090613"/>
              <a:gd name="connsiteX29" fmla="*/ 576262 w 783431"/>
              <a:gd name="connsiteY29" fmla="*/ 828675 h 1090613"/>
              <a:gd name="connsiteX30" fmla="*/ 554831 w 783431"/>
              <a:gd name="connsiteY30" fmla="*/ 816769 h 1090613"/>
              <a:gd name="connsiteX31" fmla="*/ 547687 w 783431"/>
              <a:gd name="connsiteY31" fmla="*/ 783432 h 1090613"/>
              <a:gd name="connsiteX32" fmla="*/ 561975 w 783431"/>
              <a:gd name="connsiteY32" fmla="*/ 754857 h 1090613"/>
              <a:gd name="connsiteX33" fmla="*/ 533400 w 783431"/>
              <a:gd name="connsiteY33" fmla="*/ 733425 h 1090613"/>
              <a:gd name="connsiteX34" fmla="*/ 509587 w 783431"/>
              <a:gd name="connsiteY34" fmla="*/ 711994 h 1090613"/>
              <a:gd name="connsiteX35" fmla="*/ 473869 w 783431"/>
              <a:gd name="connsiteY35" fmla="*/ 711994 h 1090613"/>
              <a:gd name="connsiteX36" fmla="*/ 435769 w 783431"/>
              <a:gd name="connsiteY36" fmla="*/ 711994 h 1090613"/>
              <a:gd name="connsiteX37" fmla="*/ 438150 w 783431"/>
              <a:gd name="connsiteY37" fmla="*/ 669132 h 1090613"/>
              <a:gd name="connsiteX38" fmla="*/ 428625 w 783431"/>
              <a:gd name="connsiteY38" fmla="*/ 642938 h 1090613"/>
              <a:gd name="connsiteX39" fmla="*/ 423862 w 783431"/>
              <a:gd name="connsiteY39" fmla="*/ 607219 h 1090613"/>
              <a:gd name="connsiteX40" fmla="*/ 426244 w 783431"/>
              <a:gd name="connsiteY40" fmla="*/ 578644 h 1090613"/>
              <a:gd name="connsiteX41" fmla="*/ 440531 w 783431"/>
              <a:gd name="connsiteY41" fmla="*/ 566738 h 1090613"/>
              <a:gd name="connsiteX42" fmla="*/ 450056 w 783431"/>
              <a:gd name="connsiteY42" fmla="*/ 535782 h 1090613"/>
              <a:gd name="connsiteX43" fmla="*/ 457200 w 783431"/>
              <a:gd name="connsiteY43" fmla="*/ 519113 h 1090613"/>
              <a:gd name="connsiteX44" fmla="*/ 481012 w 783431"/>
              <a:gd name="connsiteY44" fmla="*/ 526257 h 1090613"/>
              <a:gd name="connsiteX45" fmla="*/ 495300 w 783431"/>
              <a:gd name="connsiteY45" fmla="*/ 576263 h 1090613"/>
              <a:gd name="connsiteX46" fmla="*/ 507206 w 783431"/>
              <a:gd name="connsiteY46" fmla="*/ 581025 h 1090613"/>
              <a:gd name="connsiteX47" fmla="*/ 526256 w 783431"/>
              <a:gd name="connsiteY47" fmla="*/ 583407 h 1090613"/>
              <a:gd name="connsiteX48" fmla="*/ 554831 w 783431"/>
              <a:gd name="connsiteY48" fmla="*/ 583407 h 1090613"/>
              <a:gd name="connsiteX49" fmla="*/ 557212 w 783431"/>
              <a:gd name="connsiteY49" fmla="*/ 547688 h 1090613"/>
              <a:gd name="connsiteX50" fmla="*/ 545306 w 783431"/>
              <a:gd name="connsiteY50" fmla="*/ 502444 h 1090613"/>
              <a:gd name="connsiteX51" fmla="*/ 545306 w 783431"/>
              <a:gd name="connsiteY51" fmla="*/ 476250 h 1090613"/>
              <a:gd name="connsiteX52" fmla="*/ 581025 w 783431"/>
              <a:gd name="connsiteY52" fmla="*/ 454819 h 1090613"/>
              <a:gd name="connsiteX53" fmla="*/ 604837 w 783431"/>
              <a:gd name="connsiteY53" fmla="*/ 435769 h 1090613"/>
              <a:gd name="connsiteX54" fmla="*/ 640556 w 783431"/>
              <a:gd name="connsiteY54" fmla="*/ 414338 h 1090613"/>
              <a:gd name="connsiteX55" fmla="*/ 645319 w 783431"/>
              <a:gd name="connsiteY55" fmla="*/ 395288 h 1090613"/>
              <a:gd name="connsiteX56" fmla="*/ 633412 w 783431"/>
              <a:gd name="connsiteY56" fmla="*/ 371475 h 1090613"/>
              <a:gd name="connsiteX57" fmla="*/ 614362 w 783431"/>
              <a:gd name="connsiteY57" fmla="*/ 369094 h 1090613"/>
              <a:gd name="connsiteX58" fmla="*/ 609600 w 783431"/>
              <a:gd name="connsiteY58" fmla="*/ 366713 h 1090613"/>
              <a:gd name="connsiteX59" fmla="*/ 597694 w 783431"/>
              <a:gd name="connsiteY59" fmla="*/ 357188 h 1090613"/>
              <a:gd name="connsiteX60" fmla="*/ 611981 w 783431"/>
              <a:gd name="connsiteY60" fmla="*/ 345282 h 1090613"/>
              <a:gd name="connsiteX61" fmla="*/ 652462 w 783431"/>
              <a:gd name="connsiteY61" fmla="*/ 316707 h 1090613"/>
              <a:gd name="connsiteX62" fmla="*/ 678656 w 783431"/>
              <a:gd name="connsiteY62" fmla="*/ 264319 h 1090613"/>
              <a:gd name="connsiteX63" fmla="*/ 666750 w 783431"/>
              <a:gd name="connsiteY63" fmla="*/ 242888 h 1090613"/>
              <a:gd name="connsiteX64" fmla="*/ 638175 w 783431"/>
              <a:gd name="connsiteY64" fmla="*/ 219075 h 1090613"/>
              <a:gd name="connsiteX65" fmla="*/ 642937 w 783431"/>
              <a:gd name="connsiteY65" fmla="*/ 180975 h 1090613"/>
              <a:gd name="connsiteX66" fmla="*/ 673894 w 783431"/>
              <a:gd name="connsiteY66" fmla="*/ 171450 h 1090613"/>
              <a:gd name="connsiteX67" fmla="*/ 700087 w 783431"/>
              <a:gd name="connsiteY67" fmla="*/ 142875 h 1090613"/>
              <a:gd name="connsiteX68" fmla="*/ 700087 w 783431"/>
              <a:gd name="connsiteY68" fmla="*/ 111919 h 1090613"/>
              <a:gd name="connsiteX69" fmla="*/ 666750 w 783431"/>
              <a:gd name="connsiteY69" fmla="*/ 107157 h 1090613"/>
              <a:gd name="connsiteX70" fmla="*/ 645319 w 783431"/>
              <a:gd name="connsiteY70" fmla="*/ 102394 h 1090613"/>
              <a:gd name="connsiteX71" fmla="*/ 645319 w 783431"/>
              <a:gd name="connsiteY71" fmla="*/ 102394 h 1090613"/>
              <a:gd name="connsiteX72" fmla="*/ 678656 w 783431"/>
              <a:gd name="connsiteY72" fmla="*/ 69057 h 1090613"/>
              <a:gd name="connsiteX73" fmla="*/ 685800 w 783431"/>
              <a:gd name="connsiteY73" fmla="*/ 40482 h 1090613"/>
              <a:gd name="connsiteX74" fmla="*/ 678656 w 783431"/>
              <a:gd name="connsiteY74" fmla="*/ 21432 h 1090613"/>
              <a:gd name="connsiteX75" fmla="*/ 695325 w 783431"/>
              <a:gd name="connsiteY75" fmla="*/ 2382 h 1090613"/>
              <a:gd name="connsiteX76" fmla="*/ 628650 w 783431"/>
              <a:gd name="connsiteY76" fmla="*/ 0 h 1090613"/>
              <a:gd name="connsiteX77" fmla="*/ 552450 w 783431"/>
              <a:gd name="connsiteY77" fmla="*/ 52388 h 1090613"/>
              <a:gd name="connsiteX78" fmla="*/ 538162 w 783431"/>
              <a:gd name="connsiteY78" fmla="*/ 90488 h 1090613"/>
              <a:gd name="connsiteX79" fmla="*/ 445294 w 783431"/>
              <a:gd name="connsiteY79" fmla="*/ 126207 h 1090613"/>
              <a:gd name="connsiteX80" fmla="*/ 397669 w 783431"/>
              <a:gd name="connsiteY80" fmla="*/ 159544 h 1090613"/>
              <a:gd name="connsiteX81" fmla="*/ 376237 w 783431"/>
              <a:gd name="connsiteY81" fmla="*/ 190500 h 1090613"/>
              <a:gd name="connsiteX82" fmla="*/ 350044 w 783431"/>
              <a:gd name="connsiteY82" fmla="*/ 140494 h 1090613"/>
              <a:gd name="connsiteX83" fmla="*/ 316706 w 783431"/>
              <a:gd name="connsiteY83" fmla="*/ 140494 h 1090613"/>
              <a:gd name="connsiteX84" fmla="*/ 304800 w 783431"/>
              <a:gd name="connsiteY84" fmla="*/ 166688 h 1090613"/>
              <a:gd name="connsiteX85" fmla="*/ 280987 w 783431"/>
              <a:gd name="connsiteY85" fmla="*/ 230982 h 1090613"/>
              <a:gd name="connsiteX86" fmla="*/ 154781 w 783431"/>
              <a:gd name="connsiteY86" fmla="*/ 223838 h 1090613"/>
              <a:gd name="connsiteX87" fmla="*/ 140494 w 783431"/>
              <a:gd name="connsiteY87" fmla="*/ 245269 h 1090613"/>
              <a:gd name="connsiteX88" fmla="*/ 138112 w 783431"/>
              <a:gd name="connsiteY88" fmla="*/ 280988 h 1090613"/>
              <a:gd name="connsiteX89" fmla="*/ 66675 w 783431"/>
              <a:gd name="connsiteY89" fmla="*/ 309563 h 1090613"/>
              <a:gd name="connsiteX90" fmla="*/ 54769 w 783431"/>
              <a:gd name="connsiteY90" fmla="*/ 323850 h 1090613"/>
              <a:gd name="connsiteX91" fmla="*/ 66675 w 783431"/>
              <a:gd name="connsiteY91" fmla="*/ 381000 h 1090613"/>
              <a:gd name="connsiteX92" fmla="*/ 19050 w 783431"/>
              <a:gd name="connsiteY92" fmla="*/ 423863 h 1090613"/>
              <a:gd name="connsiteX93" fmla="*/ 26194 w 783431"/>
              <a:gd name="connsiteY93" fmla="*/ 490538 h 1090613"/>
              <a:gd name="connsiteX94" fmla="*/ 33337 w 783431"/>
              <a:gd name="connsiteY94" fmla="*/ 554832 h 1090613"/>
              <a:gd name="connsiteX95" fmla="*/ 0 w 783431"/>
              <a:gd name="connsiteY95" fmla="*/ 614363 h 1090613"/>
              <a:gd name="connsiteX0" fmla="*/ 0 w 783431"/>
              <a:gd name="connsiteY0" fmla="*/ 614363 h 1131094"/>
              <a:gd name="connsiteX1" fmla="*/ 21431 w 783431"/>
              <a:gd name="connsiteY1" fmla="*/ 661988 h 1131094"/>
              <a:gd name="connsiteX2" fmla="*/ 28575 w 783431"/>
              <a:gd name="connsiteY2" fmla="*/ 742950 h 1131094"/>
              <a:gd name="connsiteX3" fmla="*/ 76200 w 783431"/>
              <a:gd name="connsiteY3" fmla="*/ 814388 h 1131094"/>
              <a:gd name="connsiteX4" fmla="*/ 102394 w 783431"/>
              <a:gd name="connsiteY4" fmla="*/ 919163 h 1131094"/>
              <a:gd name="connsiteX5" fmla="*/ 116681 w 783431"/>
              <a:gd name="connsiteY5" fmla="*/ 947738 h 1131094"/>
              <a:gd name="connsiteX6" fmla="*/ 130969 w 783431"/>
              <a:gd name="connsiteY6" fmla="*/ 995363 h 1131094"/>
              <a:gd name="connsiteX7" fmla="*/ 150019 w 783431"/>
              <a:gd name="connsiteY7" fmla="*/ 1023938 h 1131094"/>
              <a:gd name="connsiteX8" fmla="*/ 159544 w 783431"/>
              <a:gd name="connsiteY8" fmla="*/ 1042988 h 1131094"/>
              <a:gd name="connsiteX9" fmla="*/ 197644 w 783431"/>
              <a:gd name="connsiteY9" fmla="*/ 1069182 h 1131094"/>
              <a:gd name="connsiteX10" fmla="*/ 245269 w 783431"/>
              <a:gd name="connsiteY10" fmla="*/ 1090613 h 1131094"/>
              <a:gd name="connsiteX11" fmla="*/ 264318 w 783431"/>
              <a:gd name="connsiteY11" fmla="*/ 1131094 h 1131094"/>
              <a:gd name="connsiteX12" fmla="*/ 604837 w 783431"/>
              <a:gd name="connsiteY12" fmla="*/ 1085850 h 1131094"/>
              <a:gd name="connsiteX13" fmla="*/ 585787 w 783431"/>
              <a:gd name="connsiteY13" fmla="*/ 1035844 h 1131094"/>
              <a:gd name="connsiteX14" fmla="*/ 607219 w 783431"/>
              <a:gd name="connsiteY14" fmla="*/ 1021557 h 1131094"/>
              <a:gd name="connsiteX15" fmla="*/ 645319 w 783431"/>
              <a:gd name="connsiteY15" fmla="*/ 1016794 h 1131094"/>
              <a:gd name="connsiteX16" fmla="*/ 685800 w 783431"/>
              <a:gd name="connsiteY16" fmla="*/ 997744 h 1131094"/>
              <a:gd name="connsiteX17" fmla="*/ 716756 w 783431"/>
              <a:gd name="connsiteY17" fmla="*/ 1002507 h 1131094"/>
              <a:gd name="connsiteX18" fmla="*/ 738187 w 783431"/>
              <a:gd name="connsiteY18" fmla="*/ 969169 h 1131094"/>
              <a:gd name="connsiteX19" fmla="*/ 783431 w 783431"/>
              <a:gd name="connsiteY19" fmla="*/ 933450 h 1131094"/>
              <a:gd name="connsiteX20" fmla="*/ 776287 w 783431"/>
              <a:gd name="connsiteY20" fmla="*/ 907257 h 1131094"/>
              <a:gd name="connsiteX21" fmla="*/ 752475 w 783431"/>
              <a:gd name="connsiteY21" fmla="*/ 888207 h 1131094"/>
              <a:gd name="connsiteX22" fmla="*/ 752475 w 783431"/>
              <a:gd name="connsiteY22" fmla="*/ 864394 h 1131094"/>
              <a:gd name="connsiteX23" fmla="*/ 728662 w 783431"/>
              <a:gd name="connsiteY23" fmla="*/ 852488 h 1131094"/>
              <a:gd name="connsiteX24" fmla="*/ 711994 w 783431"/>
              <a:gd name="connsiteY24" fmla="*/ 802482 h 1131094"/>
              <a:gd name="connsiteX25" fmla="*/ 688181 w 783431"/>
              <a:gd name="connsiteY25" fmla="*/ 814388 h 1131094"/>
              <a:gd name="connsiteX26" fmla="*/ 659606 w 783431"/>
              <a:gd name="connsiteY26" fmla="*/ 814388 h 1131094"/>
              <a:gd name="connsiteX27" fmla="*/ 647700 w 783431"/>
              <a:gd name="connsiteY27" fmla="*/ 847725 h 1131094"/>
              <a:gd name="connsiteX28" fmla="*/ 623887 w 783431"/>
              <a:gd name="connsiteY28" fmla="*/ 847725 h 1131094"/>
              <a:gd name="connsiteX29" fmla="*/ 576262 w 783431"/>
              <a:gd name="connsiteY29" fmla="*/ 828675 h 1131094"/>
              <a:gd name="connsiteX30" fmla="*/ 554831 w 783431"/>
              <a:gd name="connsiteY30" fmla="*/ 816769 h 1131094"/>
              <a:gd name="connsiteX31" fmla="*/ 547687 w 783431"/>
              <a:gd name="connsiteY31" fmla="*/ 783432 h 1131094"/>
              <a:gd name="connsiteX32" fmla="*/ 561975 w 783431"/>
              <a:gd name="connsiteY32" fmla="*/ 754857 h 1131094"/>
              <a:gd name="connsiteX33" fmla="*/ 533400 w 783431"/>
              <a:gd name="connsiteY33" fmla="*/ 733425 h 1131094"/>
              <a:gd name="connsiteX34" fmla="*/ 509587 w 783431"/>
              <a:gd name="connsiteY34" fmla="*/ 711994 h 1131094"/>
              <a:gd name="connsiteX35" fmla="*/ 473869 w 783431"/>
              <a:gd name="connsiteY35" fmla="*/ 711994 h 1131094"/>
              <a:gd name="connsiteX36" fmla="*/ 435769 w 783431"/>
              <a:gd name="connsiteY36" fmla="*/ 711994 h 1131094"/>
              <a:gd name="connsiteX37" fmla="*/ 438150 w 783431"/>
              <a:gd name="connsiteY37" fmla="*/ 669132 h 1131094"/>
              <a:gd name="connsiteX38" fmla="*/ 428625 w 783431"/>
              <a:gd name="connsiteY38" fmla="*/ 642938 h 1131094"/>
              <a:gd name="connsiteX39" fmla="*/ 423862 w 783431"/>
              <a:gd name="connsiteY39" fmla="*/ 607219 h 1131094"/>
              <a:gd name="connsiteX40" fmla="*/ 426244 w 783431"/>
              <a:gd name="connsiteY40" fmla="*/ 578644 h 1131094"/>
              <a:gd name="connsiteX41" fmla="*/ 440531 w 783431"/>
              <a:gd name="connsiteY41" fmla="*/ 566738 h 1131094"/>
              <a:gd name="connsiteX42" fmla="*/ 450056 w 783431"/>
              <a:gd name="connsiteY42" fmla="*/ 535782 h 1131094"/>
              <a:gd name="connsiteX43" fmla="*/ 457200 w 783431"/>
              <a:gd name="connsiteY43" fmla="*/ 519113 h 1131094"/>
              <a:gd name="connsiteX44" fmla="*/ 481012 w 783431"/>
              <a:gd name="connsiteY44" fmla="*/ 526257 h 1131094"/>
              <a:gd name="connsiteX45" fmla="*/ 495300 w 783431"/>
              <a:gd name="connsiteY45" fmla="*/ 576263 h 1131094"/>
              <a:gd name="connsiteX46" fmla="*/ 507206 w 783431"/>
              <a:gd name="connsiteY46" fmla="*/ 581025 h 1131094"/>
              <a:gd name="connsiteX47" fmla="*/ 526256 w 783431"/>
              <a:gd name="connsiteY47" fmla="*/ 583407 h 1131094"/>
              <a:gd name="connsiteX48" fmla="*/ 554831 w 783431"/>
              <a:gd name="connsiteY48" fmla="*/ 583407 h 1131094"/>
              <a:gd name="connsiteX49" fmla="*/ 557212 w 783431"/>
              <a:gd name="connsiteY49" fmla="*/ 547688 h 1131094"/>
              <a:gd name="connsiteX50" fmla="*/ 545306 w 783431"/>
              <a:gd name="connsiteY50" fmla="*/ 502444 h 1131094"/>
              <a:gd name="connsiteX51" fmla="*/ 545306 w 783431"/>
              <a:gd name="connsiteY51" fmla="*/ 476250 h 1131094"/>
              <a:gd name="connsiteX52" fmla="*/ 581025 w 783431"/>
              <a:gd name="connsiteY52" fmla="*/ 454819 h 1131094"/>
              <a:gd name="connsiteX53" fmla="*/ 604837 w 783431"/>
              <a:gd name="connsiteY53" fmla="*/ 435769 h 1131094"/>
              <a:gd name="connsiteX54" fmla="*/ 640556 w 783431"/>
              <a:gd name="connsiteY54" fmla="*/ 414338 h 1131094"/>
              <a:gd name="connsiteX55" fmla="*/ 645319 w 783431"/>
              <a:gd name="connsiteY55" fmla="*/ 395288 h 1131094"/>
              <a:gd name="connsiteX56" fmla="*/ 633412 w 783431"/>
              <a:gd name="connsiteY56" fmla="*/ 371475 h 1131094"/>
              <a:gd name="connsiteX57" fmla="*/ 614362 w 783431"/>
              <a:gd name="connsiteY57" fmla="*/ 369094 h 1131094"/>
              <a:gd name="connsiteX58" fmla="*/ 609600 w 783431"/>
              <a:gd name="connsiteY58" fmla="*/ 366713 h 1131094"/>
              <a:gd name="connsiteX59" fmla="*/ 597694 w 783431"/>
              <a:gd name="connsiteY59" fmla="*/ 357188 h 1131094"/>
              <a:gd name="connsiteX60" fmla="*/ 611981 w 783431"/>
              <a:gd name="connsiteY60" fmla="*/ 345282 h 1131094"/>
              <a:gd name="connsiteX61" fmla="*/ 652462 w 783431"/>
              <a:gd name="connsiteY61" fmla="*/ 316707 h 1131094"/>
              <a:gd name="connsiteX62" fmla="*/ 678656 w 783431"/>
              <a:gd name="connsiteY62" fmla="*/ 264319 h 1131094"/>
              <a:gd name="connsiteX63" fmla="*/ 666750 w 783431"/>
              <a:gd name="connsiteY63" fmla="*/ 242888 h 1131094"/>
              <a:gd name="connsiteX64" fmla="*/ 638175 w 783431"/>
              <a:gd name="connsiteY64" fmla="*/ 219075 h 1131094"/>
              <a:gd name="connsiteX65" fmla="*/ 642937 w 783431"/>
              <a:gd name="connsiteY65" fmla="*/ 180975 h 1131094"/>
              <a:gd name="connsiteX66" fmla="*/ 673894 w 783431"/>
              <a:gd name="connsiteY66" fmla="*/ 171450 h 1131094"/>
              <a:gd name="connsiteX67" fmla="*/ 700087 w 783431"/>
              <a:gd name="connsiteY67" fmla="*/ 142875 h 1131094"/>
              <a:gd name="connsiteX68" fmla="*/ 700087 w 783431"/>
              <a:gd name="connsiteY68" fmla="*/ 111919 h 1131094"/>
              <a:gd name="connsiteX69" fmla="*/ 666750 w 783431"/>
              <a:gd name="connsiteY69" fmla="*/ 107157 h 1131094"/>
              <a:gd name="connsiteX70" fmla="*/ 645319 w 783431"/>
              <a:gd name="connsiteY70" fmla="*/ 102394 h 1131094"/>
              <a:gd name="connsiteX71" fmla="*/ 645319 w 783431"/>
              <a:gd name="connsiteY71" fmla="*/ 102394 h 1131094"/>
              <a:gd name="connsiteX72" fmla="*/ 678656 w 783431"/>
              <a:gd name="connsiteY72" fmla="*/ 69057 h 1131094"/>
              <a:gd name="connsiteX73" fmla="*/ 685800 w 783431"/>
              <a:gd name="connsiteY73" fmla="*/ 40482 h 1131094"/>
              <a:gd name="connsiteX74" fmla="*/ 678656 w 783431"/>
              <a:gd name="connsiteY74" fmla="*/ 21432 h 1131094"/>
              <a:gd name="connsiteX75" fmla="*/ 695325 w 783431"/>
              <a:gd name="connsiteY75" fmla="*/ 2382 h 1131094"/>
              <a:gd name="connsiteX76" fmla="*/ 628650 w 783431"/>
              <a:gd name="connsiteY76" fmla="*/ 0 h 1131094"/>
              <a:gd name="connsiteX77" fmla="*/ 552450 w 783431"/>
              <a:gd name="connsiteY77" fmla="*/ 52388 h 1131094"/>
              <a:gd name="connsiteX78" fmla="*/ 538162 w 783431"/>
              <a:gd name="connsiteY78" fmla="*/ 90488 h 1131094"/>
              <a:gd name="connsiteX79" fmla="*/ 445294 w 783431"/>
              <a:gd name="connsiteY79" fmla="*/ 126207 h 1131094"/>
              <a:gd name="connsiteX80" fmla="*/ 397669 w 783431"/>
              <a:gd name="connsiteY80" fmla="*/ 159544 h 1131094"/>
              <a:gd name="connsiteX81" fmla="*/ 376237 w 783431"/>
              <a:gd name="connsiteY81" fmla="*/ 190500 h 1131094"/>
              <a:gd name="connsiteX82" fmla="*/ 350044 w 783431"/>
              <a:gd name="connsiteY82" fmla="*/ 140494 h 1131094"/>
              <a:gd name="connsiteX83" fmla="*/ 316706 w 783431"/>
              <a:gd name="connsiteY83" fmla="*/ 140494 h 1131094"/>
              <a:gd name="connsiteX84" fmla="*/ 304800 w 783431"/>
              <a:gd name="connsiteY84" fmla="*/ 166688 h 1131094"/>
              <a:gd name="connsiteX85" fmla="*/ 280987 w 783431"/>
              <a:gd name="connsiteY85" fmla="*/ 230982 h 1131094"/>
              <a:gd name="connsiteX86" fmla="*/ 154781 w 783431"/>
              <a:gd name="connsiteY86" fmla="*/ 223838 h 1131094"/>
              <a:gd name="connsiteX87" fmla="*/ 140494 w 783431"/>
              <a:gd name="connsiteY87" fmla="*/ 245269 h 1131094"/>
              <a:gd name="connsiteX88" fmla="*/ 138112 w 783431"/>
              <a:gd name="connsiteY88" fmla="*/ 280988 h 1131094"/>
              <a:gd name="connsiteX89" fmla="*/ 66675 w 783431"/>
              <a:gd name="connsiteY89" fmla="*/ 309563 h 1131094"/>
              <a:gd name="connsiteX90" fmla="*/ 54769 w 783431"/>
              <a:gd name="connsiteY90" fmla="*/ 323850 h 1131094"/>
              <a:gd name="connsiteX91" fmla="*/ 66675 w 783431"/>
              <a:gd name="connsiteY91" fmla="*/ 381000 h 1131094"/>
              <a:gd name="connsiteX92" fmla="*/ 19050 w 783431"/>
              <a:gd name="connsiteY92" fmla="*/ 423863 h 1131094"/>
              <a:gd name="connsiteX93" fmla="*/ 26194 w 783431"/>
              <a:gd name="connsiteY93" fmla="*/ 490538 h 1131094"/>
              <a:gd name="connsiteX94" fmla="*/ 33337 w 783431"/>
              <a:gd name="connsiteY94" fmla="*/ 554832 h 1131094"/>
              <a:gd name="connsiteX95" fmla="*/ 0 w 783431"/>
              <a:gd name="connsiteY95" fmla="*/ 614363 h 1131094"/>
              <a:gd name="connsiteX0" fmla="*/ 0 w 783431"/>
              <a:gd name="connsiteY0" fmla="*/ 614363 h 1131094"/>
              <a:gd name="connsiteX1" fmla="*/ 21431 w 783431"/>
              <a:gd name="connsiteY1" fmla="*/ 661988 h 1131094"/>
              <a:gd name="connsiteX2" fmla="*/ 28575 w 783431"/>
              <a:gd name="connsiteY2" fmla="*/ 742950 h 1131094"/>
              <a:gd name="connsiteX3" fmla="*/ 76200 w 783431"/>
              <a:gd name="connsiteY3" fmla="*/ 814388 h 1131094"/>
              <a:gd name="connsiteX4" fmla="*/ 102394 w 783431"/>
              <a:gd name="connsiteY4" fmla="*/ 919163 h 1131094"/>
              <a:gd name="connsiteX5" fmla="*/ 116681 w 783431"/>
              <a:gd name="connsiteY5" fmla="*/ 947738 h 1131094"/>
              <a:gd name="connsiteX6" fmla="*/ 130969 w 783431"/>
              <a:gd name="connsiteY6" fmla="*/ 995363 h 1131094"/>
              <a:gd name="connsiteX7" fmla="*/ 150019 w 783431"/>
              <a:gd name="connsiteY7" fmla="*/ 1023938 h 1131094"/>
              <a:gd name="connsiteX8" fmla="*/ 159544 w 783431"/>
              <a:gd name="connsiteY8" fmla="*/ 1042988 h 1131094"/>
              <a:gd name="connsiteX9" fmla="*/ 197644 w 783431"/>
              <a:gd name="connsiteY9" fmla="*/ 1069182 h 1131094"/>
              <a:gd name="connsiteX10" fmla="*/ 245269 w 783431"/>
              <a:gd name="connsiteY10" fmla="*/ 1090613 h 1131094"/>
              <a:gd name="connsiteX11" fmla="*/ 264318 w 783431"/>
              <a:gd name="connsiteY11" fmla="*/ 1131094 h 1131094"/>
              <a:gd name="connsiteX12" fmla="*/ 323850 w 783431"/>
              <a:gd name="connsiteY12" fmla="*/ 1123949 h 1131094"/>
              <a:gd name="connsiteX13" fmla="*/ 604837 w 783431"/>
              <a:gd name="connsiteY13" fmla="*/ 1085850 h 1131094"/>
              <a:gd name="connsiteX14" fmla="*/ 585787 w 783431"/>
              <a:gd name="connsiteY14" fmla="*/ 1035844 h 1131094"/>
              <a:gd name="connsiteX15" fmla="*/ 607219 w 783431"/>
              <a:gd name="connsiteY15" fmla="*/ 1021557 h 1131094"/>
              <a:gd name="connsiteX16" fmla="*/ 645319 w 783431"/>
              <a:gd name="connsiteY16" fmla="*/ 1016794 h 1131094"/>
              <a:gd name="connsiteX17" fmla="*/ 685800 w 783431"/>
              <a:gd name="connsiteY17" fmla="*/ 997744 h 1131094"/>
              <a:gd name="connsiteX18" fmla="*/ 716756 w 783431"/>
              <a:gd name="connsiteY18" fmla="*/ 1002507 h 1131094"/>
              <a:gd name="connsiteX19" fmla="*/ 738187 w 783431"/>
              <a:gd name="connsiteY19" fmla="*/ 969169 h 1131094"/>
              <a:gd name="connsiteX20" fmla="*/ 783431 w 783431"/>
              <a:gd name="connsiteY20" fmla="*/ 933450 h 1131094"/>
              <a:gd name="connsiteX21" fmla="*/ 776287 w 783431"/>
              <a:gd name="connsiteY21" fmla="*/ 907257 h 1131094"/>
              <a:gd name="connsiteX22" fmla="*/ 752475 w 783431"/>
              <a:gd name="connsiteY22" fmla="*/ 888207 h 1131094"/>
              <a:gd name="connsiteX23" fmla="*/ 752475 w 783431"/>
              <a:gd name="connsiteY23" fmla="*/ 864394 h 1131094"/>
              <a:gd name="connsiteX24" fmla="*/ 728662 w 783431"/>
              <a:gd name="connsiteY24" fmla="*/ 852488 h 1131094"/>
              <a:gd name="connsiteX25" fmla="*/ 711994 w 783431"/>
              <a:gd name="connsiteY25" fmla="*/ 802482 h 1131094"/>
              <a:gd name="connsiteX26" fmla="*/ 688181 w 783431"/>
              <a:gd name="connsiteY26" fmla="*/ 814388 h 1131094"/>
              <a:gd name="connsiteX27" fmla="*/ 659606 w 783431"/>
              <a:gd name="connsiteY27" fmla="*/ 814388 h 1131094"/>
              <a:gd name="connsiteX28" fmla="*/ 647700 w 783431"/>
              <a:gd name="connsiteY28" fmla="*/ 847725 h 1131094"/>
              <a:gd name="connsiteX29" fmla="*/ 623887 w 783431"/>
              <a:gd name="connsiteY29" fmla="*/ 847725 h 1131094"/>
              <a:gd name="connsiteX30" fmla="*/ 576262 w 783431"/>
              <a:gd name="connsiteY30" fmla="*/ 828675 h 1131094"/>
              <a:gd name="connsiteX31" fmla="*/ 554831 w 783431"/>
              <a:gd name="connsiteY31" fmla="*/ 816769 h 1131094"/>
              <a:gd name="connsiteX32" fmla="*/ 547687 w 783431"/>
              <a:gd name="connsiteY32" fmla="*/ 783432 h 1131094"/>
              <a:gd name="connsiteX33" fmla="*/ 561975 w 783431"/>
              <a:gd name="connsiteY33" fmla="*/ 754857 h 1131094"/>
              <a:gd name="connsiteX34" fmla="*/ 533400 w 783431"/>
              <a:gd name="connsiteY34" fmla="*/ 733425 h 1131094"/>
              <a:gd name="connsiteX35" fmla="*/ 509587 w 783431"/>
              <a:gd name="connsiteY35" fmla="*/ 711994 h 1131094"/>
              <a:gd name="connsiteX36" fmla="*/ 473869 w 783431"/>
              <a:gd name="connsiteY36" fmla="*/ 711994 h 1131094"/>
              <a:gd name="connsiteX37" fmla="*/ 435769 w 783431"/>
              <a:gd name="connsiteY37" fmla="*/ 711994 h 1131094"/>
              <a:gd name="connsiteX38" fmla="*/ 438150 w 783431"/>
              <a:gd name="connsiteY38" fmla="*/ 669132 h 1131094"/>
              <a:gd name="connsiteX39" fmla="*/ 428625 w 783431"/>
              <a:gd name="connsiteY39" fmla="*/ 642938 h 1131094"/>
              <a:gd name="connsiteX40" fmla="*/ 423862 w 783431"/>
              <a:gd name="connsiteY40" fmla="*/ 607219 h 1131094"/>
              <a:gd name="connsiteX41" fmla="*/ 426244 w 783431"/>
              <a:gd name="connsiteY41" fmla="*/ 578644 h 1131094"/>
              <a:gd name="connsiteX42" fmla="*/ 440531 w 783431"/>
              <a:gd name="connsiteY42" fmla="*/ 566738 h 1131094"/>
              <a:gd name="connsiteX43" fmla="*/ 450056 w 783431"/>
              <a:gd name="connsiteY43" fmla="*/ 535782 h 1131094"/>
              <a:gd name="connsiteX44" fmla="*/ 457200 w 783431"/>
              <a:gd name="connsiteY44" fmla="*/ 519113 h 1131094"/>
              <a:gd name="connsiteX45" fmla="*/ 481012 w 783431"/>
              <a:gd name="connsiteY45" fmla="*/ 526257 h 1131094"/>
              <a:gd name="connsiteX46" fmla="*/ 495300 w 783431"/>
              <a:gd name="connsiteY46" fmla="*/ 576263 h 1131094"/>
              <a:gd name="connsiteX47" fmla="*/ 507206 w 783431"/>
              <a:gd name="connsiteY47" fmla="*/ 581025 h 1131094"/>
              <a:gd name="connsiteX48" fmla="*/ 526256 w 783431"/>
              <a:gd name="connsiteY48" fmla="*/ 583407 h 1131094"/>
              <a:gd name="connsiteX49" fmla="*/ 554831 w 783431"/>
              <a:gd name="connsiteY49" fmla="*/ 583407 h 1131094"/>
              <a:gd name="connsiteX50" fmla="*/ 557212 w 783431"/>
              <a:gd name="connsiteY50" fmla="*/ 547688 h 1131094"/>
              <a:gd name="connsiteX51" fmla="*/ 545306 w 783431"/>
              <a:gd name="connsiteY51" fmla="*/ 502444 h 1131094"/>
              <a:gd name="connsiteX52" fmla="*/ 545306 w 783431"/>
              <a:gd name="connsiteY52" fmla="*/ 476250 h 1131094"/>
              <a:gd name="connsiteX53" fmla="*/ 581025 w 783431"/>
              <a:gd name="connsiteY53" fmla="*/ 454819 h 1131094"/>
              <a:gd name="connsiteX54" fmla="*/ 604837 w 783431"/>
              <a:gd name="connsiteY54" fmla="*/ 435769 h 1131094"/>
              <a:gd name="connsiteX55" fmla="*/ 640556 w 783431"/>
              <a:gd name="connsiteY55" fmla="*/ 414338 h 1131094"/>
              <a:gd name="connsiteX56" fmla="*/ 645319 w 783431"/>
              <a:gd name="connsiteY56" fmla="*/ 395288 h 1131094"/>
              <a:gd name="connsiteX57" fmla="*/ 633412 w 783431"/>
              <a:gd name="connsiteY57" fmla="*/ 371475 h 1131094"/>
              <a:gd name="connsiteX58" fmla="*/ 614362 w 783431"/>
              <a:gd name="connsiteY58" fmla="*/ 369094 h 1131094"/>
              <a:gd name="connsiteX59" fmla="*/ 609600 w 783431"/>
              <a:gd name="connsiteY59" fmla="*/ 366713 h 1131094"/>
              <a:gd name="connsiteX60" fmla="*/ 597694 w 783431"/>
              <a:gd name="connsiteY60" fmla="*/ 357188 h 1131094"/>
              <a:gd name="connsiteX61" fmla="*/ 611981 w 783431"/>
              <a:gd name="connsiteY61" fmla="*/ 345282 h 1131094"/>
              <a:gd name="connsiteX62" fmla="*/ 652462 w 783431"/>
              <a:gd name="connsiteY62" fmla="*/ 316707 h 1131094"/>
              <a:gd name="connsiteX63" fmla="*/ 678656 w 783431"/>
              <a:gd name="connsiteY63" fmla="*/ 264319 h 1131094"/>
              <a:gd name="connsiteX64" fmla="*/ 666750 w 783431"/>
              <a:gd name="connsiteY64" fmla="*/ 242888 h 1131094"/>
              <a:gd name="connsiteX65" fmla="*/ 638175 w 783431"/>
              <a:gd name="connsiteY65" fmla="*/ 219075 h 1131094"/>
              <a:gd name="connsiteX66" fmla="*/ 642937 w 783431"/>
              <a:gd name="connsiteY66" fmla="*/ 180975 h 1131094"/>
              <a:gd name="connsiteX67" fmla="*/ 673894 w 783431"/>
              <a:gd name="connsiteY67" fmla="*/ 171450 h 1131094"/>
              <a:gd name="connsiteX68" fmla="*/ 700087 w 783431"/>
              <a:gd name="connsiteY68" fmla="*/ 142875 h 1131094"/>
              <a:gd name="connsiteX69" fmla="*/ 700087 w 783431"/>
              <a:gd name="connsiteY69" fmla="*/ 111919 h 1131094"/>
              <a:gd name="connsiteX70" fmla="*/ 666750 w 783431"/>
              <a:gd name="connsiteY70" fmla="*/ 107157 h 1131094"/>
              <a:gd name="connsiteX71" fmla="*/ 645319 w 783431"/>
              <a:gd name="connsiteY71" fmla="*/ 102394 h 1131094"/>
              <a:gd name="connsiteX72" fmla="*/ 645319 w 783431"/>
              <a:gd name="connsiteY72" fmla="*/ 102394 h 1131094"/>
              <a:gd name="connsiteX73" fmla="*/ 678656 w 783431"/>
              <a:gd name="connsiteY73" fmla="*/ 69057 h 1131094"/>
              <a:gd name="connsiteX74" fmla="*/ 685800 w 783431"/>
              <a:gd name="connsiteY74" fmla="*/ 40482 h 1131094"/>
              <a:gd name="connsiteX75" fmla="*/ 678656 w 783431"/>
              <a:gd name="connsiteY75" fmla="*/ 21432 h 1131094"/>
              <a:gd name="connsiteX76" fmla="*/ 695325 w 783431"/>
              <a:gd name="connsiteY76" fmla="*/ 2382 h 1131094"/>
              <a:gd name="connsiteX77" fmla="*/ 628650 w 783431"/>
              <a:gd name="connsiteY77" fmla="*/ 0 h 1131094"/>
              <a:gd name="connsiteX78" fmla="*/ 552450 w 783431"/>
              <a:gd name="connsiteY78" fmla="*/ 52388 h 1131094"/>
              <a:gd name="connsiteX79" fmla="*/ 538162 w 783431"/>
              <a:gd name="connsiteY79" fmla="*/ 90488 h 1131094"/>
              <a:gd name="connsiteX80" fmla="*/ 445294 w 783431"/>
              <a:gd name="connsiteY80" fmla="*/ 126207 h 1131094"/>
              <a:gd name="connsiteX81" fmla="*/ 397669 w 783431"/>
              <a:gd name="connsiteY81" fmla="*/ 159544 h 1131094"/>
              <a:gd name="connsiteX82" fmla="*/ 376237 w 783431"/>
              <a:gd name="connsiteY82" fmla="*/ 190500 h 1131094"/>
              <a:gd name="connsiteX83" fmla="*/ 350044 w 783431"/>
              <a:gd name="connsiteY83" fmla="*/ 140494 h 1131094"/>
              <a:gd name="connsiteX84" fmla="*/ 316706 w 783431"/>
              <a:gd name="connsiteY84" fmla="*/ 140494 h 1131094"/>
              <a:gd name="connsiteX85" fmla="*/ 304800 w 783431"/>
              <a:gd name="connsiteY85" fmla="*/ 166688 h 1131094"/>
              <a:gd name="connsiteX86" fmla="*/ 280987 w 783431"/>
              <a:gd name="connsiteY86" fmla="*/ 230982 h 1131094"/>
              <a:gd name="connsiteX87" fmla="*/ 154781 w 783431"/>
              <a:gd name="connsiteY87" fmla="*/ 223838 h 1131094"/>
              <a:gd name="connsiteX88" fmla="*/ 140494 w 783431"/>
              <a:gd name="connsiteY88" fmla="*/ 245269 h 1131094"/>
              <a:gd name="connsiteX89" fmla="*/ 138112 w 783431"/>
              <a:gd name="connsiteY89" fmla="*/ 280988 h 1131094"/>
              <a:gd name="connsiteX90" fmla="*/ 66675 w 783431"/>
              <a:gd name="connsiteY90" fmla="*/ 309563 h 1131094"/>
              <a:gd name="connsiteX91" fmla="*/ 54769 w 783431"/>
              <a:gd name="connsiteY91" fmla="*/ 323850 h 1131094"/>
              <a:gd name="connsiteX92" fmla="*/ 66675 w 783431"/>
              <a:gd name="connsiteY92" fmla="*/ 381000 h 1131094"/>
              <a:gd name="connsiteX93" fmla="*/ 19050 w 783431"/>
              <a:gd name="connsiteY93" fmla="*/ 423863 h 1131094"/>
              <a:gd name="connsiteX94" fmla="*/ 26194 w 783431"/>
              <a:gd name="connsiteY94" fmla="*/ 490538 h 1131094"/>
              <a:gd name="connsiteX95" fmla="*/ 33337 w 783431"/>
              <a:gd name="connsiteY95" fmla="*/ 554832 h 1131094"/>
              <a:gd name="connsiteX96" fmla="*/ 0 w 783431"/>
              <a:gd name="connsiteY96" fmla="*/ 614363 h 1131094"/>
              <a:gd name="connsiteX0" fmla="*/ 0 w 783431"/>
              <a:gd name="connsiteY0" fmla="*/ 614363 h 1164431"/>
              <a:gd name="connsiteX1" fmla="*/ 21431 w 783431"/>
              <a:gd name="connsiteY1" fmla="*/ 661988 h 1164431"/>
              <a:gd name="connsiteX2" fmla="*/ 28575 w 783431"/>
              <a:gd name="connsiteY2" fmla="*/ 742950 h 1164431"/>
              <a:gd name="connsiteX3" fmla="*/ 76200 w 783431"/>
              <a:gd name="connsiteY3" fmla="*/ 814388 h 1164431"/>
              <a:gd name="connsiteX4" fmla="*/ 102394 w 783431"/>
              <a:gd name="connsiteY4" fmla="*/ 919163 h 1164431"/>
              <a:gd name="connsiteX5" fmla="*/ 116681 w 783431"/>
              <a:gd name="connsiteY5" fmla="*/ 947738 h 1164431"/>
              <a:gd name="connsiteX6" fmla="*/ 130969 w 783431"/>
              <a:gd name="connsiteY6" fmla="*/ 995363 h 1164431"/>
              <a:gd name="connsiteX7" fmla="*/ 150019 w 783431"/>
              <a:gd name="connsiteY7" fmla="*/ 1023938 h 1164431"/>
              <a:gd name="connsiteX8" fmla="*/ 159544 w 783431"/>
              <a:gd name="connsiteY8" fmla="*/ 1042988 h 1164431"/>
              <a:gd name="connsiteX9" fmla="*/ 197644 w 783431"/>
              <a:gd name="connsiteY9" fmla="*/ 1069182 h 1164431"/>
              <a:gd name="connsiteX10" fmla="*/ 245269 w 783431"/>
              <a:gd name="connsiteY10" fmla="*/ 1090613 h 1164431"/>
              <a:gd name="connsiteX11" fmla="*/ 264318 w 783431"/>
              <a:gd name="connsiteY11" fmla="*/ 1131094 h 1164431"/>
              <a:gd name="connsiteX12" fmla="*/ 295275 w 783431"/>
              <a:gd name="connsiteY12" fmla="*/ 1164431 h 1164431"/>
              <a:gd name="connsiteX13" fmla="*/ 604837 w 783431"/>
              <a:gd name="connsiteY13" fmla="*/ 1085850 h 1164431"/>
              <a:gd name="connsiteX14" fmla="*/ 585787 w 783431"/>
              <a:gd name="connsiteY14" fmla="*/ 1035844 h 1164431"/>
              <a:gd name="connsiteX15" fmla="*/ 607219 w 783431"/>
              <a:gd name="connsiteY15" fmla="*/ 1021557 h 1164431"/>
              <a:gd name="connsiteX16" fmla="*/ 645319 w 783431"/>
              <a:gd name="connsiteY16" fmla="*/ 1016794 h 1164431"/>
              <a:gd name="connsiteX17" fmla="*/ 685800 w 783431"/>
              <a:gd name="connsiteY17" fmla="*/ 997744 h 1164431"/>
              <a:gd name="connsiteX18" fmla="*/ 716756 w 783431"/>
              <a:gd name="connsiteY18" fmla="*/ 1002507 h 1164431"/>
              <a:gd name="connsiteX19" fmla="*/ 738187 w 783431"/>
              <a:gd name="connsiteY19" fmla="*/ 969169 h 1164431"/>
              <a:gd name="connsiteX20" fmla="*/ 783431 w 783431"/>
              <a:gd name="connsiteY20" fmla="*/ 933450 h 1164431"/>
              <a:gd name="connsiteX21" fmla="*/ 776287 w 783431"/>
              <a:gd name="connsiteY21" fmla="*/ 907257 h 1164431"/>
              <a:gd name="connsiteX22" fmla="*/ 752475 w 783431"/>
              <a:gd name="connsiteY22" fmla="*/ 888207 h 1164431"/>
              <a:gd name="connsiteX23" fmla="*/ 752475 w 783431"/>
              <a:gd name="connsiteY23" fmla="*/ 864394 h 1164431"/>
              <a:gd name="connsiteX24" fmla="*/ 728662 w 783431"/>
              <a:gd name="connsiteY24" fmla="*/ 852488 h 1164431"/>
              <a:gd name="connsiteX25" fmla="*/ 711994 w 783431"/>
              <a:gd name="connsiteY25" fmla="*/ 802482 h 1164431"/>
              <a:gd name="connsiteX26" fmla="*/ 688181 w 783431"/>
              <a:gd name="connsiteY26" fmla="*/ 814388 h 1164431"/>
              <a:gd name="connsiteX27" fmla="*/ 659606 w 783431"/>
              <a:gd name="connsiteY27" fmla="*/ 814388 h 1164431"/>
              <a:gd name="connsiteX28" fmla="*/ 647700 w 783431"/>
              <a:gd name="connsiteY28" fmla="*/ 847725 h 1164431"/>
              <a:gd name="connsiteX29" fmla="*/ 623887 w 783431"/>
              <a:gd name="connsiteY29" fmla="*/ 847725 h 1164431"/>
              <a:gd name="connsiteX30" fmla="*/ 576262 w 783431"/>
              <a:gd name="connsiteY30" fmla="*/ 828675 h 1164431"/>
              <a:gd name="connsiteX31" fmla="*/ 554831 w 783431"/>
              <a:gd name="connsiteY31" fmla="*/ 816769 h 1164431"/>
              <a:gd name="connsiteX32" fmla="*/ 547687 w 783431"/>
              <a:gd name="connsiteY32" fmla="*/ 783432 h 1164431"/>
              <a:gd name="connsiteX33" fmla="*/ 561975 w 783431"/>
              <a:gd name="connsiteY33" fmla="*/ 754857 h 1164431"/>
              <a:gd name="connsiteX34" fmla="*/ 533400 w 783431"/>
              <a:gd name="connsiteY34" fmla="*/ 733425 h 1164431"/>
              <a:gd name="connsiteX35" fmla="*/ 509587 w 783431"/>
              <a:gd name="connsiteY35" fmla="*/ 711994 h 1164431"/>
              <a:gd name="connsiteX36" fmla="*/ 473869 w 783431"/>
              <a:gd name="connsiteY36" fmla="*/ 711994 h 1164431"/>
              <a:gd name="connsiteX37" fmla="*/ 435769 w 783431"/>
              <a:gd name="connsiteY37" fmla="*/ 711994 h 1164431"/>
              <a:gd name="connsiteX38" fmla="*/ 438150 w 783431"/>
              <a:gd name="connsiteY38" fmla="*/ 669132 h 1164431"/>
              <a:gd name="connsiteX39" fmla="*/ 428625 w 783431"/>
              <a:gd name="connsiteY39" fmla="*/ 642938 h 1164431"/>
              <a:gd name="connsiteX40" fmla="*/ 423862 w 783431"/>
              <a:gd name="connsiteY40" fmla="*/ 607219 h 1164431"/>
              <a:gd name="connsiteX41" fmla="*/ 426244 w 783431"/>
              <a:gd name="connsiteY41" fmla="*/ 578644 h 1164431"/>
              <a:gd name="connsiteX42" fmla="*/ 440531 w 783431"/>
              <a:gd name="connsiteY42" fmla="*/ 566738 h 1164431"/>
              <a:gd name="connsiteX43" fmla="*/ 450056 w 783431"/>
              <a:gd name="connsiteY43" fmla="*/ 535782 h 1164431"/>
              <a:gd name="connsiteX44" fmla="*/ 457200 w 783431"/>
              <a:gd name="connsiteY44" fmla="*/ 519113 h 1164431"/>
              <a:gd name="connsiteX45" fmla="*/ 481012 w 783431"/>
              <a:gd name="connsiteY45" fmla="*/ 526257 h 1164431"/>
              <a:gd name="connsiteX46" fmla="*/ 495300 w 783431"/>
              <a:gd name="connsiteY46" fmla="*/ 576263 h 1164431"/>
              <a:gd name="connsiteX47" fmla="*/ 507206 w 783431"/>
              <a:gd name="connsiteY47" fmla="*/ 581025 h 1164431"/>
              <a:gd name="connsiteX48" fmla="*/ 526256 w 783431"/>
              <a:gd name="connsiteY48" fmla="*/ 583407 h 1164431"/>
              <a:gd name="connsiteX49" fmla="*/ 554831 w 783431"/>
              <a:gd name="connsiteY49" fmla="*/ 583407 h 1164431"/>
              <a:gd name="connsiteX50" fmla="*/ 557212 w 783431"/>
              <a:gd name="connsiteY50" fmla="*/ 547688 h 1164431"/>
              <a:gd name="connsiteX51" fmla="*/ 545306 w 783431"/>
              <a:gd name="connsiteY51" fmla="*/ 502444 h 1164431"/>
              <a:gd name="connsiteX52" fmla="*/ 545306 w 783431"/>
              <a:gd name="connsiteY52" fmla="*/ 476250 h 1164431"/>
              <a:gd name="connsiteX53" fmla="*/ 581025 w 783431"/>
              <a:gd name="connsiteY53" fmla="*/ 454819 h 1164431"/>
              <a:gd name="connsiteX54" fmla="*/ 604837 w 783431"/>
              <a:gd name="connsiteY54" fmla="*/ 435769 h 1164431"/>
              <a:gd name="connsiteX55" fmla="*/ 640556 w 783431"/>
              <a:gd name="connsiteY55" fmla="*/ 414338 h 1164431"/>
              <a:gd name="connsiteX56" fmla="*/ 645319 w 783431"/>
              <a:gd name="connsiteY56" fmla="*/ 395288 h 1164431"/>
              <a:gd name="connsiteX57" fmla="*/ 633412 w 783431"/>
              <a:gd name="connsiteY57" fmla="*/ 371475 h 1164431"/>
              <a:gd name="connsiteX58" fmla="*/ 614362 w 783431"/>
              <a:gd name="connsiteY58" fmla="*/ 369094 h 1164431"/>
              <a:gd name="connsiteX59" fmla="*/ 609600 w 783431"/>
              <a:gd name="connsiteY59" fmla="*/ 366713 h 1164431"/>
              <a:gd name="connsiteX60" fmla="*/ 597694 w 783431"/>
              <a:gd name="connsiteY60" fmla="*/ 357188 h 1164431"/>
              <a:gd name="connsiteX61" fmla="*/ 611981 w 783431"/>
              <a:gd name="connsiteY61" fmla="*/ 345282 h 1164431"/>
              <a:gd name="connsiteX62" fmla="*/ 652462 w 783431"/>
              <a:gd name="connsiteY62" fmla="*/ 316707 h 1164431"/>
              <a:gd name="connsiteX63" fmla="*/ 678656 w 783431"/>
              <a:gd name="connsiteY63" fmla="*/ 264319 h 1164431"/>
              <a:gd name="connsiteX64" fmla="*/ 666750 w 783431"/>
              <a:gd name="connsiteY64" fmla="*/ 242888 h 1164431"/>
              <a:gd name="connsiteX65" fmla="*/ 638175 w 783431"/>
              <a:gd name="connsiteY65" fmla="*/ 219075 h 1164431"/>
              <a:gd name="connsiteX66" fmla="*/ 642937 w 783431"/>
              <a:gd name="connsiteY66" fmla="*/ 180975 h 1164431"/>
              <a:gd name="connsiteX67" fmla="*/ 673894 w 783431"/>
              <a:gd name="connsiteY67" fmla="*/ 171450 h 1164431"/>
              <a:gd name="connsiteX68" fmla="*/ 700087 w 783431"/>
              <a:gd name="connsiteY68" fmla="*/ 142875 h 1164431"/>
              <a:gd name="connsiteX69" fmla="*/ 700087 w 783431"/>
              <a:gd name="connsiteY69" fmla="*/ 111919 h 1164431"/>
              <a:gd name="connsiteX70" fmla="*/ 666750 w 783431"/>
              <a:gd name="connsiteY70" fmla="*/ 107157 h 1164431"/>
              <a:gd name="connsiteX71" fmla="*/ 645319 w 783431"/>
              <a:gd name="connsiteY71" fmla="*/ 102394 h 1164431"/>
              <a:gd name="connsiteX72" fmla="*/ 645319 w 783431"/>
              <a:gd name="connsiteY72" fmla="*/ 102394 h 1164431"/>
              <a:gd name="connsiteX73" fmla="*/ 678656 w 783431"/>
              <a:gd name="connsiteY73" fmla="*/ 69057 h 1164431"/>
              <a:gd name="connsiteX74" fmla="*/ 685800 w 783431"/>
              <a:gd name="connsiteY74" fmla="*/ 40482 h 1164431"/>
              <a:gd name="connsiteX75" fmla="*/ 678656 w 783431"/>
              <a:gd name="connsiteY75" fmla="*/ 21432 h 1164431"/>
              <a:gd name="connsiteX76" fmla="*/ 695325 w 783431"/>
              <a:gd name="connsiteY76" fmla="*/ 2382 h 1164431"/>
              <a:gd name="connsiteX77" fmla="*/ 628650 w 783431"/>
              <a:gd name="connsiteY77" fmla="*/ 0 h 1164431"/>
              <a:gd name="connsiteX78" fmla="*/ 552450 w 783431"/>
              <a:gd name="connsiteY78" fmla="*/ 52388 h 1164431"/>
              <a:gd name="connsiteX79" fmla="*/ 538162 w 783431"/>
              <a:gd name="connsiteY79" fmla="*/ 90488 h 1164431"/>
              <a:gd name="connsiteX80" fmla="*/ 445294 w 783431"/>
              <a:gd name="connsiteY80" fmla="*/ 126207 h 1164431"/>
              <a:gd name="connsiteX81" fmla="*/ 397669 w 783431"/>
              <a:gd name="connsiteY81" fmla="*/ 159544 h 1164431"/>
              <a:gd name="connsiteX82" fmla="*/ 376237 w 783431"/>
              <a:gd name="connsiteY82" fmla="*/ 190500 h 1164431"/>
              <a:gd name="connsiteX83" fmla="*/ 350044 w 783431"/>
              <a:gd name="connsiteY83" fmla="*/ 140494 h 1164431"/>
              <a:gd name="connsiteX84" fmla="*/ 316706 w 783431"/>
              <a:gd name="connsiteY84" fmla="*/ 140494 h 1164431"/>
              <a:gd name="connsiteX85" fmla="*/ 304800 w 783431"/>
              <a:gd name="connsiteY85" fmla="*/ 166688 h 1164431"/>
              <a:gd name="connsiteX86" fmla="*/ 280987 w 783431"/>
              <a:gd name="connsiteY86" fmla="*/ 230982 h 1164431"/>
              <a:gd name="connsiteX87" fmla="*/ 154781 w 783431"/>
              <a:gd name="connsiteY87" fmla="*/ 223838 h 1164431"/>
              <a:gd name="connsiteX88" fmla="*/ 140494 w 783431"/>
              <a:gd name="connsiteY88" fmla="*/ 245269 h 1164431"/>
              <a:gd name="connsiteX89" fmla="*/ 138112 w 783431"/>
              <a:gd name="connsiteY89" fmla="*/ 280988 h 1164431"/>
              <a:gd name="connsiteX90" fmla="*/ 66675 w 783431"/>
              <a:gd name="connsiteY90" fmla="*/ 309563 h 1164431"/>
              <a:gd name="connsiteX91" fmla="*/ 54769 w 783431"/>
              <a:gd name="connsiteY91" fmla="*/ 323850 h 1164431"/>
              <a:gd name="connsiteX92" fmla="*/ 66675 w 783431"/>
              <a:gd name="connsiteY92" fmla="*/ 381000 h 1164431"/>
              <a:gd name="connsiteX93" fmla="*/ 19050 w 783431"/>
              <a:gd name="connsiteY93" fmla="*/ 423863 h 1164431"/>
              <a:gd name="connsiteX94" fmla="*/ 26194 w 783431"/>
              <a:gd name="connsiteY94" fmla="*/ 490538 h 1164431"/>
              <a:gd name="connsiteX95" fmla="*/ 33337 w 783431"/>
              <a:gd name="connsiteY95" fmla="*/ 554832 h 1164431"/>
              <a:gd name="connsiteX96" fmla="*/ 0 w 783431"/>
              <a:gd name="connsiteY96" fmla="*/ 614363 h 1164431"/>
              <a:gd name="connsiteX0" fmla="*/ 0 w 783431"/>
              <a:gd name="connsiteY0" fmla="*/ 614363 h 1164431"/>
              <a:gd name="connsiteX1" fmla="*/ 21431 w 783431"/>
              <a:gd name="connsiteY1" fmla="*/ 661988 h 1164431"/>
              <a:gd name="connsiteX2" fmla="*/ 28575 w 783431"/>
              <a:gd name="connsiteY2" fmla="*/ 742950 h 1164431"/>
              <a:gd name="connsiteX3" fmla="*/ 76200 w 783431"/>
              <a:gd name="connsiteY3" fmla="*/ 814388 h 1164431"/>
              <a:gd name="connsiteX4" fmla="*/ 102394 w 783431"/>
              <a:gd name="connsiteY4" fmla="*/ 919163 h 1164431"/>
              <a:gd name="connsiteX5" fmla="*/ 116681 w 783431"/>
              <a:gd name="connsiteY5" fmla="*/ 947738 h 1164431"/>
              <a:gd name="connsiteX6" fmla="*/ 130969 w 783431"/>
              <a:gd name="connsiteY6" fmla="*/ 995363 h 1164431"/>
              <a:gd name="connsiteX7" fmla="*/ 150019 w 783431"/>
              <a:gd name="connsiteY7" fmla="*/ 1023938 h 1164431"/>
              <a:gd name="connsiteX8" fmla="*/ 159544 w 783431"/>
              <a:gd name="connsiteY8" fmla="*/ 1042988 h 1164431"/>
              <a:gd name="connsiteX9" fmla="*/ 197644 w 783431"/>
              <a:gd name="connsiteY9" fmla="*/ 1069182 h 1164431"/>
              <a:gd name="connsiteX10" fmla="*/ 245269 w 783431"/>
              <a:gd name="connsiteY10" fmla="*/ 1090613 h 1164431"/>
              <a:gd name="connsiteX11" fmla="*/ 264318 w 783431"/>
              <a:gd name="connsiteY11" fmla="*/ 1131094 h 1164431"/>
              <a:gd name="connsiteX12" fmla="*/ 295275 w 783431"/>
              <a:gd name="connsiteY12" fmla="*/ 1164431 h 1164431"/>
              <a:gd name="connsiteX13" fmla="*/ 354806 w 783431"/>
              <a:gd name="connsiteY13" fmla="*/ 1152524 h 1164431"/>
              <a:gd name="connsiteX14" fmla="*/ 604837 w 783431"/>
              <a:gd name="connsiteY14" fmla="*/ 1085850 h 1164431"/>
              <a:gd name="connsiteX15" fmla="*/ 585787 w 783431"/>
              <a:gd name="connsiteY15" fmla="*/ 1035844 h 1164431"/>
              <a:gd name="connsiteX16" fmla="*/ 607219 w 783431"/>
              <a:gd name="connsiteY16" fmla="*/ 1021557 h 1164431"/>
              <a:gd name="connsiteX17" fmla="*/ 645319 w 783431"/>
              <a:gd name="connsiteY17" fmla="*/ 1016794 h 1164431"/>
              <a:gd name="connsiteX18" fmla="*/ 685800 w 783431"/>
              <a:gd name="connsiteY18" fmla="*/ 997744 h 1164431"/>
              <a:gd name="connsiteX19" fmla="*/ 716756 w 783431"/>
              <a:gd name="connsiteY19" fmla="*/ 1002507 h 1164431"/>
              <a:gd name="connsiteX20" fmla="*/ 738187 w 783431"/>
              <a:gd name="connsiteY20" fmla="*/ 969169 h 1164431"/>
              <a:gd name="connsiteX21" fmla="*/ 783431 w 783431"/>
              <a:gd name="connsiteY21" fmla="*/ 933450 h 1164431"/>
              <a:gd name="connsiteX22" fmla="*/ 776287 w 783431"/>
              <a:gd name="connsiteY22" fmla="*/ 907257 h 1164431"/>
              <a:gd name="connsiteX23" fmla="*/ 752475 w 783431"/>
              <a:gd name="connsiteY23" fmla="*/ 888207 h 1164431"/>
              <a:gd name="connsiteX24" fmla="*/ 752475 w 783431"/>
              <a:gd name="connsiteY24" fmla="*/ 864394 h 1164431"/>
              <a:gd name="connsiteX25" fmla="*/ 728662 w 783431"/>
              <a:gd name="connsiteY25" fmla="*/ 852488 h 1164431"/>
              <a:gd name="connsiteX26" fmla="*/ 711994 w 783431"/>
              <a:gd name="connsiteY26" fmla="*/ 802482 h 1164431"/>
              <a:gd name="connsiteX27" fmla="*/ 688181 w 783431"/>
              <a:gd name="connsiteY27" fmla="*/ 814388 h 1164431"/>
              <a:gd name="connsiteX28" fmla="*/ 659606 w 783431"/>
              <a:gd name="connsiteY28" fmla="*/ 814388 h 1164431"/>
              <a:gd name="connsiteX29" fmla="*/ 647700 w 783431"/>
              <a:gd name="connsiteY29" fmla="*/ 847725 h 1164431"/>
              <a:gd name="connsiteX30" fmla="*/ 623887 w 783431"/>
              <a:gd name="connsiteY30" fmla="*/ 847725 h 1164431"/>
              <a:gd name="connsiteX31" fmla="*/ 576262 w 783431"/>
              <a:gd name="connsiteY31" fmla="*/ 828675 h 1164431"/>
              <a:gd name="connsiteX32" fmla="*/ 554831 w 783431"/>
              <a:gd name="connsiteY32" fmla="*/ 816769 h 1164431"/>
              <a:gd name="connsiteX33" fmla="*/ 547687 w 783431"/>
              <a:gd name="connsiteY33" fmla="*/ 783432 h 1164431"/>
              <a:gd name="connsiteX34" fmla="*/ 561975 w 783431"/>
              <a:gd name="connsiteY34" fmla="*/ 754857 h 1164431"/>
              <a:gd name="connsiteX35" fmla="*/ 533400 w 783431"/>
              <a:gd name="connsiteY35" fmla="*/ 733425 h 1164431"/>
              <a:gd name="connsiteX36" fmla="*/ 509587 w 783431"/>
              <a:gd name="connsiteY36" fmla="*/ 711994 h 1164431"/>
              <a:gd name="connsiteX37" fmla="*/ 473869 w 783431"/>
              <a:gd name="connsiteY37" fmla="*/ 711994 h 1164431"/>
              <a:gd name="connsiteX38" fmla="*/ 435769 w 783431"/>
              <a:gd name="connsiteY38" fmla="*/ 711994 h 1164431"/>
              <a:gd name="connsiteX39" fmla="*/ 438150 w 783431"/>
              <a:gd name="connsiteY39" fmla="*/ 669132 h 1164431"/>
              <a:gd name="connsiteX40" fmla="*/ 428625 w 783431"/>
              <a:gd name="connsiteY40" fmla="*/ 642938 h 1164431"/>
              <a:gd name="connsiteX41" fmla="*/ 423862 w 783431"/>
              <a:gd name="connsiteY41" fmla="*/ 607219 h 1164431"/>
              <a:gd name="connsiteX42" fmla="*/ 426244 w 783431"/>
              <a:gd name="connsiteY42" fmla="*/ 578644 h 1164431"/>
              <a:gd name="connsiteX43" fmla="*/ 440531 w 783431"/>
              <a:gd name="connsiteY43" fmla="*/ 566738 h 1164431"/>
              <a:gd name="connsiteX44" fmla="*/ 450056 w 783431"/>
              <a:gd name="connsiteY44" fmla="*/ 535782 h 1164431"/>
              <a:gd name="connsiteX45" fmla="*/ 457200 w 783431"/>
              <a:gd name="connsiteY45" fmla="*/ 519113 h 1164431"/>
              <a:gd name="connsiteX46" fmla="*/ 481012 w 783431"/>
              <a:gd name="connsiteY46" fmla="*/ 526257 h 1164431"/>
              <a:gd name="connsiteX47" fmla="*/ 495300 w 783431"/>
              <a:gd name="connsiteY47" fmla="*/ 576263 h 1164431"/>
              <a:gd name="connsiteX48" fmla="*/ 507206 w 783431"/>
              <a:gd name="connsiteY48" fmla="*/ 581025 h 1164431"/>
              <a:gd name="connsiteX49" fmla="*/ 526256 w 783431"/>
              <a:gd name="connsiteY49" fmla="*/ 583407 h 1164431"/>
              <a:gd name="connsiteX50" fmla="*/ 554831 w 783431"/>
              <a:gd name="connsiteY50" fmla="*/ 583407 h 1164431"/>
              <a:gd name="connsiteX51" fmla="*/ 557212 w 783431"/>
              <a:gd name="connsiteY51" fmla="*/ 547688 h 1164431"/>
              <a:gd name="connsiteX52" fmla="*/ 545306 w 783431"/>
              <a:gd name="connsiteY52" fmla="*/ 502444 h 1164431"/>
              <a:gd name="connsiteX53" fmla="*/ 545306 w 783431"/>
              <a:gd name="connsiteY53" fmla="*/ 476250 h 1164431"/>
              <a:gd name="connsiteX54" fmla="*/ 581025 w 783431"/>
              <a:gd name="connsiteY54" fmla="*/ 454819 h 1164431"/>
              <a:gd name="connsiteX55" fmla="*/ 604837 w 783431"/>
              <a:gd name="connsiteY55" fmla="*/ 435769 h 1164431"/>
              <a:gd name="connsiteX56" fmla="*/ 640556 w 783431"/>
              <a:gd name="connsiteY56" fmla="*/ 414338 h 1164431"/>
              <a:gd name="connsiteX57" fmla="*/ 645319 w 783431"/>
              <a:gd name="connsiteY57" fmla="*/ 395288 h 1164431"/>
              <a:gd name="connsiteX58" fmla="*/ 633412 w 783431"/>
              <a:gd name="connsiteY58" fmla="*/ 371475 h 1164431"/>
              <a:gd name="connsiteX59" fmla="*/ 614362 w 783431"/>
              <a:gd name="connsiteY59" fmla="*/ 369094 h 1164431"/>
              <a:gd name="connsiteX60" fmla="*/ 609600 w 783431"/>
              <a:gd name="connsiteY60" fmla="*/ 366713 h 1164431"/>
              <a:gd name="connsiteX61" fmla="*/ 597694 w 783431"/>
              <a:gd name="connsiteY61" fmla="*/ 357188 h 1164431"/>
              <a:gd name="connsiteX62" fmla="*/ 611981 w 783431"/>
              <a:gd name="connsiteY62" fmla="*/ 345282 h 1164431"/>
              <a:gd name="connsiteX63" fmla="*/ 652462 w 783431"/>
              <a:gd name="connsiteY63" fmla="*/ 316707 h 1164431"/>
              <a:gd name="connsiteX64" fmla="*/ 678656 w 783431"/>
              <a:gd name="connsiteY64" fmla="*/ 264319 h 1164431"/>
              <a:gd name="connsiteX65" fmla="*/ 666750 w 783431"/>
              <a:gd name="connsiteY65" fmla="*/ 242888 h 1164431"/>
              <a:gd name="connsiteX66" fmla="*/ 638175 w 783431"/>
              <a:gd name="connsiteY66" fmla="*/ 219075 h 1164431"/>
              <a:gd name="connsiteX67" fmla="*/ 642937 w 783431"/>
              <a:gd name="connsiteY67" fmla="*/ 180975 h 1164431"/>
              <a:gd name="connsiteX68" fmla="*/ 673894 w 783431"/>
              <a:gd name="connsiteY68" fmla="*/ 171450 h 1164431"/>
              <a:gd name="connsiteX69" fmla="*/ 700087 w 783431"/>
              <a:gd name="connsiteY69" fmla="*/ 142875 h 1164431"/>
              <a:gd name="connsiteX70" fmla="*/ 700087 w 783431"/>
              <a:gd name="connsiteY70" fmla="*/ 111919 h 1164431"/>
              <a:gd name="connsiteX71" fmla="*/ 666750 w 783431"/>
              <a:gd name="connsiteY71" fmla="*/ 107157 h 1164431"/>
              <a:gd name="connsiteX72" fmla="*/ 645319 w 783431"/>
              <a:gd name="connsiteY72" fmla="*/ 102394 h 1164431"/>
              <a:gd name="connsiteX73" fmla="*/ 645319 w 783431"/>
              <a:gd name="connsiteY73" fmla="*/ 102394 h 1164431"/>
              <a:gd name="connsiteX74" fmla="*/ 678656 w 783431"/>
              <a:gd name="connsiteY74" fmla="*/ 69057 h 1164431"/>
              <a:gd name="connsiteX75" fmla="*/ 685800 w 783431"/>
              <a:gd name="connsiteY75" fmla="*/ 40482 h 1164431"/>
              <a:gd name="connsiteX76" fmla="*/ 678656 w 783431"/>
              <a:gd name="connsiteY76" fmla="*/ 21432 h 1164431"/>
              <a:gd name="connsiteX77" fmla="*/ 695325 w 783431"/>
              <a:gd name="connsiteY77" fmla="*/ 2382 h 1164431"/>
              <a:gd name="connsiteX78" fmla="*/ 628650 w 783431"/>
              <a:gd name="connsiteY78" fmla="*/ 0 h 1164431"/>
              <a:gd name="connsiteX79" fmla="*/ 552450 w 783431"/>
              <a:gd name="connsiteY79" fmla="*/ 52388 h 1164431"/>
              <a:gd name="connsiteX80" fmla="*/ 538162 w 783431"/>
              <a:gd name="connsiteY80" fmla="*/ 90488 h 1164431"/>
              <a:gd name="connsiteX81" fmla="*/ 445294 w 783431"/>
              <a:gd name="connsiteY81" fmla="*/ 126207 h 1164431"/>
              <a:gd name="connsiteX82" fmla="*/ 397669 w 783431"/>
              <a:gd name="connsiteY82" fmla="*/ 159544 h 1164431"/>
              <a:gd name="connsiteX83" fmla="*/ 376237 w 783431"/>
              <a:gd name="connsiteY83" fmla="*/ 190500 h 1164431"/>
              <a:gd name="connsiteX84" fmla="*/ 350044 w 783431"/>
              <a:gd name="connsiteY84" fmla="*/ 140494 h 1164431"/>
              <a:gd name="connsiteX85" fmla="*/ 316706 w 783431"/>
              <a:gd name="connsiteY85" fmla="*/ 140494 h 1164431"/>
              <a:gd name="connsiteX86" fmla="*/ 304800 w 783431"/>
              <a:gd name="connsiteY86" fmla="*/ 166688 h 1164431"/>
              <a:gd name="connsiteX87" fmla="*/ 280987 w 783431"/>
              <a:gd name="connsiteY87" fmla="*/ 230982 h 1164431"/>
              <a:gd name="connsiteX88" fmla="*/ 154781 w 783431"/>
              <a:gd name="connsiteY88" fmla="*/ 223838 h 1164431"/>
              <a:gd name="connsiteX89" fmla="*/ 140494 w 783431"/>
              <a:gd name="connsiteY89" fmla="*/ 245269 h 1164431"/>
              <a:gd name="connsiteX90" fmla="*/ 138112 w 783431"/>
              <a:gd name="connsiteY90" fmla="*/ 280988 h 1164431"/>
              <a:gd name="connsiteX91" fmla="*/ 66675 w 783431"/>
              <a:gd name="connsiteY91" fmla="*/ 309563 h 1164431"/>
              <a:gd name="connsiteX92" fmla="*/ 54769 w 783431"/>
              <a:gd name="connsiteY92" fmla="*/ 323850 h 1164431"/>
              <a:gd name="connsiteX93" fmla="*/ 66675 w 783431"/>
              <a:gd name="connsiteY93" fmla="*/ 381000 h 1164431"/>
              <a:gd name="connsiteX94" fmla="*/ 19050 w 783431"/>
              <a:gd name="connsiteY94" fmla="*/ 423863 h 1164431"/>
              <a:gd name="connsiteX95" fmla="*/ 26194 w 783431"/>
              <a:gd name="connsiteY95" fmla="*/ 490538 h 1164431"/>
              <a:gd name="connsiteX96" fmla="*/ 33337 w 783431"/>
              <a:gd name="connsiteY96" fmla="*/ 554832 h 1164431"/>
              <a:gd name="connsiteX97" fmla="*/ 0 w 783431"/>
              <a:gd name="connsiteY97" fmla="*/ 614363 h 1164431"/>
              <a:gd name="connsiteX0" fmla="*/ 0 w 783431"/>
              <a:gd name="connsiteY0" fmla="*/ 614363 h 1200149"/>
              <a:gd name="connsiteX1" fmla="*/ 21431 w 783431"/>
              <a:gd name="connsiteY1" fmla="*/ 661988 h 1200149"/>
              <a:gd name="connsiteX2" fmla="*/ 28575 w 783431"/>
              <a:gd name="connsiteY2" fmla="*/ 742950 h 1200149"/>
              <a:gd name="connsiteX3" fmla="*/ 76200 w 783431"/>
              <a:gd name="connsiteY3" fmla="*/ 814388 h 1200149"/>
              <a:gd name="connsiteX4" fmla="*/ 102394 w 783431"/>
              <a:gd name="connsiteY4" fmla="*/ 919163 h 1200149"/>
              <a:gd name="connsiteX5" fmla="*/ 116681 w 783431"/>
              <a:gd name="connsiteY5" fmla="*/ 947738 h 1200149"/>
              <a:gd name="connsiteX6" fmla="*/ 130969 w 783431"/>
              <a:gd name="connsiteY6" fmla="*/ 995363 h 1200149"/>
              <a:gd name="connsiteX7" fmla="*/ 150019 w 783431"/>
              <a:gd name="connsiteY7" fmla="*/ 1023938 h 1200149"/>
              <a:gd name="connsiteX8" fmla="*/ 159544 w 783431"/>
              <a:gd name="connsiteY8" fmla="*/ 1042988 h 1200149"/>
              <a:gd name="connsiteX9" fmla="*/ 197644 w 783431"/>
              <a:gd name="connsiteY9" fmla="*/ 1069182 h 1200149"/>
              <a:gd name="connsiteX10" fmla="*/ 245269 w 783431"/>
              <a:gd name="connsiteY10" fmla="*/ 1090613 h 1200149"/>
              <a:gd name="connsiteX11" fmla="*/ 264318 w 783431"/>
              <a:gd name="connsiteY11" fmla="*/ 1131094 h 1200149"/>
              <a:gd name="connsiteX12" fmla="*/ 295275 w 783431"/>
              <a:gd name="connsiteY12" fmla="*/ 1164431 h 1200149"/>
              <a:gd name="connsiteX13" fmla="*/ 385762 w 783431"/>
              <a:gd name="connsiteY13" fmla="*/ 1200149 h 1200149"/>
              <a:gd name="connsiteX14" fmla="*/ 604837 w 783431"/>
              <a:gd name="connsiteY14" fmla="*/ 1085850 h 1200149"/>
              <a:gd name="connsiteX15" fmla="*/ 585787 w 783431"/>
              <a:gd name="connsiteY15" fmla="*/ 1035844 h 1200149"/>
              <a:gd name="connsiteX16" fmla="*/ 607219 w 783431"/>
              <a:gd name="connsiteY16" fmla="*/ 1021557 h 1200149"/>
              <a:gd name="connsiteX17" fmla="*/ 645319 w 783431"/>
              <a:gd name="connsiteY17" fmla="*/ 1016794 h 1200149"/>
              <a:gd name="connsiteX18" fmla="*/ 685800 w 783431"/>
              <a:gd name="connsiteY18" fmla="*/ 997744 h 1200149"/>
              <a:gd name="connsiteX19" fmla="*/ 716756 w 783431"/>
              <a:gd name="connsiteY19" fmla="*/ 1002507 h 1200149"/>
              <a:gd name="connsiteX20" fmla="*/ 738187 w 783431"/>
              <a:gd name="connsiteY20" fmla="*/ 969169 h 1200149"/>
              <a:gd name="connsiteX21" fmla="*/ 783431 w 783431"/>
              <a:gd name="connsiteY21" fmla="*/ 933450 h 1200149"/>
              <a:gd name="connsiteX22" fmla="*/ 776287 w 783431"/>
              <a:gd name="connsiteY22" fmla="*/ 907257 h 1200149"/>
              <a:gd name="connsiteX23" fmla="*/ 752475 w 783431"/>
              <a:gd name="connsiteY23" fmla="*/ 888207 h 1200149"/>
              <a:gd name="connsiteX24" fmla="*/ 752475 w 783431"/>
              <a:gd name="connsiteY24" fmla="*/ 864394 h 1200149"/>
              <a:gd name="connsiteX25" fmla="*/ 728662 w 783431"/>
              <a:gd name="connsiteY25" fmla="*/ 852488 h 1200149"/>
              <a:gd name="connsiteX26" fmla="*/ 711994 w 783431"/>
              <a:gd name="connsiteY26" fmla="*/ 802482 h 1200149"/>
              <a:gd name="connsiteX27" fmla="*/ 688181 w 783431"/>
              <a:gd name="connsiteY27" fmla="*/ 814388 h 1200149"/>
              <a:gd name="connsiteX28" fmla="*/ 659606 w 783431"/>
              <a:gd name="connsiteY28" fmla="*/ 814388 h 1200149"/>
              <a:gd name="connsiteX29" fmla="*/ 647700 w 783431"/>
              <a:gd name="connsiteY29" fmla="*/ 847725 h 1200149"/>
              <a:gd name="connsiteX30" fmla="*/ 623887 w 783431"/>
              <a:gd name="connsiteY30" fmla="*/ 847725 h 1200149"/>
              <a:gd name="connsiteX31" fmla="*/ 576262 w 783431"/>
              <a:gd name="connsiteY31" fmla="*/ 828675 h 1200149"/>
              <a:gd name="connsiteX32" fmla="*/ 554831 w 783431"/>
              <a:gd name="connsiteY32" fmla="*/ 816769 h 1200149"/>
              <a:gd name="connsiteX33" fmla="*/ 547687 w 783431"/>
              <a:gd name="connsiteY33" fmla="*/ 783432 h 1200149"/>
              <a:gd name="connsiteX34" fmla="*/ 561975 w 783431"/>
              <a:gd name="connsiteY34" fmla="*/ 754857 h 1200149"/>
              <a:gd name="connsiteX35" fmla="*/ 533400 w 783431"/>
              <a:gd name="connsiteY35" fmla="*/ 733425 h 1200149"/>
              <a:gd name="connsiteX36" fmla="*/ 509587 w 783431"/>
              <a:gd name="connsiteY36" fmla="*/ 711994 h 1200149"/>
              <a:gd name="connsiteX37" fmla="*/ 473869 w 783431"/>
              <a:gd name="connsiteY37" fmla="*/ 711994 h 1200149"/>
              <a:gd name="connsiteX38" fmla="*/ 435769 w 783431"/>
              <a:gd name="connsiteY38" fmla="*/ 711994 h 1200149"/>
              <a:gd name="connsiteX39" fmla="*/ 438150 w 783431"/>
              <a:gd name="connsiteY39" fmla="*/ 669132 h 1200149"/>
              <a:gd name="connsiteX40" fmla="*/ 428625 w 783431"/>
              <a:gd name="connsiteY40" fmla="*/ 642938 h 1200149"/>
              <a:gd name="connsiteX41" fmla="*/ 423862 w 783431"/>
              <a:gd name="connsiteY41" fmla="*/ 607219 h 1200149"/>
              <a:gd name="connsiteX42" fmla="*/ 426244 w 783431"/>
              <a:gd name="connsiteY42" fmla="*/ 578644 h 1200149"/>
              <a:gd name="connsiteX43" fmla="*/ 440531 w 783431"/>
              <a:gd name="connsiteY43" fmla="*/ 566738 h 1200149"/>
              <a:gd name="connsiteX44" fmla="*/ 450056 w 783431"/>
              <a:gd name="connsiteY44" fmla="*/ 535782 h 1200149"/>
              <a:gd name="connsiteX45" fmla="*/ 457200 w 783431"/>
              <a:gd name="connsiteY45" fmla="*/ 519113 h 1200149"/>
              <a:gd name="connsiteX46" fmla="*/ 481012 w 783431"/>
              <a:gd name="connsiteY46" fmla="*/ 526257 h 1200149"/>
              <a:gd name="connsiteX47" fmla="*/ 495300 w 783431"/>
              <a:gd name="connsiteY47" fmla="*/ 576263 h 1200149"/>
              <a:gd name="connsiteX48" fmla="*/ 507206 w 783431"/>
              <a:gd name="connsiteY48" fmla="*/ 581025 h 1200149"/>
              <a:gd name="connsiteX49" fmla="*/ 526256 w 783431"/>
              <a:gd name="connsiteY49" fmla="*/ 583407 h 1200149"/>
              <a:gd name="connsiteX50" fmla="*/ 554831 w 783431"/>
              <a:gd name="connsiteY50" fmla="*/ 583407 h 1200149"/>
              <a:gd name="connsiteX51" fmla="*/ 557212 w 783431"/>
              <a:gd name="connsiteY51" fmla="*/ 547688 h 1200149"/>
              <a:gd name="connsiteX52" fmla="*/ 545306 w 783431"/>
              <a:gd name="connsiteY52" fmla="*/ 502444 h 1200149"/>
              <a:gd name="connsiteX53" fmla="*/ 545306 w 783431"/>
              <a:gd name="connsiteY53" fmla="*/ 476250 h 1200149"/>
              <a:gd name="connsiteX54" fmla="*/ 581025 w 783431"/>
              <a:gd name="connsiteY54" fmla="*/ 454819 h 1200149"/>
              <a:gd name="connsiteX55" fmla="*/ 604837 w 783431"/>
              <a:gd name="connsiteY55" fmla="*/ 435769 h 1200149"/>
              <a:gd name="connsiteX56" fmla="*/ 640556 w 783431"/>
              <a:gd name="connsiteY56" fmla="*/ 414338 h 1200149"/>
              <a:gd name="connsiteX57" fmla="*/ 645319 w 783431"/>
              <a:gd name="connsiteY57" fmla="*/ 395288 h 1200149"/>
              <a:gd name="connsiteX58" fmla="*/ 633412 w 783431"/>
              <a:gd name="connsiteY58" fmla="*/ 371475 h 1200149"/>
              <a:gd name="connsiteX59" fmla="*/ 614362 w 783431"/>
              <a:gd name="connsiteY59" fmla="*/ 369094 h 1200149"/>
              <a:gd name="connsiteX60" fmla="*/ 609600 w 783431"/>
              <a:gd name="connsiteY60" fmla="*/ 366713 h 1200149"/>
              <a:gd name="connsiteX61" fmla="*/ 597694 w 783431"/>
              <a:gd name="connsiteY61" fmla="*/ 357188 h 1200149"/>
              <a:gd name="connsiteX62" fmla="*/ 611981 w 783431"/>
              <a:gd name="connsiteY62" fmla="*/ 345282 h 1200149"/>
              <a:gd name="connsiteX63" fmla="*/ 652462 w 783431"/>
              <a:gd name="connsiteY63" fmla="*/ 316707 h 1200149"/>
              <a:gd name="connsiteX64" fmla="*/ 678656 w 783431"/>
              <a:gd name="connsiteY64" fmla="*/ 264319 h 1200149"/>
              <a:gd name="connsiteX65" fmla="*/ 666750 w 783431"/>
              <a:gd name="connsiteY65" fmla="*/ 242888 h 1200149"/>
              <a:gd name="connsiteX66" fmla="*/ 638175 w 783431"/>
              <a:gd name="connsiteY66" fmla="*/ 219075 h 1200149"/>
              <a:gd name="connsiteX67" fmla="*/ 642937 w 783431"/>
              <a:gd name="connsiteY67" fmla="*/ 180975 h 1200149"/>
              <a:gd name="connsiteX68" fmla="*/ 673894 w 783431"/>
              <a:gd name="connsiteY68" fmla="*/ 171450 h 1200149"/>
              <a:gd name="connsiteX69" fmla="*/ 700087 w 783431"/>
              <a:gd name="connsiteY69" fmla="*/ 142875 h 1200149"/>
              <a:gd name="connsiteX70" fmla="*/ 700087 w 783431"/>
              <a:gd name="connsiteY70" fmla="*/ 111919 h 1200149"/>
              <a:gd name="connsiteX71" fmla="*/ 666750 w 783431"/>
              <a:gd name="connsiteY71" fmla="*/ 107157 h 1200149"/>
              <a:gd name="connsiteX72" fmla="*/ 645319 w 783431"/>
              <a:gd name="connsiteY72" fmla="*/ 102394 h 1200149"/>
              <a:gd name="connsiteX73" fmla="*/ 645319 w 783431"/>
              <a:gd name="connsiteY73" fmla="*/ 102394 h 1200149"/>
              <a:gd name="connsiteX74" fmla="*/ 678656 w 783431"/>
              <a:gd name="connsiteY74" fmla="*/ 69057 h 1200149"/>
              <a:gd name="connsiteX75" fmla="*/ 685800 w 783431"/>
              <a:gd name="connsiteY75" fmla="*/ 40482 h 1200149"/>
              <a:gd name="connsiteX76" fmla="*/ 678656 w 783431"/>
              <a:gd name="connsiteY76" fmla="*/ 21432 h 1200149"/>
              <a:gd name="connsiteX77" fmla="*/ 695325 w 783431"/>
              <a:gd name="connsiteY77" fmla="*/ 2382 h 1200149"/>
              <a:gd name="connsiteX78" fmla="*/ 628650 w 783431"/>
              <a:gd name="connsiteY78" fmla="*/ 0 h 1200149"/>
              <a:gd name="connsiteX79" fmla="*/ 552450 w 783431"/>
              <a:gd name="connsiteY79" fmla="*/ 52388 h 1200149"/>
              <a:gd name="connsiteX80" fmla="*/ 538162 w 783431"/>
              <a:gd name="connsiteY80" fmla="*/ 90488 h 1200149"/>
              <a:gd name="connsiteX81" fmla="*/ 445294 w 783431"/>
              <a:gd name="connsiteY81" fmla="*/ 126207 h 1200149"/>
              <a:gd name="connsiteX82" fmla="*/ 397669 w 783431"/>
              <a:gd name="connsiteY82" fmla="*/ 159544 h 1200149"/>
              <a:gd name="connsiteX83" fmla="*/ 376237 w 783431"/>
              <a:gd name="connsiteY83" fmla="*/ 190500 h 1200149"/>
              <a:gd name="connsiteX84" fmla="*/ 350044 w 783431"/>
              <a:gd name="connsiteY84" fmla="*/ 140494 h 1200149"/>
              <a:gd name="connsiteX85" fmla="*/ 316706 w 783431"/>
              <a:gd name="connsiteY85" fmla="*/ 140494 h 1200149"/>
              <a:gd name="connsiteX86" fmla="*/ 304800 w 783431"/>
              <a:gd name="connsiteY86" fmla="*/ 166688 h 1200149"/>
              <a:gd name="connsiteX87" fmla="*/ 280987 w 783431"/>
              <a:gd name="connsiteY87" fmla="*/ 230982 h 1200149"/>
              <a:gd name="connsiteX88" fmla="*/ 154781 w 783431"/>
              <a:gd name="connsiteY88" fmla="*/ 223838 h 1200149"/>
              <a:gd name="connsiteX89" fmla="*/ 140494 w 783431"/>
              <a:gd name="connsiteY89" fmla="*/ 245269 h 1200149"/>
              <a:gd name="connsiteX90" fmla="*/ 138112 w 783431"/>
              <a:gd name="connsiteY90" fmla="*/ 280988 h 1200149"/>
              <a:gd name="connsiteX91" fmla="*/ 66675 w 783431"/>
              <a:gd name="connsiteY91" fmla="*/ 309563 h 1200149"/>
              <a:gd name="connsiteX92" fmla="*/ 54769 w 783431"/>
              <a:gd name="connsiteY92" fmla="*/ 323850 h 1200149"/>
              <a:gd name="connsiteX93" fmla="*/ 66675 w 783431"/>
              <a:gd name="connsiteY93" fmla="*/ 381000 h 1200149"/>
              <a:gd name="connsiteX94" fmla="*/ 19050 w 783431"/>
              <a:gd name="connsiteY94" fmla="*/ 423863 h 1200149"/>
              <a:gd name="connsiteX95" fmla="*/ 26194 w 783431"/>
              <a:gd name="connsiteY95" fmla="*/ 490538 h 1200149"/>
              <a:gd name="connsiteX96" fmla="*/ 33337 w 783431"/>
              <a:gd name="connsiteY96" fmla="*/ 554832 h 1200149"/>
              <a:gd name="connsiteX97" fmla="*/ 0 w 783431"/>
              <a:gd name="connsiteY97" fmla="*/ 614363 h 1200149"/>
              <a:gd name="connsiteX0" fmla="*/ 0 w 783431"/>
              <a:gd name="connsiteY0" fmla="*/ 614363 h 1200149"/>
              <a:gd name="connsiteX1" fmla="*/ 21431 w 783431"/>
              <a:gd name="connsiteY1" fmla="*/ 661988 h 1200149"/>
              <a:gd name="connsiteX2" fmla="*/ 28575 w 783431"/>
              <a:gd name="connsiteY2" fmla="*/ 742950 h 1200149"/>
              <a:gd name="connsiteX3" fmla="*/ 76200 w 783431"/>
              <a:gd name="connsiteY3" fmla="*/ 814388 h 1200149"/>
              <a:gd name="connsiteX4" fmla="*/ 102394 w 783431"/>
              <a:gd name="connsiteY4" fmla="*/ 919163 h 1200149"/>
              <a:gd name="connsiteX5" fmla="*/ 116681 w 783431"/>
              <a:gd name="connsiteY5" fmla="*/ 947738 h 1200149"/>
              <a:gd name="connsiteX6" fmla="*/ 130969 w 783431"/>
              <a:gd name="connsiteY6" fmla="*/ 995363 h 1200149"/>
              <a:gd name="connsiteX7" fmla="*/ 150019 w 783431"/>
              <a:gd name="connsiteY7" fmla="*/ 1023938 h 1200149"/>
              <a:gd name="connsiteX8" fmla="*/ 159544 w 783431"/>
              <a:gd name="connsiteY8" fmla="*/ 1042988 h 1200149"/>
              <a:gd name="connsiteX9" fmla="*/ 197644 w 783431"/>
              <a:gd name="connsiteY9" fmla="*/ 1069182 h 1200149"/>
              <a:gd name="connsiteX10" fmla="*/ 245269 w 783431"/>
              <a:gd name="connsiteY10" fmla="*/ 1090613 h 1200149"/>
              <a:gd name="connsiteX11" fmla="*/ 264318 w 783431"/>
              <a:gd name="connsiteY11" fmla="*/ 1131094 h 1200149"/>
              <a:gd name="connsiteX12" fmla="*/ 295275 w 783431"/>
              <a:gd name="connsiteY12" fmla="*/ 1164431 h 1200149"/>
              <a:gd name="connsiteX13" fmla="*/ 385762 w 783431"/>
              <a:gd name="connsiteY13" fmla="*/ 1200149 h 1200149"/>
              <a:gd name="connsiteX14" fmla="*/ 557212 w 783431"/>
              <a:gd name="connsiteY14" fmla="*/ 1109662 h 1200149"/>
              <a:gd name="connsiteX15" fmla="*/ 604837 w 783431"/>
              <a:gd name="connsiteY15" fmla="*/ 1085850 h 1200149"/>
              <a:gd name="connsiteX16" fmla="*/ 585787 w 783431"/>
              <a:gd name="connsiteY16" fmla="*/ 1035844 h 1200149"/>
              <a:gd name="connsiteX17" fmla="*/ 607219 w 783431"/>
              <a:gd name="connsiteY17" fmla="*/ 1021557 h 1200149"/>
              <a:gd name="connsiteX18" fmla="*/ 645319 w 783431"/>
              <a:gd name="connsiteY18" fmla="*/ 1016794 h 1200149"/>
              <a:gd name="connsiteX19" fmla="*/ 685800 w 783431"/>
              <a:gd name="connsiteY19" fmla="*/ 997744 h 1200149"/>
              <a:gd name="connsiteX20" fmla="*/ 716756 w 783431"/>
              <a:gd name="connsiteY20" fmla="*/ 1002507 h 1200149"/>
              <a:gd name="connsiteX21" fmla="*/ 738187 w 783431"/>
              <a:gd name="connsiteY21" fmla="*/ 969169 h 1200149"/>
              <a:gd name="connsiteX22" fmla="*/ 783431 w 783431"/>
              <a:gd name="connsiteY22" fmla="*/ 933450 h 1200149"/>
              <a:gd name="connsiteX23" fmla="*/ 776287 w 783431"/>
              <a:gd name="connsiteY23" fmla="*/ 907257 h 1200149"/>
              <a:gd name="connsiteX24" fmla="*/ 752475 w 783431"/>
              <a:gd name="connsiteY24" fmla="*/ 888207 h 1200149"/>
              <a:gd name="connsiteX25" fmla="*/ 752475 w 783431"/>
              <a:gd name="connsiteY25" fmla="*/ 864394 h 1200149"/>
              <a:gd name="connsiteX26" fmla="*/ 728662 w 783431"/>
              <a:gd name="connsiteY26" fmla="*/ 852488 h 1200149"/>
              <a:gd name="connsiteX27" fmla="*/ 711994 w 783431"/>
              <a:gd name="connsiteY27" fmla="*/ 802482 h 1200149"/>
              <a:gd name="connsiteX28" fmla="*/ 688181 w 783431"/>
              <a:gd name="connsiteY28" fmla="*/ 814388 h 1200149"/>
              <a:gd name="connsiteX29" fmla="*/ 659606 w 783431"/>
              <a:gd name="connsiteY29" fmla="*/ 814388 h 1200149"/>
              <a:gd name="connsiteX30" fmla="*/ 647700 w 783431"/>
              <a:gd name="connsiteY30" fmla="*/ 847725 h 1200149"/>
              <a:gd name="connsiteX31" fmla="*/ 623887 w 783431"/>
              <a:gd name="connsiteY31" fmla="*/ 847725 h 1200149"/>
              <a:gd name="connsiteX32" fmla="*/ 576262 w 783431"/>
              <a:gd name="connsiteY32" fmla="*/ 828675 h 1200149"/>
              <a:gd name="connsiteX33" fmla="*/ 554831 w 783431"/>
              <a:gd name="connsiteY33" fmla="*/ 816769 h 1200149"/>
              <a:gd name="connsiteX34" fmla="*/ 547687 w 783431"/>
              <a:gd name="connsiteY34" fmla="*/ 783432 h 1200149"/>
              <a:gd name="connsiteX35" fmla="*/ 561975 w 783431"/>
              <a:gd name="connsiteY35" fmla="*/ 754857 h 1200149"/>
              <a:gd name="connsiteX36" fmla="*/ 533400 w 783431"/>
              <a:gd name="connsiteY36" fmla="*/ 733425 h 1200149"/>
              <a:gd name="connsiteX37" fmla="*/ 509587 w 783431"/>
              <a:gd name="connsiteY37" fmla="*/ 711994 h 1200149"/>
              <a:gd name="connsiteX38" fmla="*/ 473869 w 783431"/>
              <a:gd name="connsiteY38" fmla="*/ 711994 h 1200149"/>
              <a:gd name="connsiteX39" fmla="*/ 435769 w 783431"/>
              <a:gd name="connsiteY39" fmla="*/ 711994 h 1200149"/>
              <a:gd name="connsiteX40" fmla="*/ 438150 w 783431"/>
              <a:gd name="connsiteY40" fmla="*/ 669132 h 1200149"/>
              <a:gd name="connsiteX41" fmla="*/ 428625 w 783431"/>
              <a:gd name="connsiteY41" fmla="*/ 642938 h 1200149"/>
              <a:gd name="connsiteX42" fmla="*/ 423862 w 783431"/>
              <a:gd name="connsiteY42" fmla="*/ 607219 h 1200149"/>
              <a:gd name="connsiteX43" fmla="*/ 426244 w 783431"/>
              <a:gd name="connsiteY43" fmla="*/ 578644 h 1200149"/>
              <a:gd name="connsiteX44" fmla="*/ 440531 w 783431"/>
              <a:gd name="connsiteY44" fmla="*/ 566738 h 1200149"/>
              <a:gd name="connsiteX45" fmla="*/ 450056 w 783431"/>
              <a:gd name="connsiteY45" fmla="*/ 535782 h 1200149"/>
              <a:gd name="connsiteX46" fmla="*/ 457200 w 783431"/>
              <a:gd name="connsiteY46" fmla="*/ 519113 h 1200149"/>
              <a:gd name="connsiteX47" fmla="*/ 481012 w 783431"/>
              <a:gd name="connsiteY47" fmla="*/ 526257 h 1200149"/>
              <a:gd name="connsiteX48" fmla="*/ 495300 w 783431"/>
              <a:gd name="connsiteY48" fmla="*/ 576263 h 1200149"/>
              <a:gd name="connsiteX49" fmla="*/ 507206 w 783431"/>
              <a:gd name="connsiteY49" fmla="*/ 581025 h 1200149"/>
              <a:gd name="connsiteX50" fmla="*/ 526256 w 783431"/>
              <a:gd name="connsiteY50" fmla="*/ 583407 h 1200149"/>
              <a:gd name="connsiteX51" fmla="*/ 554831 w 783431"/>
              <a:gd name="connsiteY51" fmla="*/ 583407 h 1200149"/>
              <a:gd name="connsiteX52" fmla="*/ 557212 w 783431"/>
              <a:gd name="connsiteY52" fmla="*/ 547688 h 1200149"/>
              <a:gd name="connsiteX53" fmla="*/ 545306 w 783431"/>
              <a:gd name="connsiteY53" fmla="*/ 502444 h 1200149"/>
              <a:gd name="connsiteX54" fmla="*/ 545306 w 783431"/>
              <a:gd name="connsiteY54" fmla="*/ 476250 h 1200149"/>
              <a:gd name="connsiteX55" fmla="*/ 581025 w 783431"/>
              <a:gd name="connsiteY55" fmla="*/ 454819 h 1200149"/>
              <a:gd name="connsiteX56" fmla="*/ 604837 w 783431"/>
              <a:gd name="connsiteY56" fmla="*/ 435769 h 1200149"/>
              <a:gd name="connsiteX57" fmla="*/ 640556 w 783431"/>
              <a:gd name="connsiteY57" fmla="*/ 414338 h 1200149"/>
              <a:gd name="connsiteX58" fmla="*/ 645319 w 783431"/>
              <a:gd name="connsiteY58" fmla="*/ 395288 h 1200149"/>
              <a:gd name="connsiteX59" fmla="*/ 633412 w 783431"/>
              <a:gd name="connsiteY59" fmla="*/ 371475 h 1200149"/>
              <a:gd name="connsiteX60" fmla="*/ 614362 w 783431"/>
              <a:gd name="connsiteY60" fmla="*/ 369094 h 1200149"/>
              <a:gd name="connsiteX61" fmla="*/ 609600 w 783431"/>
              <a:gd name="connsiteY61" fmla="*/ 366713 h 1200149"/>
              <a:gd name="connsiteX62" fmla="*/ 597694 w 783431"/>
              <a:gd name="connsiteY62" fmla="*/ 357188 h 1200149"/>
              <a:gd name="connsiteX63" fmla="*/ 611981 w 783431"/>
              <a:gd name="connsiteY63" fmla="*/ 345282 h 1200149"/>
              <a:gd name="connsiteX64" fmla="*/ 652462 w 783431"/>
              <a:gd name="connsiteY64" fmla="*/ 316707 h 1200149"/>
              <a:gd name="connsiteX65" fmla="*/ 678656 w 783431"/>
              <a:gd name="connsiteY65" fmla="*/ 264319 h 1200149"/>
              <a:gd name="connsiteX66" fmla="*/ 666750 w 783431"/>
              <a:gd name="connsiteY66" fmla="*/ 242888 h 1200149"/>
              <a:gd name="connsiteX67" fmla="*/ 638175 w 783431"/>
              <a:gd name="connsiteY67" fmla="*/ 219075 h 1200149"/>
              <a:gd name="connsiteX68" fmla="*/ 642937 w 783431"/>
              <a:gd name="connsiteY68" fmla="*/ 180975 h 1200149"/>
              <a:gd name="connsiteX69" fmla="*/ 673894 w 783431"/>
              <a:gd name="connsiteY69" fmla="*/ 171450 h 1200149"/>
              <a:gd name="connsiteX70" fmla="*/ 700087 w 783431"/>
              <a:gd name="connsiteY70" fmla="*/ 142875 h 1200149"/>
              <a:gd name="connsiteX71" fmla="*/ 700087 w 783431"/>
              <a:gd name="connsiteY71" fmla="*/ 111919 h 1200149"/>
              <a:gd name="connsiteX72" fmla="*/ 666750 w 783431"/>
              <a:gd name="connsiteY72" fmla="*/ 107157 h 1200149"/>
              <a:gd name="connsiteX73" fmla="*/ 645319 w 783431"/>
              <a:gd name="connsiteY73" fmla="*/ 102394 h 1200149"/>
              <a:gd name="connsiteX74" fmla="*/ 645319 w 783431"/>
              <a:gd name="connsiteY74" fmla="*/ 102394 h 1200149"/>
              <a:gd name="connsiteX75" fmla="*/ 678656 w 783431"/>
              <a:gd name="connsiteY75" fmla="*/ 69057 h 1200149"/>
              <a:gd name="connsiteX76" fmla="*/ 685800 w 783431"/>
              <a:gd name="connsiteY76" fmla="*/ 40482 h 1200149"/>
              <a:gd name="connsiteX77" fmla="*/ 678656 w 783431"/>
              <a:gd name="connsiteY77" fmla="*/ 21432 h 1200149"/>
              <a:gd name="connsiteX78" fmla="*/ 695325 w 783431"/>
              <a:gd name="connsiteY78" fmla="*/ 2382 h 1200149"/>
              <a:gd name="connsiteX79" fmla="*/ 628650 w 783431"/>
              <a:gd name="connsiteY79" fmla="*/ 0 h 1200149"/>
              <a:gd name="connsiteX80" fmla="*/ 552450 w 783431"/>
              <a:gd name="connsiteY80" fmla="*/ 52388 h 1200149"/>
              <a:gd name="connsiteX81" fmla="*/ 538162 w 783431"/>
              <a:gd name="connsiteY81" fmla="*/ 90488 h 1200149"/>
              <a:gd name="connsiteX82" fmla="*/ 445294 w 783431"/>
              <a:gd name="connsiteY82" fmla="*/ 126207 h 1200149"/>
              <a:gd name="connsiteX83" fmla="*/ 397669 w 783431"/>
              <a:gd name="connsiteY83" fmla="*/ 159544 h 1200149"/>
              <a:gd name="connsiteX84" fmla="*/ 376237 w 783431"/>
              <a:gd name="connsiteY84" fmla="*/ 190500 h 1200149"/>
              <a:gd name="connsiteX85" fmla="*/ 350044 w 783431"/>
              <a:gd name="connsiteY85" fmla="*/ 140494 h 1200149"/>
              <a:gd name="connsiteX86" fmla="*/ 316706 w 783431"/>
              <a:gd name="connsiteY86" fmla="*/ 140494 h 1200149"/>
              <a:gd name="connsiteX87" fmla="*/ 304800 w 783431"/>
              <a:gd name="connsiteY87" fmla="*/ 166688 h 1200149"/>
              <a:gd name="connsiteX88" fmla="*/ 280987 w 783431"/>
              <a:gd name="connsiteY88" fmla="*/ 230982 h 1200149"/>
              <a:gd name="connsiteX89" fmla="*/ 154781 w 783431"/>
              <a:gd name="connsiteY89" fmla="*/ 223838 h 1200149"/>
              <a:gd name="connsiteX90" fmla="*/ 140494 w 783431"/>
              <a:gd name="connsiteY90" fmla="*/ 245269 h 1200149"/>
              <a:gd name="connsiteX91" fmla="*/ 138112 w 783431"/>
              <a:gd name="connsiteY91" fmla="*/ 280988 h 1200149"/>
              <a:gd name="connsiteX92" fmla="*/ 66675 w 783431"/>
              <a:gd name="connsiteY92" fmla="*/ 309563 h 1200149"/>
              <a:gd name="connsiteX93" fmla="*/ 54769 w 783431"/>
              <a:gd name="connsiteY93" fmla="*/ 323850 h 1200149"/>
              <a:gd name="connsiteX94" fmla="*/ 66675 w 783431"/>
              <a:gd name="connsiteY94" fmla="*/ 381000 h 1200149"/>
              <a:gd name="connsiteX95" fmla="*/ 19050 w 783431"/>
              <a:gd name="connsiteY95" fmla="*/ 423863 h 1200149"/>
              <a:gd name="connsiteX96" fmla="*/ 26194 w 783431"/>
              <a:gd name="connsiteY96" fmla="*/ 490538 h 1200149"/>
              <a:gd name="connsiteX97" fmla="*/ 33337 w 783431"/>
              <a:gd name="connsiteY97" fmla="*/ 554832 h 1200149"/>
              <a:gd name="connsiteX98" fmla="*/ 0 w 783431"/>
              <a:gd name="connsiteY98" fmla="*/ 614363 h 1200149"/>
              <a:gd name="connsiteX0" fmla="*/ 0 w 783431"/>
              <a:gd name="connsiteY0" fmla="*/ 614363 h 1200149"/>
              <a:gd name="connsiteX1" fmla="*/ 21431 w 783431"/>
              <a:gd name="connsiteY1" fmla="*/ 661988 h 1200149"/>
              <a:gd name="connsiteX2" fmla="*/ 28575 w 783431"/>
              <a:gd name="connsiteY2" fmla="*/ 742950 h 1200149"/>
              <a:gd name="connsiteX3" fmla="*/ 76200 w 783431"/>
              <a:gd name="connsiteY3" fmla="*/ 814388 h 1200149"/>
              <a:gd name="connsiteX4" fmla="*/ 102394 w 783431"/>
              <a:gd name="connsiteY4" fmla="*/ 919163 h 1200149"/>
              <a:gd name="connsiteX5" fmla="*/ 116681 w 783431"/>
              <a:gd name="connsiteY5" fmla="*/ 947738 h 1200149"/>
              <a:gd name="connsiteX6" fmla="*/ 130969 w 783431"/>
              <a:gd name="connsiteY6" fmla="*/ 995363 h 1200149"/>
              <a:gd name="connsiteX7" fmla="*/ 150019 w 783431"/>
              <a:gd name="connsiteY7" fmla="*/ 1023938 h 1200149"/>
              <a:gd name="connsiteX8" fmla="*/ 159544 w 783431"/>
              <a:gd name="connsiteY8" fmla="*/ 1042988 h 1200149"/>
              <a:gd name="connsiteX9" fmla="*/ 197644 w 783431"/>
              <a:gd name="connsiteY9" fmla="*/ 1069182 h 1200149"/>
              <a:gd name="connsiteX10" fmla="*/ 245269 w 783431"/>
              <a:gd name="connsiteY10" fmla="*/ 1090613 h 1200149"/>
              <a:gd name="connsiteX11" fmla="*/ 264318 w 783431"/>
              <a:gd name="connsiteY11" fmla="*/ 1131094 h 1200149"/>
              <a:gd name="connsiteX12" fmla="*/ 295275 w 783431"/>
              <a:gd name="connsiteY12" fmla="*/ 1164431 h 1200149"/>
              <a:gd name="connsiteX13" fmla="*/ 385762 w 783431"/>
              <a:gd name="connsiteY13" fmla="*/ 1200149 h 1200149"/>
              <a:gd name="connsiteX14" fmla="*/ 592931 w 783431"/>
              <a:gd name="connsiteY14" fmla="*/ 1126331 h 1200149"/>
              <a:gd name="connsiteX15" fmla="*/ 604837 w 783431"/>
              <a:gd name="connsiteY15" fmla="*/ 1085850 h 1200149"/>
              <a:gd name="connsiteX16" fmla="*/ 585787 w 783431"/>
              <a:gd name="connsiteY16" fmla="*/ 1035844 h 1200149"/>
              <a:gd name="connsiteX17" fmla="*/ 607219 w 783431"/>
              <a:gd name="connsiteY17" fmla="*/ 1021557 h 1200149"/>
              <a:gd name="connsiteX18" fmla="*/ 645319 w 783431"/>
              <a:gd name="connsiteY18" fmla="*/ 1016794 h 1200149"/>
              <a:gd name="connsiteX19" fmla="*/ 685800 w 783431"/>
              <a:gd name="connsiteY19" fmla="*/ 997744 h 1200149"/>
              <a:gd name="connsiteX20" fmla="*/ 716756 w 783431"/>
              <a:gd name="connsiteY20" fmla="*/ 1002507 h 1200149"/>
              <a:gd name="connsiteX21" fmla="*/ 738187 w 783431"/>
              <a:gd name="connsiteY21" fmla="*/ 969169 h 1200149"/>
              <a:gd name="connsiteX22" fmla="*/ 783431 w 783431"/>
              <a:gd name="connsiteY22" fmla="*/ 933450 h 1200149"/>
              <a:gd name="connsiteX23" fmla="*/ 776287 w 783431"/>
              <a:gd name="connsiteY23" fmla="*/ 907257 h 1200149"/>
              <a:gd name="connsiteX24" fmla="*/ 752475 w 783431"/>
              <a:gd name="connsiteY24" fmla="*/ 888207 h 1200149"/>
              <a:gd name="connsiteX25" fmla="*/ 752475 w 783431"/>
              <a:gd name="connsiteY25" fmla="*/ 864394 h 1200149"/>
              <a:gd name="connsiteX26" fmla="*/ 728662 w 783431"/>
              <a:gd name="connsiteY26" fmla="*/ 852488 h 1200149"/>
              <a:gd name="connsiteX27" fmla="*/ 711994 w 783431"/>
              <a:gd name="connsiteY27" fmla="*/ 802482 h 1200149"/>
              <a:gd name="connsiteX28" fmla="*/ 688181 w 783431"/>
              <a:gd name="connsiteY28" fmla="*/ 814388 h 1200149"/>
              <a:gd name="connsiteX29" fmla="*/ 659606 w 783431"/>
              <a:gd name="connsiteY29" fmla="*/ 814388 h 1200149"/>
              <a:gd name="connsiteX30" fmla="*/ 647700 w 783431"/>
              <a:gd name="connsiteY30" fmla="*/ 847725 h 1200149"/>
              <a:gd name="connsiteX31" fmla="*/ 623887 w 783431"/>
              <a:gd name="connsiteY31" fmla="*/ 847725 h 1200149"/>
              <a:gd name="connsiteX32" fmla="*/ 576262 w 783431"/>
              <a:gd name="connsiteY32" fmla="*/ 828675 h 1200149"/>
              <a:gd name="connsiteX33" fmla="*/ 554831 w 783431"/>
              <a:gd name="connsiteY33" fmla="*/ 816769 h 1200149"/>
              <a:gd name="connsiteX34" fmla="*/ 547687 w 783431"/>
              <a:gd name="connsiteY34" fmla="*/ 783432 h 1200149"/>
              <a:gd name="connsiteX35" fmla="*/ 561975 w 783431"/>
              <a:gd name="connsiteY35" fmla="*/ 754857 h 1200149"/>
              <a:gd name="connsiteX36" fmla="*/ 533400 w 783431"/>
              <a:gd name="connsiteY36" fmla="*/ 733425 h 1200149"/>
              <a:gd name="connsiteX37" fmla="*/ 509587 w 783431"/>
              <a:gd name="connsiteY37" fmla="*/ 711994 h 1200149"/>
              <a:gd name="connsiteX38" fmla="*/ 473869 w 783431"/>
              <a:gd name="connsiteY38" fmla="*/ 711994 h 1200149"/>
              <a:gd name="connsiteX39" fmla="*/ 435769 w 783431"/>
              <a:gd name="connsiteY39" fmla="*/ 711994 h 1200149"/>
              <a:gd name="connsiteX40" fmla="*/ 438150 w 783431"/>
              <a:gd name="connsiteY40" fmla="*/ 669132 h 1200149"/>
              <a:gd name="connsiteX41" fmla="*/ 428625 w 783431"/>
              <a:gd name="connsiteY41" fmla="*/ 642938 h 1200149"/>
              <a:gd name="connsiteX42" fmla="*/ 423862 w 783431"/>
              <a:gd name="connsiteY42" fmla="*/ 607219 h 1200149"/>
              <a:gd name="connsiteX43" fmla="*/ 426244 w 783431"/>
              <a:gd name="connsiteY43" fmla="*/ 578644 h 1200149"/>
              <a:gd name="connsiteX44" fmla="*/ 440531 w 783431"/>
              <a:gd name="connsiteY44" fmla="*/ 566738 h 1200149"/>
              <a:gd name="connsiteX45" fmla="*/ 450056 w 783431"/>
              <a:gd name="connsiteY45" fmla="*/ 535782 h 1200149"/>
              <a:gd name="connsiteX46" fmla="*/ 457200 w 783431"/>
              <a:gd name="connsiteY46" fmla="*/ 519113 h 1200149"/>
              <a:gd name="connsiteX47" fmla="*/ 481012 w 783431"/>
              <a:gd name="connsiteY47" fmla="*/ 526257 h 1200149"/>
              <a:gd name="connsiteX48" fmla="*/ 495300 w 783431"/>
              <a:gd name="connsiteY48" fmla="*/ 576263 h 1200149"/>
              <a:gd name="connsiteX49" fmla="*/ 507206 w 783431"/>
              <a:gd name="connsiteY49" fmla="*/ 581025 h 1200149"/>
              <a:gd name="connsiteX50" fmla="*/ 526256 w 783431"/>
              <a:gd name="connsiteY50" fmla="*/ 583407 h 1200149"/>
              <a:gd name="connsiteX51" fmla="*/ 554831 w 783431"/>
              <a:gd name="connsiteY51" fmla="*/ 583407 h 1200149"/>
              <a:gd name="connsiteX52" fmla="*/ 557212 w 783431"/>
              <a:gd name="connsiteY52" fmla="*/ 547688 h 1200149"/>
              <a:gd name="connsiteX53" fmla="*/ 545306 w 783431"/>
              <a:gd name="connsiteY53" fmla="*/ 502444 h 1200149"/>
              <a:gd name="connsiteX54" fmla="*/ 545306 w 783431"/>
              <a:gd name="connsiteY54" fmla="*/ 476250 h 1200149"/>
              <a:gd name="connsiteX55" fmla="*/ 581025 w 783431"/>
              <a:gd name="connsiteY55" fmla="*/ 454819 h 1200149"/>
              <a:gd name="connsiteX56" fmla="*/ 604837 w 783431"/>
              <a:gd name="connsiteY56" fmla="*/ 435769 h 1200149"/>
              <a:gd name="connsiteX57" fmla="*/ 640556 w 783431"/>
              <a:gd name="connsiteY57" fmla="*/ 414338 h 1200149"/>
              <a:gd name="connsiteX58" fmla="*/ 645319 w 783431"/>
              <a:gd name="connsiteY58" fmla="*/ 395288 h 1200149"/>
              <a:gd name="connsiteX59" fmla="*/ 633412 w 783431"/>
              <a:gd name="connsiteY59" fmla="*/ 371475 h 1200149"/>
              <a:gd name="connsiteX60" fmla="*/ 614362 w 783431"/>
              <a:gd name="connsiteY60" fmla="*/ 369094 h 1200149"/>
              <a:gd name="connsiteX61" fmla="*/ 609600 w 783431"/>
              <a:gd name="connsiteY61" fmla="*/ 366713 h 1200149"/>
              <a:gd name="connsiteX62" fmla="*/ 597694 w 783431"/>
              <a:gd name="connsiteY62" fmla="*/ 357188 h 1200149"/>
              <a:gd name="connsiteX63" fmla="*/ 611981 w 783431"/>
              <a:gd name="connsiteY63" fmla="*/ 345282 h 1200149"/>
              <a:gd name="connsiteX64" fmla="*/ 652462 w 783431"/>
              <a:gd name="connsiteY64" fmla="*/ 316707 h 1200149"/>
              <a:gd name="connsiteX65" fmla="*/ 678656 w 783431"/>
              <a:gd name="connsiteY65" fmla="*/ 264319 h 1200149"/>
              <a:gd name="connsiteX66" fmla="*/ 666750 w 783431"/>
              <a:gd name="connsiteY66" fmla="*/ 242888 h 1200149"/>
              <a:gd name="connsiteX67" fmla="*/ 638175 w 783431"/>
              <a:gd name="connsiteY67" fmla="*/ 219075 h 1200149"/>
              <a:gd name="connsiteX68" fmla="*/ 642937 w 783431"/>
              <a:gd name="connsiteY68" fmla="*/ 180975 h 1200149"/>
              <a:gd name="connsiteX69" fmla="*/ 673894 w 783431"/>
              <a:gd name="connsiteY69" fmla="*/ 171450 h 1200149"/>
              <a:gd name="connsiteX70" fmla="*/ 700087 w 783431"/>
              <a:gd name="connsiteY70" fmla="*/ 142875 h 1200149"/>
              <a:gd name="connsiteX71" fmla="*/ 700087 w 783431"/>
              <a:gd name="connsiteY71" fmla="*/ 111919 h 1200149"/>
              <a:gd name="connsiteX72" fmla="*/ 666750 w 783431"/>
              <a:gd name="connsiteY72" fmla="*/ 107157 h 1200149"/>
              <a:gd name="connsiteX73" fmla="*/ 645319 w 783431"/>
              <a:gd name="connsiteY73" fmla="*/ 102394 h 1200149"/>
              <a:gd name="connsiteX74" fmla="*/ 645319 w 783431"/>
              <a:gd name="connsiteY74" fmla="*/ 102394 h 1200149"/>
              <a:gd name="connsiteX75" fmla="*/ 678656 w 783431"/>
              <a:gd name="connsiteY75" fmla="*/ 69057 h 1200149"/>
              <a:gd name="connsiteX76" fmla="*/ 685800 w 783431"/>
              <a:gd name="connsiteY76" fmla="*/ 40482 h 1200149"/>
              <a:gd name="connsiteX77" fmla="*/ 678656 w 783431"/>
              <a:gd name="connsiteY77" fmla="*/ 21432 h 1200149"/>
              <a:gd name="connsiteX78" fmla="*/ 695325 w 783431"/>
              <a:gd name="connsiteY78" fmla="*/ 2382 h 1200149"/>
              <a:gd name="connsiteX79" fmla="*/ 628650 w 783431"/>
              <a:gd name="connsiteY79" fmla="*/ 0 h 1200149"/>
              <a:gd name="connsiteX80" fmla="*/ 552450 w 783431"/>
              <a:gd name="connsiteY80" fmla="*/ 52388 h 1200149"/>
              <a:gd name="connsiteX81" fmla="*/ 538162 w 783431"/>
              <a:gd name="connsiteY81" fmla="*/ 90488 h 1200149"/>
              <a:gd name="connsiteX82" fmla="*/ 445294 w 783431"/>
              <a:gd name="connsiteY82" fmla="*/ 126207 h 1200149"/>
              <a:gd name="connsiteX83" fmla="*/ 397669 w 783431"/>
              <a:gd name="connsiteY83" fmla="*/ 159544 h 1200149"/>
              <a:gd name="connsiteX84" fmla="*/ 376237 w 783431"/>
              <a:gd name="connsiteY84" fmla="*/ 190500 h 1200149"/>
              <a:gd name="connsiteX85" fmla="*/ 350044 w 783431"/>
              <a:gd name="connsiteY85" fmla="*/ 140494 h 1200149"/>
              <a:gd name="connsiteX86" fmla="*/ 316706 w 783431"/>
              <a:gd name="connsiteY86" fmla="*/ 140494 h 1200149"/>
              <a:gd name="connsiteX87" fmla="*/ 304800 w 783431"/>
              <a:gd name="connsiteY87" fmla="*/ 166688 h 1200149"/>
              <a:gd name="connsiteX88" fmla="*/ 280987 w 783431"/>
              <a:gd name="connsiteY88" fmla="*/ 230982 h 1200149"/>
              <a:gd name="connsiteX89" fmla="*/ 154781 w 783431"/>
              <a:gd name="connsiteY89" fmla="*/ 223838 h 1200149"/>
              <a:gd name="connsiteX90" fmla="*/ 140494 w 783431"/>
              <a:gd name="connsiteY90" fmla="*/ 245269 h 1200149"/>
              <a:gd name="connsiteX91" fmla="*/ 138112 w 783431"/>
              <a:gd name="connsiteY91" fmla="*/ 280988 h 1200149"/>
              <a:gd name="connsiteX92" fmla="*/ 66675 w 783431"/>
              <a:gd name="connsiteY92" fmla="*/ 309563 h 1200149"/>
              <a:gd name="connsiteX93" fmla="*/ 54769 w 783431"/>
              <a:gd name="connsiteY93" fmla="*/ 323850 h 1200149"/>
              <a:gd name="connsiteX94" fmla="*/ 66675 w 783431"/>
              <a:gd name="connsiteY94" fmla="*/ 381000 h 1200149"/>
              <a:gd name="connsiteX95" fmla="*/ 19050 w 783431"/>
              <a:gd name="connsiteY95" fmla="*/ 423863 h 1200149"/>
              <a:gd name="connsiteX96" fmla="*/ 26194 w 783431"/>
              <a:gd name="connsiteY96" fmla="*/ 490538 h 1200149"/>
              <a:gd name="connsiteX97" fmla="*/ 33337 w 783431"/>
              <a:gd name="connsiteY97" fmla="*/ 554832 h 1200149"/>
              <a:gd name="connsiteX98" fmla="*/ 0 w 783431"/>
              <a:gd name="connsiteY98" fmla="*/ 614363 h 1200149"/>
              <a:gd name="connsiteX0" fmla="*/ 0 w 783431"/>
              <a:gd name="connsiteY0" fmla="*/ 614363 h 1200149"/>
              <a:gd name="connsiteX1" fmla="*/ 21431 w 783431"/>
              <a:gd name="connsiteY1" fmla="*/ 661988 h 1200149"/>
              <a:gd name="connsiteX2" fmla="*/ 28575 w 783431"/>
              <a:gd name="connsiteY2" fmla="*/ 742950 h 1200149"/>
              <a:gd name="connsiteX3" fmla="*/ 76200 w 783431"/>
              <a:gd name="connsiteY3" fmla="*/ 814388 h 1200149"/>
              <a:gd name="connsiteX4" fmla="*/ 102394 w 783431"/>
              <a:gd name="connsiteY4" fmla="*/ 919163 h 1200149"/>
              <a:gd name="connsiteX5" fmla="*/ 116681 w 783431"/>
              <a:gd name="connsiteY5" fmla="*/ 947738 h 1200149"/>
              <a:gd name="connsiteX6" fmla="*/ 130969 w 783431"/>
              <a:gd name="connsiteY6" fmla="*/ 995363 h 1200149"/>
              <a:gd name="connsiteX7" fmla="*/ 150019 w 783431"/>
              <a:gd name="connsiteY7" fmla="*/ 1023938 h 1200149"/>
              <a:gd name="connsiteX8" fmla="*/ 159544 w 783431"/>
              <a:gd name="connsiteY8" fmla="*/ 1042988 h 1200149"/>
              <a:gd name="connsiteX9" fmla="*/ 197644 w 783431"/>
              <a:gd name="connsiteY9" fmla="*/ 1069182 h 1200149"/>
              <a:gd name="connsiteX10" fmla="*/ 245269 w 783431"/>
              <a:gd name="connsiteY10" fmla="*/ 1090613 h 1200149"/>
              <a:gd name="connsiteX11" fmla="*/ 264318 w 783431"/>
              <a:gd name="connsiteY11" fmla="*/ 1131094 h 1200149"/>
              <a:gd name="connsiteX12" fmla="*/ 295275 w 783431"/>
              <a:gd name="connsiteY12" fmla="*/ 1164431 h 1200149"/>
              <a:gd name="connsiteX13" fmla="*/ 385762 w 783431"/>
              <a:gd name="connsiteY13" fmla="*/ 1200149 h 1200149"/>
              <a:gd name="connsiteX14" fmla="*/ 545306 w 783431"/>
              <a:gd name="connsiteY14" fmla="*/ 1145381 h 1200149"/>
              <a:gd name="connsiteX15" fmla="*/ 592931 w 783431"/>
              <a:gd name="connsiteY15" fmla="*/ 1126331 h 1200149"/>
              <a:gd name="connsiteX16" fmla="*/ 604837 w 783431"/>
              <a:gd name="connsiteY16" fmla="*/ 1085850 h 1200149"/>
              <a:gd name="connsiteX17" fmla="*/ 585787 w 783431"/>
              <a:gd name="connsiteY17" fmla="*/ 1035844 h 1200149"/>
              <a:gd name="connsiteX18" fmla="*/ 607219 w 783431"/>
              <a:gd name="connsiteY18" fmla="*/ 1021557 h 1200149"/>
              <a:gd name="connsiteX19" fmla="*/ 645319 w 783431"/>
              <a:gd name="connsiteY19" fmla="*/ 1016794 h 1200149"/>
              <a:gd name="connsiteX20" fmla="*/ 685800 w 783431"/>
              <a:gd name="connsiteY20" fmla="*/ 997744 h 1200149"/>
              <a:gd name="connsiteX21" fmla="*/ 716756 w 783431"/>
              <a:gd name="connsiteY21" fmla="*/ 1002507 h 1200149"/>
              <a:gd name="connsiteX22" fmla="*/ 738187 w 783431"/>
              <a:gd name="connsiteY22" fmla="*/ 969169 h 1200149"/>
              <a:gd name="connsiteX23" fmla="*/ 783431 w 783431"/>
              <a:gd name="connsiteY23" fmla="*/ 933450 h 1200149"/>
              <a:gd name="connsiteX24" fmla="*/ 776287 w 783431"/>
              <a:gd name="connsiteY24" fmla="*/ 907257 h 1200149"/>
              <a:gd name="connsiteX25" fmla="*/ 752475 w 783431"/>
              <a:gd name="connsiteY25" fmla="*/ 888207 h 1200149"/>
              <a:gd name="connsiteX26" fmla="*/ 752475 w 783431"/>
              <a:gd name="connsiteY26" fmla="*/ 864394 h 1200149"/>
              <a:gd name="connsiteX27" fmla="*/ 728662 w 783431"/>
              <a:gd name="connsiteY27" fmla="*/ 852488 h 1200149"/>
              <a:gd name="connsiteX28" fmla="*/ 711994 w 783431"/>
              <a:gd name="connsiteY28" fmla="*/ 802482 h 1200149"/>
              <a:gd name="connsiteX29" fmla="*/ 688181 w 783431"/>
              <a:gd name="connsiteY29" fmla="*/ 814388 h 1200149"/>
              <a:gd name="connsiteX30" fmla="*/ 659606 w 783431"/>
              <a:gd name="connsiteY30" fmla="*/ 814388 h 1200149"/>
              <a:gd name="connsiteX31" fmla="*/ 647700 w 783431"/>
              <a:gd name="connsiteY31" fmla="*/ 847725 h 1200149"/>
              <a:gd name="connsiteX32" fmla="*/ 623887 w 783431"/>
              <a:gd name="connsiteY32" fmla="*/ 847725 h 1200149"/>
              <a:gd name="connsiteX33" fmla="*/ 576262 w 783431"/>
              <a:gd name="connsiteY33" fmla="*/ 828675 h 1200149"/>
              <a:gd name="connsiteX34" fmla="*/ 554831 w 783431"/>
              <a:gd name="connsiteY34" fmla="*/ 816769 h 1200149"/>
              <a:gd name="connsiteX35" fmla="*/ 547687 w 783431"/>
              <a:gd name="connsiteY35" fmla="*/ 783432 h 1200149"/>
              <a:gd name="connsiteX36" fmla="*/ 561975 w 783431"/>
              <a:gd name="connsiteY36" fmla="*/ 754857 h 1200149"/>
              <a:gd name="connsiteX37" fmla="*/ 533400 w 783431"/>
              <a:gd name="connsiteY37" fmla="*/ 733425 h 1200149"/>
              <a:gd name="connsiteX38" fmla="*/ 509587 w 783431"/>
              <a:gd name="connsiteY38" fmla="*/ 711994 h 1200149"/>
              <a:gd name="connsiteX39" fmla="*/ 473869 w 783431"/>
              <a:gd name="connsiteY39" fmla="*/ 711994 h 1200149"/>
              <a:gd name="connsiteX40" fmla="*/ 435769 w 783431"/>
              <a:gd name="connsiteY40" fmla="*/ 711994 h 1200149"/>
              <a:gd name="connsiteX41" fmla="*/ 438150 w 783431"/>
              <a:gd name="connsiteY41" fmla="*/ 669132 h 1200149"/>
              <a:gd name="connsiteX42" fmla="*/ 428625 w 783431"/>
              <a:gd name="connsiteY42" fmla="*/ 642938 h 1200149"/>
              <a:gd name="connsiteX43" fmla="*/ 423862 w 783431"/>
              <a:gd name="connsiteY43" fmla="*/ 607219 h 1200149"/>
              <a:gd name="connsiteX44" fmla="*/ 426244 w 783431"/>
              <a:gd name="connsiteY44" fmla="*/ 578644 h 1200149"/>
              <a:gd name="connsiteX45" fmla="*/ 440531 w 783431"/>
              <a:gd name="connsiteY45" fmla="*/ 566738 h 1200149"/>
              <a:gd name="connsiteX46" fmla="*/ 450056 w 783431"/>
              <a:gd name="connsiteY46" fmla="*/ 535782 h 1200149"/>
              <a:gd name="connsiteX47" fmla="*/ 457200 w 783431"/>
              <a:gd name="connsiteY47" fmla="*/ 519113 h 1200149"/>
              <a:gd name="connsiteX48" fmla="*/ 481012 w 783431"/>
              <a:gd name="connsiteY48" fmla="*/ 526257 h 1200149"/>
              <a:gd name="connsiteX49" fmla="*/ 495300 w 783431"/>
              <a:gd name="connsiteY49" fmla="*/ 576263 h 1200149"/>
              <a:gd name="connsiteX50" fmla="*/ 507206 w 783431"/>
              <a:gd name="connsiteY50" fmla="*/ 581025 h 1200149"/>
              <a:gd name="connsiteX51" fmla="*/ 526256 w 783431"/>
              <a:gd name="connsiteY51" fmla="*/ 583407 h 1200149"/>
              <a:gd name="connsiteX52" fmla="*/ 554831 w 783431"/>
              <a:gd name="connsiteY52" fmla="*/ 583407 h 1200149"/>
              <a:gd name="connsiteX53" fmla="*/ 557212 w 783431"/>
              <a:gd name="connsiteY53" fmla="*/ 547688 h 1200149"/>
              <a:gd name="connsiteX54" fmla="*/ 545306 w 783431"/>
              <a:gd name="connsiteY54" fmla="*/ 502444 h 1200149"/>
              <a:gd name="connsiteX55" fmla="*/ 545306 w 783431"/>
              <a:gd name="connsiteY55" fmla="*/ 476250 h 1200149"/>
              <a:gd name="connsiteX56" fmla="*/ 581025 w 783431"/>
              <a:gd name="connsiteY56" fmla="*/ 454819 h 1200149"/>
              <a:gd name="connsiteX57" fmla="*/ 604837 w 783431"/>
              <a:gd name="connsiteY57" fmla="*/ 435769 h 1200149"/>
              <a:gd name="connsiteX58" fmla="*/ 640556 w 783431"/>
              <a:gd name="connsiteY58" fmla="*/ 414338 h 1200149"/>
              <a:gd name="connsiteX59" fmla="*/ 645319 w 783431"/>
              <a:gd name="connsiteY59" fmla="*/ 395288 h 1200149"/>
              <a:gd name="connsiteX60" fmla="*/ 633412 w 783431"/>
              <a:gd name="connsiteY60" fmla="*/ 371475 h 1200149"/>
              <a:gd name="connsiteX61" fmla="*/ 614362 w 783431"/>
              <a:gd name="connsiteY61" fmla="*/ 369094 h 1200149"/>
              <a:gd name="connsiteX62" fmla="*/ 609600 w 783431"/>
              <a:gd name="connsiteY62" fmla="*/ 366713 h 1200149"/>
              <a:gd name="connsiteX63" fmla="*/ 597694 w 783431"/>
              <a:gd name="connsiteY63" fmla="*/ 357188 h 1200149"/>
              <a:gd name="connsiteX64" fmla="*/ 611981 w 783431"/>
              <a:gd name="connsiteY64" fmla="*/ 345282 h 1200149"/>
              <a:gd name="connsiteX65" fmla="*/ 652462 w 783431"/>
              <a:gd name="connsiteY65" fmla="*/ 316707 h 1200149"/>
              <a:gd name="connsiteX66" fmla="*/ 678656 w 783431"/>
              <a:gd name="connsiteY66" fmla="*/ 264319 h 1200149"/>
              <a:gd name="connsiteX67" fmla="*/ 666750 w 783431"/>
              <a:gd name="connsiteY67" fmla="*/ 242888 h 1200149"/>
              <a:gd name="connsiteX68" fmla="*/ 638175 w 783431"/>
              <a:gd name="connsiteY68" fmla="*/ 219075 h 1200149"/>
              <a:gd name="connsiteX69" fmla="*/ 642937 w 783431"/>
              <a:gd name="connsiteY69" fmla="*/ 180975 h 1200149"/>
              <a:gd name="connsiteX70" fmla="*/ 673894 w 783431"/>
              <a:gd name="connsiteY70" fmla="*/ 171450 h 1200149"/>
              <a:gd name="connsiteX71" fmla="*/ 700087 w 783431"/>
              <a:gd name="connsiteY71" fmla="*/ 142875 h 1200149"/>
              <a:gd name="connsiteX72" fmla="*/ 700087 w 783431"/>
              <a:gd name="connsiteY72" fmla="*/ 111919 h 1200149"/>
              <a:gd name="connsiteX73" fmla="*/ 666750 w 783431"/>
              <a:gd name="connsiteY73" fmla="*/ 107157 h 1200149"/>
              <a:gd name="connsiteX74" fmla="*/ 645319 w 783431"/>
              <a:gd name="connsiteY74" fmla="*/ 102394 h 1200149"/>
              <a:gd name="connsiteX75" fmla="*/ 645319 w 783431"/>
              <a:gd name="connsiteY75" fmla="*/ 102394 h 1200149"/>
              <a:gd name="connsiteX76" fmla="*/ 678656 w 783431"/>
              <a:gd name="connsiteY76" fmla="*/ 69057 h 1200149"/>
              <a:gd name="connsiteX77" fmla="*/ 685800 w 783431"/>
              <a:gd name="connsiteY77" fmla="*/ 40482 h 1200149"/>
              <a:gd name="connsiteX78" fmla="*/ 678656 w 783431"/>
              <a:gd name="connsiteY78" fmla="*/ 21432 h 1200149"/>
              <a:gd name="connsiteX79" fmla="*/ 695325 w 783431"/>
              <a:gd name="connsiteY79" fmla="*/ 2382 h 1200149"/>
              <a:gd name="connsiteX80" fmla="*/ 628650 w 783431"/>
              <a:gd name="connsiteY80" fmla="*/ 0 h 1200149"/>
              <a:gd name="connsiteX81" fmla="*/ 552450 w 783431"/>
              <a:gd name="connsiteY81" fmla="*/ 52388 h 1200149"/>
              <a:gd name="connsiteX82" fmla="*/ 538162 w 783431"/>
              <a:gd name="connsiteY82" fmla="*/ 90488 h 1200149"/>
              <a:gd name="connsiteX83" fmla="*/ 445294 w 783431"/>
              <a:gd name="connsiteY83" fmla="*/ 126207 h 1200149"/>
              <a:gd name="connsiteX84" fmla="*/ 397669 w 783431"/>
              <a:gd name="connsiteY84" fmla="*/ 159544 h 1200149"/>
              <a:gd name="connsiteX85" fmla="*/ 376237 w 783431"/>
              <a:gd name="connsiteY85" fmla="*/ 190500 h 1200149"/>
              <a:gd name="connsiteX86" fmla="*/ 350044 w 783431"/>
              <a:gd name="connsiteY86" fmla="*/ 140494 h 1200149"/>
              <a:gd name="connsiteX87" fmla="*/ 316706 w 783431"/>
              <a:gd name="connsiteY87" fmla="*/ 140494 h 1200149"/>
              <a:gd name="connsiteX88" fmla="*/ 304800 w 783431"/>
              <a:gd name="connsiteY88" fmla="*/ 166688 h 1200149"/>
              <a:gd name="connsiteX89" fmla="*/ 280987 w 783431"/>
              <a:gd name="connsiteY89" fmla="*/ 230982 h 1200149"/>
              <a:gd name="connsiteX90" fmla="*/ 154781 w 783431"/>
              <a:gd name="connsiteY90" fmla="*/ 223838 h 1200149"/>
              <a:gd name="connsiteX91" fmla="*/ 140494 w 783431"/>
              <a:gd name="connsiteY91" fmla="*/ 245269 h 1200149"/>
              <a:gd name="connsiteX92" fmla="*/ 138112 w 783431"/>
              <a:gd name="connsiteY92" fmla="*/ 280988 h 1200149"/>
              <a:gd name="connsiteX93" fmla="*/ 66675 w 783431"/>
              <a:gd name="connsiteY93" fmla="*/ 309563 h 1200149"/>
              <a:gd name="connsiteX94" fmla="*/ 54769 w 783431"/>
              <a:gd name="connsiteY94" fmla="*/ 323850 h 1200149"/>
              <a:gd name="connsiteX95" fmla="*/ 66675 w 783431"/>
              <a:gd name="connsiteY95" fmla="*/ 381000 h 1200149"/>
              <a:gd name="connsiteX96" fmla="*/ 19050 w 783431"/>
              <a:gd name="connsiteY96" fmla="*/ 423863 h 1200149"/>
              <a:gd name="connsiteX97" fmla="*/ 26194 w 783431"/>
              <a:gd name="connsiteY97" fmla="*/ 490538 h 1200149"/>
              <a:gd name="connsiteX98" fmla="*/ 33337 w 783431"/>
              <a:gd name="connsiteY98" fmla="*/ 554832 h 1200149"/>
              <a:gd name="connsiteX99" fmla="*/ 0 w 783431"/>
              <a:gd name="connsiteY99" fmla="*/ 614363 h 1200149"/>
              <a:gd name="connsiteX0" fmla="*/ 0 w 783431"/>
              <a:gd name="connsiteY0" fmla="*/ 614363 h 1202531"/>
              <a:gd name="connsiteX1" fmla="*/ 21431 w 783431"/>
              <a:gd name="connsiteY1" fmla="*/ 661988 h 1202531"/>
              <a:gd name="connsiteX2" fmla="*/ 28575 w 783431"/>
              <a:gd name="connsiteY2" fmla="*/ 742950 h 1202531"/>
              <a:gd name="connsiteX3" fmla="*/ 76200 w 783431"/>
              <a:gd name="connsiteY3" fmla="*/ 814388 h 1202531"/>
              <a:gd name="connsiteX4" fmla="*/ 102394 w 783431"/>
              <a:gd name="connsiteY4" fmla="*/ 919163 h 1202531"/>
              <a:gd name="connsiteX5" fmla="*/ 116681 w 783431"/>
              <a:gd name="connsiteY5" fmla="*/ 947738 h 1202531"/>
              <a:gd name="connsiteX6" fmla="*/ 130969 w 783431"/>
              <a:gd name="connsiteY6" fmla="*/ 995363 h 1202531"/>
              <a:gd name="connsiteX7" fmla="*/ 150019 w 783431"/>
              <a:gd name="connsiteY7" fmla="*/ 1023938 h 1202531"/>
              <a:gd name="connsiteX8" fmla="*/ 159544 w 783431"/>
              <a:gd name="connsiteY8" fmla="*/ 1042988 h 1202531"/>
              <a:gd name="connsiteX9" fmla="*/ 197644 w 783431"/>
              <a:gd name="connsiteY9" fmla="*/ 1069182 h 1202531"/>
              <a:gd name="connsiteX10" fmla="*/ 245269 w 783431"/>
              <a:gd name="connsiteY10" fmla="*/ 1090613 h 1202531"/>
              <a:gd name="connsiteX11" fmla="*/ 264318 w 783431"/>
              <a:gd name="connsiteY11" fmla="*/ 1131094 h 1202531"/>
              <a:gd name="connsiteX12" fmla="*/ 295275 w 783431"/>
              <a:gd name="connsiteY12" fmla="*/ 1164431 h 1202531"/>
              <a:gd name="connsiteX13" fmla="*/ 385762 w 783431"/>
              <a:gd name="connsiteY13" fmla="*/ 1200149 h 1202531"/>
              <a:gd name="connsiteX14" fmla="*/ 554831 w 783431"/>
              <a:gd name="connsiteY14" fmla="*/ 1202531 h 1202531"/>
              <a:gd name="connsiteX15" fmla="*/ 592931 w 783431"/>
              <a:gd name="connsiteY15" fmla="*/ 1126331 h 1202531"/>
              <a:gd name="connsiteX16" fmla="*/ 604837 w 783431"/>
              <a:gd name="connsiteY16" fmla="*/ 1085850 h 1202531"/>
              <a:gd name="connsiteX17" fmla="*/ 585787 w 783431"/>
              <a:gd name="connsiteY17" fmla="*/ 1035844 h 1202531"/>
              <a:gd name="connsiteX18" fmla="*/ 607219 w 783431"/>
              <a:gd name="connsiteY18" fmla="*/ 1021557 h 1202531"/>
              <a:gd name="connsiteX19" fmla="*/ 645319 w 783431"/>
              <a:gd name="connsiteY19" fmla="*/ 1016794 h 1202531"/>
              <a:gd name="connsiteX20" fmla="*/ 685800 w 783431"/>
              <a:gd name="connsiteY20" fmla="*/ 997744 h 1202531"/>
              <a:gd name="connsiteX21" fmla="*/ 716756 w 783431"/>
              <a:gd name="connsiteY21" fmla="*/ 1002507 h 1202531"/>
              <a:gd name="connsiteX22" fmla="*/ 738187 w 783431"/>
              <a:gd name="connsiteY22" fmla="*/ 969169 h 1202531"/>
              <a:gd name="connsiteX23" fmla="*/ 783431 w 783431"/>
              <a:gd name="connsiteY23" fmla="*/ 933450 h 1202531"/>
              <a:gd name="connsiteX24" fmla="*/ 776287 w 783431"/>
              <a:gd name="connsiteY24" fmla="*/ 907257 h 1202531"/>
              <a:gd name="connsiteX25" fmla="*/ 752475 w 783431"/>
              <a:gd name="connsiteY25" fmla="*/ 888207 h 1202531"/>
              <a:gd name="connsiteX26" fmla="*/ 752475 w 783431"/>
              <a:gd name="connsiteY26" fmla="*/ 864394 h 1202531"/>
              <a:gd name="connsiteX27" fmla="*/ 728662 w 783431"/>
              <a:gd name="connsiteY27" fmla="*/ 852488 h 1202531"/>
              <a:gd name="connsiteX28" fmla="*/ 711994 w 783431"/>
              <a:gd name="connsiteY28" fmla="*/ 802482 h 1202531"/>
              <a:gd name="connsiteX29" fmla="*/ 688181 w 783431"/>
              <a:gd name="connsiteY29" fmla="*/ 814388 h 1202531"/>
              <a:gd name="connsiteX30" fmla="*/ 659606 w 783431"/>
              <a:gd name="connsiteY30" fmla="*/ 814388 h 1202531"/>
              <a:gd name="connsiteX31" fmla="*/ 647700 w 783431"/>
              <a:gd name="connsiteY31" fmla="*/ 847725 h 1202531"/>
              <a:gd name="connsiteX32" fmla="*/ 623887 w 783431"/>
              <a:gd name="connsiteY32" fmla="*/ 847725 h 1202531"/>
              <a:gd name="connsiteX33" fmla="*/ 576262 w 783431"/>
              <a:gd name="connsiteY33" fmla="*/ 828675 h 1202531"/>
              <a:gd name="connsiteX34" fmla="*/ 554831 w 783431"/>
              <a:gd name="connsiteY34" fmla="*/ 816769 h 1202531"/>
              <a:gd name="connsiteX35" fmla="*/ 547687 w 783431"/>
              <a:gd name="connsiteY35" fmla="*/ 783432 h 1202531"/>
              <a:gd name="connsiteX36" fmla="*/ 561975 w 783431"/>
              <a:gd name="connsiteY36" fmla="*/ 754857 h 1202531"/>
              <a:gd name="connsiteX37" fmla="*/ 533400 w 783431"/>
              <a:gd name="connsiteY37" fmla="*/ 733425 h 1202531"/>
              <a:gd name="connsiteX38" fmla="*/ 509587 w 783431"/>
              <a:gd name="connsiteY38" fmla="*/ 711994 h 1202531"/>
              <a:gd name="connsiteX39" fmla="*/ 473869 w 783431"/>
              <a:gd name="connsiteY39" fmla="*/ 711994 h 1202531"/>
              <a:gd name="connsiteX40" fmla="*/ 435769 w 783431"/>
              <a:gd name="connsiteY40" fmla="*/ 711994 h 1202531"/>
              <a:gd name="connsiteX41" fmla="*/ 438150 w 783431"/>
              <a:gd name="connsiteY41" fmla="*/ 669132 h 1202531"/>
              <a:gd name="connsiteX42" fmla="*/ 428625 w 783431"/>
              <a:gd name="connsiteY42" fmla="*/ 642938 h 1202531"/>
              <a:gd name="connsiteX43" fmla="*/ 423862 w 783431"/>
              <a:gd name="connsiteY43" fmla="*/ 607219 h 1202531"/>
              <a:gd name="connsiteX44" fmla="*/ 426244 w 783431"/>
              <a:gd name="connsiteY44" fmla="*/ 578644 h 1202531"/>
              <a:gd name="connsiteX45" fmla="*/ 440531 w 783431"/>
              <a:gd name="connsiteY45" fmla="*/ 566738 h 1202531"/>
              <a:gd name="connsiteX46" fmla="*/ 450056 w 783431"/>
              <a:gd name="connsiteY46" fmla="*/ 535782 h 1202531"/>
              <a:gd name="connsiteX47" fmla="*/ 457200 w 783431"/>
              <a:gd name="connsiteY47" fmla="*/ 519113 h 1202531"/>
              <a:gd name="connsiteX48" fmla="*/ 481012 w 783431"/>
              <a:gd name="connsiteY48" fmla="*/ 526257 h 1202531"/>
              <a:gd name="connsiteX49" fmla="*/ 495300 w 783431"/>
              <a:gd name="connsiteY49" fmla="*/ 576263 h 1202531"/>
              <a:gd name="connsiteX50" fmla="*/ 507206 w 783431"/>
              <a:gd name="connsiteY50" fmla="*/ 581025 h 1202531"/>
              <a:gd name="connsiteX51" fmla="*/ 526256 w 783431"/>
              <a:gd name="connsiteY51" fmla="*/ 583407 h 1202531"/>
              <a:gd name="connsiteX52" fmla="*/ 554831 w 783431"/>
              <a:gd name="connsiteY52" fmla="*/ 583407 h 1202531"/>
              <a:gd name="connsiteX53" fmla="*/ 557212 w 783431"/>
              <a:gd name="connsiteY53" fmla="*/ 547688 h 1202531"/>
              <a:gd name="connsiteX54" fmla="*/ 545306 w 783431"/>
              <a:gd name="connsiteY54" fmla="*/ 502444 h 1202531"/>
              <a:gd name="connsiteX55" fmla="*/ 545306 w 783431"/>
              <a:gd name="connsiteY55" fmla="*/ 476250 h 1202531"/>
              <a:gd name="connsiteX56" fmla="*/ 581025 w 783431"/>
              <a:gd name="connsiteY56" fmla="*/ 454819 h 1202531"/>
              <a:gd name="connsiteX57" fmla="*/ 604837 w 783431"/>
              <a:gd name="connsiteY57" fmla="*/ 435769 h 1202531"/>
              <a:gd name="connsiteX58" fmla="*/ 640556 w 783431"/>
              <a:gd name="connsiteY58" fmla="*/ 414338 h 1202531"/>
              <a:gd name="connsiteX59" fmla="*/ 645319 w 783431"/>
              <a:gd name="connsiteY59" fmla="*/ 395288 h 1202531"/>
              <a:gd name="connsiteX60" fmla="*/ 633412 w 783431"/>
              <a:gd name="connsiteY60" fmla="*/ 371475 h 1202531"/>
              <a:gd name="connsiteX61" fmla="*/ 614362 w 783431"/>
              <a:gd name="connsiteY61" fmla="*/ 369094 h 1202531"/>
              <a:gd name="connsiteX62" fmla="*/ 609600 w 783431"/>
              <a:gd name="connsiteY62" fmla="*/ 366713 h 1202531"/>
              <a:gd name="connsiteX63" fmla="*/ 597694 w 783431"/>
              <a:gd name="connsiteY63" fmla="*/ 357188 h 1202531"/>
              <a:gd name="connsiteX64" fmla="*/ 611981 w 783431"/>
              <a:gd name="connsiteY64" fmla="*/ 345282 h 1202531"/>
              <a:gd name="connsiteX65" fmla="*/ 652462 w 783431"/>
              <a:gd name="connsiteY65" fmla="*/ 316707 h 1202531"/>
              <a:gd name="connsiteX66" fmla="*/ 678656 w 783431"/>
              <a:gd name="connsiteY66" fmla="*/ 264319 h 1202531"/>
              <a:gd name="connsiteX67" fmla="*/ 666750 w 783431"/>
              <a:gd name="connsiteY67" fmla="*/ 242888 h 1202531"/>
              <a:gd name="connsiteX68" fmla="*/ 638175 w 783431"/>
              <a:gd name="connsiteY68" fmla="*/ 219075 h 1202531"/>
              <a:gd name="connsiteX69" fmla="*/ 642937 w 783431"/>
              <a:gd name="connsiteY69" fmla="*/ 180975 h 1202531"/>
              <a:gd name="connsiteX70" fmla="*/ 673894 w 783431"/>
              <a:gd name="connsiteY70" fmla="*/ 171450 h 1202531"/>
              <a:gd name="connsiteX71" fmla="*/ 700087 w 783431"/>
              <a:gd name="connsiteY71" fmla="*/ 142875 h 1202531"/>
              <a:gd name="connsiteX72" fmla="*/ 700087 w 783431"/>
              <a:gd name="connsiteY72" fmla="*/ 111919 h 1202531"/>
              <a:gd name="connsiteX73" fmla="*/ 666750 w 783431"/>
              <a:gd name="connsiteY73" fmla="*/ 107157 h 1202531"/>
              <a:gd name="connsiteX74" fmla="*/ 645319 w 783431"/>
              <a:gd name="connsiteY74" fmla="*/ 102394 h 1202531"/>
              <a:gd name="connsiteX75" fmla="*/ 645319 w 783431"/>
              <a:gd name="connsiteY75" fmla="*/ 102394 h 1202531"/>
              <a:gd name="connsiteX76" fmla="*/ 678656 w 783431"/>
              <a:gd name="connsiteY76" fmla="*/ 69057 h 1202531"/>
              <a:gd name="connsiteX77" fmla="*/ 685800 w 783431"/>
              <a:gd name="connsiteY77" fmla="*/ 40482 h 1202531"/>
              <a:gd name="connsiteX78" fmla="*/ 678656 w 783431"/>
              <a:gd name="connsiteY78" fmla="*/ 21432 h 1202531"/>
              <a:gd name="connsiteX79" fmla="*/ 695325 w 783431"/>
              <a:gd name="connsiteY79" fmla="*/ 2382 h 1202531"/>
              <a:gd name="connsiteX80" fmla="*/ 628650 w 783431"/>
              <a:gd name="connsiteY80" fmla="*/ 0 h 1202531"/>
              <a:gd name="connsiteX81" fmla="*/ 552450 w 783431"/>
              <a:gd name="connsiteY81" fmla="*/ 52388 h 1202531"/>
              <a:gd name="connsiteX82" fmla="*/ 538162 w 783431"/>
              <a:gd name="connsiteY82" fmla="*/ 90488 h 1202531"/>
              <a:gd name="connsiteX83" fmla="*/ 445294 w 783431"/>
              <a:gd name="connsiteY83" fmla="*/ 126207 h 1202531"/>
              <a:gd name="connsiteX84" fmla="*/ 397669 w 783431"/>
              <a:gd name="connsiteY84" fmla="*/ 159544 h 1202531"/>
              <a:gd name="connsiteX85" fmla="*/ 376237 w 783431"/>
              <a:gd name="connsiteY85" fmla="*/ 190500 h 1202531"/>
              <a:gd name="connsiteX86" fmla="*/ 350044 w 783431"/>
              <a:gd name="connsiteY86" fmla="*/ 140494 h 1202531"/>
              <a:gd name="connsiteX87" fmla="*/ 316706 w 783431"/>
              <a:gd name="connsiteY87" fmla="*/ 140494 h 1202531"/>
              <a:gd name="connsiteX88" fmla="*/ 304800 w 783431"/>
              <a:gd name="connsiteY88" fmla="*/ 166688 h 1202531"/>
              <a:gd name="connsiteX89" fmla="*/ 280987 w 783431"/>
              <a:gd name="connsiteY89" fmla="*/ 230982 h 1202531"/>
              <a:gd name="connsiteX90" fmla="*/ 154781 w 783431"/>
              <a:gd name="connsiteY90" fmla="*/ 223838 h 1202531"/>
              <a:gd name="connsiteX91" fmla="*/ 140494 w 783431"/>
              <a:gd name="connsiteY91" fmla="*/ 245269 h 1202531"/>
              <a:gd name="connsiteX92" fmla="*/ 138112 w 783431"/>
              <a:gd name="connsiteY92" fmla="*/ 280988 h 1202531"/>
              <a:gd name="connsiteX93" fmla="*/ 66675 w 783431"/>
              <a:gd name="connsiteY93" fmla="*/ 309563 h 1202531"/>
              <a:gd name="connsiteX94" fmla="*/ 54769 w 783431"/>
              <a:gd name="connsiteY94" fmla="*/ 323850 h 1202531"/>
              <a:gd name="connsiteX95" fmla="*/ 66675 w 783431"/>
              <a:gd name="connsiteY95" fmla="*/ 381000 h 1202531"/>
              <a:gd name="connsiteX96" fmla="*/ 19050 w 783431"/>
              <a:gd name="connsiteY96" fmla="*/ 423863 h 1202531"/>
              <a:gd name="connsiteX97" fmla="*/ 26194 w 783431"/>
              <a:gd name="connsiteY97" fmla="*/ 490538 h 1202531"/>
              <a:gd name="connsiteX98" fmla="*/ 33337 w 783431"/>
              <a:gd name="connsiteY98" fmla="*/ 554832 h 1202531"/>
              <a:gd name="connsiteX99" fmla="*/ 0 w 783431"/>
              <a:gd name="connsiteY99" fmla="*/ 614363 h 1202531"/>
              <a:gd name="connsiteX0" fmla="*/ 0 w 783431"/>
              <a:gd name="connsiteY0" fmla="*/ 614363 h 1202531"/>
              <a:gd name="connsiteX1" fmla="*/ 21431 w 783431"/>
              <a:gd name="connsiteY1" fmla="*/ 661988 h 1202531"/>
              <a:gd name="connsiteX2" fmla="*/ 28575 w 783431"/>
              <a:gd name="connsiteY2" fmla="*/ 742950 h 1202531"/>
              <a:gd name="connsiteX3" fmla="*/ 76200 w 783431"/>
              <a:gd name="connsiteY3" fmla="*/ 814388 h 1202531"/>
              <a:gd name="connsiteX4" fmla="*/ 102394 w 783431"/>
              <a:gd name="connsiteY4" fmla="*/ 919163 h 1202531"/>
              <a:gd name="connsiteX5" fmla="*/ 116681 w 783431"/>
              <a:gd name="connsiteY5" fmla="*/ 947738 h 1202531"/>
              <a:gd name="connsiteX6" fmla="*/ 130969 w 783431"/>
              <a:gd name="connsiteY6" fmla="*/ 995363 h 1202531"/>
              <a:gd name="connsiteX7" fmla="*/ 150019 w 783431"/>
              <a:gd name="connsiteY7" fmla="*/ 1023938 h 1202531"/>
              <a:gd name="connsiteX8" fmla="*/ 159544 w 783431"/>
              <a:gd name="connsiteY8" fmla="*/ 1042988 h 1202531"/>
              <a:gd name="connsiteX9" fmla="*/ 197644 w 783431"/>
              <a:gd name="connsiteY9" fmla="*/ 1069182 h 1202531"/>
              <a:gd name="connsiteX10" fmla="*/ 245269 w 783431"/>
              <a:gd name="connsiteY10" fmla="*/ 1090613 h 1202531"/>
              <a:gd name="connsiteX11" fmla="*/ 264318 w 783431"/>
              <a:gd name="connsiteY11" fmla="*/ 1131094 h 1202531"/>
              <a:gd name="connsiteX12" fmla="*/ 295275 w 783431"/>
              <a:gd name="connsiteY12" fmla="*/ 1164431 h 1202531"/>
              <a:gd name="connsiteX13" fmla="*/ 385762 w 783431"/>
              <a:gd name="connsiteY13" fmla="*/ 1200149 h 1202531"/>
              <a:gd name="connsiteX14" fmla="*/ 461962 w 783431"/>
              <a:gd name="connsiteY14" fmla="*/ 1197768 h 1202531"/>
              <a:gd name="connsiteX15" fmla="*/ 554831 w 783431"/>
              <a:gd name="connsiteY15" fmla="*/ 1202531 h 1202531"/>
              <a:gd name="connsiteX16" fmla="*/ 592931 w 783431"/>
              <a:gd name="connsiteY16" fmla="*/ 1126331 h 1202531"/>
              <a:gd name="connsiteX17" fmla="*/ 604837 w 783431"/>
              <a:gd name="connsiteY17" fmla="*/ 1085850 h 1202531"/>
              <a:gd name="connsiteX18" fmla="*/ 585787 w 783431"/>
              <a:gd name="connsiteY18" fmla="*/ 1035844 h 1202531"/>
              <a:gd name="connsiteX19" fmla="*/ 607219 w 783431"/>
              <a:gd name="connsiteY19" fmla="*/ 1021557 h 1202531"/>
              <a:gd name="connsiteX20" fmla="*/ 645319 w 783431"/>
              <a:gd name="connsiteY20" fmla="*/ 1016794 h 1202531"/>
              <a:gd name="connsiteX21" fmla="*/ 685800 w 783431"/>
              <a:gd name="connsiteY21" fmla="*/ 997744 h 1202531"/>
              <a:gd name="connsiteX22" fmla="*/ 716756 w 783431"/>
              <a:gd name="connsiteY22" fmla="*/ 1002507 h 1202531"/>
              <a:gd name="connsiteX23" fmla="*/ 738187 w 783431"/>
              <a:gd name="connsiteY23" fmla="*/ 969169 h 1202531"/>
              <a:gd name="connsiteX24" fmla="*/ 783431 w 783431"/>
              <a:gd name="connsiteY24" fmla="*/ 933450 h 1202531"/>
              <a:gd name="connsiteX25" fmla="*/ 776287 w 783431"/>
              <a:gd name="connsiteY25" fmla="*/ 907257 h 1202531"/>
              <a:gd name="connsiteX26" fmla="*/ 752475 w 783431"/>
              <a:gd name="connsiteY26" fmla="*/ 888207 h 1202531"/>
              <a:gd name="connsiteX27" fmla="*/ 752475 w 783431"/>
              <a:gd name="connsiteY27" fmla="*/ 864394 h 1202531"/>
              <a:gd name="connsiteX28" fmla="*/ 728662 w 783431"/>
              <a:gd name="connsiteY28" fmla="*/ 852488 h 1202531"/>
              <a:gd name="connsiteX29" fmla="*/ 711994 w 783431"/>
              <a:gd name="connsiteY29" fmla="*/ 802482 h 1202531"/>
              <a:gd name="connsiteX30" fmla="*/ 688181 w 783431"/>
              <a:gd name="connsiteY30" fmla="*/ 814388 h 1202531"/>
              <a:gd name="connsiteX31" fmla="*/ 659606 w 783431"/>
              <a:gd name="connsiteY31" fmla="*/ 814388 h 1202531"/>
              <a:gd name="connsiteX32" fmla="*/ 647700 w 783431"/>
              <a:gd name="connsiteY32" fmla="*/ 847725 h 1202531"/>
              <a:gd name="connsiteX33" fmla="*/ 623887 w 783431"/>
              <a:gd name="connsiteY33" fmla="*/ 847725 h 1202531"/>
              <a:gd name="connsiteX34" fmla="*/ 576262 w 783431"/>
              <a:gd name="connsiteY34" fmla="*/ 828675 h 1202531"/>
              <a:gd name="connsiteX35" fmla="*/ 554831 w 783431"/>
              <a:gd name="connsiteY35" fmla="*/ 816769 h 1202531"/>
              <a:gd name="connsiteX36" fmla="*/ 547687 w 783431"/>
              <a:gd name="connsiteY36" fmla="*/ 783432 h 1202531"/>
              <a:gd name="connsiteX37" fmla="*/ 561975 w 783431"/>
              <a:gd name="connsiteY37" fmla="*/ 754857 h 1202531"/>
              <a:gd name="connsiteX38" fmla="*/ 533400 w 783431"/>
              <a:gd name="connsiteY38" fmla="*/ 733425 h 1202531"/>
              <a:gd name="connsiteX39" fmla="*/ 509587 w 783431"/>
              <a:gd name="connsiteY39" fmla="*/ 711994 h 1202531"/>
              <a:gd name="connsiteX40" fmla="*/ 473869 w 783431"/>
              <a:gd name="connsiteY40" fmla="*/ 711994 h 1202531"/>
              <a:gd name="connsiteX41" fmla="*/ 435769 w 783431"/>
              <a:gd name="connsiteY41" fmla="*/ 711994 h 1202531"/>
              <a:gd name="connsiteX42" fmla="*/ 438150 w 783431"/>
              <a:gd name="connsiteY42" fmla="*/ 669132 h 1202531"/>
              <a:gd name="connsiteX43" fmla="*/ 428625 w 783431"/>
              <a:gd name="connsiteY43" fmla="*/ 642938 h 1202531"/>
              <a:gd name="connsiteX44" fmla="*/ 423862 w 783431"/>
              <a:gd name="connsiteY44" fmla="*/ 607219 h 1202531"/>
              <a:gd name="connsiteX45" fmla="*/ 426244 w 783431"/>
              <a:gd name="connsiteY45" fmla="*/ 578644 h 1202531"/>
              <a:gd name="connsiteX46" fmla="*/ 440531 w 783431"/>
              <a:gd name="connsiteY46" fmla="*/ 566738 h 1202531"/>
              <a:gd name="connsiteX47" fmla="*/ 450056 w 783431"/>
              <a:gd name="connsiteY47" fmla="*/ 535782 h 1202531"/>
              <a:gd name="connsiteX48" fmla="*/ 457200 w 783431"/>
              <a:gd name="connsiteY48" fmla="*/ 519113 h 1202531"/>
              <a:gd name="connsiteX49" fmla="*/ 481012 w 783431"/>
              <a:gd name="connsiteY49" fmla="*/ 526257 h 1202531"/>
              <a:gd name="connsiteX50" fmla="*/ 495300 w 783431"/>
              <a:gd name="connsiteY50" fmla="*/ 576263 h 1202531"/>
              <a:gd name="connsiteX51" fmla="*/ 507206 w 783431"/>
              <a:gd name="connsiteY51" fmla="*/ 581025 h 1202531"/>
              <a:gd name="connsiteX52" fmla="*/ 526256 w 783431"/>
              <a:gd name="connsiteY52" fmla="*/ 583407 h 1202531"/>
              <a:gd name="connsiteX53" fmla="*/ 554831 w 783431"/>
              <a:gd name="connsiteY53" fmla="*/ 583407 h 1202531"/>
              <a:gd name="connsiteX54" fmla="*/ 557212 w 783431"/>
              <a:gd name="connsiteY54" fmla="*/ 547688 h 1202531"/>
              <a:gd name="connsiteX55" fmla="*/ 545306 w 783431"/>
              <a:gd name="connsiteY55" fmla="*/ 502444 h 1202531"/>
              <a:gd name="connsiteX56" fmla="*/ 545306 w 783431"/>
              <a:gd name="connsiteY56" fmla="*/ 476250 h 1202531"/>
              <a:gd name="connsiteX57" fmla="*/ 581025 w 783431"/>
              <a:gd name="connsiteY57" fmla="*/ 454819 h 1202531"/>
              <a:gd name="connsiteX58" fmla="*/ 604837 w 783431"/>
              <a:gd name="connsiteY58" fmla="*/ 435769 h 1202531"/>
              <a:gd name="connsiteX59" fmla="*/ 640556 w 783431"/>
              <a:gd name="connsiteY59" fmla="*/ 414338 h 1202531"/>
              <a:gd name="connsiteX60" fmla="*/ 645319 w 783431"/>
              <a:gd name="connsiteY60" fmla="*/ 395288 h 1202531"/>
              <a:gd name="connsiteX61" fmla="*/ 633412 w 783431"/>
              <a:gd name="connsiteY61" fmla="*/ 371475 h 1202531"/>
              <a:gd name="connsiteX62" fmla="*/ 614362 w 783431"/>
              <a:gd name="connsiteY62" fmla="*/ 369094 h 1202531"/>
              <a:gd name="connsiteX63" fmla="*/ 609600 w 783431"/>
              <a:gd name="connsiteY63" fmla="*/ 366713 h 1202531"/>
              <a:gd name="connsiteX64" fmla="*/ 597694 w 783431"/>
              <a:gd name="connsiteY64" fmla="*/ 357188 h 1202531"/>
              <a:gd name="connsiteX65" fmla="*/ 611981 w 783431"/>
              <a:gd name="connsiteY65" fmla="*/ 345282 h 1202531"/>
              <a:gd name="connsiteX66" fmla="*/ 652462 w 783431"/>
              <a:gd name="connsiteY66" fmla="*/ 316707 h 1202531"/>
              <a:gd name="connsiteX67" fmla="*/ 678656 w 783431"/>
              <a:gd name="connsiteY67" fmla="*/ 264319 h 1202531"/>
              <a:gd name="connsiteX68" fmla="*/ 666750 w 783431"/>
              <a:gd name="connsiteY68" fmla="*/ 242888 h 1202531"/>
              <a:gd name="connsiteX69" fmla="*/ 638175 w 783431"/>
              <a:gd name="connsiteY69" fmla="*/ 219075 h 1202531"/>
              <a:gd name="connsiteX70" fmla="*/ 642937 w 783431"/>
              <a:gd name="connsiteY70" fmla="*/ 180975 h 1202531"/>
              <a:gd name="connsiteX71" fmla="*/ 673894 w 783431"/>
              <a:gd name="connsiteY71" fmla="*/ 171450 h 1202531"/>
              <a:gd name="connsiteX72" fmla="*/ 700087 w 783431"/>
              <a:gd name="connsiteY72" fmla="*/ 142875 h 1202531"/>
              <a:gd name="connsiteX73" fmla="*/ 700087 w 783431"/>
              <a:gd name="connsiteY73" fmla="*/ 111919 h 1202531"/>
              <a:gd name="connsiteX74" fmla="*/ 666750 w 783431"/>
              <a:gd name="connsiteY74" fmla="*/ 107157 h 1202531"/>
              <a:gd name="connsiteX75" fmla="*/ 645319 w 783431"/>
              <a:gd name="connsiteY75" fmla="*/ 102394 h 1202531"/>
              <a:gd name="connsiteX76" fmla="*/ 645319 w 783431"/>
              <a:gd name="connsiteY76" fmla="*/ 102394 h 1202531"/>
              <a:gd name="connsiteX77" fmla="*/ 678656 w 783431"/>
              <a:gd name="connsiteY77" fmla="*/ 69057 h 1202531"/>
              <a:gd name="connsiteX78" fmla="*/ 685800 w 783431"/>
              <a:gd name="connsiteY78" fmla="*/ 40482 h 1202531"/>
              <a:gd name="connsiteX79" fmla="*/ 678656 w 783431"/>
              <a:gd name="connsiteY79" fmla="*/ 21432 h 1202531"/>
              <a:gd name="connsiteX80" fmla="*/ 695325 w 783431"/>
              <a:gd name="connsiteY80" fmla="*/ 2382 h 1202531"/>
              <a:gd name="connsiteX81" fmla="*/ 628650 w 783431"/>
              <a:gd name="connsiteY81" fmla="*/ 0 h 1202531"/>
              <a:gd name="connsiteX82" fmla="*/ 552450 w 783431"/>
              <a:gd name="connsiteY82" fmla="*/ 52388 h 1202531"/>
              <a:gd name="connsiteX83" fmla="*/ 538162 w 783431"/>
              <a:gd name="connsiteY83" fmla="*/ 90488 h 1202531"/>
              <a:gd name="connsiteX84" fmla="*/ 445294 w 783431"/>
              <a:gd name="connsiteY84" fmla="*/ 126207 h 1202531"/>
              <a:gd name="connsiteX85" fmla="*/ 397669 w 783431"/>
              <a:gd name="connsiteY85" fmla="*/ 159544 h 1202531"/>
              <a:gd name="connsiteX86" fmla="*/ 376237 w 783431"/>
              <a:gd name="connsiteY86" fmla="*/ 190500 h 1202531"/>
              <a:gd name="connsiteX87" fmla="*/ 350044 w 783431"/>
              <a:gd name="connsiteY87" fmla="*/ 140494 h 1202531"/>
              <a:gd name="connsiteX88" fmla="*/ 316706 w 783431"/>
              <a:gd name="connsiteY88" fmla="*/ 140494 h 1202531"/>
              <a:gd name="connsiteX89" fmla="*/ 304800 w 783431"/>
              <a:gd name="connsiteY89" fmla="*/ 166688 h 1202531"/>
              <a:gd name="connsiteX90" fmla="*/ 280987 w 783431"/>
              <a:gd name="connsiteY90" fmla="*/ 230982 h 1202531"/>
              <a:gd name="connsiteX91" fmla="*/ 154781 w 783431"/>
              <a:gd name="connsiteY91" fmla="*/ 223838 h 1202531"/>
              <a:gd name="connsiteX92" fmla="*/ 140494 w 783431"/>
              <a:gd name="connsiteY92" fmla="*/ 245269 h 1202531"/>
              <a:gd name="connsiteX93" fmla="*/ 138112 w 783431"/>
              <a:gd name="connsiteY93" fmla="*/ 280988 h 1202531"/>
              <a:gd name="connsiteX94" fmla="*/ 66675 w 783431"/>
              <a:gd name="connsiteY94" fmla="*/ 309563 h 1202531"/>
              <a:gd name="connsiteX95" fmla="*/ 54769 w 783431"/>
              <a:gd name="connsiteY95" fmla="*/ 323850 h 1202531"/>
              <a:gd name="connsiteX96" fmla="*/ 66675 w 783431"/>
              <a:gd name="connsiteY96" fmla="*/ 381000 h 1202531"/>
              <a:gd name="connsiteX97" fmla="*/ 19050 w 783431"/>
              <a:gd name="connsiteY97" fmla="*/ 423863 h 1202531"/>
              <a:gd name="connsiteX98" fmla="*/ 26194 w 783431"/>
              <a:gd name="connsiteY98" fmla="*/ 490538 h 1202531"/>
              <a:gd name="connsiteX99" fmla="*/ 33337 w 783431"/>
              <a:gd name="connsiteY99" fmla="*/ 554832 h 1202531"/>
              <a:gd name="connsiteX100" fmla="*/ 0 w 783431"/>
              <a:gd name="connsiteY100" fmla="*/ 614363 h 1202531"/>
              <a:gd name="connsiteX0" fmla="*/ 0 w 783431"/>
              <a:gd name="connsiteY0" fmla="*/ 614363 h 1202531"/>
              <a:gd name="connsiteX1" fmla="*/ 21431 w 783431"/>
              <a:gd name="connsiteY1" fmla="*/ 661988 h 1202531"/>
              <a:gd name="connsiteX2" fmla="*/ 28575 w 783431"/>
              <a:gd name="connsiteY2" fmla="*/ 742950 h 1202531"/>
              <a:gd name="connsiteX3" fmla="*/ 76200 w 783431"/>
              <a:gd name="connsiteY3" fmla="*/ 814388 h 1202531"/>
              <a:gd name="connsiteX4" fmla="*/ 102394 w 783431"/>
              <a:gd name="connsiteY4" fmla="*/ 919163 h 1202531"/>
              <a:gd name="connsiteX5" fmla="*/ 116681 w 783431"/>
              <a:gd name="connsiteY5" fmla="*/ 947738 h 1202531"/>
              <a:gd name="connsiteX6" fmla="*/ 130969 w 783431"/>
              <a:gd name="connsiteY6" fmla="*/ 995363 h 1202531"/>
              <a:gd name="connsiteX7" fmla="*/ 150019 w 783431"/>
              <a:gd name="connsiteY7" fmla="*/ 1023938 h 1202531"/>
              <a:gd name="connsiteX8" fmla="*/ 159544 w 783431"/>
              <a:gd name="connsiteY8" fmla="*/ 1042988 h 1202531"/>
              <a:gd name="connsiteX9" fmla="*/ 197644 w 783431"/>
              <a:gd name="connsiteY9" fmla="*/ 1069182 h 1202531"/>
              <a:gd name="connsiteX10" fmla="*/ 245269 w 783431"/>
              <a:gd name="connsiteY10" fmla="*/ 1090613 h 1202531"/>
              <a:gd name="connsiteX11" fmla="*/ 264318 w 783431"/>
              <a:gd name="connsiteY11" fmla="*/ 1131094 h 1202531"/>
              <a:gd name="connsiteX12" fmla="*/ 295275 w 783431"/>
              <a:gd name="connsiteY12" fmla="*/ 1164431 h 1202531"/>
              <a:gd name="connsiteX13" fmla="*/ 385762 w 783431"/>
              <a:gd name="connsiteY13" fmla="*/ 1200149 h 1202531"/>
              <a:gd name="connsiteX14" fmla="*/ 469106 w 783431"/>
              <a:gd name="connsiteY14" fmla="*/ 1181100 h 1202531"/>
              <a:gd name="connsiteX15" fmla="*/ 554831 w 783431"/>
              <a:gd name="connsiteY15" fmla="*/ 1202531 h 1202531"/>
              <a:gd name="connsiteX16" fmla="*/ 592931 w 783431"/>
              <a:gd name="connsiteY16" fmla="*/ 1126331 h 1202531"/>
              <a:gd name="connsiteX17" fmla="*/ 604837 w 783431"/>
              <a:gd name="connsiteY17" fmla="*/ 1085850 h 1202531"/>
              <a:gd name="connsiteX18" fmla="*/ 585787 w 783431"/>
              <a:gd name="connsiteY18" fmla="*/ 1035844 h 1202531"/>
              <a:gd name="connsiteX19" fmla="*/ 607219 w 783431"/>
              <a:gd name="connsiteY19" fmla="*/ 1021557 h 1202531"/>
              <a:gd name="connsiteX20" fmla="*/ 645319 w 783431"/>
              <a:gd name="connsiteY20" fmla="*/ 1016794 h 1202531"/>
              <a:gd name="connsiteX21" fmla="*/ 685800 w 783431"/>
              <a:gd name="connsiteY21" fmla="*/ 997744 h 1202531"/>
              <a:gd name="connsiteX22" fmla="*/ 716756 w 783431"/>
              <a:gd name="connsiteY22" fmla="*/ 1002507 h 1202531"/>
              <a:gd name="connsiteX23" fmla="*/ 738187 w 783431"/>
              <a:gd name="connsiteY23" fmla="*/ 969169 h 1202531"/>
              <a:gd name="connsiteX24" fmla="*/ 783431 w 783431"/>
              <a:gd name="connsiteY24" fmla="*/ 933450 h 1202531"/>
              <a:gd name="connsiteX25" fmla="*/ 776287 w 783431"/>
              <a:gd name="connsiteY25" fmla="*/ 907257 h 1202531"/>
              <a:gd name="connsiteX26" fmla="*/ 752475 w 783431"/>
              <a:gd name="connsiteY26" fmla="*/ 888207 h 1202531"/>
              <a:gd name="connsiteX27" fmla="*/ 752475 w 783431"/>
              <a:gd name="connsiteY27" fmla="*/ 864394 h 1202531"/>
              <a:gd name="connsiteX28" fmla="*/ 728662 w 783431"/>
              <a:gd name="connsiteY28" fmla="*/ 852488 h 1202531"/>
              <a:gd name="connsiteX29" fmla="*/ 711994 w 783431"/>
              <a:gd name="connsiteY29" fmla="*/ 802482 h 1202531"/>
              <a:gd name="connsiteX30" fmla="*/ 688181 w 783431"/>
              <a:gd name="connsiteY30" fmla="*/ 814388 h 1202531"/>
              <a:gd name="connsiteX31" fmla="*/ 659606 w 783431"/>
              <a:gd name="connsiteY31" fmla="*/ 814388 h 1202531"/>
              <a:gd name="connsiteX32" fmla="*/ 647700 w 783431"/>
              <a:gd name="connsiteY32" fmla="*/ 847725 h 1202531"/>
              <a:gd name="connsiteX33" fmla="*/ 623887 w 783431"/>
              <a:gd name="connsiteY33" fmla="*/ 847725 h 1202531"/>
              <a:gd name="connsiteX34" fmla="*/ 576262 w 783431"/>
              <a:gd name="connsiteY34" fmla="*/ 828675 h 1202531"/>
              <a:gd name="connsiteX35" fmla="*/ 554831 w 783431"/>
              <a:gd name="connsiteY35" fmla="*/ 816769 h 1202531"/>
              <a:gd name="connsiteX36" fmla="*/ 547687 w 783431"/>
              <a:gd name="connsiteY36" fmla="*/ 783432 h 1202531"/>
              <a:gd name="connsiteX37" fmla="*/ 561975 w 783431"/>
              <a:gd name="connsiteY37" fmla="*/ 754857 h 1202531"/>
              <a:gd name="connsiteX38" fmla="*/ 533400 w 783431"/>
              <a:gd name="connsiteY38" fmla="*/ 733425 h 1202531"/>
              <a:gd name="connsiteX39" fmla="*/ 509587 w 783431"/>
              <a:gd name="connsiteY39" fmla="*/ 711994 h 1202531"/>
              <a:gd name="connsiteX40" fmla="*/ 473869 w 783431"/>
              <a:gd name="connsiteY40" fmla="*/ 711994 h 1202531"/>
              <a:gd name="connsiteX41" fmla="*/ 435769 w 783431"/>
              <a:gd name="connsiteY41" fmla="*/ 711994 h 1202531"/>
              <a:gd name="connsiteX42" fmla="*/ 438150 w 783431"/>
              <a:gd name="connsiteY42" fmla="*/ 669132 h 1202531"/>
              <a:gd name="connsiteX43" fmla="*/ 428625 w 783431"/>
              <a:gd name="connsiteY43" fmla="*/ 642938 h 1202531"/>
              <a:gd name="connsiteX44" fmla="*/ 423862 w 783431"/>
              <a:gd name="connsiteY44" fmla="*/ 607219 h 1202531"/>
              <a:gd name="connsiteX45" fmla="*/ 426244 w 783431"/>
              <a:gd name="connsiteY45" fmla="*/ 578644 h 1202531"/>
              <a:gd name="connsiteX46" fmla="*/ 440531 w 783431"/>
              <a:gd name="connsiteY46" fmla="*/ 566738 h 1202531"/>
              <a:gd name="connsiteX47" fmla="*/ 450056 w 783431"/>
              <a:gd name="connsiteY47" fmla="*/ 535782 h 1202531"/>
              <a:gd name="connsiteX48" fmla="*/ 457200 w 783431"/>
              <a:gd name="connsiteY48" fmla="*/ 519113 h 1202531"/>
              <a:gd name="connsiteX49" fmla="*/ 481012 w 783431"/>
              <a:gd name="connsiteY49" fmla="*/ 526257 h 1202531"/>
              <a:gd name="connsiteX50" fmla="*/ 495300 w 783431"/>
              <a:gd name="connsiteY50" fmla="*/ 576263 h 1202531"/>
              <a:gd name="connsiteX51" fmla="*/ 507206 w 783431"/>
              <a:gd name="connsiteY51" fmla="*/ 581025 h 1202531"/>
              <a:gd name="connsiteX52" fmla="*/ 526256 w 783431"/>
              <a:gd name="connsiteY52" fmla="*/ 583407 h 1202531"/>
              <a:gd name="connsiteX53" fmla="*/ 554831 w 783431"/>
              <a:gd name="connsiteY53" fmla="*/ 583407 h 1202531"/>
              <a:gd name="connsiteX54" fmla="*/ 557212 w 783431"/>
              <a:gd name="connsiteY54" fmla="*/ 547688 h 1202531"/>
              <a:gd name="connsiteX55" fmla="*/ 545306 w 783431"/>
              <a:gd name="connsiteY55" fmla="*/ 502444 h 1202531"/>
              <a:gd name="connsiteX56" fmla="*/ 545306 w 783431"/>
              <a:gd name="connsiteY56" fmla="*/ 476250 h 1202531"/>
              <a:gd name="connsiteX57" fmla="*/ 581025 w 783431"/>
              <a:gd name="connsiteY57" fmla="*/ 454819 h 1202531"/>
              <a:gd name="connsiteX58" fmla="*/ 604837 w 783431"/>
              <a:gd name="connsiteY58" fmla="*/ 435769 h 1202531"/>
              <a:gd name="connsiteX59" fmla="*/ 640556 w 783431"/>
              <a:gd name="connsiteY59" fmla="*/ 414338 h 1202531"/>
              <a:gd name="connsiteX60" fmla="*/ 645319 w 783431"/>
              <a:gd name="connsiteY60" fmla="*/ 395288 h 1202531"/>
              <a:gd name="connsiteX61" fmla="*/ 633412 w 783431"/>
              <a:gd name="connsiteY61" fmla="*/ 371475 h 1202531"/>
              <a:gd name="connsiteX62" fmla="*/ 614362 w 783431"/>
              <a:gd name="connsiteY62" fmla="*/ 369094 h 1202531"/>
              <a:gd name="connsiteX63" fmla="*/ 609600 w 783431"/>
              <a:gd name="connsiteY63" fmla="*/ 366713 h 1202531"/>
              <a:gd name="connsiteX64" fmla="*/ 597694 w 783431"/>
              <a:gd name="connsiteY64" fmla="*/ 357188 h 1202531"/>
              <a:gd name="connsiteX65" fmla="*/ 611981 w 783431"/>
              <a:gd name="connsiteY65" fmla="*/ 345282 h 1202531"/>
              <a:gd name="connsiteX66" fmla="*/ 652462 w 783431"/>
              <a:gd name="connsiteY66" fmla="*/ 316707 h 1202531"/>
              <a:gd name="connsiteX67" fmla="*/ 678656 w 783431"/>
              <a:gd name="connsiteY67" fmla="*/ 264319 h 1202531"/>
              <a:gd name="connsiteX68" fmla="*/ 666750 w 783431"/>
              <a:gd name="connsiteY68" fmla="*/ 242888 h 1202531"/>
              <a:gd name="connsiteX69" fmla="*/ 638175 w 783431"/>
              <a:gd name="connsiteY69" fmla="*/ 219075 h 1202531"/>
              <a:gd name="connsiteX70" fmla="*/ 642937 w 783431"/>
              <a:gd name="connsiteY70" fmla="*/ 180975 h 1202531"/>
              <a:gd name="connsiteX71" fmla="*/ 673894 w 783431"/>
              <a:gd name="connsiteY71" fmla="*/ 171450 h 1202531"/>
              <a:gd name="connsiteX72" fmla="*/ 700087 w 783431"/>
              <a:gd name="connsiteY72" fmla="*/ 142875 h 1202531"/>
              <a:gd name="connsiteX73" fmla="*/ 700087 w 783431"/>
              <a:gd name="connsiteY73" fmla="*/ 111919 h 1202531"/>
              <a:gd name="connsiteX74" fmla="*/ 666750 w 783431"/>
              <a:gd name="connsiteY74" fmla="*/ 107157 h 1202531"/>
              <a:gd name="connsiteX75" fmla="*/ 645319 w 783431"/>
              <a:gd name="connsiteY75" fmla="*/ 102394 h 1202531"/>
              <a:gd name="connsiteX76" fmla="*/ 645319 w 783431"/>
              <a:gd name="connsiteY76" fmla="*/ 102394 h 1202531"/>
              <a:gd name="connsiteX77" fmla="*/ 678656 w 783431"/>
              <a:gd name="connsiteY77" fmla="*/ 69057 h 1202531"/>
              <a:gd name="connsiteX78" fmla="*/ 685800 w 783431"/>
              <a:gd name="connsiteY78" fmla="*/ 40482 h 1202531"/>
              <a:gd name="connsiteX79" fmla="*/ 678656 w 783431"/>
              <a:gd name="connsiteY79" fmla="*/ 21432 h 1202531"/>
              <a:gd name="connsiteX80" fmla="*/ 695325 w 783431"/>
              <a:gd name="connsiteY80" fmla="*/ 2382 h 1202531"/>
              <a:gd name="connsiteX81" fmla="*/ 628650 w 783431"/>
              <a:gd name="connsiteY81" fmla="*/ 0 h 1202531"/>
              <a:gd name="connsiteX82" fmla="*/ 552450 w 783431"/>
              <a:gd name="connsiteY82" fmla="*/ 52388 h 1202531"/>
              <a:gd name="connsiteX83" fmla="*/ 538162 w 783431"/>
              <a:gd name="connsiteY83" fmla="*/ 90488 h 1202531"/>
              <a:gd name="connsiteX84" fmla="*/ 445294 w 783431"/>
              <a:gd name="connsiteY84" fmla="*/ 126207 h 1202531"/>
              <a:gd name="connsiteX85" fmla="*/ 397669 w 783431"/>
              <a:gd name="connsiteY85" fmla="*/ 159544 h 1202531"/>
              <a:gd name="connsiteX86" fmla="*/ 376237 w 783431"/>
              <a:gd name="connsiteY86" fmla="*/ 190500 h 1202531"/>
              <a:gd name="connsiteX87" fmla="*/ 350044 w 783431"/>
              <a:gd name="connsiteY87" fmla="*/ 140494 h 1202531"/>
              <a:gd name="connsiteX88" fmla="*/ 316706 w 783431"/>
              <a:gd name="connsiteY88" fmla="*/ 140494 h 1202531"/>
              <a:gd name="connsiteX89" fmla="*/ 304800 w 783431"/>
              <a:gd name="connsiteY89" fmla="*/ 166688 h 1202531"/>
              <a:gd name="connsiteX90" fmla="*/ 280987 w 783431"/>
              <a:gd name="connsiteY90" fmla="*/ 230982 h 1202531"/>
              <a:gd name="connsiteX91" fmla="*/ 154781 w 783431"/>
              <a:gd name="connsiteY91" fmla="*/ 223838 h 1202531"/>
              <a:gd name="connsiteX92" fmla="*/ 140494 w 783431"/>
              <a:gd name="connsiteY92" fmla="*/ 245269 h 1202531"/>
              <a:gd name="connsiteX93" fmla="*/ 138112 w 783431"/>
              <a:gd name="connsiteY93" fmla="*/ 280988 h 1202531"/>
              <a:gd name="connsiteX94" fmla="*/ 66675 w 783431"/>
              <a:gd name="connsiteY94" fmla="*/ 309563 h 1202531"/>
              <a:gd name="connsiteX95" fmla="*/ 54769 w 783431"/>
              <a:gd name="connsiteY95" fmla="*/ 323850 h 1202531"/>
              <a:gd name="connsiteX96" fmla="*/ 66675 w 783431"/>
              <a:gd name="connsiteY96" fmla="*/ 381000 h 1202531"/>
              <a:gd name="connsiteX97" fmla="*/ 19050 w 783431"/>
              <a:gd name="connsiteY97" fmla="*/ 423863 h 1202531"/>
              <a:gd name="connsiteX98" fmla="*/ 26194 w 783431"/>
              <a:gd name="connsiteY98" fmla="*/ 490538 h 1202531"/>
              <a:gd name="connsiteX99" fmla="*/ 33337 w 783431"/>
              <a:gd name="connsiteY99" fmla="*/ 554832 h 1202531"/>
              <a:gd name="connsiteX100" fmla="*/ 0 w 783431"/>
              <a:gd name="connsiteY100" fmla="*/ 614363 h 1202531"/>
              <a:gd name="connsiteX0" fmla="*/ 0 w 783431"/>
              <a:gd name="connsiteY0" fmla="*/ 614363 h 1202531"/>
              <a:gd name="connsiteX1" fmla="*/ 21431 w 783431"/>
              <a:gd name="connsiteY1" fmla="*/ 661988 h 1202531"/>
              <a:gd name="connsiteX2" fmla="*/ 28575 w 783431"/>
              <a:gd name="connsiteY2" fmla="*/ 742950 h 1202531"/>
              <a:gd name="connsiteX3" fmla="*/ 76200 w 783431"/>
              <a:gd name="connsiteY3" fmla="*/ 814388 h 1202531"/>
              <a:gd name="connsiteX4" fmla="*/ 102394 w 783431"/>
              <a:gd name="connsiteY4" fmla="*/ 919163 h 1202531"/>
              <a:gd name="connsiteX5" fmla="*/ 116681 w 783431"/>
              <a:gd name="connsiteY5" fmla="*/ 947738 h 1202531"/>
              <a:gd name="connsiteX6" fmla="*/ 130969 w 783431"/>
              <a:gd name="connsiteY6" fmla="*/ 995363 h 1202531"/>
              <a:gd name="connsiteX7" fmla="*/ 150019 w 783431"/>
              <a:gd name="connsiteY7" fmla="*/ 1023938 h 1202531"/>
              <a:gd name="connsiteX8" fmla="*/ 159544 w 783431"/>
              <a:gd name="connsiteY8" fmla="*/ 1042988 h 1202531"/>
              <a:gd name="connsiteX9" fmla="*/ 197644 w 783431"/>
              <a:gd name="connsiteY9" fmla="*/ 1069182 h 1202531"/>
              <a:gd name="connsiteX10" fmla="*/ 245269 w 783431"/>
              <a:gd name="connsiteY10" fmla="*/ 1090613 h 1202531"/>
              <a:gd name="connsiteX11" fmla="*/ 264318 w 783431"/>
              <a:gd name="connsiteY11" fmla="*/ 1131094 h 1202531"/>
              <a:gd name="connsiteX12" fmla="*/ 295275 w 783431"/>
              <a:gd name="connsiteY12" fmla="*/ 1164431 h 1202531"/>
              <a:gd name="connsiteX13" fmla="*/ 385762 w 783431"/>
              <a:gd name="connsiteY13" fmla="*/ 1200149 h 1202531"/>
              <a:gd name="connsiteX14" fmla="*/ 419100 w 783431"/>
              <a:gd name="connsiteY14" fmla="*/ 1190624 h 1202531"/>
              <a:gd name="connsiteX15" fmla="*/ 469106 w 783431"/>
              <a:gd name="connsiteY15" fmla="*/ 1181100 h 1202531"/>
              <a:gd name="connsiteX16" fmla="*/ 554831 w 783431"/>
              <a:gd name="connsiteY16" fmla="*/ 1202531 h 1202531"/>
              <a:gd name="connsiteX17" fmla="*/ 592931 w 783431"/>
              <a:gd name="connsiteY17" fmla="*/ 1126331 h 1202531"/>
              <a:gd name="connsiteX18" fmla="*/ 604837 w 783431"/>
              <a:gd name="connsiteY18" fmla="*/ 1085850 h 1202531"/>
              <a:gd name="connsiteX19" fmla="*/ 585787 w 783431"/>
              <a:gd name="connsiteY19" fmla="*/ 1035844 h 1202531"/>
              <a:gd name="connsiteX20" fmla="*/ 607219 w 783431"/>
              <a:gd name="connsiteY20" fmla="*/ 1021557 h 1202531"/>
              <a:gd name="connsiteX21" fmla="*/ 645319 w 783431"/>
              <a:gd name="connsiteY21" fmla="*/ 1016794 h 1202531"/>
              <a:gd name="connsiteX22" fmla="*/ 685800 w 783431"/>
              <a:gd name="connsiteY22" fmla="*/ 997744 h 1202531"/>
              <a:gd name="connsiteX23" fmla="*/ 716756 w 783431"/>
              <a:gd name="connsiteY23" fmla="*/ 1002507 h 1202531"/>
              <a:gd name="connsiteX24" fmla="*/ 738187 w 783431"/>
              <a:gd name="connsiteY24" fmla="*/ 969169 h 1202531"/>
              <a:gd name="connsiteX25" fmla="*/ 783431 w 783431"/>
              <a:gd name="connsiteY25" fmla="*/ 933450 h 1202531"/>
              <a:gd name="connsiteX26" fmla="*/ 776287 w 783431"/>
              <a:gd name="connsiteY26" fmla="*/ 907257 h 1202531"/>
              <a:gd name="connsiteX27" fmla="*/ 752475 w 783431"/>
              <a:gd name="connsiteY27" fmla="*/ 888207 h 1202531"/>
              <a:gd name="connsiteX28" fmla="*/ 752475 w 783431"/>
              <a:gd name="connsiteY28" fmla="*/ 864394 h 1202531"/>
              <a:gd name="connsiteX29" fmla="*/ 728662 w 783431"/>
              <a:gd name="connsiteY29" fmla="*/ 852488 h 1202531"/>
              <a:gd name="connsiteX30" fmla="*/ 711994 w 783431"/>
              <a:gd name="connsiteY30" fmla="*/ 802482 h 1202531"/>
              <a:gd name="connsiteX31" fmla="*/ 688181 w 783431"/>
              <a:gd name="connsiteY31" fmla="*/ 814388 h 1202531"/>
              <a:gd name="connsiteX32" fmla="*/ 659606 w 783431"/>
              <a:gd name="connsiteY32" fmla="*/ 814388 h 1202531"/>
              <a:gd name="connsiteX33" fmla="*/ 647700 w 783431"/>
              <a:gd name="connsiteY33" fmla="*/ 847725 h 1202531"/>
              <a:gd name="connsiteX34" fmla="*/ 623887 w 783431"/>
              <a:gd name="connsiteY34" fmla="*/ 847725 h 1202531"/>
              <a:gd name="connsiteX35" fmla="*/ 576262 w 783431"/>
              <a:gd name="connsiteY35" fmla="*/ 828675 h 1202531"/>
              <a:gd name="connsiteX36" fmla="*/ 554831 w 783431"/>
              <a:gd name="connsiteY36" fmla="*/ 816769 h 1202531"/>
              <a:gd name="connsiteX37" fmla="*/ 547687 w 783431"/>
              <a:gd name="connsiteY37" fmla="*/ 783432 h 1202531"/>
              <a:gd name="connsiteX38" fmla="*/ 561975 w 783431"/>
              <a:gd name="connsiteY38" fmla="*/ 754857 h 1202531"/>
              <a:gd name="connsiteX39" fmla="*/ 533400 w 783431"/>
              <a:gd name="connsiteY39" fmla="*/ 733425 h 1202531"/>
              <a:gd name="connsiteX40" fmla="*/ 509587 w 783431"/>
              <a:gd name="connsiteY40" fmla="*/ 711994 h 1202531"/>
              <a:gd name="connsiteX41" fmla="*/ 473869 w 783431"/>
              <a:gd name="connsiteY41" fmla="*/ 711994 h 1202531"/>
              <a:gd name="connsiteX42" fmla="*/ 435769 w 783431"/>
              <a:gd name="connsiteY42" fmla="*/ 711994 h 1202531"/>
              <a:gd name="connsiteX43" fmla="*/ 438150 w 783431"/>
              <a:gd name="connsiteY43" fmla="*/ 669132 h 1202531"/>
              <a:gd name="connsiteX44" fmla="*/ 428625 w 783431"/>
              <a:gd name="connsiteY44" fmla="*/ 642938 h 1202531"/>
              <a:gd name="connsiteX45" fmla="*/ 423862 w 783431"/>
              <a:gd name="connsiteY45" fmla="*/ 607219 h 1202531"/>
              <a:gd name="connsiteX46" fmla="*/ 426244 w 783431"/>
              <a:gd name="connsiteY46" fmla="*/ 578644 h 1202531"/>
              <a:gd name="connsiteX47" fmla="*/ 440531 w 783431"/>
              <a:gd name="connsiteY47" fmla="*/ 566738 h 1202531"/>
              <a:gd name="connsiteX48" fmla="*/ 450056 w 783431"/>
              <a:gd name="connsiteY48" fmla="*/ 535782 h 1202531"/>
              <a:gd name="connsiteX49" fmla="*/ 457200 w 783431"/>
              <a:gd name="connsiteY49" fmla="*/ 519113 h 1202531"/>
              <a:gd name="connsiteX50" fmla="*/ 481012 w 783431"/>
              <a:gd name="connsiteY50" fmla="*/ 526257 h 1202531"/>
              <a:gd name="connsiteX51" fmla="*/ 495300 w 783431"/>
              <a:gd name="connsiteY51" fmla="*/ 576263 h 1202531"/>
              <a:gd name="connsiteX52" fmla="*/ 507206 w 783431"/>
              <a:gd name="connsiteY52" fmla="*/ 581025 h 1202531"/>
              <a:gd name="connsiteX53" fmla="*/ 526256 w 783431"/>
              <a:gd name="connsiteY53" fmla="*/ 583407 h 1202531"/>
              <a:gd name="connsiteX54" fmla="*/ 554831 w 783431"/>
              <a:gd name="connsiteY54" fmla="*/ 583407 h 1202531"/>
              <a:gd name="connsiteX55" fmla="*/ 557212 w 783431"/>
              <a:gd name="connsiteY55" fmla="*/ 547688 h 1202531"/>
              <a:gd name="connsiteX56" fmla="*/ 545306 w 783431"/>
              <a:gd name="connsiteY56" fmla="*/ 502444 h 1202531"/>
              <a:gd name="connsiteX57" fmla="*/ 545306 w 783431"/>
              <a:gd name="connsiteY57" fmla="*/ 476250 h 1202531"/>
              <a:gd name="connsiteX58" fmla="*/ 581025 w 783431"/>
              <a:gd name="connsiteY58" fmla="*/ 454819 h 1202531"/>
              <a:gd name="connsiteX59" fmla="*/ 604837 w 783431"/>
              <a:gd name="connsiteY59" fmla="*/ 435769 h 1202531"/>
              <a:gd name="connsiteX60" fmla="*/ 640556 w 783431"/>
              <a:gd name="connsiteY60" fmla="*/ 414338 h 1202531"/>
              <a:gd name="connsiteX61" fmla="*/ 645319 w 783431"/>
              <a:gd name="connsiteY61" fmla="*/ 395288 h 1202531"/>
              <a:gd name="connsiteX62" fmla="*/ 633412 w 783431"/>
              <a:gd name="connsiteY62" fmla="*/ 371475 h 1202531"/>
              <a:gd name="connsiteX63" fmla="*/ 614362 w 783431"/>
              <a:gd name="connsiteY63" fmla="*/ 369094 h 1202531"/>
              <a:gd name="connsiteX64" fmla="*/ 609600 w 783431"/>
              <a:gd name="connsiteY64" fmla="*/ 366713 h 1202531"/>
              <a:gd name="connsiteX65" fmla="*/ 597694 w 783431"/>
              <a:gd name="connsiteY65" fmla="*/ 357188 h 1202531"/>
              <a:gd name="connsiteX66" fmla="*/ 611981 w 783431"/>
              <a:gd name="connsiteY66" fmla="*/ 345282 h 1202531"/>
              <a:gd name="connsiteX67" fmla="*/ 652462 w 783431"/>
              <a:gd name="connsiteY67" fmla="*/ 316707 h 1202531"/>
              <a:gd name="connsiteX68" fmla="*/ 678656 w 783431"/>
              <a:gd name="connsiteY68" fmla="*/ 264319 h 1202531"/>
              <a:gd name="connsiteX69" fmla="*/ 666750 w 783431"/>
              <a:gd name="connsiteY69" fmla="*/ 242888 h 1202531"/>
              <a:gd name="connsiteX70" fmla="*/ 638175 w 783431"/>
              <a:gd name="connsiteY70" fmla="*/ 219075 h 1202531"/>
              <a:gd name="connsiteX71" fmla="*/ 642937 w 783431"/>
              <a:gd name="connsiteY71" fmla="*/ 180975 h 1202531"/>
              <a:gd name="connsiteX72" fmla="*/ 673894 w 783431"/>
              <a:gd name="connsiteY72" fmla="*/ 171450 h 1202531"/>
              <a:gd name="connsiteX73" fmla="*/ 700087 w 783431"/>
              <a:gd name="connsiteY73" fmla="*/ 142875 h 1202531"/>
              <a:gd name="connsiteX74" fmla="*/ 700087 w 783431"/>
              <a:gd name="connsiteY74" fmla="*/ 111919 h 1202531"/>
              <a:gd name="connsiteX75" fmla="*/ 666750 w 783431"/>
              <a:gd name="connsiteY75" fmla="*/ 107157 h 1202531"/>
              <a:gd name="connsiteX76" fmla="*/ 645319 w 783431"/>
              <a:gd name="connsiteY76" fmla="*/ 102394 h 1202531"/>
              <a:gd name="connsiteX77" fmla="*/ 645319 w 783431"/>
              <a:gd name="connsiteY77" fmla="*/ 102394 h 1202531"/>
              <a:gd name="connsiteX78" fmla="*/ 678656 w 783431"/>
              <a:gd name="connsiteY78" fmla="*/ 69057 h 1202531"/>
              <a:gd name="connsiteX79" fmla="*/ 685800 w 783431"/>
              <a:gd name="connsiteY79" fmla="*/ 40482 h 1202531"/>
              <a:gd name="connsiteX80" fmla="*/ 678656 w 783431"/>
              <a:gd name="connsiteY80" fmla="*/ 21432 h 1202531"/>
              <a:gd name="connsiteX81" fmla="*/ 695325 w 783431"/>
              <a:gd name="connsiteY81" fmla="*/ 2382 h 1202531"/>
              <a:gd name="connsiteX82" fmla="*/ 628650 w 783431"/>
              <a:gd name="connsiteY82" fmla="*/ 0 h 1202531"/>
              <a:gd name="connsiteX83" fmla="*/ 552450 w 783431"/>
              <a:gd name="connsiteY83" fmla="*/ 52388 h 1202531"/>
              <a:gd name="connsiteX84" fmla="*/ 538162 w 783431"/>
              <a:gd name="connsiteY84" fmla="*/ 90488 h 1202531"/>
              <a:gd name="connsiteX85" fmla="*/ 445294 w 783431"/>
              <a:gd name="connsiteY85" fmla="*/ 126207 h 1202531"/>
              <a:gd name="connsiteX86" fmla="*/ 397669 w 783431"/>
              <a:gd name="connsiteY86" fmla="*/ 159544 h 1202531"/>
              <a:gd name="connsiteX87" fmla="*/ 376237 w 783431"/>
              <a:gd name="connsiteY87" fmla="*/ 190500 h 1202531"/>
              <a:gd name="connsiteX88" fmla="*/ 350044 w 783431"/>
              <a:gd name="connsiteY88" fmla="*/ 140494 h 1202531"/>
              <a:gd name="connsiteX89" fmla="*/ 316706 w 783431"/>
              <a:gd name="connsiteY89" fmla="*/ 140494 h 1202531"/>
              <a:gd name="connsiteX90" fmla="*/ 304800 w 783431"/>
              <a:gd name="connsiteY90" fmla="*/ 166688 h 1202531"/>
              <a:gd name="connsiteX91" fmla="*/ 280987 w 783431"/>
              <a:gd name="connsiteY91" fmla="*/ 230982 h 1202531"/>
              <a:gd name="connsiteX92" fmla="*/ 154781 w 783431"/>
              <a:gd name="connsiteY92" fmla="*/ 223838 h 1202531"/>
              <a:gd name="connsiteX93" fmla="*/ 140494 w 783431"/>
              <a:gd name="connsiteY93" fmla="*/ 245269 h 1202531"/>
              <a:gd name="connsiteX94" fmla="*/ 138112 w 783431"/>
              <a:gd name="connsiteY94" fmla="*/ 280988 h 1202531"/>
              <a:gd name="connsiteX95" fmla="*/ 66675 w 783431"/>
              <a:gd name="connsiteY95" fmla="*/ 309563 h 1202531"/>
              <a:gd name="connsiteX96" fmla="*/ 54769 w 783431"/>
              <a:gd name="connsiteY96" fmla="*/ 323850 h 1202531"/>
              <a:gd name="connsiteX97" fmla="*/ 66675 w 783431"/>
              <a:gd name="connsiteY97" fmla="*/ 381000 h 1202531"/>
              <a:gd name="connsiteX98" fmla="*/ 19050 w 783431"/>
              <a:gd name="connsiteY98" fmla="*/ 423863 h 1202531"/>
              <a:gd name="connsiteX99" fmla="*/ 26194 w 783431"/>
              <a:gd name="connsiteY99" fmla="*/ 490538 h 1202531"/>
              <a:gd name="connsiteX100" fmla="*/ 33337 w 783431"/>
              <a:gd name="connsiteY100" fmla="*/ 554832 h 1202531"/>
              <a:gd name="connsiteX101" fmla="*/ 0 w 783431"/>
              <a:gd name="connsiteY101" fmla="*/ 614363 h 1202531"/>
              <a:gd name="connsiteX0" fmla="*/ 0 w 783431"/>
              <a:gd name="connsiteY0" fmla="*/ 614363 h 1276349"/>
              <a:gd name="connsiteX1" fmla="*/ 21431 w 783431"/>
              <a:gd name="connsiteY1" fmla="*/ 661988 h 1276349"/>
              <a:gd name="connsiteX2" fmla="*/ 28575 w 783431"/>
              <a:gd name="connsiteY2" fmla="*/ 742950 h 1276349"/>
              <a:gd name="connsiteX3" fmla="*/ 76200 w 783431"/>
              <a:gd name="connsiteY3" fmla="*/ 814388 h 1276349"/>
              <a:gd name="connsiteX4" fmla="*/ 102394 w 783431"/>
              <a:gd name="connsiteY4" fmla="*/ 919163 h 1276349"/>
              <a:gd name="connsiteX5" fmla="*/ 116681 w 783431"/>
              <a:gd name="connsiteY5" fmla="*/ 947738 h 1276349"/>
              <a:gd name="connsiteX6" fmla="*/ 130969 w 783431"/>
              <a:gd name="connsiteY6" fmla="*/ 995363 h 1276349"/>
              <a:gd name="connsiteX7" fmla="*/ 150019 w 783431"/>
              <a:gd name="connsiteY7" fmla="*/ 1023938 h 1276349"/>
              <a:gd name="connsiteX8" fmla="*/ 159544 w 783431"/>
              <a:gd name="connsiteY8" fmla="*/ 1042988 h 1276349"/>
              <a:gd name="connsiteX9" fmla="*/ 197644 w 783431"/>
              <a:gd name="connsiteY9" fmla="*/ 1069182 h 1276349"/>
              <a:gd name="connsiteX10" fmla="*/ 245269 w 783431"/>
              <a:gd name="connsiteY10" fmla="*/ 1090613 h 1276349"/>
              <a:gd name="connsiteX11" fmla="*/ 264318 w 783431"/>
              <a:gd name="connsiteY11" fmla="*/ 1131094 h 1276349"/>
              <a:gd name="connsiteX12" fmla="*/ 295275 w 783431"/>
              <a:gd name="connsiteY12" fmla="*/ 1164431 h 1276349"/>
              <a:gd name="connsiteX13" fmla="*/ 385762 w 783431"/>
              <a:gd name="connsiteY13" fmla="*/ 1200149 h 1276349"/>
              <a:gd name="connsiteX14" fmla="*/ 404812 w 783431"/>
              <a:gd name="connsiteY14" fmla="*/ 1276349 h 1276349"/>
              <a:gd name="connsiteX15" fmla="*/ 469106 w 783431"/>
              <a:gd name="connsiteY15" fmla="*/ 1181100 h 1276349"/>
              <a:gd name="connsiteX16" fmla="*/ 554831 w 783431"/>
              <a:gd name="connsiteY16" fmla="*/ 1202531 h 1276349"/>
              <a:gd name="connsiteX17" fmla="*/ 592931 w 783431"/>
              <a:gd name="connsiteY17" fmla="*/ 1126331 h 1276349"/>
              <a:gd name="connsiteX18" fmla="*/ 604837 w 783431"/>
              <a:gd name="connsiteY18" fmla="*/ 1085850 h 1276349"/>
              <a:gd name="connsiteX19" fmla="*/ 585787 w 783431"/>
              <a:gd name="connsiteY19" fmla="*/ 1035844 h 1276349"/>
              <a:gd name="connsiteX20" fmla="*/ 607219 w 783431"/>
              <a:gd name="connsiteY20" fmla="*/ 1021557 h 1276349"/>
              <a:gd name="connsiteX21" fmla="*/ 645319 w 783431"/>
              <a:gd name="connsiteY21" fmla="*/ 1016794 h 1276349"/>
              <a:gd name="connsiteX22" fmla="*/ 685800 w 783431"/>
              <a:gd name="connsiteY22" fmla="*/ 997744 h 1276349"/>
              <a:gd name="connsiteX23" fmla="*/ 716756 w 783431"/>
              <a:gd name="connsiteY23" fmla="*/ 1002507 h 1276349"/>
              <a:gd name="connsiteX24" fmla="*/ 738187 w 783431"/>
              <a:gd name="connsiteY24" fmla="*/ 969169 h 1276349"/>
              <a:gd name="connsiteX25" fmla="*/ 783431 w 783431"/>
              <a:gd name="connsiteY25" fmla="*/ 933450 h 1276349"/>
              <a:gd name="connsiteX26" fmla="*/ 776287 w 783431"/>
              <a:gd name="connsiteY26" fmla="*/ 907257 h 1276349"/>
              <a:gd name="connsiteX27" fmla="*/ 752475 w 783431"/>
              <a:gd name="connsiteY27" fmla="*/ 888207 h 1276349"/>
              <a:gd name="connsiteX28" fmla="*/ 752475 w 783431"/>
              <a:gd name="connsiteY28" fmla="*/ 864394 h 1276349"/>
              <a:gd name="connsiteX29" fmla="*/ 728662 w 783431"/>
              <a:gd name="connsiteY29" fmla="*/ 852488 h 1276349"/>
              <a:gd name="connsiteX30" fmla="*/ 711994 w 783431"/>
              <a:gd name="connsiteY30" fmla="*/ 802482 h 1276349"/>
              <a:gd name="connsiteX31" fmla="*/ 688181 w 783431"/>
              <a:gd name="connsiteY31" fmla="*/ 814388 h 1276349"/>
              <a:gd name="connsiteX32" fmla="*/ 659606 w 783431"/>
              <a:gd name="connsiteY32" fmla="*/ 814388 h 1276349"/>
              <a:gd name="connsiteX33" fmla="*/ 647700 w 783431"/>
              <a:gd name="connsiteY33" fmla="*/ 847725 h 1276349"/>
              <a:gd name="connsiteX34" fmla="*/ 623887 w 783431"/>
              <a:gd name="connsiteY34" fmla="*/ 847725 h 1276349"/>
              <a:gd name="connsiteX35" fmla="*/ 576262 w 783431"/>
              <a:gd name="connsiteY35" fmla="*/ 828675 h 1276349"/>
              <a:gd name="connsiteX36" fmla="*/ 554831 w 783431"/>
              <a:gd name="connsiteY36" fmla="*/ 816769 h 1276349"/>
              <a:gd name="connsiteX37" fmla="*/ 547687 w 783431"/>
              <a:gd name="connsiteY37" fmla="*/ 783432 h 1276349"/>
              <a:gd name="connsiteX38" fmla="*/ 561975 w 783431"/>
              <a:gd name="connsiteY38" fmla="*/ 754857 h 1276349"/>
              <a:gd name="connsiteX39" fmla="*/ 533400 w 783431"/>
              <a:gd name="connsiteY39" fmla="*/ 733425 h 1276349"/>
              <a:gd name="connsiteX40" fmla="*/ 509587 w 783431"/>
              <a:gd name="connsiteY40" fmla="*/ 711994 h 1276349"/>
              <a:gd name="connsiteX41" fmla="*/ 473869 w 783431"/>
              <a:gd name="connsiteY41" fmla="*/ 711994 h 1276349"/>
              <a:gd name="connsiteX42" fmla="*/ 435769 w 783431"/>
              <a:gd name="connsiteY42" fmla="*/ 711994 h 1276349"/>
              <a:gd name="connsiteX43" fmla="*/ 438150 w 783431"/>
              <a:gd name="connsiteY43" fmla="*/ 669132 h 1276349"/>
              <a:gd name="connsiteX44" fmla="*/ 428625 w 783431"/>
              <a:gd name="connsiteY44" fmla="*/ 642938 h 1276349"/>
              <a:gd name="connsiteX45" fmla="*/ 423862 w 783431"/>
              <a:gd name="connsiteY45" fmla="*/ 607219 h 1276349"/>
              <a:gd name="connsiteX46" fmla="*/ 426244 w 783431"/>
              <a:gd name="connsiteY46" fmla="*/ 578644 h 1276349"/>
              <a:gd name="connsiteX47" fmla="*/ 440531 w 783431"/>
              <a:gd name="connsiteY47" fmla="*/ 566738 h 1276349"/>
              <a:gd name="connsiteX48" fmla="*/ 450056 w 783431"/>
              <a:gd name="connsiteY48" fmla="*/ 535782 h 1276349"/>
              <a:gd name="connsiteX49" fmla="*/ 457200 w 783431"/>
              <a:gd name="connsiteY49" fmla="*/ 519113 h 1276349"/>
              <a:gd name="connsiteX50" fmla="*/ 481012 w 783431"/>
              <a:gd name="connsiteY50" fmla="*/ 526257 h 1276349"/>
              <a:gd name="connsiteX51" fmla="*/ 495300 w 783431"/>
              <a:gd name="connsiteY51" fmla="*/ 576263 h 1276349"/>
              <a:gd name="connsiteX52" fmla="*/ 507206 w 783431"/>
              <a:gd name="connsiteY52" fmla="*/ 581025 h 1276349"/>
              <a:gd name="connsiteX53" fmla="*/ 526256 w 783431"/>
              <a:gd name="connsiteY53" fmla="*/ 583407 h 1276349"/>
              <a:gd name="connsiteX54" fmla="*/ 554831 w 783431"/>
              <a:gd name="connsiteY54" fmla="*/ 583407 h 1276349"/>
              <a:gd name="connsiteX55" fmla="*/ 557212 w 783431"/>
              <a:gd name="connsiteY55" fmla="*/ 547688 h 1276349"/>
              <a:gd name="connsiteX56" fmla="*/ 545306 w 783431"/>
              <a:gd name="connsiteY56" fmla="*/ 502444 h 1276349"/>
              <a:gd name="connsiteX57" fmla="*/ 545306 w 783431"/>
              <a:gd name="connsiteY57" fmla="*/ 476250 h 1276349"/>
              <a:gd name="connsiteX58" fmla="*/ 581025 w 783431"/>
              <a:gd name="connsiteY58" fmla="*/ 454819 h 1276349"/>
              <a:gd name="connsiteX59" fmla="*/ 604837 w 783431"/>
              <a:gd name="connsiteY59" fmla="*/ 435769 h 1276349"/>
              <a:gd name="connsiteX60" fmla="*/ 640556 w 783431"/>
              <a:gd name="connsiteY60" fmla="*/ 414338 h 1276349"/>
              <a:gd name="connsiteX61" fmla="*/ 645319 w 783431"/>
              <a:gd name="connsiteY61" fmla="*/ 395288 h 1276349"/>
              <a:gd name="connsiteX62" fmla="*/ 633412 w 783431"/>
              <a:gd name="connsiteY62" fmla="*/ 371475 h 1276349"/>
              <a:gd name="connsiteX63" fmla="*/ 614362 w 783431"/>
              <a:gd name="connsiteY63" fmla="*/ 369094 h 1276349"/>
              <a:gd name="connsiteX64" fmla="*/ 609600 w 783431"/>
              <a:gd name="connsiteY64" fmla="*/ 366713 h 1276349"/>
              <a:gd name="connsiteX65" fmla="*/ 597694 w 783431"/>
              <a:gd name="connsiteY65" fmla="*/ 357188 h 1276349"/>
              <a:gd name="connsiteX66" fmla="*/ 611981 w 783431"/>
              <a:gd name="connsiteY66" fmla="*/ 345282 h 1276349"/>
              <a:gd name="connsiteX67" fmla="*/ 652462 w 783431"/>
              <a:gd name="connsiteY67" fmla="*/ 316707 h 1276349"/>
              <a:gd name="connsiteX68" fmla="*/ 678656 w 783431"/>
              <a:gd name="connsiteY68" fmla="*/ 264319 h 1276349"/>
              <a:gd name="connsiteX69" fmla="*/ 666750 w 783431"/>
              <a:gd name="connsiteY69" fmla="*/ 242888 h 1276349"/>
              <a:gd name="connsiteX70" fmla="*/ 638175 w 783431"/>
              <a:gd name="connsiteY70" fmla="*/ 219075 h 1276349"/>
              <a:gd name="connsiteX71" fmla="*/ 642937 w 783431"/>
              <a:gd name="connsiteY71" fmla="*/ 180975 h 1276349"/>
              <a:gd name="connsiteX72" fmla="*/ 673894 w 783431"/>
              <a:gd name="connsiteY72" fmla="*/ 171450 h 1276349"/>
              <a:gd name="connsiteX73" fmla="*/ 700087 w 783431"/>
              <a:gd name="connsiteY73" fmla="*/ 142875 h 1276349"/>
              <a:gd name="connsiteX74" fmla="*/ 700087 w 783431"/>
              <a:gd name="connsiteY74" fmla="*/ 111919 h 1276349"/>
              <a:gd name="connsiteX75" fmla="*/ 666750 w 783431"/>
              <a:gd name="connsiteY75" fmla="*/ 107157 h 1276349"/>
              <a:gd name="connsiteX76" fmla="*/ 645319 w 783431"/>
              <a:gd name="connsiteY76" fmla="*/ 102394 h 1276349"/>
              <a:gd name="connsiteX77" fmla="*/ 645319 w 783431"/>
              <a:gd name="connsiteY77" fmla="*/ 102394 h 1276349"/>
              <a:gd name="connsiteX78" fmla="*/ 678656 w 783431"/>
              <a:gd name="connsiteY78" fmla="*/ 69057 h 1276349"/>
              <a:gd name="connsiteX79" fmla="*/ 685800 w 783431"/>
              <a:gd name="connsiteY79" fmla="*/ 40482 h 1276349"/>
              <a:gd name="connsiteX80" fmla="*/ 678656 w 783431"/>
              <a:gd name="connsiteY80" fmla="*/ 21432 h 1276349"/>
              <a:gd name="connsiteX81" fmla="*/ 695325 w 783431"/>
              <a:gd name="connsiteY81" fmla="*/ 2382 h 1276349"/>
              <a:gd name="connsiteX82" fmla="*/ 628650 w 783431"/>
              <a:gd name="connsiteY82" fmla="*/ 0 h 1276349"/>
              <a:gd name="connsiteX83" fmla="*/ 552450 w 783431"/>
              <a:gd name="connsiteY83" fmla="*/ 52388 h 1276349"/>
              <a:gd name="connsiteX84" fmla="*/ 538162 w 783431"/>
              <a:gd name="connsiteY84" fmla="*/ 90488 h 1276349"/>
              <a:gd name="connsiteX85" fmla="*/ 445294 w 783431"/>
              <a:gd name="connsiteY85" fmla="*/ 126207 h 1276349"/>
              <a:gd name="connsiteX86" fmla="*/ 397669 w 783431"/>
              <a:gd name="connsiteY86" fmla="*/ 159544 h 1276349"/>
              <a:gd name="connsiteX87" fmla="*/ 376237 w 783431"/>
              <a:gd name="connsiteY87" fmla="*/ 190500 h 1276349"/>
              <a:gd name="connsiteX88" fmla="*/ 350044 w 783431"/>
              <a:gd name="connsiteY88" fmla="*/ 140494 h 1276349"/>
              <a:gd name="connsiteX89" fmla="*/ 316706 w 783431"/>
              <a:gd name="connsiteY89" fmla="*/ 140494 h 1276349"/>
              <a:gd name="connsiteX90" fmla="*/ 304800 w 783431"/>
              <a:gd name="connsiteY90" fmla="*/ 166688 h 1276349"/>
              <a:gd name="connsiteX91" fmla="*/ 280987 w 783431"/>
              <a:gd name="connsiteY91" fmla="*/ 230982 h 1276349"/>
              <a:gd name="connsiteX92" fmla="*/ 154781 w 783431"/>
              <a:gd name="connsiteY92" fmla="*/ 223838 h 1276349"/>
              <a:gd name="connsiteX93" fmla="*/ 140494 w 783431"/>
              <a:gd name="connsiteY93" fmla="*/ 245269 h 1276349"/>
              <a:gd name="connsiteX94" fmla="*/ 138112 w 783431"/>
              <a:gd name="connsiteY94" fmla="*/ 280988 h 1276349"/>
              <a:gd name="connsiteX95" fmla="*/ 66675 w 783431"/>
              <a:gd name="connsiteY95" fmla="*/ 309563 h 1276349"/>
              <a:gd name="connsiteX96" fmla="*/ 54769 w 783431"/>
              <a:gd name="connsiteY96" fmla="*/ 323850 h 1276349"/>
              <a:gd name="connsiteX97" fmla="*/ 66675 w 783431"/>
              <a:gd name="connsiteY97" fmla="*/ 381000 h 1276349"/>
              <a:gd name="connsiteX98" fmla="*/ 19050 w 783431"/>
              <a:gd name="connsiteY98" fmla="*/ 423863 h 1276349"/>
              <a:gd name="connsiteX99" fmla="*/ 26194 w 783431"/>
              <a:gd name="connsiteY99" fmla="*/ 490538 h 1276349"/>
              <a:gd name="connsiteX100" fmla="*/ 33337 w 783431"/>
              <a:gd name="connsiteY100" fmla="*/ 554832 h 1276349"/>
              <a:gd name="connsiteX101" fmla="*/ 0 w 783431"/>
              <a:gd name="connsiteY101" fmla="*/ 614363 h 1276349"/>
              <a:gd name="connsiteX0" fmla="*/ 0 w 783431"/>
              <a:gd name="connsiteY0" fmla="*/ 614363 h 1276349"/>
              <a:gd name="connsiteX1" fmla="*/ 21431 w 783431"/>
              <a:gd name="connsiteY1" fmla="*/ 661988 h 1276349"/>
              <a:gd name="connsiteX2" fmla="*/ 28575 w 783431"/>
              <a:gd name="connsiteY2" fmla="*/ 742950 h 1276349"/>
              <a:gd name="connsiteX3" fmla="*/ 76200 w 783431"/>
              <a:gd name="connsiteY3" fmla="*/ 814388 h 1276349"/>
              <a:gd name="connsiteX4" fmla="*/ 102394 w 783431"/>
              <a:gd name="connsiteY4" fmla="*/ 919163 h 1276349"/>
              <a:gd name="connsiteX5" fmla="*/ 116681 w 783431"/>
              <a:gd name="connsiteY5" fmla="*/ 947738 h 1276349"/>
              <a:gd name="connsiteX6" fmla="*/ 130969 w 783431"/>
              <a:gd name="connsiteY6" fmla="*/ 995363 h 1276349"/>
              <a:gd name="connsiteX7" fmla="*/ 150019 w 783431"/>
              <a:gd name="connsiteY7" fmla="*/ 1023938 h 1276349"/>
              <a:gd name="connsiteX8" fmla="*/ 159544 w 783431"/>
              <a:gd name="connsiteY8" fmla="*/ 1042988 h 1276349"/>
              <a:gd name="connsiteX9" fmla="*/ 197644 w 783431"/>
              <a:gd name="connsiteY9" fmla="*/ 1069182 h 1276349"/>
              <a:gd name="connsiteX10" fmla="*/ 245269 w 783431"/>
              <a:gd name="connsiteY10" fmla="*/ 1090613 h 1276349"/>
              <a:gd name="connsiteX11" fmla="*/ 264318 w 783431"/>
              <a:gd name="connsiteY11" fmla="*/ 1131094 h 1276349"/>
              <a:gd name="connsiteX12" fmla="*/ 295275 w 783431"/>
              <a:gd name="connsiteY12" fmla="*/ 1164431 h 1276349"/>
              <a:gd name="connsiteX13" fmla="*/ 385762 w 783431"/>
              <a:gd name="connsiteY13" fmla="*/ 1200149 h 1276349"/>
              <a:gd name="connsiteX14" fmla="*/ 404812 w 783431"/>
              <a:gd name="connsiteY14" fmla="*/ 1276349 h 1276349"/>
              <a:gd name="connsiteX15" fmla="*/ 438150 w 783431"/>
              <a:gd name="connsiteY15" fmla="*/ 1228724 h 1276349"/>
              <a:gd name="connsiteX16" fmla="*/ 469106 w 783431"/>
              <a:gd name="connsiteY16" fmla="*/ 1181100 h 1276349"/>
              <a:gd name="connsiteX17" fmla="*/ 554831 w 783431"/>
              <a:gd name="connsiteY17" fmla="*/ 1202531 h 1276349"/>
              <a:gd name="connsiteX18" fmla="*/ 592931 w 783431"/>
              <a:gd name="connsiteY18" fmla="*/ 1126331 h 1276349"/>
              <a:gd name="connsiteX19" fmla="*/ 604837 w 783431"/>
              <a:gd name="connsiteY19" fmla="*/ 1085850 h 1276349"/>
              <a:gd name="connsiteX20" fmla="*/ 585787 w 783431"/>
              <a:gd name="connsiteY20" fmla="*/ 1035844 h 1276349"/>
              <a:gd name="connsiteX21" fmla="*/ 607219 w 783431"/>
              <a:gd name="connsiteY21" fmla="*/ 1021557 h 1276349"/>
              <a:gd name="connsiteX22" fmla="*/ 645319 w 783431"/>
              <a:gd name="connsiteY22" fmla="*/ 1016794 h 1276349"/>
              <a:gd name="connsiteX23" fmla="*/ 685800 w 783431"/>
              <a:gd name="connsiteY23" fmla="*/ 997744 h 1276349"/>
              <a:gd name="connsiteX24" fmla="*/ 716756 w 783431"/>
              <a:gd name="connsiteY24" fmla="*/ 1002507 h 1276349"/>
              <a:gd name="connsiteX25" fmla="*/ 738187 w 783431"/>
              <a:gd name="connsiteY25" fmla="*/ 969169 h 1276349"/>
              <a:gd name="connsiteX26" fmla="*/ 783431 w 783431"/>
              <a:gd name="connsiteY26" fmla="*/ 933450 h 1276349"/>
              <a:gd name="connsiteX27" fmla="*/ 776287 w 783431"/>
              <a:gd name="connsiteY27" fmla="*/ 907257 h 1276349"/>
              <a:gd name="connsiteX28" fmla="*/ 752475 w 783431"/>
              <a:gd name="connsiteY28" fmla="*/ 888207 h 1276349"/>
              <a:gd name="connsiteX29" fmla="*/ 752475 w 783431"/>
              <a:gd name="connsiteY29" fmla="*/ 864394 h 1276349"/>
              <a:gd name="connsiteX30" fmla="*/ 728662 w 783431"/>
              <a:gd name="connsiteY30" fmla="*/ 852488 h 1276349"/>
              <a:gd name="connsiteX31" fmla="*/ 711994 w 783431"/>
              <a:gd name="connsiteY31" fmla="*/ 802482 h 1276349"/>
              <a:gd name="connsiteX32" fmla="*/ 688181 w 783431"/>
              <a:gd name="connsiteY32" fmla="*/ 814388 h 1276349"/>
              <a:gd name="connsiteX33" fmla="*/ 659606 w 783431"/>
              <a:gd name="connsiteY33" fmla="*/ 814388 h 1276349"/>
              <a:gd name="connsiteX34" fmla="*/ 647700 w 783431"/>
              <a:gd name="connsiteY34" fmla="*/ 847725 h 1276349"/>
              <a:gd name="connsiteX35" fmla="*/ 623887 w 783431"/>
              <a:gd name="connsiteY35" fmla="*/ 847725 h 1276349"/>
              <a:gd name="connsiteX36" fmla="*/ 576262 w 783431"/>
              <a:gd name="connsiteY36" fmla="*/ 828675 h 1276349"/>
              <a:gd name="connsiteX37" fmla="*/ 554831 w 783431"/>
              <a:gd name="connsiteY37" fmla="*/ 816769 h 1276349"/>
              <a:gd name="connsiteX38" fmla="*/ 547687 w 783431"/>
              <a:gd name="connsiteY38" fmla="*/ 783432 h 1276349"/>
              <a:gd name="connsiteX39" fmla="*/ 561975 w 783431"/>
              <a:gd name="connsiteY39" fmla="*/ 754857 h 1276349"/>
              <a:gd name="connsiteX40" fmla="*/ 533400 w 783431"/>
              <a:gd name="connsiteY40" fmla="*/ 733425 h 1276349"/>
              <a:gd name="connsiteX41" fmla="*/ 509587 w 783431"/>
              <a:gd name="connsiteY41" fmla="*/ 711994 h 1276349"/>
              <a:gd name="connsiteX42" fmla="*/ 473869 w 783431"/>
              <a:gd name="connsiteY42" fmla="*/ 711994 h 1276349"/>
              <a:gd name="connsiteX43" fmla="*/ 435769 w 783431"/>
              <a:gd name="connsiteY43" fmla="*/ 711994 h 1276349"/>
              <a:gd name="connsiteX44" fmla="*/ 438150 w 783431"/>
              <a:gd name="connsiteY44" fmla="*/ 669132 h 1276349"/>
              <a:gd name="connsiteX45" fmla="*/ 428625 w 783431"/>
              <a:gd name="connsiteY45" fmla="*/ 642938 h 1276349"/>
              <a:gd name="connsiteX46" fmla="*/ 423862 w 783431"/>
              <a:gd name="connsiteY46" fmla="*/ 607219 h 1276349"/>
              <a:gd name="connsiteX47" fmla="*/ 426244 w 783431"/>
              <a:gd name="connsiteY47" fmla="*/ 578644 h 1276349"/>
              <a:gd name="connsiteX48" fmla="*/ 440531 w 783431"/>
              <a:gd name="connsiteY48" fmla="*/ 566738 h 1276349"/>
              <a:gd name="connsiteX49" fmla="*/ 450056 w 783431"/>
              <a:gd name="connsiteY49" fmla="*/ 535782 h 1276349"/>
              <a:gd name="connsiteX50" fmla="*/ 457200 w 783431"/>
              <a:gd name="connsiteY50" fmla="*/ 519113 h 1276349"/>
              <a:gd name="connsiteX51" fmla="*/ 481012 w 783431"/>
              <a:gd name="connsiteY51" fmla="*/ 526257 h 1276349"/>
              <a:gd name="connsiteX52" fmla="*/ 495300 w 783431"/>
              <a:gd name="connsiteY52" fmla="*/ 576263 h 1276349"/>
              <a:gd name="connsiteX53" fmla="*/ 507206 w 783431"/>
              <a:gd name="connsiteY53" fmla="*/ 581025 h 1276349"/>
              <a:gd name="connsiteX54" fmla="*/ 526256 w 783431"/>
              <a:gd name="connsiteY54" fmla="*/ 583407 h 1276349"/>
              <a:gd name="connsiteX55" fmla="*/ 554831 w 783431"/>
              <a:gd name="connsiteY55" fmla="*/ 583407 h 1276349"/>
              <a:gd name="connsiteX56" fmla="*/ 557212 w 783431"/>
              <a:gd name="connsiteY56" fmla="*/ 547688 h 1276349"/>
              <a:gd name="connsiteX57" fmla="*/ 545306 w 783431"/>
              <a:gd name="connsiteY57" fmla="*/ 502444 h 1276349"/>
              <a:gd name="connsiteX58" fmla="*/ 545306 w 783431"/>
              <a:gd name="connsiteY58" fmla="*/ 476250 h 1276349"/>
              <a:gd name="connsiteX59" fmla="*/ 581025 w 783431"/>
              <a:gd name="connsiteY59" fmla="*/ 454819 h 1276349"/>
              <a:gd name="connsiteX60" fmla="*/ 604837 w 783431"/>
              <a:gd name="connsiteY60" fmla="*/ 435769 h 1276349"/>
              <a:gd name="connsiteX61" fmla="*/ 640556 w 783431"/>
              <a:gd name="connsiteY61" fmla="*/ 414338 h 1276349"/>
              <a:gd name="connsiteX62" fmla="*/ 645319 w 783431"/>
              <a:gd name="connsiteY62" fmla="*/ 395288 h 1276349"/>
              <a:gd name="connsiteX63" fmla="*/ 633412 w 783431"/>
              <a:gd name="connsiteY63" fmla="*/ 371475 h 1276349"/>
              <a:gd name="connsiteX64" fmla="*/ 614362 w 783431"/>
              <a:gd name="connsiteY64" fmla="*/ 369094 h 1276349"/>
              <a:gd name="connsiteX65" fmla="*/ 609600 w 783431"/>
              <a:gd name="connsiteY65" fmla="*/ 366713 h 1276349"/>
              <a:gd name="connsiteX66" fmla="*/ 597694 w 783431"/>
              <a:gd name="connsiteY66" fmla="*/ 357188 h 1276349"/>
              <a:gd name="connsiteX67" fmla="*/ 611981 w 783431"/>
              <a:gd name="connsiteY67" fmla="*/ 345282 h 1276349"/>
              <a:gd name="connsiteX68" fmla="*/ 652462 w 783431"/>
              <a:gd name="connsiteY68" fmla="*/ 316707 h 1276349"/>
              <a:gd name="connsiteX69" fmla="*/ 678656 w 783431"/>
              <a:gd name="connsiteY69" fmla="*/ 264319 h 1276349"/>
              <a:gd name="connsiteX70" fmla="*/ 666750 w 783431"/>
              <a:gd name="connsiteY70" fmla="*/ 242888 h 1276349"/>
              <a:gd name="connsiteX71" fmla="*/ 638175 w 783431"/>
              <a:gd name="connsiteY71" fmla="*/ 219075 h 1276349"/>
              <a:gd name="connsiteX72" fmla="*/ 642937 w 783431"/>
              <a:gd name="connsiteY72" fmla="*/ 180975 h 1276349"/>
              <a:gd name="connsiteX73" fmla="*/ 673894 w 783431"/>
              <a:gd name="connsiteY73" fmla="*/ 171450 h 1276349"/>
              <a:gd name="connsiteX74" fmla="*/ 700087 w 783431"/>
              <a:gd name="connsiteY74" fmla="*/ 142875 h 1276349"/>
              <a:gd name="connsiteX75" fmla="*/ 700087 w 783431"/>
              <a:gd name="connsiteY75" fmla="*/ 111919 h 1276349"/>
              <a:gd name="connsiteX76" fmla="*/ 666750 w 783431"/>
              <a:gd name="connsiteY76" fmla="*/ 107157 h 1276349"/>
              <a:gd name="connsiteX77" fmla="*/ 645319 w 783431"/>
              <a:gd name="connsiteY77" fmla="*/ 102394 h 1276349"/>
              <a:gd name="connsiteX78" fmla="*/ 645319 w 783431"/>
              <a:gd name="connsiteY78" fmla="*/ 102394 h 1276349"/>
              <a:gd name="connsiteX79" fmla="*/ 678656 w 783431"/>
              <a:gd name="connsiteY79" fmla="*/ 69057 h 1276349"/>
              <a:gd name="connsiteX80" fmla="*/ 685800 w 783431"/>
              <a:gd name="connsiteY80" fmla="*/ 40482 h 1276349"/>
              <a:gd name="connsiteX81" fmla="*/ 678656 w 783431"/>
              <a:gd name="connsiteY81" fmla="*/ 21432 h 1276349"/>
              <a:gd name="connsiteX82" fmla="*/ 695325 w 783431"/>
              <a:gd name="connsiteY82" fmla="*/ 2382 h 1276349"/>
              <a:gd name="connsiteX83" fmla="*/ 628650 w 783431"/>
              <a:gd name="connsiteY83" fmla="*/ 0 h 1276349"/>
              <a:gd name="connsiteX84" fmla="*/ 552450 w 783431"/>
              <a:gd name="connsiteY84" fmla="*/ 52388 h 1276349"/>
              <a:gd name="connsiteX85" fmla="*/ 538162 w 783431"/>
              <a:gd name="connsiteY85" fmla="*/ 90488 h 1276349"/>
              <a:gd name="connsiteX86" fmla="*/ 445294 w 783431"/>
              <a:gd name="connsiteY86" fmla="*/ 126207 h 1276349"/>
              <a:gd name="connsiteX87" fmla="*/ 397669 w 783431"/>
              <a:gd name="connsiteY87" fmla="*/ 159544 h 1276349"/>
              <a:gd name="connsiteX88" fmla="*/ 376237 w 783431"/>
              <a:gd name="connsiteY88" fmla="*/ 190500 h 1276349"/>
              <a:gd name="connsiteX89" fmla="*/ 350044 w 783431"/>
              <a:gd name="connsiteY89" fmla="*/ 140494 h 1276349"/>
              <a:gd name="connsiteX90" fmla="*/ 316706 w 783431"/>
              <a:gd name="connsiteY90" fmla="*/ 140494 h 1276349"/>
              <a:gd name="connsiteX91" fmla="*/ 304800 w 783431"/>
              <a:gd name="connsiteY91" fmla="*/ 166688 h 1276349"/>
              <a:gd name="connsiteX92" fmla="*/ 280987 w 783431"/>
              <a:gd name="connsiteY92" fmla="*/ 230982 h 1276349"/>
              <a:gd name="connsiteX93" fmla="*/ 154781 w 783431"/>
              <a:gd name="connsiteY93" fmla="*/ 223838 h 1276349"/>
              <a:gd name="connsiteX94" fmla="*/ 140494 w 783431"/>
              <a:gd name="connsiteY94" fmla="*/ 245269 h 1276349"/>
              <a:gd name="connsiteX95" fmla="*/ 138112 w 783431"/>
              <a:gd name="connsiteY95" fmla="*/ 280988 h 1276349"/>
              <a:gd name="connsiteX96" fmla="*/ 66675 w 783431"/>
              <a:gd name="connsiteY96" fmla="*/ 309563 h 1276349"/>
              <a:gd name="connsiteX97" fmla="*/ 54769 w 783431"/>
              <a:gd name="connsiteY97" fmla="*/ 323850 h 1276349"/>
              <a:gd name="connsiteX98" fmla="*/ 66675 w 783431"/>
              <a:gd name="connsiteY98" fmla="*/ 381000 h 1276349"/>
              <a:gd name="connsiteX99" fmla="*/ 19050 w 783431"/>
              <a:gd name="connsiteY99" fmla="*/ 423863 h 1276349"/>
              <a:gd name="connsiteX100" fmla="*/ 26194 w 783431"/>
              <a:gd name="connsiteY100" fmla="*/ 490538 h 1276349"/>
              <a:gd name="connsiteX101" fmla="*/ 33337 w 783431"/>
              <a:gd name="connsiteY101" fmla="*/ 554832 h 1276349"/>
              <a:gd name="connsiteX102" fmla="*/ 0 w 783431"/>
              <a:gd name="connsiteY102" fmla="*/ 614363 h 1276349"/>
              <a:gd name="connsiteX0" fmla="*/ 0 w 783431"/>
              <a:gd name="connsiteY0" fmla="*/ 614363 h 1276349"/>
              <a:gd name="connsiteX1" fmla="*/ 21431 w 783431"/>
              <a:gd name="connsiteY1" fmla="*/ 661988 h 1276349"/>
              <a:gd name="connsiteX2" fmla="*/ 28575 w 783431"/>
              <a:gd name="connsiteY2" fmla="*/ 742950 h 1276349"/>
              <a:gd name="connsiteX3" fmla="*/ 76200 w 783431"/>
              <a:gd name="connsiteY3" fmla="*/ 814388 h 1276349"/>
              <a:gd name="connsiteX4" fmla="*/ 102394 w 783431"/>
              <a:gd name="connsiteY4" fmla="*/ 919163 h 1276349"/>
              <a:gd name="connsiteX5" fmla="*/ 116681 w 783431"/>
              <a:gd name="connsiteY5" fmla="*/ 947738 h 1276349"/>
              <a:gd name="connsiteX6" fmla="*/ 130969 w 783431"/>
              <a:gd name="connsiteY6" fmla="*/ 995363 h 1276349"/>
              <a:gd name="connsiteX7" fmla="*/ 150019 w 783431"/>
              <a:gd name="connsiteY7" fmla="*/ 1023938 h 1276349"/>
              <a:gd name="connsiteX8" fmla="*/ 159544 w 783431"/>
              <a:gd name="connsiteY8" fmla="*/ 1042988 h 1276349"/>
              <a:gd name="connsiteX9" fmla="*/ 197644 w 783431"/>
              <a:gd name="connsiteY9" fmla="*/ 1069182 h 1276349"/>
              <a:gd name="connsiteX10" fmla="*/ 245269 w 783431"/>
              <a:gd name="connsiteY10" fmla="*/ 1090613 h 1276349"/>
              <a:gd name="connsiteX11" fmla="*/ 264318 w 783431"/>
              <a:gd name="connsiteY11" fmla="*/ 1131094 h 1276349"/>
              <a:gd name="connsiteX12" fmla="*/ 295275 w 783431"/>
              <a:gd name="connsiteY12" fmla="*/ 1164431 h 1276349"/>
              <a:gd name="connsiteX13" fmla="*/ 385762 w 783431"/>
              <a:gd name="connsiteY13" fmla="*/ 1200149 h 1276349"/>
              <a:gd name="connsiteX14" fmla="*/ 404812 w 783431"/>
              <a:gd name="connsiteY14" fmla="*/ 1276349 h 1276349"/>
              <a:gd name="connsiteX15" fmla="*/ 423863 w 783431"/>
              <a:gd name="connsiteY15" fmla="*/ 1221580 h 1276349"/>
              <a:gd name="connsiteX16" fmla="*/ 469106 w 783431"/>
              <a:gd name="connsiteY16" fmla="*/ 1181100 h 1276349"/>
              <a:gd name="connsiteX17" fmla="*/ 554831 w 783431"/>
              <a:gd name="connsiteY17" fmla="*/ 1202531 h 1276349"/>
              <a:gd name="connsiteX18" fmla="*/ 592931 w 783431"/>
              <a:gd name="connsiteY18" fmla="*/ 1126331 h 1276349"/>
              <a:gd name="connsiteX19" fmla="*/ 604837 w 783431"/>
              <a:gd name="connsiteY19" fmla="*/ 1085850 h 1276349"/>
              <a:gd name="connsiteX20" fmla="*/ 585787 w 783431"/>
              <a:gd name="connsiteY20" fmla="*/ 1035844 h 1276349"/>
              <a:gd name="connsiteX21" fmla="*/ 607219 w 783431"/>
              <a:gd name="connsiteY21" fmla="*/ 1021557 h 1276349"/>
              <a:gd name="connsiteX22" fmla="*/ 645319 w 783431"/>
              <a:gd name="connsiteY22" fmla="*/ 1016794 h 1276349"/>
              <a:gd name="connsiteX23" fmla="*/ 685800 w 783431"/>
              <a:gd name="connsiteY23" fmla="*/ 997744 h 1276349"/>
              <a:gd name="connsiteX24" fmla="*/ 716756 w 783431"/>
              <a:gd name="connsiteY24" fmla="*/ 1002507 h 1276349"/>
              <a:gd name="connsiteX25" fmla="*/ 738187 w 783431"/>
              <a:gd name="connsiteY25" fmla="*/ 969169 h 1276349"/>
              <a:gd name="connsiteX26" fmla="*/ 783431 w 783431"/>
              <a:gd name="connsiteY26" fmla="*/ 933450 h 1276349"/>
              <a:gd name="connsiteX27" fmla="*/ 776287 w 783431"/>
              <a:gd name="connsiteY27" fmla="*/ 907257 h 1276349"/>
              <a:gd name="connsiteX28" fmla="*/ 752475 w 783431"/>
              <a:gd name="connsiteY28" fmla="*/ 888207 h 1276349"/>
              <a:gd name="connsiteX29" fmla="*/ 752475 w 783431"/>
              <a:gd name="connsiteY29" fmla="*/ 864394 h 1276349"/>
              <a:gd name="connsiteX30" fmla="*/ 728662 w 783431"/>
              <a:gd name="connsiteY30" fmla="*/ 852488 h 1276349"/>
              <a:gd name="connsiteX31" fmla="*/ 711994 w 783431"/>
              <a:gd name="connsiteY31" fmla="*/ 802482 h 1276349"/>
              <a:gd name="connsiteX32" fmla="*/ 688181 w 783431"/>
              <a:gd name="connsiteY32" fmla="*/ 814388 h 1276349"/>
              <a:gd name="connsiteX33" fmla="*/ 659606 w 783431"/>
              <a:gd name="connsiteY33" fmla="*/ 814388 h 1276349"/>
              <a:gd name="connsiteX34" fmla="*/ 647700 w 783431"/>
              <a:gd name="connsiteY34" fmla="*/ 847725 h 1276349"/>
              <a:gd name="connsiteX35" fmla="*/ 623887 w 783431"/>
              <a:gd name="connsiteY35" fmla="*/ 847725 h 1276349"/>
              <a:gd name="connsiteX36" fmla="*/ 576262 w 783431"/>
              <a:gd name="connsiteY36" fmla="*/ 828675 h 1276349"/>
              <a:gd name="connsiteX37" fmla="*/ 554831 w 783431"/>
              <a:gd name="connsiteY37" fmla="*/ 816769 h 1276349"/>
              <a:gd name="connsiteX38" fmla="*/ 547687 w 783431"/>
              <a:gd name="connsiteY38" fmla="*/ 783432 h 1276349"/>
              <a:gd name="connsiteX39" fmla="*/ 561975 w 783431"/>
              <a:gd name="connsiteY39" fmla="*/ 754857 h 1276349"/>
              <a:gd name="connsiteX40" fmla="*/ 533400 w 783431"/>
              <a:gd name="connsiteY40" fmla="*/ 733425 h 1276349"/>
              <a:gd name="connsiteX41" fmla="*/ 509587 w 783431"/>
              <a:gd name="connsiteY41" fmla="*/ 711994 h 1276349"/>
              <a:gd name="connsiteX42" fmla="*/ 473869 w 783431"/>
              <a:gd name="connsiteY42" fmla="*/ 711994 h 1276349"/>
              <a:gd name="connsiteX43" fmla="*/ 435769 w 783431"/>
              <a:gd name="connsiteY43" fmla="*/ 711994 h 1276349"/>
              <a:gd name="connsiteX44" fmla="*/ 438150 w 783431"/>
              <a:gd name="connsiteY44" fmla="*/ 669132 h 1276349"/>
              <a:gd name="connsiteX45" fmla="*/ 428625 w 783431"/>
              <a:gd name="connsiteY45" fmla="*/ 642938 h 1276349"/>
              <a:gd name="connsiteX46" fmla="*/ 423862 w 783431"/>
              <a:gd name="connsiteY46" fmla="*/ 607219 h 1276349"/>
              <a:gd name="connsiteX47" fmla="*/ 426244 w 783431"/>
              <a:gd name="connsiteY47" fmla="*/ 578644 h 1276349"/>
              <a:gd name="connsiteX48" fmla="*/ 440531 w 783431"/>
              <a:gd name="connsiteY48" fmla="*/ 566738 h 1276349"/>
              <a:gd name="connsiteX49" fmla="*/ 450056 w 783431"/>
              <a:gd name="connsiteY49" fmla="*/ 535782 h 1276349"/>
              <a:gd name="connsiteX50" fmla="*/ 457200 w 783431"/>
              <a:gd name="connsiteY50" fmla="*/ 519113 h 1276349"/>
              <a:gd name="connsiteX51" fmla="*/ 481012 w 783431"/>
              <a:gd name="connsiteY51" fmla="*/ 526257 h 1276349"/>
              <a:gd name="connsiteX52" fmla="*/ 495300 w 783431"/>
              <a:gd name="connsiteY52" fmla="*/ 576263 h 1276349"/>
              <a:gd name="connsiteX53" fmla="*/ 507206 w 783431"/>
              <a:gd name="connsiteY53" fmla="*/ 581025 h 1276349"/>
              <a:gd name="connsiteX54" fmla="*/ 526256 w 783431"/>
              <a:gd name="connsiteY54" fmla="*/ 583407 h 1276349"/>
              <a:gd name="connsiteX55" fmla="*/ 554831 w 783431"/>
              <a:gd name="connsiteY55" fmla="*/ 583407 h 1276349"/>
              <a:gd name="connsiteX56" fmla="*/ 557212 w 783431"/>
              <a:gd name="connsiteY56" fmla="*/ 547688 h 1276349"/>
              <a:gd name="connsiteX57" fmla="*/ 545306 w 783431"/>
              <a:gd name="connsiteY57" fmla="*/ 502444 h 1276349"/>
              <a:gd name="connsiteX58" fmla="*/ 545306 w 783431"/>
              <a:gd name="connsiteY58" fmla="*/ 476250 h 1276349"/>
              <a:gd name="connsiteX59" fmla="*/ 581025 w 783431"/>
              <a:gd name="connsiteY59" fmla="*/ 454819 h 1276349"/>
              <a:gd name="connsiteX60" fmla="*/ 604837 w 783431"/>
              <a:gd name="connsiteY60" fmla="*/ 435769 h 1276349"/>
              <a:gd name="connsiteX61" fmla="*/ 640556 w 783431"/>
              <a:gd name="connsiteY61" fmla="*/ 414338 h 1276349"/>
              <a:gd name="connsiteX62" fmla="*/ 645319 w 783431"/>
              <a:gd name="connsiteY62" fmla="*/ 395288 h 1276349"/>
              <a:gd name="connsiteX63" fmla="*/ 633412 w 783431"/>
              <a:gd name="connsiteY63" fmla="*/ 371475 h 1276349"/>
              <a:gd name="connsiteX64" fmla="*/ 614362 w 783431"/>
              <a:gd name="connsiteY64" fmla="*/ 369094 h 1276349"/>
              <a:gd name="connsiteX65" fmla="*/ 609600 w 783431"/>
              <a:gd name="connsiteY65" fmla="*/ 366713 h 1276349"/>
              <a:gd name="connsiteX66" fmla="*/ 597694 w 783431"/>
              <a:gd name="connsiteY66" fmla="*/ 357188 h 1276349"/>
              <a:gd name="connsiteX67" fmla="*/ 611981 w 783431"/>
              <a:gd name="connsiteY67" fmla="*/ 345282 h 1276349"/>
              <a:gd name="connsiteX68" fmla="*/ 652462 w 783431"/>
              <a:gd name="connsiteY68" fmla="*/ 316707 h 1276349"/>
              <a:gd name="connsiteX69" fmla="*/ 678656 w 783431"/>
              <a:gd name="connsiteY69" fmla="*/ 264319 h 1276349"/>
              <a:gd name="connsiteX70" fmla="*/ 666750 w 783431"/>
              <a:gd name="connsiteY70" fmla="*/ 242888 h 1276349"/>
              <a:gd name="connsiteX71" fmla="*/ 638175 w 783431"/>
              <a:gd name="connsiteY71" fmla="*/ 219075 h 1276349"/>
              <a:gd name="connsiteX72" fmla="*/ 642937 w 783431"/>
              <a:gd name="connsiteY72" fmla="*/ 180975 h 1276349"/>
              <a:gd name="connsiteX73" fmla="*/ 673894 w 783431"/>
              <a:gd name="connsiteY73" fmla="*/ 171450 h 1276349"/>
              <a:gd name="connsiteX74" fmla="*/ 700087 w 783431"/>
              <a:gd name="connsiteY74" fmla="*/ 142875 h 1276349"/>
              <a:gd name="connsiteX75" fmla="*/ 700087 w 783431"/>
              <a:gd name="connsiteY75" fmla="*/ 111919 h 1276349"/>
              <a:gd name="connsiteX76" fmla="*/ 666750 w 783431"/>
              <a:gd name="connsiteY76" fmla="*/ 107157 h 1276349"/>
              <a:gd name="connsiteX77" fmla="*/ 645319 w 783431"/>
              <a:gd name="connsiteY77" fmla="*/ 102394 h 1276349"/>
              <a:gd name="connsiteX78" fmla="*/ 645319 w 783431"/>
              <a:gd name="connsiteY78" fmla="*/ 102394 h 1276349"/>
              <a:gd name="connsiteX79" fmla="*/ 678656 w 783431"/>
              <a:gd name="connsiteY79" fmla="*/ 69057 h 1276349"/>
              <a:gd name="connsiteX80" fmla="*/ 685800 w 783431"/>
              <a:gd name="connsiteY80" fmla="*/ 40482 h 1276349"/>
              <a:gd name="connsiteX81" fmla="*/ 678656 w 783431"/>
              <a:gd name="connsiteY81" fmla="*/ 21432 h 1276349"/>
              <a:gd name="connsiteX82" fmla="*/ 695325 w 783431"/>
              <a:gd name="connsiteY82" fmla="*/ 2382 h 1276349"/>
              <a:gd name="connsiteX83" fmla="*/ 628650 w 783431"/>
              <a:gd name="connsiteY83" fmla="*/ 0 h 1276349"/>
              <a:gd name="connsiteX84" fmla="*/ 552450 w 783431"/>
              <a:gd name="connsiteY84" fmla="*/ 52388 h 1276349"/>
              <a:gd name="connsiteX85" fmla="*/ 538162 w 783431"/>
              <a:gd name="connsiteY85" fmla="*/ 90488 h 1276349"/>
              <a:gd name="connsiteX86" fmla="*/ 445294 w 783431"/>
              <a:gd name="connsiteY86" fmla="*/ 126207 h 1276349"/>
              <a:gd name="connsiteX87" fmla="*/ 397669 w 783431"/>
              <a:gd name="connsiteY87" fmla="*/ 159544 h 1276349"/>
              <a:gd name="connsiteX88" fmla="*/ 376237 w 783431"/>
              <a:gd name="connsiteY88" fmla="*/ 190500 h 1276349"/>
              <a:gd name="connsiteX89" fmla="*/ 350044 w 783431"/>
              <a:gd name="connsiteY89" fmla="*/ 140494 h 1276349"/>
              <a:gd name="connsiteX90" fmla="*/ 316706 w 783431"/>
              <a:gd name="connsiteY90" fmla="*/ 140494 h 1276349"/>
              <a:gd name="connsiteX91" fmla="*/ 304800 w 783431"/>
              <a:gd name="connsiteY91" fmla="*/ 166688 h 1276349"/>
              <a:gd name="connsiteX92" fmla="*/ 280987 w 783431"/>
              <a:gd name="connsiteY92" fmla="*/ 230982 h 1276349"/>
              <a:gd name="connsiteX93" fmla="*/ 154781 w 783431"/>
              <a:gd name="connsiteY93" fmla="*/ 223838 h 1276349"/>
              <a:gd name="connsiteX94" fmla="*/ 140494 w 783431"/>
              <a:gd name="connsiteY94" fmla="*/ 245269 h 1276349"/>
              <a:gd name="connsiteX95" fmla="*/ 138112 w 783431"/>
              <a:gd name="connsiteY95" fmla="*/ 280988 h 1276349"/>
              <a:gd name="connsiteX96" fmla="*/ 66675 w 783431"/>
              <a:gd name="connsiteY96" fmla="*/ 309563 h 1276349"/>
              <a:gd name="connsiteX97" fmla="*/ 54769 w 783431"/>
              <a:gd name="connsiteY97" fmla="*/ 323850 h 1276349"/>
              <a:gd name="connsiteX98" fmla="*/ 66675 w 783431"/>
              <a:gd name="connsiteY98" fmla="*/ 381000 h 1276349"/>
              <a:gd name="connsiteX99" fmla="*/ 19050 w 783431"/>
              <a:gd name="connsiteY99" fmla="*/ 423863 h 1276349"/>
              <a:gd name="connsiteX100" fmla="*/ 26194 w 783431"/>
              <a:gd name="connsiteY100" fmla="*/ 490538 h 1276349"/>
              <a:gd name="connsiteX101" fmla="*/ 33337 w 783431"/>
              <a:gd name="connsiteY101" fmla="*/ 554832 h 1276349"/>
              <a:gd name="connsiteX102" fmla="*/ 0 w 783431"/>
              <a:gd name="connsiteY102" fmla="*/ 614363 h 1276349"/>
              <a:gd name="connsiteX0" fmla="*/ 0 w 783431"/>
              <a:gd name="connsiteY0" fmla="*/ 614363 h 1276349"/>
              <a:gd name="connsiteX1" fmla="*/ 21431 w 783431"/>
              <a:gd name="connsiteY1" fmla="*/ 661988 h 1276349"/>
              <a:gd name="connsiteX2" fmla="*/ 28575 w 783431"/>
              <a:gd name="connsiteY2" fmla="*/ 742950 h 1276349"/>
              <a:gd name="connsiteX3" fmla="*/ 76200 w 783431"/>
              <a:gd name="connsiteY3" fmla="*/ 814388 h 1276349"/>
              <a:gd name="connsiteX4" fmla="*/ 102394 w 783431"/>
              <a:gd name="connsiteY4" fmla="*/ 919163 h 1276349"/>
              <a:gd name="connsiteX5" fmla="*/ 116681 w 783431"/>
              <a:gd name="connsiteY5" fmla="*/ 947738 h 1276349"/>
              <a:gd name="connsiteX6" fmla="*/ 130969 w 783431"/>
              <a:gd name="connsiteY6" fmla="*/ 995363 h 1276349"/>
              <a:gd name="connsiteX7" fmla="*/ 150019 w 783431"/>
              <a:gd name="connsiteY7" fmla="*/ 1023938 h 1276349"/>
              <a:gd name="connsiteX8" fmla="*/ 159544 w 783431"/>
              <a:gd name="connsiteY8" fmla="*/ 1042988 h 1276349"/>
              <a:gd name="connsiteX9" fmla="*/ 197644 w 783431"/>
              <a:gd name="connsiteY9" fmla="*/ 1069182 h 1276349"/>
              <a:gd name="connsiteX10" fmla="*/ 245269 w 783431"/>
              <a:gd name="connsiteY10" fmla="*/ 1090613 h 1276349"/>
              <a:gd name="connsiteX11" fmla="*/ 264318 w 783431"/>
              <a:gd name="connsiteY11" fmla="*/ 1131094 h 1276349"/>
              <a:gd name="connsiteX12" fmla="*/ 295275 w 783431"/>
              <a:gd name="connsiteY12" fmla="*/ 1164431 h 1276349"/>
              <a:gd name="connsiteX13" fmla="*/ 385762 w 783431"/>
              <a:gd name="connsiteY13" fmla="*/ 1200149 h 1276349"/>
              <a:gd name="connsiteX14" fmla="*/ 404812 w 783431"/>
              <a:gd name="connsiteY14" fmla="*/ 1276349 h 1276349"/>
              <a:gd name="connsiteX15" fmla="*/ 416720 w 783431"/>
              <a:gd name="connsiteY15" fmla="*/ 1212055 h 1276349"/>
              <a:gd name="connsiteX16" fmla="*/ 469106 w 783431"/>
              <a:gd name="connsiteY16" fmla="*/ 1181100 h 1276349"/>
              <a:gd name="connsiteX17" fmla="*/ 554831 w 783431"/>
              <a:gd name="connsiteY17" fmla="*/ 1202531 h 1276349"/>
              <a:gd name="connsiteX18" fmla="*/ 592931 w 783431"/>
              <a:gd name="connsiteY18" fmla="*/ 1126331 h 1276349"/>
              <a:gd name="connsiteX19" fmla="*/ 604837 w 783431"/>
              <a:gd name="connsiteY19" fmla="*/ 1085850 h 1276349"/>
              <a:gd name="connsiteX20" fmla="*/ 585787 w 783431"/>
              <a:gd name="connsiteY20" fmla="*/ 1035844 h 1276349"/>
              <a:gd name="connsiteX21" fmla="*/ 607219 w 783431"/>
              <a:gd name="connsiteY21" fmla="*/ 1021557 h 1276349"/>
              <a:gd name="connsiteX22" fmla="*/ 645319 w 783431"/>
              <a:gd name="connsiteY22" fmla="*/ 1016794 h 1276349"/>
              <a:gd name="connsiteX23" fmla="*/ 685800 w 783431"/>
              <a:gd name="connsiteY23" fmla="*/ 997744 h 1276349"/>
              <a:gd name="connsiteX24" fmla="*/ 716756 w 783431"/>
              <a:gd name="connsiteY24" fmla="*/ 1002507 h 1276349"/>
              <a:gd name="connsiteX25" fmla="*/ 738187 w 783431"/>
              <a:gd name="connsiteY25" fmla="*/ 969169 h 1276349"/>
              <a:gd name="connsiteX26" fmla="*/ 783431 w 783431"/>
              <a:gd name="connsiteY26" fmla="*/ 933450 h 1276349"/>
              <a:gd name="connsiteX27" fmla="*/ 776287 w 783431"/>
              <a:gd name="connsiteY27" fmla="*/ 907257 h 1276349"/>
              <a:gd name="connsiteX28" fmla="*/ 752475 w 783431"/>
              <a:gd name="connsiteY28" fmla="*/ 888207 h 1276349"/>
              <a:gd name="connsiteX29" fmla="*/ 752475 w 783431"/>
              <a:gd name="connsiteY29" fmla="*/ 864394 h 1276349"/>
              <a:gd name="connsiteX30" fmla="*/ 728662 w 783431"/>
              <a:gd name="connsiteY30" fmla="*/ 852488 h 1276349"/>
              <a:gd name="connsiteX31" fmla="*/ 711994 w 783431"/>
              <a:gd name="connsiteY31" fmla="*/ 802482 h 1276349"/>
              <a:gd name="connsiteX32" fmla="*/ 688181 w 783431"/>
              <a:gd name="connsiteY32" fmla="*/ 814388 h 1276349"/>
              <a:gd name="connsiteX33" fmla="*/ 659606 w 783431"/>
              <a:gd name="connsiteY33" fmla="*/ 814388 h 1276349"/>
              <a:gd name="connsiteX34" fmla="*/ 647700 w 783431"/>
              <a:gd name="connsiteY34" fmla="*/ 847725 h 1276349"/>
              <a:gd name="connsiteX35" fmla="*/ 623887 w 783431"/>
              <a:gd name="connsiteY35" fmla="*/ 847725 h 1276349"/>
              <a:gd name="connsiteX36" fmla="*/ 576262 w 783431"/>
              <a:gd name="connsiteY36" fmla="*/ 828675 h 1276349"/>
              <a:gd name="connsiteX37" fmla="*/ 554831 w 783431"/>
              <a:gd name="connsiteY37" fmla="*/ 816769 h 1276349"/>
              <a:gd name="connsiteX38" fmla="*/ 547687 w 783431"/>
              <a:gd name="connsiteY38" fmla="*/ 783432 h 1276349"/>
              <a:gd name="connsiteX39" fmla="*/ 561975 w 783431"/>
              <a:gd name="connsiteY39" fmla="*/ 754857 h 1276349"/>
              <a:gd name="connsiteX40" fmla="*/ 533400 w 783431"/>
              <a:gd name="connsiteY40" fmla="*/ 733425 h 1276349"/>
              <a:gd name="connsiteX41" fmla="*/ 509587 w 783431"/>
              <a:gd name="connsiteY41" fmla="*/ 711994 h 1276349"/>
              <a:gd name="connsiteX42" fmla="*/ 473869 w 783431"/>
              <a:gd name="connsiteY42" fmla="*/ 711994 h 1276349"/>
              <a:gd name="connsiteX43" fmla="*/ 435769 w 783431"/>
              <a:gd name="connsiteY43" fmla="*/ 711994 h 1276349"/>
              <a:gd name="connsiteX44" fmla="*/ 438150 w 783431"/>
              <a:gd name="connsiteY44" fmla="*/ 669132 h 1276349"/>
              <a:gd name="connsiteX45" fmla="*/ 428625 w 783431"/>
              <a:gd name="connsiteY45" fmla="*/ 642938 h 1276349"/>
              <a:gd name="connsiteX46" fmla="*/ 423862 w 783431"/>
              <a:gd name="connsiteY46" fmla="*/ 607219 h 1276349"/>
              <a:gd name="connsiteX47" fmla="*/ 426244 w 783431"/>
              <a:gd name="connsiteY47" fmla="*/ 578644 h 1276349"/>
              <a:gd name="connsiteX48" fmla="*/ 440531 w 783431"/>
              <a:gd name="connsiteY48" fmla="*/ 566738 h 1276349"/>
              <a:gd name="connsiteX49" fmla="*/ 450056 w 783431"/>
              <a:gd name="connsiteY49" fmla="*/ 535782 h 1276349"/>
              <a:gd name="connsiteX50" fmla="*/ 457200 w 783431"/>
              <a:gd name="connsiteY50" fmla="*/ 519113 h 1276349"/>
              <a:gd name="connsiteX51" fmla="*/ 481012 w 783431"/>
              <a:gd name="connsiteY51" fmla="*/ 526257 h 1276349"/>
              <a:gd name="connsiteX52" fmla="*/ 495300 w 783431"/>
              <a:gd name="connsiteY52" fmla="*/ 576263 h 1276349"/>
              <a:gd name="connsiteX53" fmla="*/ 507206 w 783431"/>
              <a:gd name="connsiteY53" fmla="*/ 581025 h 1276349"/>
              <a:gd name="connsiteX54" fmla="*/ 526256 w 783431"/>
              <a:gd name="connsiteY54" fmla="*/ 583407 h 1276349"/>
              <a:gd name="connsiteX55" fmla="*/ 554831 w 783431"/>
              <a:gd name="connsiteY55" fmla="*/ 583407 h 1276349"/>
              <a:gd name="connsiteX56" fmla="*/ 557212 w 783431"/>
              <a:gd name="connsiteY56" fmla="*/ 547688 h 1276349"/>
              <a:gd name="connsiteX57" fmla="*/ 545306 w 783431"/>
              <a:gd name="connsiteY57" fmla="*/ 502444 h 1276349"/>
              <a:gd name="connsiteX58" fmla="*/ 545306 w 783431"/>
              <a:gd name="connsiteY58" fmla="*/ 476250 h 1276349"/>
              <a:gd name="connsiteX59" fmla="*/ 581025 w 783431"/>
              <a:gd name="connsiteY59" fmla="*/ 454819 h 1276349"/>
              <a:gd name="connsiteX60" fmla="*/ 604837 w 783431"/>
              <a:gd name="connsiteY60" fmla="*/ 435769 h 1276349"/>
              <a:gd name="connsiteX61" fmla="*/ 640556 w 783431"/>
              <a:gd name="connsiteY61" fmla="*/ 414338 h 1276349"/>
              <a:gd name="connsiteX62" fmla="*/ 645319 w 783431"/>
              <a:gd name="connsiteY62" fmla="*/ 395288 h 1276349"/>
              <a:gd name="connsiteX63" fmla="*/ 633412 w 783431"/>
              <a:gd name="connsiteY63" fmla="*/ 371475 h 1276349"/>
              <a:gd name="connsiteX64" fmla="*/ 614362 w 783431"/>
              <a:gd name="connsiteY64" fmla="*/ 369094 h 1276349"/>
              <a:gd name="connsiteX65" fmla="*/ 609600 w 783431"/>
              <a:gd name="connsiteY65" fmla="*/ 366713 h 1276349"/>
              <a:gd name="connsiteX66" fmla="*/ 597694 w 783431"/>
              <a:gd name="connsiteY66" fmla="*/ 357188 h 1276349"/>
              <a:gd name="connsiteX67" fmla="*/ 611981 w 783431"/>
              <a:gd name="connsiteY67" fmla="*/ 345282 h 1276349"/>
              <a:gd name="connsiteX68" fmla="*/ 652462 w 783431"/>
              <a:gd name="connsiteY68" fmla="*/ 316707 h 1276349"/>
              <a:gd name="connsiteX69" fmla="*/ 678656 w 783431"/>
              <a:gd name="connsiteY69" fmla="*/ 264319 h 1276349"/>
              <a:gd name="connsiteX70" fmla="*/ 666750 w 783431"/>
              <a:gd name="connsiteY70" fmla="*/ 242888 h 1276349"/>
              <a:gd name="connsiteX71" fmla="*/ 638175 w 783431"/>
              <a:gd name="connsiteY71" fmla="*/ 219075 h 1276349"/>
              <a:gd name="connsiteX72" fmla="*/ 642937 w 783431"/>
              <a:gd name="connsiteY72" fmla="*/ 180975 h 1276349"/>
              <a:gd name="connsiteX73" fmla="*/ 673894 w 783431"/>
              <a:gd name="connsiteY73" fmla="*/ 171450 h 1276349"/>
              <a:gd name="connsiteX74" fmla="*/ 700087 w 783431"/>
              <a:gd name="connsiteY74" fmla="*/ 142875 h 1276349"/>
              <a:gd name="connsiteX75" fmla="*/ 700087 w 783431"/>
              <a:gd name="connsiteY75" fmla="*/ 111919 h 1276349"/>
              <a:gd name="connsiteX76" fmla="*/ 666750 w 783431"/>
              <a:gd name="connsiteY76" fmla="*/ 107157 h 1276349"/>
              <a:gd name="connsiteX77" fmla="*/ 645319 w 783431"/>
              <a:gd name="connsiteY77" fmla="*/ 102394 h 1276349"/>
              <a:gd name="connsiteX78" fmla="*/ 645319 w 783431"/>
              <a:gd name="connsiteY78" fmla="*/ 102394 h 1276349"/>
              <a:gd name="connsiteX79" fmla="*/ 678656 w 783431"/>
              <a:gd name="connsiteY79" fmla="*/ 69057 h 1276349"/>
              <a:gd name="connsiteX80" fmla="*/ 685800 w 783431"/>
              <a:gd name="connsiteY80" fmla="*/ 40482 h 1276349"/>
              <a:gd name="connsiteX81" fmla="*/ 678656 w 783431"/>
              <a:gd name="connsiteY81" fmla="*/ 21432 h 1276349"/>
              <a:gd name="connsiteX82" fmla="*/ 695325 w 783431"/>
              <a:gd name="connsiteY82" fmla="*/ 2382 h 1276349"/>
              <a:gd name="connsiteX83" fmla="*/ 628650 w 783431"/>
              <a:gd name="connsiteY83" fmla="*/ 0 h 1276349"/>
              <a:gd name="connsiteX84" fmla="*/ 552450 w 783431"/>
              <a:gd name="connsiteY84" fmla="*/ 52388 h 1276349"/>
              <a:gd name="connsiteX85" fmla="*/ 538162 w 783431"/>
              <a:gd name="connsiteY85" fmla="*/ 90488 h 1276349"/>
              <a:gd name="connsiteX86" fmla="*/ 445294 w 783431"/>
              <a:gd name="connsiteY86" fmla="*/ 126207 h 1276349"/>
              <a:gd name="connsiteX87" fmla="*/ 397669 w 783431"/>
              <a:gd name="connsiteY87" fmla="*/ 159544 h 1276349"/>
              <a:gd name="connsiteX88" fmla="*/ 376237 w 783431"/>
              <a:gd name="connsiteY88" fmla="*/ 190500 h 1276349"/>
              <a:gd name="connsiteX89" fmla="*/ 350044 w 783431"/>
              <a:gd name="connsiteY89" fmla="*/ 140494 h 1276349"/>
              <a:gd name="connsiteX90" fmla="*/ 316706 w 783431"/>
              <a:gd name="connsiteY90" fmla="*/ 140494 h 1276349"/>
              <a:gd name="connsiteX91" fmla="*/ 304800 w 783431"/>
              <a:gd name="connsiteY91" fmla="*/ 166688 h 1276349"/>
              <a:gd name="connsiteX92" fmla="*/ 280987 w 783431"/>
              <a:gd name="connsiteY92" fmla="*/ 230982 h 1276349"/>
              <a:gd name="connsiteX93" fmla="*/ 154781 w 783431"/>
              <a:gd name="connsiteY93" fmla="*/ 223838 h 1276349"/>
              <a:gd name="connsiteX94" fmla="*/ 140494 w 783431"/>
              <a:gd name="connsiteY94" fmla="*/ 245269 h 1276349"/>
              <a:gd name="connsiteX95" fmla="*/ 138112 w 783431"/>
              <a:gd name="connsiteY95" fmla="*/ 280988 h 1276349"/>
              <a:gd name="connsiteX96" fmla="*/ 66675 w 783431"/>
              <a:gd name="connsiteY96" fmla="*/ 309563 h 1276349"/>
              <a:gd name="connsiteX97" fmla="*/ 54769 w 783431"/>
              <a:gd name="connsiteY97" fmla="*/ 323850 h 1276349"/>
              <a:gd name="connsiteX98" fmla="*/ 66675 w 783431"/>
              <a:gd name="connsiteY98" fmla="*/ 381000 h 1276349"/>
              <a:gd name="connsiteX99" fmla="*/ 19050 w 783431"/>
              <a:gd name="connsiteY99" fmla="*/ 423863 h 1276349"/>
              <a:gd name="connsiteX100" fmla="*/ 26194 w 783431"/>
              <a:gd name="connsiteY100" fmla="*/ 490538 h 1276349"/>
              <a:gd name="connsiteX101" fmla="*/ 33337 w 783431"/>
              <a:gd name="connsiteY101" fmla="*/ 554832 h 1276349"/>
              <a:gd name="connsiteX102" fmla="*/ 0 w 783431"/>
              <a:gd name="connsiteY102" fmla="*/ 614363 h 12763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783431" h="1276349">
                <a:moveTo>
                  <a:pt x="0" y="614363"/>
                </a:moveTo>
                <a:lnTo>
                  <a:pt x="21431" y="661988"/>
                </a:lnTo>
                <a:lnTo>
                  <a:pt x="28575" y="742950"/>
                </a:lnTo>
                <a:lnTo>
                  <a:pt x="76200" y="814388"/>
                </a:lnTo>
                <a:lnTo>
                  <a:pt x="102394" y="919163"/>
                </a:lnTo>
                <a:lnTo>
                  <a:pt x="116681" y="947738"/>
                </a:lnTo>
                <a:lnTo>
                  <a:pt x="130969" y="995363"/>
                </a:lnTo>
                <a:lnTo>
                  <a:pt x="150019" y="1023938"/>
                </a:lnTo>
                <a:lnTo>
                  <a:pt x="159544" y="1042988"/>
                </a:lnTo>
                <a:lnTo>
                  <a:pt x="197644" y="1069182"/>
                </a:lnTo>
                <a:lnTo>
                  <a:pt x="245269" y="1090613"/>
                </a:lnTo>
                <a:lnTo>
                  <a:pt x="264318" y="1131094"/>
                </a:lnTo>
                <a:lnTo>
                  <a:pt x="295275" y="1164431"/>
                </a:lnTo>
                <a:lnTo>
                  <a:pt x="385762" y="1200149"/>
                </a:lnTo>
                <a:lnTo>
                  <a:pt x="404812" y="1276349"/>
                </a:lnTo>
                <a:lnTo>
                  <a:pt x="416720" y="1212055"/>
                </a:lnTo>
                <a:lnTo>
                  <a:pt x="469106" y="1181100"/>
                </a:lnTo>
                <a:lnTo>
                  <a:pt x="554831" y="1202531"/>
                </a:lnTo>
                <a:lnTo>
                  <a:pt x="592931" y="1126331"/>
                </a:lnTo>
                <a:lnTo>
                  <a:pt x="604837" y="1085850"/>
                </a:lnTo>
                <a:lnTo>
                  <a:pt x="585787" y="1035844"/>
                </a:lnTo>
                <a:lnTo>
                  <a:pt x="607219" y="1021557"/>
                </a:lnTo>
                <a:lnTo>
                  <a:pt x="645319" y="1016794"/>
                </a:lnTo>
                <a:lnTo>
                  <a:pt x="685800" y="997744"/>
                </a:lnTo>
                <a:lnTo>
                  <a:pt x="716756" y="1002507"/>
                </a:lnTo>
                <a:lnTo>
                  <a:pt x="738187" y="969169"/>
                </a:lnTo>
                <a:lnTo>
                  <a:pt x="783431" y="933450"/>
                </a:lnTo>
                <a:lnTo>
                  <a:pt x="776287" y="907257"/>
                </a:lnTo>
                <a:lnTo>
                  <a:pt x="752475" y="888207"/>
                </a:lnTo>
                <a:lnTo>
                  <a:pt x="752475" y="864394"/>
                </a:lnTo>
                <a:lnTo>
                  <a:pt x="728662" y="852488"/>
                </a:lnTo>
                <a:lnTo>
                  <a:pt x="711994" y="802482"/>
                </a:lnTo>
                <a:lnTo>
                  <a:pt x="688181" y="814388"/>
                </a:lnTo>
                <a:lnTo>
                  <a:pt x="659606" y="814388"/>
                </a:lnTo>
                <a:lnTo>
                  <a:pt x="647700" y="847725"/>
                </a:lnTo>
                <a:lnTo>
                  <a:pt x="623887" y="847725"/>
                </a:lnTo>
                <a:lnTo>
                  <a:pt x="576262" y="828675"/>
                </a:lnTo>
                <a:lnTo>
                  <a:pt x="554831" y="816769"/>
                </a:lnTo>
                <a:lnTo>
                  <a:pt x="547687" y="783432"/>
                </a:lnTo>
                <a:lnTo>
                  <a:pt x="561975" y="754857"/>
                </a:lnTo>
                <a:lnTo>
                  <a:pt x="533400" y="733425"/>
                </a:lnTo>
                <a:lnTo>
                  <a:pt x="509587" y="711994"/>
                </a:lnTo>
                <a:lnTo>
                  <a:pt x="473869" y="711994"/>
                </a:lnTo>
                <a:lnTo>
                  <a:pt x="435769" y="711994"/>
                </a:lnTo>
                <a:lnTo>
                  <a:pt x="438150" y="669132"/>
                </a:lnTo>
                <a:lnTo>
                  <a:pt x="428625" y="642938"/>
                </a:lnTo>
                <a:lnTo>
                  <a:pt x="423862" y="607219"/>
                </a:lnTo>
                <a:lnTo>
                  <a:pt x="426244" y="578644"/>
                </a:lnTo>
                <a:lnTo>
                  <a:pt x="440531" y="566738"/>
                </a:lnTo>
                <a:lnTo>
                  <a:pt x="450056" y="535782"/>
                </a:lnTo>
                <a:lnTo>
                  <a:pt x="457200" y="519113"/>
                </a:lnTo>
                <a:lnTo>
                  <a:pt x="481012" y="526257"/>
                </a:lnTo>
                <a:lnTo>
                  <a:pt x="495300" y="576263"/>
                </a:lnTo>
                <a:lnTo>
                  <a:pt x="507206" y="581025"/>
                </a:lnTo>
                <a:lnTo>
                  <a:pt x="526256" y="583407"/>
                </a:lnTo>
                <a:lnTo>
                  <a:pt x="554831" y="583407"/>
                </a:lnTo>
                <a:lnTo>
                  <a:pt x="557212" y="547688"/>
                </a:lnTo>
                <a:lnTo>
                  <a:pt x="545306" y="502444"/>
                </a:lnTo>
                <a:lnTo>
                  <a:pt x="545306" y="476250"/>
                </a:lnTo>
                <a:lnTo>
                  <a:pt x="581025" y="454819"/>
                </a:lnTo>
                <a:lnTo>
                  <a:pt x="604837" y="435769"/>
                </a:lnTo>
                <a:lnTo>
                  <a:pt x="640556" y="414338"/>
                </a:lnTo>
                <a:lnTo>
                  <a:pt x="645319" y="395288"/>
                </a:lnTo>
                <a:lnTo>
                  <a:pt x="633412" y="371475"/>
                </a:lnTo>
                <a:lnTo>
                  <a:pt x="614362" y="369094"/>
                </a:lnTo>
                <a:lnTo>
                  <a:pt x="609600" y="366713"/>
                </a:lnTo>
                <a:lnTo>
                  <a:pt x="597694" y="357188"/>
                </a:lnTo>
                <a:lnTo>
                  <a:pt x="611981" y="345282"/>
                </a:lnTo>
                <a:lnTo>
                  <a:pt x="652462" y="316707"/>
                </a:lnTo>
                <a:lnTo>
                  <a:pt x="678656" y="264319"/>
                </a:lnTo>
                <a:lnTo>
                  <a:pt x="666750" y="242888"/>
                </a:lnTo>
                <a:lnTo>
                  <a:pt x="638175" y="219075"/>
                </a:lnTo>
                <a:lnTo>
                  <a:pt x="642937" y="180975"/>
                </a:lnTo>
                <a:lnTo>
                  <a:pt x="673894" y="171450"/>
                </a:lnTo>
                <a:lnTo>
                  <a:pt x="700087" y="142875"/>
                </a:lnTo>
                <a:lnTo>
                  <a:pt x="700087" y="111919"/>
                </a:lnTo>
                <a:lnTo>
                  <a:pt x="666750" y="107157"/>
                </a:lnTo>
                <a:lnTo>
                  <a:pt x="645319" y="102394"/>
                </a:lnTo>
                <a:lnTo>
                  <a:pt x="645319" y="102394"/>
                </a:lnTo>
                <a:lnTo>
                  <a:pt x="678656" y="69057"/>
                </a:lnTo>
                <a:lnTo>
                  <a:pt x="685800" y="40482"/>
                </a:lnTo>
                <a:lnTo>
                  <a:pt x="678656" y="21432"/>
                </a:lnTo>
                <a:lnTo>
                  <a:pt x="695325" y="2382"/>
                </a:lnTo>
                <a:lnTo>
                  <a:pt x="628650" y="0"/>
                </a:lnTo>
                <a:lnTo>
                  <a:pt x="552450" y="52388"/>
                </a:lnTo>
                <a:lnTo>
                  <a:pt x="538162" y="90488"/>
                </a:lnTo>
                <a:lnTo>
                  <a:pt x="445294" y="126207"/>
                </a:lnTo>
                <a:lnTo>
                  <a:pt x="397669" y="159544"/>
                </a:lnTo>
                <a:lnTo>
                  <a:pt x="376237" y="190500"/>
                </a:lnTo>
                <a:lnTo>
                  <a:pt x="350044" y="140494"/>
                </a:lnTo>
                <a:lnTo>
                  <a:pt x="316706" y="140494"/>
                </a:lnTo>
                <a:lnTo>
                  <a:pt x="304800" y="166688"/>
                </a:lnTo>
                <a:lnTo>
                  <a:pt x="280987" y="230982"/>
                </a:lnTo>
                <a:lnTo>
                  <a:pt x="154781" y="223838"/>
                </a:lnTo>
                <a:lnTo>
                  <a:pt x="140494" y="245269"/>
                </a:lnTo>
                <a:lnTo>
                  <a:pt x="138112" y="280988"/>
                </a:lnTo>
                <a:lnTo>
                  <a:pt x="66675" y="309563"/>
                </a:lnTo>
                <a:lnTo>
                  <a:pt x="54769" y="323850"/>
                </a:lnTo>
                <a:lnTo>
                  <a:pt x="66675" y="381000"/>
                </a:lnTo>
                <a:lnTo>
                  <a:pt x="19050" y="423863"/>
                </a:lnTo>
                <a:lnTo>
                  <a:pt x="26194" y="490538"/>
                </a:lnTo>
                <a:lnTo>
                  <a:pt x="33337" y="554832"/>
                </a:lnTo>
                <a:lnTo>
                  <a:pt x="0" y="614363"/>
                </a:ln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1716094" y="5171023"/>
            <a:ext cx="395287" cy="899583"/>
          </a:xfrm>
          <a:custGeom>
            <a:avLst/>
            <a:gdLst>
              <a:gd name="connsiteX0" fmla="*/ 0 w 395287"/>
              <a:gd name="connsiteY0" fmla="*/ 0 h 900113"/>
              <a:gd name="connsiteX1" fmla="*/ 0 w 395287"/>
              <a:gd name="connsiteY1" fmla="*/ 107157 h 900113"/>
              <a:gd name="connsiteX2" fmla="*/ 9525 w 395287"/>
              <a:gd name="connsiteY2" fmla="*/ 135732 h 900113"/>
              <a:gd name="connsiteX3" fmla="*/ 9525 w 395287"/>
              <a:gd name="connsiteY3" fmla="*/ 171450 h 900113"/>
              <a:gd name="connsiteX4" fmla="*/ 54768 w 395287"/>
              <a:gd name="connsiteY4" fmla="*/ 226219 h 900113"/>
              <a:gd name="connsiteX5" fmla="*/ 73818 w 395287"/>
              <a:gd name="connsiteY5" fmla="*/ 247650 h 900113"/>
              <a:gd name="connsiteX6" fmla="*/ 100012 w 395287"/>
              <a:gd name="connsiteY6" fmla="*/ 302419 h 900113"/>
              <a:gd name="connsiteX7" fmla="*/ 97631 w 395287"/>
              <a:gd name="connsiteY7" fmla="*/ 357188 h 900113"/>
              <a:gd name="connsiteX8" fmla="*/ 152400 w 395287"/>
              <a:gd name="connsiteY8" fmla="*/ 423863 h 900113"/>
              <a:gd name="connsiteX9" fmla="*/ 176212 w 395287"/>
              <a:gd name="connsiteY9" fmla="*/ 600075 h 900113"/>
              <a:gd name="connsiteX10" fmla="*/ 185737 w 395287"/>
              <a:gd name="connsiteY10" fmla="*/ 633413 h 900113"/>
              <a:gd name="connsiteX11" fmla="*/ 200025 w 395287"/>
              <a:gd name="connsiteY11" fmla="*/ 726282 h 900113"/>
              <a:gd name="connsiteX12" fmla="*/ 350043 w 395287"/>
              <a:gd name="connsiteY12" fmla="*/ 895350 h 900113"/>
              <a:gd name="connsiteX13" fmla="*/ 361950 w 395287"/>
              <a:gd name="connsiteY13" fmla="*/ 900113 h 900113"/>
              <a:gd name="connsiteX14" fmla="*/ 381000 w 395287"/>
              <a:gd name="connsiteY14" fmla="*/ 838200 h 900113"/>
              <a:gd name="connsiteX15" fmla="*/ 373856 w 395287"/>
              <a:gd name="connsiteY15" fmla="*/ 823913 h 900113"/>
              <a:gd name="connsiteX16" fmla="*/ 369093 w 395287"/>
              <a:gd name="connsiteY16" fmla="*/ 754857 h 900113"/>
              <a:gd name="connsiteX17" fmla="*/ 390525 w 395287"/>
              <a:gd name="connsiteY17" fmla="*/ 731044 h 900113"/>
              <a:gd name="connsiteX18" fmla="*/ 395287 w 395287"/>
              <a:gd name="connsiteY18" fmla="*/ 688182 h 900113"/>
              <a:gd name="connsiteX19" fmla="*/ 366712 w 395287"/>
              <a:gd name="connsiteY19" fmla="*/ 647700 h 900113"/>
              <a:gd name="connsiteX20" fmla="*/ 364331 w 395287"/>
              <a:gd name="connsiteY20" fmla="*/ 604838 h 900113"/>
              <a:gd name="connsiteX21" fmla="*/ 395287 w 395287"/>
              <a:gd name="connsiteY21" fmla="*/ 550069 h 900113"/>
              <a:gd name="connsiteX22" fmla="*/ 395287 w 395287"/>
              <a:gd name="connsiteY22" fmla="*/ 511969 h 900113"/>
              <a:gd name="connsiteX23" fmla="*/ 381000 w 395287"/>
              <a:gd name="connsiteY23" fmla="*/ 476250 h 900113"/>
              <a:gd name="connsiteX24" fmla="*/ 319087 w 395287"/>
              <a:gd name="connsiteY24" fmla="*/ 464344 h 900113"/>
              <a:gd name="connsiteX25" fmla="*/ 292893 w 395287"/>
              <a:gd name="connsiteY25" fmla="*/ 440532 h 900113"/>
              <a:gd name="connsiteX26" fmla="*/ 285750 w 395287"/>
              <a:gd name="connsiteY26" fmla="*/ 414338 h 900113"/>
              <a:gd name="connsiteX27" fmla="*/ 300037 w 395287"/>
              <a:gd name="connsiteY27" fmla="*/ 376238 h 900113"/>
              <a:gd name="connsiteX28" fmla="*/ 295275 w 395287"/>
              <a:gd name="connsiteY28" fmla="*/ 321469 h 900113"/>
              <a:gd name="connsiteX29" fmla="*/ 288131 w 395287"/>
              <a:gd name="connsiteY29" fmla="*/ 288132 h 900113"/>
              <a:gd name="connsiteX30" fmla="*/ 257175 w 395287"/>
              <a:gd name="connsiteY30" fmla="*/ 211932 h 900113"/>
              <a:gd name="connsiteX31" fmla="*/ 180975 w 395287"/>
              <a:gd name="connsiteY31" fmla="*/ 183357 h 900113"/>
              <a:gd name="connsiteX32" fmla="*/ 147637 w 395287"/>
              <a:gd name="connsiteY32" fmla="*/ 142875 h 900113"/>
              <a:gd name="connsiteX33" fmla="*/ 121443 w 395287"/>
              <a:gd name="connsiteY33" fmla="*/ 104775 h 900113"/>
              <a:gd name="connsiteX34" fmla="*/ 45243 w 395287"/>
              <a:gd name="connsiteY34" fmla="*/ 66675 h 900113"/>
              <a:gd name="connsiteX35" fmla="*/ 0 w 395287"/>
              <a:gd name="connsiteY35" fmla="*/ 0 h 900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95287" h="900113">
                <a:moveTo>
                  <a:pt x="0" y="0"/>
                </a:moveTo>
                <a:lnTo>
                  <a:pt x="0" y="107157"/>
                </a:lnTo>
                <a:lnTo>
                  <a:pt x="9525" y="135732"/>
                </a:lnTo>
                <a:lnTo>
                  <a:pt x="9525" y="171450"/>
                </a:lnTo>
                <a:lnTo>
                  <a:pt x="54768" y="226219"/>
                </a:lnTo>
                <a:lnTo>
                  <a:pt x="73818" y="247650"/>
                </a:lnTo>
                <a:lnTo>
                  <a:pt x="100012" y="302419"/>
                </a:lnTo>
                <a:cubicBezTo>
                  <a:pt x="99218" y="320675"/>
                  <a:pt x="98425" y="338932"/>
                  <a:pt x="97631" y="357188"/>
                </a:cubicBezTo>
                <a:lnTo>
                  <a:pt x="152400" y="423863"/>
                </a:lnTo>
                <a:lnTo>
                  <a:pt x="176212" y="600075"/>
                </a:lnTo>
                <a:lnTo>
                  <a:pt x="185737" y="633413"/>
                </a:lnTo>
                <a:lnTo>
                  <a:pt x="200025" y="726282"/>
                </a:lnTo>
                <a:lnTo>
                  <a:pt x="350043" y="895350"/>
                </a:lnTo>
                <a:lnTo>
                  <a:pt x="361950" y="900113"/>
                </a:lnTo>
                <a:lnTo>
                  <a:pt x="381000" y="838200"/>
                </a:lnTo>
                <a:lnTo>
                  <a:pt x="373856" y="823913"/>
                </a:lnTo>
                <a:lnTo>
                  <a:pt x="369093" y="754857"/>
                </a:lnTo>
                <a:lnTo>
                  <a:pt x="390525" y="731044"/>
                </a:lnTo>
                <a:lnTo>
                  <a:pt x="395287" y="688182"/>
                </a:lnTo>
                <a:lnTo>
                  <a:pt x="366712" y="647700"/>
                </a:lnTo>
                <a:lnTo>
                  <a:pt x="364331" y="604838"/>
                </a:lnTo>
                <a:lnTo>
                  <a:pt x="395287" y="550069"/>
                </a:lnTo>
                <a:lnTo>
                  <a:pt x="395287" y="511969"/>
                </a:lnTo>
                <a:lnTo>
                  <a:pt x="381000" y="476250"/>
                </a:lnTo>
                <a:lnTo>
                  <a:pt x="319087" y="464344"/>
                </a:lnTo>
                <a:lnTo>
                  <a:pt x="292893" y="440532"/>
                </a:lnTo>
                <a:lnTo>
                  <a:pt x="285750" y="414338"/>
                </a:lnTo>
                <a:lnTo>
                  <a:pt x="300037" y="376238"/>
                </a:lnTo>
                <a:lnTo>
                  <a:pt x="295275" y="321469"/>
                </a:lnTo>
                <a:lnTo>
                  <a:pt x="288131" y="288132"/>
                </a:lnTo>
                <a:lnTo>
                  <a:pt x="257175" y="211932"/>
                </a:lnTo>
                <a:lnTo>
                  <a:pt x="180975" y="183357"/>
                </a:lnTo>
                <a:lnTo>
                  <a:pt x="147637" y="142875"/>
                </a:lnTo>
                <a:lnTo>
                  <a:pt x="121443" y="104775"/>
                </a:lnTo>
                <a:lnTo>
                  <a:pt x="45243" y="66675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2001844" y="5041903"/>
            <a:ext cx="708025" cy="1054100"/>
          </a:xfrm>
          <a:custGeom>
            <a:avLst/>
            <a:gdLst>
              <a:gd name="connsiteX0" fmla="*/ 85725 w 707231"/>
              <a:gd name="connsiteY0" fmla="*/ 1033462 h 1033462"/>
              <a:gd name="connsiteX1" fmla="*/ 154781 w 707231"/>
              <a:gd name="connsiteY1" fmla="*/ 1026319 h 1033462"/>
              <a:gd name="connsiteX2" fmla="*/ 200025 w 707231"/>
              <a:gd name="connsiteY2" fmla="*/ 1012031 h 1033462"/>
              <a:gd name="connsiteX3" fmla="*/ 247650 w 707231"/>
              <a:gd name="connsiteY3" fmla="*/ 969169 h 1033462"/>
              <a:gd name="connsiteX4" fmla="*/ 276225 w 707231"/>
              <a:gd name="connsiteY4" fmla="*/ 912019 h 1033462"/>
              <a:gd name="connsiteX5" fmla="*/ 350043 w 707231"/>
              <a:gd name="connsiteY5" fmla="*/ 871537 h 1033462"/>
              <a:gd name="connsiteX6" fmla="*/ 411956 w 707231"/>
              <a:gd name="connsiteY6" fmla="*/ 823912 h 1033462"/>
              <a:gd name="connsiteX7" fmla="*/ 411956 w 707231"/>
              <a:gd name="connsiteY7" fmla="*/ 781050 h 1033462"/>
              <a:gd name="connsiteX8" fmla="*/ 471487 w 707231"/>
              <a:gd name="connsiteY8" fmla="*/ 671512 h 1033462"/>
              <a:gd name="connsiteX9" fmla="*/ 547687 w 707231"/>
              <a:gd name="connsiteY9" fmla="*/ 642937 h 1033462"/>
              <a:gd name="connsiteX10" fmla="*/ 595312 w 707231"/>
              <a:gd name="connsiteY10" fmla="*/ 592931 h 1033462"/>
              <a:gd name="connsiteX11" fmla="*/ 597693 w 707231"/>
              <a:gd name="connsiteY11" fmla="*/ 438150 h 1033462"/>
              <a:gd name="connsiteX12" fmla="*/ 604837 w 707231"/>
              <a:gd name="connsiteY12" fmla="*/ 350044 h 1033462"/>
              <a:gd name="connsiteX13" fmla="*/ 614362 w 707231"/>
              <a:gd name="connsiteY13" fmla="*/ 295275 h 1033462"/>
              <a:gd name="connsiteX14" fmla="*/ 671512 w 707231"/>
              <a:gd name="connsiteY14" fmla="*/ 219075 h 1033462"/>
              <a:gd name="connsiteX15" fmla="*/ 707231 w 707231"/>
              <a:gd name="connsiteY15" fmla="*/ 147637 h 1033462"/>
              <a:gd name="connsiteX16" fmla="*/ 697706 w 707231"/>
              <a:gd name="connsiteY16" fmla="*/ 97631 h 1033462"/>
              <a:gd name="connsiteX17" fmla="*/ 702468 w 707231"/>
              <a:gd name="connsiteY17" fmla="*/ 35719 h 1033462"/>
              <a:gd name="connsiteX18" fmla="*/ 628650 w 707231"/>
              <a:gd name="connsiteY18" fmla="*/ 0 h 1033462"/>
              <a:gd name="connsiteX19" fmla="*/ 600075 w 707231"/>
              <a:gd name="connsiteY19" fmla="*/ 28575 h 1033462"/>
              <a:gd name="connsiteX20" fmla="*/ 597693 w 707231"/>
              <a:gd name="connsiteY20" fmla="*/ 69056 h 1033462"/>
              <a:gd name="connsiteX21" fmla="*/ 583406 w 707231"/>
              <a:gd name="connsiteY21" fmla="*/ 88106 h 1033462"/>
              <a:gd name="connsiteX22" fmla="*/ 523875 w 707231"/>
              <a:gd name="connsiteY22" fmla="*/ 95250 h 1033462"/>
              <a:gd name="connsiteX23" fmla="*/ 509587 w 707231"/>
              <a:gd name="connsiteY23" fmla="*/ 135731 h 1033462"/>
              <a:gd name="connsiteX24" fmla="*/ 478631 w 707231"/>
              <a:gd name="connsiteY24" fmla="*/ 128587 h 1033462"/>
              <a:gd name="connsiteX25" fmla="*/ 466725 w 707231"/>
              <a:gd name="connsiteY25" fmla="*/ 154781 h 1033462"/>
              <a:gd name="connsiteX26" fmla="*/ 431006 w 707231"/>
              <a:gd name="connsiteY26" fmla="*/ 147637 h 1033462"/>
              <a:gd name="connsiteX27" fmla="*/ 376237 w 707231"/>
              <a:gd name="connsiteY27" fmla="*/ 169069 h 1033462"/>
              <a:gd name="connsiteX28" fmla="*/ 319087 w 707231"/>
              <a:gd name="connsiteY28" fmla="*/ 166687 h 1033462"/>
              <a:gd name="connsiteX29" fmla="*/ 307181 w 707231"/>
              <a:gd name="connsiteY29" fmla="*/ 135731 h 1033462"/>
              <a:gd name="connsiteX30" fmla="*/ 273843 w 707231"/>
              <a:gd name="connsiteY30" fmla="*/ 147637 h 1033462"/>
              <a:gd name="connsiteX31" fmla="*/ 178593 w 707231"/>
              <a:gd name="connsiteY31" fmla="*/ 173831 h 1033462"/>
              <a:gd name="connsiteX32" fmla="*/ 188118 w 707231"/>
              <a:gd name="connsiteY32" fmla="*/ 202406 h 1033462"/>
              <a:gd name="connsiteX33" fmla="*/ 195262 w 707231"/>
              <a:gd name="connsiteY33" fmla="*/ 233362 h 1033462"/>
              <a:gd name="connsiteX34" fmla="*/ 142875 w 707231"/>
              <a:gd name="connsiteY34" fmla="*/ 338137 h 1033462"/>
              <a:gd name="connsiteX35" fmla="*/ 57150 w 707231"/>
              <a:gd name="connsiteY35" fmla="*/ 323850 h 1033462"/>
              <a:gd name="connsiteX36" fmla="*/ 11906 w 707231"/>
              <a:gd name="connsiteY36" fmla="*/ 347662 h 1033462"/>
              <a:gd name="connsiteX37" fmla="*/ 0 w 707231"/>
              <a:gd name="connsiteY37" fmla="*/ 400050 h 1033462"/>
              <a:gd name="connsiteX38" fmla="*/ 14287 w 707231"/>
              <a:gd name="connsiteY38" fmla="*/ 476250 h 1033462"/>
              <a:gd name="connsiteX39" fmla="*/ 11906 w 707231"/>
              <a:gd name="connsiteY39" fmla="*/ 519112 h 1033462"/>
              <a:gd name="connsiteX40" fmla="*/ 0 w 707231"/>
              <a:gd name="connsiteY40" fmla="*/ 550069 h 1033462"/>
              <a:gd name="connsiteX41" fmla="*/ 11906 w 707231"/>
              <a:gd name="connsiteY41" fmla="*/ 561975 h 1033462"/>
              <a:gd name="connsiteX42" fmla="*/ 30956 w 707231"/>
              <a:gd name="connsiteY42" fmla="*/ 592931 h 1033462"/>
              <a:gd name="connsiteX43" fmla="*/ 97631 w 707231"/>
              <a:gd name="connsiteY43" fmla="*/ 609600 h 1033462"/>
              <a:gd name="connsiteX44" fmla="*/ 104775 w 707231"/>
              <a:gd name="connsiteY44" fmla="*/ 676275 h 1033462"/>
              <a:gd name="connsiteX45" fmla="*/ 90487 w 707231"/>
              <a:gd name="connsiteY45" fmla="*/ 728662 h 1033462"/>
              <a:gd name="connsiteX46" fmla="*/ 80962 w 707231"/>
              <a:gd name="connsiteY46" fmla="*/ 747712 h 1033462"/>
              <a:gd name="connsiteX47" fmla="*/ 80962 w 707231"/>
              <a:gd name="connsiteY47" fmla="*/ 781050 h 1033462"/>
              <a:gd name="connsiteX48" fmla="*/ 109537 w 707231"/>
              <a:gd name="connsiteY48" fmla="*/ 819150 h 1033462"/>
              <a:gd name="connsiteX49" fmla="*/ 102393 w 707231"/>
              <a:gd name="connsiteY49" fmla="*/ 869156 h 1033462"/>
              <a:gd name="connsiteX50" fmla="*/ 83343 w 707231"/>
              <a:gd name="connsiteY50" fmla="*/ 890587 h 1033462"/>
              <a:gd name="connsiteX51" fmla="*/ 85725 w 707231"/>
              <a:gd name="connsiteY51" fmla="*/ 954881 h 1033462"/>
              <a:gd name="connsiteX52" fmla="*/ 92868 w 707231"/>
              <a:gd name="connsiteY52" fmla="*/ 966787 h 1033462"/>
              <a:gd name="connsiteX53" fmla="*/ 85725 w 707231"/>
              <a:gd name="connsiteY53" fmla="*/ 1033462 h 1033462"/>
              <a:gd name="connsiteX0" fmla="*/ 71437 w 707231"/>
              <a:gd name="connsiteY0" fmla="*/ 1031081 h 1031081"/>
              <a:gd name="connsiteX1" fmla="*/ 154781 w 707231"/>
              <a:gd name="connsiteY1" fmla="*/ 1026319 h 1031081"/>
              <a:gd name="connsiteX2" fmla="*/ 200025 w 707231"/>
              <a:gd name="connsiteY2" fmla="*/ 1012031 h 1031081"/>
              <a:gd name="connsiteX3" fmla="*/ 247650 w 707231"/>
              <a:gd name="connsiteY3" fmla="*/ 969169 h 1031081"/>
              <a:gd name="connsiteX4" fmla="*/ 276225 w 707231"/>
              <a:gd name="connsiteY4" fmla="*/ 912019 h 1031081"/>
              <a:gd name="connsiteX5" fmla="*/ 350043 w 707231"/>
              <a:gd name="connsiteY5" fmla="*/ 871537 h 1031081"/>
              <a:gd name="connsiteX6" fmla="*/ 411956 w 707231"/>
              <a:gd name="connsiteY6" fmla="*/ 823912 h 1031081"/>
              <a:gd name="connsiteX7" fmla="*/ 411956 w 707231"/>
              <a:gd name="connsiteY7" fmla="*/ 781050 h 1031081"/>
              <a:gd name="connsiteX8" fmla="*/ 471487 w 707231"/>
              <a:gd name="connsiteY8" fmla="*/ 671512 h 1031081"/>
              <a:gd name="connsiteX9" fmla="*/ 547687 w 707231"/>
              <a:gd name="connsiteY9" fmla="*/ 642937 h 1031081"/>
              <a:gd name="connsiteX10" fmla="*/ 595312 w 707231"/>
              <a:gd name="connsiteY10" fmla="*/ 592931 h 1031081"/>
              <a:gd name="connsiteX11" fmla="*/ 597693 w 707231"/>
              <a:gd name="connsiteY11" fmla="*/ 438150 h 1031081"/>
              <a:gd name="connsiteX12" fmla="*/ 604837 w 707231"/>
              <a:gd name="connsiteY12" fmla="*/ 350044 h 1031081"/>
              <a:gd name="connsiteX13" fmla="*/ 614362 w 707231"/>
              <a:gd name="connsiteY13" fmla="*/ 295275 h 1031081"/>
              <a:gd name="connsiteX14" fmla="*/ 671512 w 707231"/>
              <a:gd name="connsiteY14" fmla="*/ 219075 h 1031081"/>
              <a:gd name="connsiteX15" fmla="*/ 707231 w 707231"/>
              <a:gd name="connsiteY15" fmla="*/ 147637 h 1031081"/>
              <a:gd name="connsiteX16" fmla="*/ 697706 w 707231"/>
              <a:gd name="connsiteY16" fmla="*/ 97631 h 1031081"/>
              <a:gd name="connsiteX17" fmla="*/ 702468 w 707231"/>
              <a:gd name="connsiteY17" fmla="*/ 35719 h 1031081"/>
              <a:gd name="connsiteX18" fmla="*/ 628650 w 707231"/>
              <a:gd name="connsiteY18" fmla="*/ 0 h 1031081"/>
              <a:gd name="connsiteX19" fmla="*/ 600075 w 707231"/>
              <a:gd name="connsiteY19" fmla="*/ 28575 h 1031081"/>
              <a:gd name="connsiteX20" fmla="*/ 597693 w 707231"/>
              <a:gd name="connsiteY20" fmla="*/ 69056 h 1031081"/>
              <a:gd name="connsiteX21" fmla="*/ 583406 w 707231"/>
              <a:gd name="connsiteY21" fmla="*/ 88106 h 1031081"/>
              <a:gd name="connsiteX22" fmla="*/ 523875 w 707231"/>
              <a:gd name="connsiteY22" fmla="*/ 95250 h 1031081"/>
              <a:gd name="connsiteX23" fmla="*/ 509587 w 707231"/>
              <a:gd name="connsiteY23" fmla="*/ 135731 h 1031081"/>
              <a:gd name="connsiteX24" fmla="*/ 478631 w 707231"/>
              <a:gd name="connsiteY24" fmla="*/ 128587 h 1031081"/>
              <a:gd name="connsiteX25" fmla="*/ 466725 w 707231"/>
              <a:gd name="connsiteY25" fmla="*/ 154781 h 1031081"/>
              <a:gd name="connsiteX26" fmla="*/ 431006 w 707231"/>
              <a:gd name="connsiteY26" fmla="*/ 147637 h 1031081"/>
              <a:gd name="connsiteX27" fmla="*/ 376237 w 707231"/>
              <a:gd name="connsiteY27" fmla="*/ 169069 h 1031081"/>
              <a:gd name="connsiteX28" fmla="*/ 319087 w 707231"/>
              <a:gd name="connsiteY28" fmla="*/ 166687 h 1031081"/>
              <a:gd name="connsiteX29" fmla="*/ 307181 w 707231"/>
              <a:gd name="connsiteY29" fmla="*/ 135731 h 1031081"/>
              <a:gd name="connsiteX30" fmla="*/ 273843 w 707231"/>
              <a:gd name="connsiteY30" fmla="*/ 147637 h 1031081"/>
              <a:gd name="connsiteX31" fmla="*/ 178593 w 707231"/>
              <a:gd name="connsiteY31" fmla="*/ 173831 h 1031081"/>
              <a:gd name="connsiteX32" fmla="*/ 188118 w 707231"/>
              <a:gd name="connsiteY32" fmla="*/ 202406 h 1031081"/>
              <a:gd name="connsiteX33" fmla="*/ 195262 w 707231"/>
              <a:gd name="connsiteY33" fmla="*/ 233362 h 1031081"/>
              <a:gd name="connsiteX34" fmla="*/ 142875 w 707231"/>
              <a:gd name="connsiteY34" fmla="*/ 338137 h 1031081"/>
              <a:gd name="connsiteX35" fmla="*/ 57150 w 707231"/>
              <a:gd name="connsiteY35" fmla="*/ 323850 h 1031081"/>
              <a:gd name="connsiteX36" fmla="*/ 11906 w 707231"/>
              <a:gd name="connsiteY36" fmla="*/ 347662 h 1031081"/>
              <a:gd name="connsiteX37" fmla="*/ 0 w 707231"/>
              <a:gd name="connsiteY37" fmla="*/ 400050 h 1031081"/>
              <a:gd name="connsiteX38" fmla="*/ 14287 w 707231"/>
              <a:gd name="connsiteY38" fmla="*/ 476250 h 1031081"/>
              <a:gd name="connsiteX39" fmla="*/ 11906 w 707231"/>
              <a:gd name="connsiteY39" fmla="*/ 519112 h 1031081"/>
              <a:gd name="connsiteX40" fmla="*/ 0 w 707231"/>
              <a:gd name="connsiteY40" fmla="*/ 550069 h 1031081"/>
              <a:gd name="connsiteX41" fmla="*/ 11906 w 707231"/>
              <a:gd name="connsiteY41" fmla="*/ 561975 h 1031081"/>
              <a:gd name="connsiteX42" fmla="*/ 30956 w 707231"/>
              <a:gd name="connsiteY42" fmla="*/ 592931 h 1031081"/>
              <a:gd name="connsiteX43" fmla="*/ 97631 w 707231"/>
              <a:gd name="connsiteY43" fmla="*/ 609600 h 1031081"/>
              <a:gd name="connsiteX44" fmla="*/ 104775 w 707231"/>
              <a:gd name="connsiteY44" fmla="*/ 676275 h 1031081"/>
              <a:gd name="connsiteX45" fmla="*/ 90487 w 707231"/>
              <a:gd name="connsiteY45" fmla="*/ 728662 h 1031081"/>
              <a:gd name="connsiteX46" fmla="*/ 80962 w 707231"/>
              <a:gd name="connsiteY46" fmla="*/ 747712 h 1031081"/>
              <a:gd name="connsiteX47" fmla="*/ 80962 w 707231"/>
              <a:gd name="connsiteY47" fmla="*/ 781050 h 1031081"/>
              <a:gd name="connsiteX48" fmla="*/ 109537 w 707231"/>
              <a:gd name="connsiteY48" fmla="*/ 819150 h 1031081"/>
              <a:gd name="connsiteX49" fmla="*/ 102393 w 707231"/>
              <a:gd name="connsiteY49" fmla="*/ 869156 h 1031081"/>
              <a:gd name="connsiteX50" fmla="*/ 83343 w 707231"/>
              <a:gd name="connsiteY50" fmla="*/ 890587 h 1031081"/>
              <a:gd name="connsiteX51" fmla="*/ 85725 w 707231"/>
              <a:gd name="connsiteY51" fmla="*/ 954881 h 1031081"/>
              <a:gd name="connsiteX52" fmla="*/ 92868 w 707231"/>
              <a:gd name="connsiteY52" fmla="*/ 966787 h 1031081"/>
              <a:gd name="connsiteX53" fmla="*/ 71437 w 707231"/>
              <a:gd name="connsiteY53" fmla="*/ 1031081 h 1031081"/>
              <a:gd name="connsiteX0" fmla="*/ 71437 w 707231"/>
              <a:gd name="connsiteY0" fmla="*/ 1031081 h 1031082"/>
              <a:gd name="connsiteX1" fmla="*/ 119062 w 707231"/>
              <a:gd name="connsiteY1" fmla="*/ 1031082 h 1031082"/>
              <a:gd name="connsiteX2" fmla="*/ 154781 w 707231"/>
              <a:gd name="connsiteY2" fmla="*/ 1026319 h 1031082"/>
              <a:gd name="connsiteX3" fmla="*/ 200025 w 707231"/>
              <a:gd name="connsiteY3" fmla="*/ 1012031 h 1031082"/>
              <a:gd name="connsiteX4" fmla="*/ 247650 w 707231"/>
              <a:gd name="connsiteY4" fmla="*/ 969169 h 1031082"/>
              <a:gd name="connsiteX5" fmla="*/ 276225 w 707231"/>
              <a:gd name="connsiteY5" fmla="*/ 912019 h 1031082"/>
              <a:gd name="connsiteX6" fmla="*/ 350043 w 707231"/>
              <a:gd name="connsiteY6" fmla="*/ 871537 h 1031082"/>
              <a:gd name="connsiteX7" fmla="*/ 411956 w 707231"/>
              <a:gd name="connsiteY7" fmla="*/ 823912 h 1031082"/>
              <a:gd name="connsiteX8" fmla="*/ 411956 w 707231"/>
              <a:gd name="connsiteY8" fmla="*/ 781050 h 1031082"/>
              <a:gd name="connsiteX9" fmla="*/ 471487 w 707231"/>
              <a:gd name="connsiteY9" fmla="*/ 671512 h 1031082"/>
              <a:gd name="connsiteX10" fmla="*/ 547687 w 707231"/>
              <a:gd name="connsiteY10" fmla="*/ 642937 h 1031082"/>
              <a:gd name="connsiteX11" fmla="*/ 595312 w 707231"/>
              <a:gd name="connsiteY11" fmla="*/ 592931 h 1031082"/>
              <a:gd name="connsiteX12" fmla="*/ 597693 w 707231"/>
              <a:gd name="connsiteY12" fmla="*/ 438150 h 1031082"/>
              <a:gd name="connsiteX13" fmla="*/ 604837 w 707231"/>
              <a:gd name="connsiteY13" fmla="*/ 350044 h 1031082"/>
              <a:gd name="connsiteX14" fmla="*/ 614362 w 707231"/>
              <a:gd name="connsiteY14" fmla="*/ 295275 h 1031082"/>
              <a:gd name="connsiteX15" fmla="*/ 671512 w 707231"/>
              <a:gd name="connsiteY15" fmla="*/ 219075 h 1031082"/>
              <a:gd name="connsiteX16" fmla="*/ 707231 w 707231"/>
              <a:gd name="connsiteY16" fmla="*/ 147637 h 1031082"/>
              <a:gd name="connsiteX17" fmla="*/ 697706 w 707231"/>
              <a:gd name="connsiteY17" fmla="*/ 97631 h 1031082"/>
              <a:gd name="connsiteX18" fmla="*/ 702468 w 707231"/>
              <a:gd name="connsiteY18" fmla="*/ 35719 h 1031082"/>
              <a:gd name="connsiteX19" fmla="*/ 628650 w 707231"/>
              <a:gd name="connsiteY19" fmla="*/ 0 h 1031082"/>
              <a:gd name="connsiteX20" fmla="*/ 600075 w 707231"/>
              <a:gd name="connsiteY20" fmla="*/ 28575 h 1031082"/>
              <a:gd name="connsiteX21" fmla="*/ 597693 w 707231"/>
              <a:gd name="connsiteY21" fmla="*/ 69056 h 1031082"/>
              <a:gd name="connsiteX22" fmla="*/ 583406 w 707231"/>
              <a:gd name="connsiteY22" fmla="*/ 88106 h 1031082"/>
              <a:gd name="connsiteX23" fmla="*/ 523875 w 707231"/>
              <a:gd name="connsiteY23" fmla="*/ 95250 h 1031082"/>
              <a:gd name="connsiteX24" fmla="*/ 509587 w 707231"/>
              <a:gd name="connsiteY24" fmla="*/ 135731 h 1031082"/>
              <a:gd name="connsiteX25" fmla="*/ 478631 w 707231"/>
              <a:gd name="connsiteY25" fmla="*/ 128587 h 1031082"/>
              <a:gd name="connsiteX26" fmla="*/ 466725 w 707231"/>
              <a:gd name="connsiteY26" fmla="*/ 154781 h 1031082"/>
              <a:gd name="connsiteX27" fmla="*/ 431006 w 707231"/>
              <a:gd name="connsiteY27" fmla="*/ 147637 h 1031082"/>
              <a:gd name="connsiteX28" fmla="*/ 376237 w 707231"/>
              <a:gd name="connsiteY28" fmla="*/ 169069 h 1031082"/>
              <a:gd name="connsiteX29" fmla="*/ 319087 w 707231"/>
              <a:gd name="connsiteY29" fmla="*/ 166687 h 1031082"/>
              <a:gd name="connsiteX30" fmla="*/ 307181 w 707231"/>
              <a:gd name="connsiteY30" fmla="*/ 135731 h 1031082"/>
              <a:gd name="connsiteX31" fmla="*/ 273843 w 707231"/>
              <a:gd name="connsiteY31" fmla="*/ 147637 h 1031082"/>
              <a:gd name="connsiteX32" fmla="*/ 178593 w 707231"/>
              <a:gd name="connsiteY32" fmla="*/ 173831 h 1031082"/>
              <a:gd name="connsiteX33" fmla="*/ 188118 w 707231"/>
              <a:gd name="connsiteY33" fmla="*/ 202406 h 1031082"/>
              <a:gd name="connsiteX34" fmla="*/ 195262 w 707231"/>
              <a:gd name="connsiteY34" fmla="*/ 233362 h 1031082"/>
              <a:gd name="connsiteX35" fmla="*/ 142875 w 707231"/>
              <a:gd name="connsiteY35" fmla="*/ 338137 h 1031082"/>
              <a:gd name="connsiteX36" fmla="*/ 57150 w 707231"/>
              <a:gd name="connsiteY36" fmla="*/ 323850 h 1031082"/>
              <a:gd name="connsiteX37" fmla="*/ 11906 w 707231"/>
              <a:gd name="connsiteY37" fmla="*/ 347662 h 1031082"/>
              <a:gd name="connsiteX38" fmla="*/ 0 w 707231"/>
              <a:gd name="connsiteY38" fmla="*/ 400050 h 1031082"/>
              <a:gd name="connsiteX39" fmla="*/ 14287 w 707231"/>
              <a:gd name="connsiteY39" fmla="*/ 476250 h 1031082"/>
              <a:gd name="connsiteX40" fmla="*/ 11906 w 707231"/>
              <a:gd name="connsiteY40" fmla="*/ 519112 h 1031082"/>
              <a:gd name="connsiteX41" fmla="*/ 0 w 707231"/>
              <a:gd name="connsiteY41" fmla="*/ 550069 h 1031082"/>
              <a:gd name="connsiteX42" fmla="*/ 11906 w 707231"/>
              <a:gd name="connsiteY42" fmla="*/ 561975 h 1031082"/>
              <a:gd name="connsiteX43" fmla="*/ 30956 w 707231"/>
              <a:gd name="connsiteY43" fmla="*/ 592931 h 1031082"/>
              <a:gd name="connsiteX44" fmla="*/ 97631 w 707231"/>
              <a:gd name="connsiteY44" fmla="*/ 609600 h 1031082"/>
              <a:gd name="connsiteX45" fmla="*/ 104775 w 707231"/>
              <a:gd name="connsiteY45" fmla="*/ 676275 h 1031082"/>
              <a:gd name="connsiteX46" fmla="*/ 90487 w 707231"/>
              <a:gd name="connsiteY46" fmla="*/ 728662 h 1031082"/>
              <a:gd name="connsiteX47" fmla="*/ 80962 w 707231"/>
              <a:gd name="connsiteY47" fmla="*/ 747712 h 1031082"/>
              <a:gd name="connsiteX48" fmla="*/ 80962 w 707231"/>
              <a:gd name="connsiteY48" fmla="*/ 781050 h 1031082"/>
              <a:gd name="connsiteX49" fmla="*/ 109537 w 707231"/>
              <a:gd name="connsiteY49" fmla="*/ 819150 h 1031082"/>
              <a:gd name="connsiteX50" fmla="*/ 102393 w 707231"/>
              <a:gd name="connsiteY50" fmla="*/ 869156 h 1031082"/>
              <a:gd name="connsiteX51" fmla="*/ 83343 w 707231"/>
              <a:gd name="connsiteY51" fmla="*/ 890587 h 1031082"/>
              <a:gd name="connsiteX52" fmla="*/ 85725 w 707231"/>
              <a:gd name="connsiteY52" fmla="*/ 954881 h 1031082"/>
              <a:gd name="connsiteX53" fmla="*/ 92868 w 707231"/>
              <a:gd name="connsiteY53" fmla="*/ 966787 h 1031082"/>
              <a:gd name="connsiteX54" fmla="*/ 71437 w 707231"/>
              <a:gd name="connsiteY54" fmla="*/ 1031081 h 1031082"/>
              <a:gd name="connsiteX0" fmla="*/ 71437 w 707231"/>
              <a:gd name="connsiteY0" fmla="*/ 1031081 h 1059657"/>
              <a:gd name="connsiteX1" fmla="*/ 114299 w 707231"/>
              <a:gd name="connsiteY1" fmla="*/ 1059657 h 1059657"/>
              <a:gd name="connsiteX2" fmla="*/ 154781 w 707231"/>
              <a:gd name="connsiteY2" fmla="*/ 1026319 h 1059657"/>
              <a:gd name="connsiteX3" fmla="*/ 200025 w 707231"/>
              <a:gd name="connsiteY3" fmla="*/ 1012031 h 1059657"/>
              <a:gd name="connsiteX4" fmla="*/ 247650 w 707231"/>
              <a:gd name="connsiteY4" fmla="*/ 969169 h 1059657"/>
              <a:gd name="connsiteX5" fmla="*/ 276225 w 707231"/>
              <a:gd name="connsiteY5" fmla="*/ 912019 h 1059657"/>
              <a:gd name="connsiteX6" fmla="*/ 350043 w 707231"/>
              <a:gd name="connsiteY6" fmla="*/ 871537 h 1059657"/>
              <a:gd name="connsiteX7" fmla="*/ 411956 w 707231"/>
              <a:gd name="connsiteY7" fmla="*/ 823912 h 1059657"/>
              <a:gd name="connsiteX8" fmla="*/ 411956 w 707231"/>
              <a:gd name="connsiteY8" fmla="*/ 781050 h 1059657"/>
              <a:gd name="connsiteX9" fmla="*/ 471487 w 707231"/>
              <a:gd name="connsiteY9" fmla="*/ 671512 h 1059657"/>
              <a:gd name="connsiteX10" fmla="*/ 547687 w 707231"/>
              <a:gd name="connsiteY10" fmla="*/ 642937 h 1059657"/>
              <a:gd name="connsiteX11" fmla="*/ 595312 w 707231"/>
              <a:gd name="connsiteY11" fmla="*/ 592931 h 1059657"/>
              <a:gd name="connsiteX12" fmla="*/ 597693 w 707231"/>
              <a:gd name="connsiteY12" fmla="*/ 438150 h 1059657"/>
              <a:gd name="connsiteX13" fmla="*/ 604837 w 707231"/>
              <a:gd name="connsiteY13" fmla="*/ 350044 h 1059657"/>
              <a:gd name="connsiteX14" fmla="*/ 614362 w 707231"/>
              <a:gd name="connsiteY14" fmla="*/ 295275 h 1059657"/>
              <a:gd name="connsiteX15" fmla="*/ 671512 w 707231"/>
              <a:gd name="connsiteY15" fmla="*/ 219075 h 1059657"/>
              <a:gd name="connsiteX16" fmla="*/ 707231 w 707231"/>
              <a:gd name="connsiteY16" fmla="*/ 147637 h 1059657"/>
              <a:gd name="connsiteX17" fmla="*/ 697706 w 707231"/>
              <a:gd name="connsiteY17" fmla="*/ 97631 h 1059657"/>
              <a:gd name="connsiteX18" fmla="*/ 702468 w 707231"/>
              <a:gd name="connsiteY18" fmla="*/ 35719 h 1059657"/>
              <a:gd name="connsiteX19" fmla="*/ 628650 w 707231"/>
              <a:gd name="connsiteY19" fmla="*/ 0 h 1059657"/>
              <a:gd name="connsiteX20" fmla="*/ 600075 w 707231"/>
              <a:gd name="connsiteY20" fmla="*/ 28575 h 1059657"/>
              <a:gd name="connsiteX21" fmla="*/ 597693 w 707231"/>
              <a:gd name="connsiteY21" fmla="*/ 69056 h 1059657"/>
              <a:gd name="connsiteX22" fmla="*/ 583406 w 707231"/>
              <a:gd name="connsiteY22" fmla="*/ 88106 h 1059657"/>
              <a:gd name="connsiteX23" fmla="*/ 523875 w 707231"/>
              <a:gd name="connsiteY23" fmla="*/ 95250 h 1059657"/>
              <a:gd name="connsiteX24" fmla="*/ 509587 w 707231"/>
              <a:gd name="connsiteY24" fmla="*/ 135731 h 1059657"/>
              <a:gd name="connsiteX25" fmla="*/ 478631 w 707231"/>
              <a:gd name="connsiteY25" fmla="*/ 128587 h 1059657"/>
              <a:gd name="connsiteX26" fmla="*/ 466725 w 707231"/>
              <a:gd name="connsiteY26" fmla="*/ 154781 h 1059657"/>
              <a:gd name="connsiteX27" fmla="*/ 431006 w 707231"/>
              <a:gd name="connsiteY27" fmla="*/ 147637 h 1059657"/>
              <a:gd name="connsiteX28" fmla="*/ 376237 w 707231"/>
              <a:gd name="connsiteY28" fmla="*/ 169069 h 1059657"/>
              <a:gd name="connsiteX29" fmla="*/ 319087 w 707231"/>
              <a:gd name="connsiteY29" fmla="*/ 166687 h 1059657"/>
              <a:gd name="connsiteX30" fmla="*/ 307181 w 707231"/>
              <a:gd name="connsiteY30" fmla="*/ 135731 h 1059657"/>
              <a:gd name="connsiteX31" fmla="*/ 273843 w 707231"/>
              <a:gd name="connsiteY31" fmla="*/ 147637 h 1059657"/>
              <a:gd name="connsiteX32" fmla="*/ 178593 w 707231"/>
              <a:gd name="connsiteY32" fmla="*/ 173831 h 1059657"/>
              <a:gd name="connsiteX33" fmla="*/ 188118 w 707231"/>
              <a:gd name="connsiteY33" fmla="*/ 202406 h 1059657"/>
              <a:gd name="connsiteX34" fmla="*/ 195262 w 707231"/>
              <a:gd name="connsiteY34" fmla="*/ 233362 h 1059657"/>
              <a:gd name="connsiteX35" fmla="*/ 142875 w 707231"/>
              <a:gd name="connsiteY35" fmla="*/ 338137 h 1059657"/>
              <a:gd name="connsiteX36" fmla="*/ 57150 w 707231"/>
              <a:gd name="connsiteY36" fmla="*/ 323850 h 1059657"/>
              <a:gd name="connsiteX37" fmla="*/ 11906 w 707231"/>
              <a:gd name="connsiteY37" fmla="*/ 347662 h 1059657"/>
              <a:gd name="connsiteX38" fmla="*/ 0 w 707231"/>
              <a:gd name="connsiteY38" fmla="*/ 400050 h 1059657"/>
              <a:gd name="connsiteX39" fmla="*/ 14287 w 707231"/>
              <a:gd name="connsiteY39" fmla="*/ 476250 h 1059657"/>
              <a:gd name="connsiteX40" fmla="*/ 11906 w 707231"/>
              <a:gd name="connsiteY40" fmla="*/ 519112 h 1059657"/>
              <a:gd name="connsiteX41" fmla="*/ 0 w 707231"/>
              <a:gd name="connsiteY41" fmla="*/ 550069 h 1059657"/>
              <a:gd name="connsiteX42" fmla="*/ 11906 w 707231"/>
              <a:gd name="connsiteY42" fmla="*/ 561975 h 1059657"/>
              <a:gd name="connsiteX43" fmla="*/ 30956 w 707231"/>
              <a:gd name="connsiteY43" fmla="*/ 592931 h 1059657"/>
              <a:gd name="connsiteX44" fmla="*/ 97631 w 707231"/>
              <a:gd name="connsiteY44" fmla="*/ 609600 h 1059657"/>
              <a:gd name="connsiteX45" fmla="*/ 104775 w 707231"/>
              <a:gd name="connsiteY45" fmla="*/ 676275 h 1059657"/>
              <a:gd name="connsiteX46" fmla="*/ 90487 w 707231"/>
              <a:gd name="connsiteY46" fmla="*/ 728662 h 1059657"/>
              <a:gd name="connsiteX47" fmla="*/ 80962 w 707231"/>
              <a:gd name="connsiteY47" fmla="*/ 747712 h 1059657"/>
              <a:gd name="connsiteX48" fmla="*/ 80962 w 707231"/>
              <a:gd name="connsiteY48" fmla="*/ 781050 h 1059657"/>
              <a:gd name="connsiteX49" fmla="*/ 109537 w 707231"/>
              <a:gd name="connsiteY49" fmla="*/ 819150 h 1059657"/>
              <a:gd name="connsiteX50" fmla="*/ 102393 w 707231"/>
              <a:gd name="connsiteY50" fmla="*/ 869156 h 1059657"/>
              <a:gd name="connsiteX51" fmla="*/ 83343 w 707231"/>
              <a:gd name="connsiteY51" fmla="*/ 890587 h 1059657"/>
              <a:gd name="connsiteX52" fmla="*/ 85725 w 707231"/>
              <a:gd name="connsiteY52" fmla="*/ 954881 h 1059657"/>
              <a:gd name="connsiteX53" fmla="*/ 92868 w 707231"/>
              <a:gd name="connsiteY53" fmla="*/ 966787 h 1059657"/>
              <a:gd name="connsiteX54" fmla="*/ 71437 w 707231"/>
              <a:gd name="connsiteY54" fmla="*/ 1031081 h 1059657"/>
              <a:gd name="connsiteX0" fmla="*/ 71437 w 707231"/>
              <a:gd name="connsiteY0" fmla="*/ 1031081 h 1059657"/>
              <a:gd name="connsiteX1" fmla="*/ 114299 w 707231"/>
              <a:gd name="connsiteY1" fmla="*/ 1059657 h 1059657"/>
              <a:gd name="connsiteX2" fmla="*/ 164306 w 707231"/>
              <a:gd name="connsiteY2" fmla="*/ 1033462 h 1059657"/>
              <a:gd name="connsiteX3" fmla="*/ 200025 w 707231"/>
              <a:gd name="connsiteY3" fmla="*/ 1012031 h 1059657"/>
              <a:gd name="connsiteX4" fmla="*/ 247650 w 707231"/>
              <a:gd name="connsiteY4" fmla="*/ 969169 h 1059657"/>
              <a:gd name="connsiteX5" fmla="*/ 276225 w 707231"/>
              <a:gd name="connsiteY5" fmla="*/ 912019 h 1059657"/>
              <a:gd name="connsiteX6" fmla="*/ 350043 w 707231"/>
              <a:gd name="connsiteY6" fmla="*/ 871537 h 1059657"/>
              <a:gd name="connsiteX7" fmla="*/ 411956 w 707231"/>
              <a:gd name="connsiteY7" fmla="*/ 823912 h 1059657"/>
              <a:gd name="connsiteX8" fmla="*/ 411956 w 707231"/>
              <a:gd name="connsiteY8" fmla="*/ 781050 h 1059657"/>
              <a:gd name="connsiteX9" fmla="*/ 471487 w 707231"/>
              <a:gd name="connsiteY9" fmla="*/ 671512 h 1059657"/>
              <a:gd name="connsiteX10" fmla="*/ 547687 w 707231"/>
              <a:gd name="connsiteY10" fmla="*/ 642937 h 1059657"/>
              <a:gd name="connsiteX11" fmla="*/ 595312 w 707231"/>
              <a:gd name="connsiteY11" fmla="*/ 592931 h 1059657"/>
              <a:gd name="connsiteX12" fmla="*/ 597693 w 707231"/>
              <a:gd name="connsiteY12" fmla="*/ 438150 h 1059657"/>
              <a:gd name="connsiteX13" fmla="*/ 604837 w 707231"/>
              <a:gd name="connsiteY13" fmla="*/ 350044 h 1059657"/>
              <a:gd name="connsiteX14" fmla="*/ 614362 w 707231"/>
              <a:gd name="connsiteY14" fmla="*/ 295275 h 1059657"/>
              <a:gd name="connsiteX15" fmla="*/ 671512 w 707231"/>
              <a:gd name="connsiteY15" fmla="*/ 219075 h 1059657"/>
              <a:gd name="connsiteX16" fmla="*/ 707231 w 707231"/>
              <a:gd name="connsiteY16" fmla="*/ 147637 h 1059657"/>
              <a:gd name="connsiteX17" fmla="*/ 697706 w 707231"/>
              <a:gd name="connsiteY17" fmla="*/ 97631 h 1059657"/>
              <a:gd name="connsiteX18" fmla="*/ 702468 w 707231"/>
              <a:gd name="connsiteY18" fmla="*/ 35719 h 1059657"/>
              <a:gd name="connsiteX19" fmla="*/ 628650 w 707231"/>
              <a:gd name="connsiteY19" fmla="*/ 0 h 1059657"/>
              <a:gd name="connsiteX20" fmla="*/ 600075 w 707231"/>
              <a:gd name="connsiteY20" fmla="*/ 28575 h 1059657"/>
              <a:gd name="connsiteX21" fmla="*/ 597693 w 707231"/>
              <a:gd name="connsiteY21" fmla="*/ 69056 h 1059657"/>
              <a:gd name="connsiteX22" fmla="*/ 583406 w 707231"/>
              <a:gd name="connsiteY22" fmla="*/ 88106 h 1059657"/>
              <a:gd name="connsiteX23" fmla="*/ 523875 w 707231"/>
              <a:gd name="connsiteY23" fmla="*/ 95250 h 1059657"/>
              <a:gd name="connsiteX24" fmla="*/ 509587 w 707231"/>
              <a:gd name="connsiteY24" fmla="*/ 135731 h 1059657"/>
              <a:gd name="connsiteX25" fmla="*/ 478631 w 707231"/>
              <a:gd name="connsiteY25" fmla="*/ 128587 h 1059657"/>
              <a:gd name="connsiteX26" fmla="*/ 466725 w 707231"/>
              <a:gd name="connsiteY26" fmla="*/ 154781 h 1059657"/>
              <a:gd name="connsiteX27" fmla="*/ 431006 w 707231"/>
              <a:gd name="connsiteY27" fmla="*/ 147637 h 1059657"/>
              <a:gd name="connsiteX28" fmla="*/ 376237 w 707231"/>
              <a:gd name="connsiteY28" fmla="*/ 169069 h 1059657"/>
              <a:gd name="connsiteX29" fmla="*/ 319087 w 707231"/>
              <a:gd name="connsiteY29" fmla="*/ 166687 h 1059657"/>
              <a:gd name="connsiteX30" fmla="*/ 307181 w 707231"/>
              <a:gd name="connsiteY30" fmla="*/ 135731 h 1059657"/>
              <a:gd name="connsiteX31" fmla="*/ 273843 w 707231"/>
              <a:gd name="connsiteY31" fmla="*/ 147637 h 1059657"/>
              <a:gd name="connsiteX32" fmla="*/ 178593 w 707231"/>
              <a:gd name="connsiteY32" fmla="*/ 173831 h 1059657"/>
              <a:gd name="connsiteX33" fmla="*/ 188118 w 707231"/>
              <a:gd name="connsiteY33" fmla="*/ 202406 h 1059657"/>
              <a:gd name="connsiteX34" fmla="*/ 195262 w 707231"/>
              <a:gd name="connsiteY34" fmla="*/ 233362 h 1059657"/>
              <a:gd name="connsiteX35" fmla="*/ 142875 w 707231"/>
              <a:gd name="connsiteY35" fmla="*/ 338137 h 1059657"/>
              <a:gd name="connsiteX36" fmla="*/ 57150 w 707231"/>
              <a:gd name="connsiteY36" fmla="*/ 323850 h 1059657"/>
              <a:gd name="connsiteX37" fmla="*/ 11906 w 707231"/>
              <a:gd name="connsiteY37" fmla="*/ 347662 h 1059657"/>
              <a:gd name="connsiteX38" fmla="*/ 0 w 707231"/>
              <a:gd name="connsiteY38" fmla="*/ 400050 h 1059657"/>
              <a:gd name="connsiteX39" fmla="*/ 14287 w 707231"/>
              <a:gd name="connsiteY39" fmla="*/ 476250 h 1059657"/>
              <a:gd name="connsiteX40" fmla="*/ 11906 w 707231"/>
              <a:gd name="connsiteY40" fmla="*/ 519112 h 1059657"/>
              <a:gd name="connsiteX41" fmla="*/ 0 w 707231"/>
              <a:gd name="connsiteY41" fmla="*/ 550069 h 1059657"/>
              <a:gd name="connsiteX42" fmla="*/ 11906 w 707231"/>
              <a:gd name="connsiteY42" fmla="*/ 561975 h 1059657"/>
              <a:gd name="connsiteX43" fmla="*/ 30956 w 707231"/>
              <a:gd name="connsiteY43" fmla="*/ 592931 h 1059657"/>
              <a:gd name="connsiteX44" fmla="*/ 97631 w 707231"/>
              <a:gd name="connsiteY44" fmla="*/ 609600 h 1059657"/>
              <a:gd name="connsiteX45" fmla="*/ 104775 w 707231"/>
              <a:gd name="connsiteY45" fmla="*/ 676275 h 1059657"/>
              <a:gd name="connsiteX46" fmla="*/ 90487 w 707231"/>
              <a:gd name="connsiteY46" fmla="*/ 728662 h 1059657"/>
              <a:gd name="connsiteX47" fmla="*/ 80962 w 707231"/>
              <a:gd name="connsiteY47" fmla="*/ 747712 h 1059657"/>
              <a:gd name="connsiteX48" fmla="*/ 80962 w 707231"/>
              <a:gd name="connsiteY48" fmla="*/ 781050 h 1059657"/>
              <a:gd name="connsiteX49" fmla="*/ 109537 w 707231"/>
              <a:gd name="connsiteY49" fmla="*/ 819150 h 1059657"/>
              <a:gd name="connsiteX50" fmla="*/ 102393 w 707231"/>
              <a:gd name="connsiteY50" fmla="*/ 869156 h 1059657"/>
              <a:gd name="connsiteX51" fmla="*/ 83343 w 707231"/>
              <a:gd name="connsiteY51" fmla="*/ 890587 h 1059657"/>
              <a:gd name="connsiteX52" fmla="*/ 85725 w 707231"/>
              <a:gd name="connsiteY52" fmla="*/ 954881 h 1059657"/>
              <a:gd name="connsiteX53" fmla="*/ 92868 w 707231"/>
              <a:gd name="connsiteY53" fmla="*/ 966787 h 1059657"/>
              <a:gd name="connsiteX54" fmla="*/ 71437 w 707231"/>
              <a:gd name="connsiteY54" fmla="*/ 1031081 h 1059657"/>
              <a:gd name="connsiteX0" fmla="*/ 71437 w 707231"/>
              <a:gd name="connsiteY0" fmla="*/ 1031081 h 1054894"/>
              <a:gd name="connsiteX1" fmla="*/ 102393 w 707231"/>
              <a:gd name="connsiteY1" fmla="*/ 1054894 h 1054894"/>
              <a:gd name="connsiteX2" fmla="*/ 164306 w 707231"/>
              <a:gd name="connsiteY2" fmla="*/ 1033462 h 1054894"/>
              <a:gd name="connsiteX3" fmla="*/ 200025 w 707231"/>
              <a:gd name="connsiteY3" fmla="*/ 1012031 h 1054894"/>
              <a:gd name="connsiteX4" fmla="*/ 247650 w 707231"/>
              <a:gd name="connsiteY4" fmla="*/ 969169 h 1054894"/>
              <a:gd name="connsiteX5" fmla="*/ 276225 w 707231"/>
              <a:gd name="connsiteY5" fmla="*/ 912019 h 1054894"/>
              <a:gd name="connsiteX6" fmla="*/ 350043 w 707231"/>
              <a:gd name="connsiteY6" fmla="*/ 871537 h 1054894"/>
              <a:gd name="connsiteX7" fmla="*/ 411956 w 707231"/>
              <a:gd name="connsiteY7" fmla="*/ 823912 h 1054894"/>
              <a:gd name="connsiteX8" fmla="*/ 411956 w 707231"/>
              <a:gd name="connsiteY8" fmla="*/ 781050 h 1054894"/>
              <a:gd name="connsiteX9" fmla="*/ 471487 w 707231"/>
              <a:gd name="connsiteY9" fmla="*/ 671512 h 1054894"/>
              <a:gd name="connsiteX10" fmla="*/ 547687 w 707231"/>
              <a:gd name="connsiteY10" fmla="*/ 642937 h 1054894"/>
              <a:gd name="connsiteX11" fmla="*/ 595312 w 707231"/>
              <a:gd name="connsiteY11" fmla="*/ 592931 h 1054894"/>
              <a:gd name="connsiteX12" fmla="*/ 597693 w 707231"/>
              <a:gd name="connsiteY12" fmla="*/ 438150 h 1054894"/>
              <a:gd name="connsiteX13" fmla="*/ 604837 w 707231"/>
              <a:gd name="connsiteY13" fmla="*/ 350044 h 1054894"/>
              <a:gd name="connsiteX14" fmla="*/ 614362 w 707231"/>
              <a:gd name="connsiteY14" fmla="*/ 295275 h 1054894"/>
              <a:gd name="connsiteX15" fmla="*/ 671512 w 707231"/>
              <a:gd name="connsiteY15" fmla="*/ 219075 h 1054894"/>
              <a:gd name="connsiteX16" fmla="*/ 707231 w 707231"/>
              <a:gd name="connsiteY16" fmla="*/ 147637 h 1054894"/>
              <a:gd name="connsiteX17" fmla="*/ 697706 w 707231"/>
              <a:gd name="connsiteY17" fmla="*/ 97631 h 1054894"/>
              <a:gd name="connsiteX18" fmla="*/ 702468 w 707231"/>
              <a:gd name="connsiteY18" fmla="*/ 35719 h 1054894"/>
              <a:gd name="connsiteX19" fmla="*/ 628650 w 707231"/>
              <a:gd name="connsiteY19" fmla="*/ 0 h 1054894"/>
              <a:gd name="connsiteX20" fmla="*/ 600075 w 707231"/>
              <a:gd name="connsiteY20" fmla="*/ 28575 h 1054894"/>
              <a:gd name="connsiteX21" fmla="*/ 597693 w 707231"/>
              <a:gd name="connsiteY21" fmla="*/ 69056 h 1054894"/>
              <a:gd name="connsiteX22" fmla="*/ 583406 w 707231"/>
              <a:gd name="connsiteY22" fmla="*/ 88106 h 1054894"/>
              <a:gd name="connsiteX23" fmla="*/ 523875 w 707231"/>
              <a:gd name="connsiteY23" fmla="*/ 95250 h 1054894"/>
              <a:gd name="connsiteX24" fmla="*/ 509587 w 707231"/>
              <a:gd name="connsiteY24" fmla="*/ 135731 h 1054894"/>
              <a:gd name="connsiteX25" fmla="*/ 478631 w 707231"/>
              <a:gd name="connsiteY25" fmla="*/ 128587 h 1054894"/>
              <a:gd name="connsiteX26" fmla="*/ 466725 w 707231"/>
              <a:gd name="connsiteY26" fmla="*/ 154781 h 1054894"/>
              <a:gd name="connsiteX27" fmla="*/ 431006 w 707231"/>
              <a:gd name="connsiteY27" fmla="*/ 147637 h 1054894"/>
              <a:gd name="connsiteX28" fmla="*/ 376237 w 707231"/>
              <a:gd name="connsiteY28" fmla="*/ 169069 h 1054894"/>
              <a:gd name="connsiteX29" fmla="*/ 319087 w 707231"/>
              <a:gd name="connsiteY29" fmla="*/ 166687 h 1054894"/>
              <a:gd name="connsiteX30" fmla="*/ 307181 w 707231"/>
              <a:gd name="connsiteY30" fmla="*/ 135731 h 1054894"/>
              <a:gd name="connsiteX31" fmla="*/ 273843 w 707231"/>
              <a:gd name="connsiteY31" fmla="*/ 147637 h 1054894"/>
              <a:gd name="connsiteX32" fmla="*/ 178593 w 707231"/>
              <a:gd name="connsiteY32" fmla="*/ 173831 h 1054894"/>
              <a:gd name="connsiteX33" fmla="*/ 188118 w 707231"/>
              <a:gd name="connsiteY33" fmla="*/ 202406 h 1054894"/>
              <a:gd name="connsiteX34" fmla="*/ 195262 w 707231"/>
              <a:gd name="connsiteY34" fmla="*/ 233362 h 1054894"/>
              <a:gd name="connsiteX35" fmla="*/ 142875 w 707231"/>
              <a:gd name="connsiteY35" fmla="*/ 338137 h 1054894"/>
              <a:gd name="connsiteX36" fmla="*/ 57150 w 707231"/>
              <a:gd name="connsiteY36" fmla="*/ 323850 h 1054894"/>
              <a:gd name="connsiteX37" fmla="*/ 11906 w 707231"/>
              <a:gd name="connsiteY37" fmla="*/ 347662 h 1054894"/>
              <a:gd name="connsiteX38" fmla="*/ 0 w 707231"/>
              <a:gd name="connsiteY38" fmla="*/ 400050 h 1054894"/>
              <a:gd name="connsiteX39" fmla="*/ 14287 w 707231"/>
              <a:gd name="connsiteY39" fmla="*/ 476250 h 1054894"/>
              <a:gd name="connsiteX40" fmla="*/ 11906 w 707231"/>
              <a:gd name="connsiteY40" fmla="*/ 519112 h 1054894"/>
              <a:gd name="connsiteX41" fmla="*/ 0 w 707231"/>
              <a:gd name="connsiteY41" fmla="*/ 550069 h 1054894"/>
              <a:gd name="connsiteX42" fmla="*/ 11906 w 707231"/>
              <a:gd name="connsiteY42" fmla="*/ 561975 h 1054894"/>
              <a:gd name="connsiteX43" fmla="*/ 30956 w 707231"/>
              <a:gd name="connsiteY43" fmla="*/ 592931 h 1054894"/>
              <a:gd name="connsiteX44" fmla="*/ 97631 w 707231"/>
              <a:gd name="connsiteY44" fmla="*/ 609600 h 1054894"/>
              <a:gd name="connsiteX45" fmla="*/ 104775 w 707231"/>
              <a:gd name="connsiteY45" fmla="*/ 676275 h 1054894"/>
              <a:gd name="connsiteX46" fmla="*/ 90487 w 707231"/>
              <a:gd name="connsiteY46" fmla="*/ 728662 h 1054894"/>
              <a:gd name="connsiteX47" fmla="*/ 80962 w 707231"/>
              <a:gd name="connsiteY47" fmla="*/ 747712 h 1054894"/>
              <a:gd name="connsiteX48" fmla="*/ 80962 w 707231"/>
              <a:gd name="connsiteY48" fmla="*/ 781050 h 1054894"/>
              <a:gd name="connsiteX49" fmla="*/ 109537 w 707231"/>
              <a:gd name="connsiteY49" fmla="*/ 819150 h 1054894"/>
              <a:gd name="connsiteX50" fmla="*/ 102393 w 707231"/>
              <a:gd name="connsiteY50" fmla="*/ 869156 h 1054894"/>
              <a:gd name="connsiteX51" fmla="*/ 83343 w 707231"/>
              <a:gd name="connsiteY51" fmla="*/ 890587 h 1054894"/>
              <a:gd name="connsiteX52" fmla="*/ 85725 w 707231"/>
              <a:gd name="connsiteY52" fmla="*/ 954881 h 1054894"/>
              <a:gd name="connsiteX53" fmla="*/ 92868 w 707231"/>
              <a:gd name="connsiteY53" fmla="*/ 966787 h 1054894"/>
              <a:gd name="connsiteX54" fmla="*/ 71437 w 707231"/>
              <a:gd name="connsiteY54" fmla="*/ 1031081 h 1054894"/>
              <a:gd name="connsiteX0" fmla="*/ 71437 w 707231"/>
              <a:gd name="connsiteY0" fmla="*/ 1031081 h 1055124"/>
              <a:gd name="connsiteX1" fmla="*/ 102393 w 707231"/>
              <a:gd name="connsiteY1" fmla="*/ 1054894 h 1055124"/>
              <a:gd name="connsiteX2" fmla="*/ 164306 w 707231"/>
              <a:gd name="connsiteY2" fmla="*/ 1033462 h 1055124"/>
              <a:gd name="connsiteX3" fmla="*/ 200025 w 707231"/>
              <a:gd name="connsiteY3" fmla="*/ 1012031 h 1055124"/>
              <a:gd name="connsiteX4" fmla="*/ 247650 w 707231"/>
              <a:gd name="connsiteY4" fmla="*/ 969169 h 1055124"/>
              <a:gd name="connsiteX5" fmla="*/ 276225 w 707231"/>
              <a:gd name="connsiteY5" fmla="*/ 912019 h 1055124"/>
              <a:gd name="connsiteX6" fmla="*/ 350043 w 707231"/>
              <a:gd name="connsiteY6" fmla="*/ 871537 h 1055124"/>
              <a:gd name="connsiteX7" fmla="*/ 411956 w 707231"/>
              <a:gd name="connsiteY7" fmla="*/ 823912 h 1055124"/>
              <a:gd name="connsiteX8" fmla="*/ 411956 w 707231"/>
              <a:gd name="connsiteY8" fmla="*/ 781050 h 1055124"/>
              <a:gd name="connsiteX9" fmla="*/ 471487 w 707231"/>
              <a:gd name="connsiteY9" fmla="*/ 671512 h 1055124"/>
              <a:gd name="connsiteX10" fmla="*/ 547687 w 707231"/>
              <a:gd name="connsiteY10" fmla="*/ 642937 h 1055124"/>
              <a:gd name="connsiteX11" fmla="*/ 595312 w 707231"/>
              <a:gd name="connsiteY11" fmla="*/ 592931 h 1055124"/>
              <a:gd name="connsiteX12" fmla="*/ 597693 w 707231"/>
              <a:gd name="connsiteY12" fmla="*/ 438150 h 1055124"/>
              <a:gd name="connsiteX13" fmla="*/ 604837 w 707231"/>
              <a:gd name="connsiteY13" fmla="*/ 350044 h 1055124"/>
              <a:gd name="connsiteX14" fmla="*/ 614362 w 707231"/>
              <a:gd name="connsiteY14" fmla="*/ 295275 h 1055124"/>
              <a:gd name="connsiteX15" fmla="*/ 671512 w 707231"/>
              <a:gd name="connsiteY15" fmla="*/ 219075 h 1055124"/>
              <a:gd name="connsiteX16" fmla="*/ 707231 w 707231"/>
              <a:gd name="connsiteY16" fmla="*/ 147637 h 1055124"/>
              <a:gd name="connsiteX17" fmla="*/ 697706 w 707231"/>
              <a:gd name="connsiteY17" fmla="*/ 97631 h 1055124"/>
              <a:gd name="connsiteX18" fmla="*/ 702468 w 707231"/>
              <a:gd name="connsiteY18" fmla="*/ 35719 h 1055124"/>
              <a:gd name="connsiteX19" fmla="*/ 628650 w 707231"/>
              <a:gd name="connsiteY19" fmla="*/ 0 h 1055124"/>
              <a:gd name="connsiteX20" fmla="*/ 600075 w 707231"/>
              <a:gd name="connsiteY20" fmla="*/ 28575 h 1055124"/>
              <a:gd name="connsiteX21" fmla="*/ 597693 w 707231"/>
              <a:gd name="connsiteY21" fmla="*/ 69056 h 1055124"/>
              <a:gd name="connsiteX22" fmla="*/ 583406 w 707231"/>
              <a:gd name="connsiteY22" fmla="*/ 88106 h 1055124"/>
              <a:gd name="connsiteX23" fmla="*/ 523875 w 707231"/>
              <a:gd name="connsiteY23" fmla="*/ 95250 h 1055124"/>
              <a:gd name="connsiteX24" fmla="*/ 509587 w 707231"/>
              <a:gd name="connsiteY24" fmla="*/ 135731 h 1055124"/>
              <a:gd name="connsiteX25" fmla="*/ 478631 w 707231"/>
              <a:gd name="connsiteY25" fmla="*/ 128587 h 1055124"/>
              <a:gd name="connsiteX26" fmla="*/ 466725 w 707231"/>
              <a:gd name="connsiteY26" fmla="*/ 154781 h 1055124"/>
              <a:gd name="connsiteX27" fmla="*/ 431006 w 707231"/>
              <a:gd name="connsiteY27" fmla="*/ 147637 h 1055124"/>
              <a:gd name="connsiteX28" fmla="*/ 376237 w 707231"/>
              <a:gd name="connsiteY28" fmla="*/ 169069 h 1055124"/>
              <a:gd name="connsiteX29" fmla="*/ 319087 w 707231"/>
              <a:gd name="connsiteY29" fmla="*/ 166687 h 1055124"/>
              <a:gd name="connsiteX30" fmla="*/ 307181 w 707231"/>
              <a:gd name="connsiteY30" fmla="*/ 135731 h 1055124"/>
              <a:gd name="connsiteX31" fmla="*/ 273843 w 707231"/>
              <a:gd name="connsiteY31" fmla="*/ 147637 h 1055124"/>
              <a:gd name="connsiteX32" fmla="*/ 178593 w 707231"/>
              <a:gd name="connsiteY32" fmla="*/ 173831 h 1055124"/>
              <a:gd name="connsiteX33" fmla="*/ 188118 w 707231"/>
              <a:gd name="connsiteY33" fmla="*/ 202406 h 1055124"/>
              <a:gd name="connsiteX34" fmla="*/ 195262 w 707231"/>
              <a:gd name="connsiteY34" fmla="*/ 233362 h 1055124"/>
              <a:gd name="connsiteX35" fmla="*/ 142875 w 707231"/>
              <a:gd name="connsiteY35" fmla="*/ 338137 h 1055124"/>
              <a:gd name="connsiteX36" fmla="*/ 57150 w 707231"/>
              <a:gd name="connsiteY36" fmla="*/ 323850 h 1055124"/>
              <a:gd name="connsiteX37" fmla="*/ 11906 w 707231"/>
              <a:gd name="connsiteY37" fmla="*/ 347662 h 1055124"/>
              <a:gd name="connsiteX38" fmla="*/ 0 w 707231"/>
              <a:gd name="connsiteY38" fmla="*/ 400050 h 1055124"/>
              <a:gd name="connsiteX39" fmla="*/ 14287 w 707231"/>
              <a:gd name="connsiteY39" fmla="*/ 476250 h 1055124"/>
              <a:gd name="connsiteX40" fmla="*/ 11906 w 707231"/>
              <a:gd name="connsiteY40" fmla="*/ 519112 h 1055124"/>
              <a:gd name="connsiteX41" fmla="*/ 0 w 707231"/>
              <a:gd name="connsiteY41" fmla="*/ 550069 h 1055124"/>
              <a:gd name="connsiteX42" fmla="*/ 11906 w 707231"/>
              <a:gd name="connsiteY42" fmla="*/ 561975 h 1055124"/>
              <a:gd name="connsiteX43" fmla="*/ 30956 w 707231"/>
              <a:gd name="connsiteY43" fmla="*/ 592931 h 1055124"/>
              <a:gd name="connsiteX44" fmla="*/ 97631 w 707231"/>
              <a:gd name="connsiteY44" fmla="*/ 609600 h 1055124"/>
              <a:gd name="connsiteX45" fmla="*/ 104775 w 707231"/>
              <a:gd name="connsiteY45" fmla="*/ 676275 h 1055124"/>
              <a:gd name="connsiteX46" fmla="*/ 90487 w 707231"/>
              <a:gd name="connsiteY46" fmla="*/ 728662 h 1055124"/>
              <a:gd name="connsiteX47" fmla="*/ 80962 w 707231"/>
              <a:gd name="connsiteY47" fmla="*/ 747712 h 1055124"/>
              <a:gd name="connsiteX48" fmla="*/ 80962 w 707231"/>
              <a:gd name="connsiteY48" fmla="*/ 781050 h 1055124"/>
              <a:gd name="connsiteX49" fmla="*/ 109537 w 707231"/>
              <a:gd name="connsiteY49" fmla="*/ 819150 h 1055124"/>
              <a:gd name="connsiteX50" fmla="*/ 102393 w 707231"/>
              <a:gd name="connsiteY50" fmla="*/ 869156 h 1055124"/>
              <a:gd name="connsiteX51" fmla="*/ 83343 w 707231"/>
              <a:gd name="connsiteY51" fmla="*/ 890587 h 1055124"/>
              <a:gd name="connsiteX52" fmla="*/ 85725 w 707231"/>
              <a:gd name="connsiteY52" fmla="*/ 954881 h 1055124"/>
              <a:gd name="connsiteX53" fmla="*/ 92868 w 707231"/>
              <a:gd name="connsiteY53" fmla="*/ 966787 h 1055124"/>
              <a:gd name="connsiteX54" fmla="*/ 71437 w 707231"/>
              <a:gd name="connsiteY54" fmla="*/ 1031081 h 1055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707231" h="1055124">
                <a:moveTo>
                  <a:pt x="71437" y="1031081"/>
                </a:moveTo>
                <a:lnTo>
                  <a:pt x="102393" y="1054894"/>
                </a:lnTo>
                <a:cubicBezTo>
                  <a:pt x="127794" y="1057275"/>
                  <a:pt x="143668" y="1040606"/>
                  <a:pt x="164306" y="1033462"/>
                </a:cubicBezTo>
                <a:lnTo>
                  <a:pt x="200025" y="1012031"/>
                </a:lnTo>
                <a:lnTo>
                  <a:pt x="247650" y="969169"/>
                </a:lnTo>
                <a:lnTo>
                  <a:pt x="276225" y="912019"/>
                </a:lnTo>
                <a:lnTo>
                  <a:pt x="350043" y="871537"/>
                </a:lnTo>
                <a:lnTo>
                  <a:pt x="411956" y="823912"/>
                </a:lnTo>
                <a:lnTo>
                  <a:pt x="411956" y="781050"/>
                </a:lnTo>
                <a:lnTo>
                  <a:pt x="471487" y="671512"/>
                </a:lnTo>
                <a:lnTo>
                  <a:pt x="547687" y="642937"/>
                </a:lnTo>
                <a:lnTo>
                  <a:pt x="595312" y="592931"/>
                </a:lnTo>
                <a:cubicBezTo>
                  <a:pt x="596106" y="541337"/>
                  <a:pt x="596899" y="489744"/>
                  <a:pt x="597693" y="438150"/>
                </a:cubicBezTo>
                <a:lnTo>
                  <a:pt x="604837" y="350044"/>
                </a:lnTo>
                <a:lnTo>
                  <a:pt x="614362" y="295275"/>
                </a:lnTo>
                <a:lnTo>
                  <a:pt x="671512" y="219075"/>
                </a:lnTo>
                <a:lnTo>
                  <a:pt x="707231" y="147637"/>
                </a:lnTo>
                <a:lnTo>
                  <a:pt x="697706" y="97631"/>
                </a:lnTo>
                <a:lnTo>
                  <a:pt x="702468" y="35719"/>
                </a:lnTo>
                <a:lnTo>
                  <a:pt x="628650" y="0"/>
                </a:lnTo>
                <a:lnTo>
                  <a:pt x="600075" y="28575"/>
                </a:lnTo>
                <a:lnTo>
                  <a:pt x="597693" y="69056"/>
                </a:lnTo>
                <a:lnTo>
                  <a:pt x="583406" y="88106"/>
                </a:lnTo>
                <a:lnTo>
                  <a:pt x="523875" y="95250"/>
                </a:lnTo>
                <a:lnTo>
                  <a:pt x="509587" y="135731"/>
                </a:lnTo>
                <a:lnTo>
                  <a:pt x="478631" y="128587"/>
                </a:lnTo>
                <a:lnTo>
                  <a:pt x="466725" y="154781"/>
                </a:lnTo>
                <a:lnTo>
                  <a:pt x="431006" y="147637"/>
                </a:lnTo>
                <a:lnTo>
                  <a:pt x="376237" y="169069"/>
                </a:lnTo>
                <a:lnTo>
                  <a:pt x="319087" y="166687"/>
                </a:lnTo>
                <a:lnTo>
                  <a:pt x="307181" y="135731"/>
                </a:lnTo>
                <a:lnTo>
                  <a:pt x="273843" y="147637"/>
                </a:lnTo>
                <a:lnTo>
                  <a:pt x="178593" y="173831"/>
                </a:lnTo>
                <a:lnTo>
                  <a:pt x="188118" y="202406"/>
                </a:lnTo>
                <a:lnTo>
                  <a:pt x="195262" y="233362"/>
                </a:lnTo>
                <a:lnTo>
                  <a:pt x="142875" y="338137"/>
                </a:lnTo>
                <a:lnTo>
                  <a:pt x="57150" y="323850"/>
                </a:lnTo>
                <a:lnTo>
                  <a:pt x="11906" y="347662"/>
                </a:lnTo>
                <a:lnTo>
                  <a:pt x="0" y="400050"/>
                </a:lnTo>
                <a:lnTo>
                  <a:pt x="14287" y="476250"/>
                </a:lnTo>
                <a:lnTo>
                  <a:pt x="11906" y="519112"/>
                </a:lnTo>
                <a:lnTo>
                  <a:pt x="0" y="550069"/>
                </a:lnTo>
                <a:lnTo>
                  <a:pt x="11906" y="561975"/>
                </a:lnTo>
                <a:lnTo>
                  <a:pt x="30956" y="592931"/>
                </a:lnTo>
                <a:lnTo>
                  <a:pt x="97631" y="609600"/>
                </a:lnTo>
                <a:lnTo>
                  <a:pt x="104775" y="676275"/>
                </a:lnTo>
                <a:lnTo>
                  <a:pt x="90487" y="728662"/>
                </a:lnTo>
                <a:lnTo>
                  <a:pt x="80962" y="747712"/>
                </a:lnTo>
                <a:lnTo>
                  <a:pt x="80962" y="781050"/>
                </a:lnTo>
                <a:lnTo>
                  <a:pt x="109537" y="819150"/>
                </a:lnTo>
                <a:lnTo>
                  <a:pt x="102393" y="869156"/>
                </a:lnTo>
                <a:lnTo>
                  <a:pt x="83343" y="890587"/>
                </a:lnTo>
                <a:lnTo>
                  <a:pt x="85725" y="954881"/>
                </a:lnTo>
                <a:lnTo>
                  <a:pt x="92868" y="966787"/>
                </a:lnTo>
                <a:lnTo>
                  <a:pt x="71437" y="1031081"/>
                </a:lnTo>
                <a:close/>
              </a:path>
            </a:pathLst>
          </a:custGeom>
          <a:solidFill>
            <a:srgbClr val="CC00CC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423988" y="3460755"/>
            <a:ext cx="1466850" cy="1210733"/>
          </a:xfrm>
          <a:custGeom>
            <a:avLst/>
            <a:gdLst>
              <a:gd name="connsiteX0" fmla="*/ 30956 w 1466850"/>
              <a:gd name="connsiteY0" fmla="*/ 302419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30956 w 1466850"/>
              <a:gd name="connsiteY114" fmla="*/ 302419 h 1095375"/>
              <a:gd name="connsiteX0" fmla="*/ 30956 w 1466850"/>
              <a:gd name="connsiteY0" fmla="*/ 302419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83344 w 1466850"/>
              <a:gd name="connsiteY114" fmla="*/ 311944 h 1095375"/>
              <a:gd name="connsiteX115" fmla="*/ 30956 w 1466850"/>
              <a:gd name="connsiteY115" fmla="*/ 302419 h 1095375"/>
              <a:gd name="connsiteX0" fmla="*/ 30956 w 1466850"/>
              <a:gd name="connsiteY0" fmla="*/ 302419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78581 w 1466850"/>
              <a:gd name="connsiteY114" fmla="*/ 326232 h 1095375"/>
              <a:gd name="connsiteX115" fmla="*/ 30956 w 1466850"/>
              <a:gd name="connsiteY115" fmla="*/ 302419 h 1095375"/>
              <a:gd name="connsiteX0" fmla="*/ 30956 w 1466850"/>
              <a:gd name="connsiteY0" fmla="*/ 316706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78581 w 1466850"/>
              <a:gd name="connsiteY114" fmla="*/ 326232 h 1095375"/>
              <a:gd name="connsiteX115" fmla="*/ 30956 w 1466850"/>
              <a:gd name="connsiteY115" fmla="*/ 316706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78581 w 1466850"/>
              <a:gd name="connsiteY114" fmla="*/ 326232 h 1095375"/>
              <a:gd name="connsiteX115" fmla="*/ 30956 w 1466850"/>
              <a:gd name="connsiteY115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54769 w 1466850"/>
              <a:gd name="connsiteY114" fmla="*/ 311945 h 1095375"/>
              <a:gd name="connsiteX115" fmla="*/ 30956 w 1466850"/>
              <a:gd name="connsiteY115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54769 w 1466850"/>
              <a:gd name="connsiteY114" fmla="*/ 311945 h 1095375"/>
              <a:gd name="connsiteX115" fmla="*/ 90487 w 1466850"/>
              <a:gd name="connsiteY115" fmla="*/ 316706 h 1095375"/>
              <a:gd name="connsiteX116" fmla="*/ 30956 w 1466850"/>
              <a:gd name="connsiteY116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54769 w 1466850"/>
              <a:gd name="connsiteY114" fmla="*/ 311945 h 1095375"/>
              <a:gd name="connsiteX115" fmla="*/ 83343 w 1466850"/>
              <a:gd name="connsiteY115" fmla="*/ 302418 h 1095375"/>
              <a:gd name="connsiteX116" fmla="*/ 30956 w 1466850"/>
              <a:gd name="connsiteY116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109538 w 1466850"/>
              <a:gd name="connsiteY114" fmla="*/ 311945 h 1095375"/>
              <a:gd name="connsiteX115" fmla="*/ 83343 w 1466850"/>
              <a:gd name="connsiteY115" fmla="*/ 302418 h 1095375"/>
              <a:gd name="connsiteX116" fmla="*/ 30956 w 1466850"/>
              <a:gd name="connsiteY116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109538 w 1466850"/>
              <a:gd name="connsiteY114" fmla="*/ 311945 h 1095375"/>
              <a:gd name="connsiteX115" fmla="*/ 59530 w 1466850"/>
              <a:gd name="connsiteY115" fmla="*/ 302418 h 1095375"/>
              <a:gd name="connsiteX116" fmla="*/ 30956 w 1466850"/>
              <a:gd name="connsiteY116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66676 w 1466850"/>
              <a:gd name="connsiteY114" fmla="*/ 321470 h 1095375"/>
              <a:gd name="connsiteX115" fmla="*/ 59530 w 1466850"/>
              <a:gd name="connsiteY115" fmla="*/ 302418 h 1095375"/>
              <a:gd name="connsiteX116" fmla="*/ 30956 w 1466850"/>
              <a:gd name="connsiteY116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242887 w 1466850"/>
              <a:gd name="connsiteY14" fmla="*/ 1092994 h 1095375"/>
              <a:gd name="connsiteX15" fmla="*/ 238125 w 1466850"/>
              <a:gd name="connsiteY15" fmla="*/ 1045369 h 1095375"/>
              <a:gd name="connsiteX16" fmla="*/ 230981 w 1466850"/>
              <a:gd name="connsiteY16" fmla="*/ 1035844 h 1095375"/>
              <a:gd name="connsiteX17" fmla="*/ 252412 w 1466850"/>
              <a:gd name="connsiteY17" fmla="*/ 1019175 h 1095375"/>
              <a:gd name="connsiteX18" fmla="*/ 314325 w 1466850"/>
              <a:gd name="connsiteY18" fmla="*/ 995362 h 1095375"/>
              <a:gd name="connsiteX19" fmla="*/ 311944 w 1466850"/>
              <a:gd name="connsiteY19" fmla="*/ 959644 h 1095375"/>
              <a:gd name="connsiteX20" fmla="*/ 326231 w 1466850"/>
              <a:gd name="connsiteY20" fmla="*/ 942975 h 1095375"/>
              <a:gd name="connsiteX21" fmla="*/ 452437 w 1466850"/>
              <a:gd name="connsiteY21" fmla="*/ 950119 h 1095375"/>
              <a:gd name="connsiteX22" fmla="*/ 464344 w 1466850"/>
              <a:gd name="connsiteY22" fmla="*/ 933450 h 1095375"/>
              <a:gd name="connsiteX23" fmla="*/ 476250 w 1466850"/>
              <a:gd name="connsiteY23" fmla="*/ 883444 h 1095375"/>
              <a:gd name="connsiteX24" fmla="*/ 488156 w 1466850"/>
              <a:gd name="connsiteY24" fmla="*/ 857250 h 1095375"/>
              <a:gd name="connsiteX25" fmla="*/ 526256 w 1466850"/>
              <a:gd name="connsiteY25" fmla="*/ 862012 h 1095375"/>
              <a:gd name="connsiteX26" fmla="*/ 545306 w 1466850"/>
              <a:gd name="connsiteY26" fmla="*/ 909637 h 1095375"/>
              <a:gd name="connsiteX27" fmla="*/ 566737 w 1466850"/>
              <a:gd name="connsiteY27" fmla="*/ 881062 h 1095375"/>
              <a:gd name="connsiteX28" fmla="*/ 621506 w 1466850"/>
              <a:gd name="connsiteY28" fmla="*/ 845344 h 1095375"/>
              <a:gd name="connsiteX29" fmla="*/ 709612 w 1466850"/>
              <a:gd name="connsiteY29" fmla="*/ 814387 h 1095375"/>
              <a:gd name="connsiteX30" fmla="*/ 716756 w 1466850"/>
              <a:gd name="connsiteY30" fmla="*/ 769144 h 1095375"/>
              <a:gd name="connsiteX31" fmla="*/ 742950 w 1466850"/>
              <a:gd name="connsiteY31" fmla="*/ 750094 h 1095375"/>
              <a:gd name="connsiteX32" fmla="*/ 785812 w 1466850"/>
              <a:gd name="connsiteY32" fmla="*/ 726281 h 1095375"/>
              <a:gd name="connsiteX33" fmla="*/ 800100 w 1466850"/>
              <a:gd name="connsiteY33" fmla="*/ 716756 h 1095375"/>
              <a:gd name="connsiteX34" fmla="*/ 862012 w 1466850"/>
              <a:gd name="connsiteY34" fmla="*/ 721519 h 1095375"/>
              <a:gd name="connsiteX35" fmla="*/ 883444 w 1466850"/>
              <a:gd name="connsiteY35" fmla="*/ 721519 h 1095375"/>
              <a:gd name="connsiteX36" fmla="*/ 892969 w 1466850"/>
              <a:gd name="connsiteY36" fmla="*/ 697706 h 1095375"/>
              <a:gd name="connsiteX37" fmla="*/ 892969 w 1466850"/>
              <a:gd name="connsiteY37" fmla="*/ 697706 h 1095375"/>
              <a:gd name="connsiteX38" fmla="*/ 921544 w 1466850"/>
              <a:gd name="connsiteY38" fmla="*/ 609600 h 1095375"/>
              <a:gd name="connsiteX39" fmla="*/ 909637 w 1466850"/>
              <a:gd name="connsiteY39" fmla="*/ 552450 h 1095375"/>
              <a:gd name="connsiteX40" fmla="*/ 928687 w 1466850"/>
              <a:gd name="connsiteY40" fmla="*/ 540544 h 1095375"/>
              <a:gd name="connsiteX41" fmla="*/ 973931 w 1466850"/>
              <a:gd name="connsiteY41" fmla="*/ 535781 h 1095375"/>
              <a:gd name="connsiteX42" fmla="*/ 1014412 w 1466850"/>
              <a:gd name="connsiteY42" fmla="*/ 447675 h 1095375"/>
              <a:gd name="connsiteX43" fmla="*/ 1038225 w 1466850"/>
              <a:gd name="connsiteY43" fmla="*/ 445294 h 1095375"/>
              <a:gd name="connsiteX44" fmla="*/ 1073944 w 1466850"/>
              <a:gd name="connsiteY44" fmla="*/ 476250 h 1095375"/>
              <a:gd name="connsiteX45" fmla="*/ 1112044 w 1466850"/>
              <a:gd name="connsiteY45" fmla="*/ 514350 h 1095375"/>
              <a:gd name="connsiteX46" fmla="*/ 1171575 w 1466850"/>
              <a:gd name="connsiteY46" fmla="*/ 540544 h 1095375"/>
              <a:gd name="connsiteX47" fmla="*/ 1219200 w 1466850"/>
              <a:gd name="connsiteY47" fmla="*/ 521494 h 1095375"/>
              <a:gd name="connsiteX48" fmla="*/ 1245394 w 1466850"/>
              <a:gd name="connsiteY48" fmla="*/ 502444 h 1095375"/>
              <a:gd name="connsiteX49" fmla="*/ 1278731 w 1466850"/>
              <a:gd name="connsiteY49" fmla="*/ 511969 h 1095375"/>
              <a:gd name="connsiteX50" fmla="*/ 1295400 w 1466850"/>
              <a:gd name="connsiteY50" fmla="*/ 531019 h 1095375"/>
              <a:gd name="connsiteX51" fmla="*/ 1273969 w 1466850"/>
              <a:gd name="connsiteY51" fmla="*/ 573881 h 1095375"/>
              <a:gd name="connsiteX52" fmla="*/ 1271587 w 1466850"/>
              <a:gd name="connsiteY52" fmla="*/ 602456 h 1095375"/>
              <a:gd name="connsiteX53" fmla="*/ 1285875 w 1466850"/>
              <a:gd name="connsiteY53" fmla="*/ 611981 h 1095375"/>
              <a:gd name="connsiteX54" fmla="*/ 1300162 w 1466850"/>
              <a:gd name="connsiteY54" fmla="*/ 628650 h 1095375"/>
              <a:gd name="connsiteX55" fmla="*/ 1321594 w 1466850"/>
              <a:gd name="connsiteY55" fmla="*/ 666750 h 1095375"/>
              <a:gd name="connsiteX56" fmla="*/ 1347787 w 1466850"/>
              <a:gd name="connsiteY56" fmla="*/ 681037 h 1095375"/>
              <a:gd name="connsiteX57" fmla="*/ 1371600 w 1466850"/>
              <a:gd name="connsiteY57" fmla="*/ 681037 h 1095375"/>
              <a:gd name="connsiteX58" fmla="*/ 1376362 w 1466850"/>
              <a:gd name="connsiteY58" fmla="*/ 628650 h 1095375"/>
              <a:gd name="connsiteX59" fmla="*/ 1395412 w 1466850"/>
              <a:gd name="connsiteY59" fmla="*/ 578644 h 1095375"/>
              <a:gd name="connsiteX60" fmla="*/ 1426369 w 1466850"/>
              <a:gd name="connsiteY60" fmla="*/ 571500 h 1095375"/>
              <a:gd name="connsiteX61" fmla="*/ 1466850 w 1466850"/>
              <a:gd name="connsiteY61" fmla="*/ 552450 h 1095375"/>
              <a:gd name="connsiteX62" fmla="*/ 1443037 w 1466850"/>
              <a:gd name="connsiteY62" fmla="*/ 509587 h 1095375"/>
              <a:gd name="connsiteX63" fmla="*/ 1414462 w 1466850"/>
              <a:gd name="connsiteY63" fmla="*/ 464344 h 1095375"/>
              <a:gd name="connsiteX64" fmla="*/ 1388269 w 1466850"/>
              <a:gd name="connsiteY64" fmla="*/ 438150 h 1095375"/>
              <a:gd name="connsiteX65" fmla="*/ 1404937 w 1466850"/>
              <a:gd name="connsiteY65" fmla="*/ 400050 h 1095375"/>
              <a:gd name="connsiteX66" fmla="*/ 1404937 w 1466850"/>
              <a:gd name="connsiteY66" fmla="*/ 383381 h 1095375"/>
              <a:gd name="connsiteX67" fmla="*/ 1431131 w 1466850"/>
              <a:gd name="connsiteY67" fmla="*/ 338137 h 1095375"/>
              <a:gd name="connsiteX68" fmla="*/ 1419225 w 1466850"/>
              <a:gd name="connsiteY68" fmla="*/ 264319 h 1095375"/>
              <a:gd name="connsiteX69" fmla="*/ 1438275 w 1466850"/>
              <a:gd name="connsiteY69" fmla="*/ 202406 h 1095375"/>
              <a:gd name="connsiteX70" fmla="*/ 1435894 w 1466850"/>
              <a:gd name="connsiteY70" fmla="*/ 173831 h 1095375"/>
              <a:gd name="connsiteX71" fmla="*/ 1404937 w 1466850"/>
              <a:gd name="connsiteY71" fmla="*/ 164306 h 1095375"/>
              <a:gd name="connsiteX72" fmla="*/ 1364456 w 1466850"/>
              <a:gd name="connsiteY72" fmla="*/ 154781 h 1095375"/>
              <a:gd name="connsiteX73" fmla="*/ 1293019 w 1466850"/>
              <a:gd name="connsiteY73" fmla="*/ 154781 h 1095375"/>
              <a:gd name="connsiteX74" fmla="*/ 1233487 w 1466850"/>
              <a:gd name="connsiteY74" fmla="*/ 121444 h 1095375"/>
              <a:gd name="connsiteX75" fmla="*/ 1207294 w 1466850"/>
              <a:gd name="connsiteY75" fmla="*/ 114300 h 1095375"/>
              <a:gd name="connsiteX76" fmla="*/ 1188244 w 1466850"/>
              <a:gd name="connsiteY76" fmla="*/ 126206 h 1095375"/>
              <a:gd name="connsiteX77" fmla="*/ 1133475 w 1466850"/>
              <a:gd name="connsiteY77" fmla="*/ 188119 h 1095375"/>
              <a:gd name="connsiteX78" fmla="*/ 1116806 w 1466850"/>
              <a:gd name="connsiteY78" fmla="*/ 188119 h 1095375"/>
              <a:gd name="connsiteX79" fmla="*/ 1078706 w 1466850"/>
              <a:gd name="connsiteY79" fmla="*/ 142875 h 1095375"/>
              <a:gd name="connsiteX80" fmla="*/ 1054894 w 1466850"/>
              <a:gd name="connsiteY80" fmla="*/ 138112 h 1095375"/>
              <a:gd name="connsiteX81" fmla="*/ 997744 w 1466850"/>
              <a:gd name="connsiteY81" fmla="*/ 157162 h 1095375"/>
              <a:gd name="connsiteX82" fmla="*/ 973931 w 1466850"/>
              <a:gd name="connsiteY82" fmla="*/ 178594 h 1095375"/>
              <a:gd name="connsiteX83" fmla="*/ 928687 w 1466850"/>
              <a:gd name="connsiteY83" fmla="*/ 173831 h 1095375"/>
              <a:gd name="connsiteX84" fmla="*/ 878681 w 1466850"/>
              <a:gd name="connsiteY84" fmla="*/ 164306 h 1095375"/>
              <a:gd name="connsiteX85" fmla="*/ 864394 w 1466850"/>
              <a:gd name="connsiteY85" fmla="*/ 83344 h 1095375"/>
              <a:gd name="connsiteX86" fmla="*/ 845344 w 1466850"/>
              <a:gd name="connsiteY86" fmla="*/ 69056 h 1095375"/>
              <a:gd name="connsiteX87" fmla="*/ 747712 w 1466850"/>
              <a:gd name="connsiteY87" fmla="*/ 119062 h 1095375"/>
              <a:gd name="connsiteX88" fmla="*/ 721519 w 1466850"/>
              <a:gd name="connsiteY88" fmla="*/ 140494 h 1095375"/>
              <a:gd name="connsiteX89" fmla="*/ 709612 w 1466850"/>
              <a:gd name="connsiteY89" fmla="*/ 190500 h 1095375"/>
              <a:gd name="connsiteX90" fmla="*/ 707231 w 1466850"/>
              <a:gd name="connsiteY90" fmla="*/ 195262 h 1095375"/>
              <a:gd name="connsiteX91" fmla="*/ 654844 w 1466850"/>
              <a:gd name="connsiteY91" fmla="*/ 190500 h 1095375"/>
              <a:gd name="connsiteX92" fmla="*/ 633412 w 1466850"/>
              <a:gd name="connsiteY92" fmla="*/ 180975 h 1095375"/>
              <a:gd name="connsiteX93" fmla="*/ 614362 w 1466850"/>
              <a:gd name="connsiteY93" fmla="*/ 142875 h 1095375"/>
              <a:gd name="connsiteX94" fmla="*/ 590550 w 1466850"/>
              <a:gd name="connsiteY94" fmla="*/ 130969 h 1095375"/>
              <a:gd name="connsiteX95" fmla="*/ 540544 w 1466850"/>
              <a:gd name="connsiteY95" fmla="*/ 161925 h 1095375"/>
              <a:gd name="connsiteX96" fmla="*/ 507206 w 1466850"/>
              <a:gd name="connsiteY96" fmla="*/ 154781 h 1095375"/>
              <a:gd name="connsiteX97" fmla="*/ 495300 w 1466850"/>
              <a:gd name="connsiteY97" fmla="*/ 123825 h 1095375"/>
              <a:gd name="connsiteX98" fmla="*/ 490537 w 1466850"/>
              <a:gd name="connsiteY98" fmla="*/ 114300 h 1095375"/>
              <a:gd name="connsiteX99" fmla="*/ 431006 w 1466850"/>
              <a:gd name="connsiteY99" fmla="*/ 97631 h 1095375"/>
              <a:gd name="connsiteX100" fmla="*/ 442912 w 1466850"/>
              <a:gd name="connsiteY100" fmla="*/ 33337 h 1095375"/>
              <a:gd name="connsiteX101" fmla="*/ 423862 w 1466850"/>
              <a:gd name="connsiteY101" fmla="*/ 19050 h 1095375"/>
              <a:gd name="connsiteX102" fmla="*/ 335756 w 1466850"/>
              <a:gd name="connsiteY102" fmla="*/ 0 h 1095375"/>
              <a:gd name="connsiteX103" fmla="*/ 302419 w 1466850"/>
              <a:gd name="connsiteY103" fmla="*/ 35719 h 1095375"/>
              <a:gd name="connsiteX104" fmla="*/ 266700 w 1466850"/>
              <a:gd name="connsiteY104" fmla="*/ 50006 h 1095375"/>
              <a:gd name="connsiteX105" fmla="*/ 271462 w 1466850"/>
              <a:gd name="connsiteY105" fmla="*/ 95250 h 1095375"/>
              <a:gd name="connsiteX106" fmla="*/ 316706 w 1466850"/>
              <a:gd name="connsiteY106" fmla="*/ 121444 h 1095375"/>
              <a:gd name="connsiteX107" fmla="*/ 302419 w 1466850"/>
              <a:gd name="connsiteY107" fmla="*/ 145256 h 1095375"/>
              <a:gd name="connsiteX108" fmla="*/ 247650 w 1466850"/>
              <a:gd name="connsiteY108" fmla="*/ 159544 h 1095375"/>
              <a:gd name="connsiteX109" fmla="*/ 214312 w 1466850"/>
              <a:gd name="connsiteY109" fmla="*/ 216694 h 1095375"/>
              <a:gd name="connsiteX110" fmla="*/ 183356 w 1466850"/>
              <a:gd name="connsiteY110" fmla="*/ 221456 h 1095375"/>
              <a:gd name="connsiteX111" fmla="*/ 183356 w 1466850"/>
              <a:gd name="connsiteY111" fmla="*/ 254794 h 1095375"/>
              <a:gd name="connsiteX112" fmla="*/ 161925 w 1466850"/>
              <a:gd name="connsiteY112" fmla="*/ 304800 h 1095375"/>
              <a:gd name="connsiteX113" fmla="*/ 140494 w 1466850"/>
              <a:gd name="connsiteY113" fmla="*/ 323850 h 1095375"/>
              <a:gd name="connsiteX114" fmla="*/ 71439 w 1466850"/>
              <a:gd name="connsiteY114" fmla="*/ 300039 h 1095375"/>
              <a:gd name="connsiteX115" fmla="*/ 59530 w 1466850"/>
              <a:gd name="connsiteY115" fmla="*/ 302418 h 1095375"/>
              <a:gd name="connsiteX116" fmla="*/ 30956 w 1466850"/>
              <a:gd name="connsiteY116" fmla="*/ 295274 h 1095375"/>
              <a:gd name="connsiteX0" fmla="*/ 30956 w 1466850"/>
              <a:gd name="connsiteY0" fmla="*/ 295274 h 1095375"/>
              <a:gd name="connsiteX1" fmla="*/ 19050 w 1466850"/>
              <a:gd name="connsiteY1" fmla="*/ 381000 h 1095375"/>
              <a:gd name="connsiteX2" fmla="*/ 19050 w 1466850"/>
              <a:gd name="connsiteY2" fmla="*/ 397669 h 1095375"/>
              <a:gd name="connsiteX3" fmla="*/ 0 w 1466850"/>
              <a:gd name="connsiteY3" fmla="*/ 459581 h 1095375"/>
              <a:gd name="connsiteX4" fmla="*/ 7144 w 1466850"/>
              <a:gd name="connsiteY4" fmla="*/ 497681 h 1095375"/>
              <a:gd name="connsiteX5" fmla="*/ 9525 w 1466850"/>
              <a:gd name="connsiteY5" fmla="*/ 535781 h 1095375"/>
              <a:gd name="connsiteX6" fmla="*/ 19050 w 1466850"/>
              <a:gd name="connsiteY6" fmla="*/ 583406 h 1095375"/>
              <a:gd name="connsiteX7" fmla="*/ 23812 w 1466850"/>
              <a:gd name="connsiteY7" fmla="*/ 688181 h 1095375"/>
              <a:gd name="connsiteX8" fmla="*/ 35719 w 1466850"/>
              <a:gd name="connsiteY8" fmla="*/ 747712 h 1095375"/>
              <a:gd name="connsiteX9" fmla="*/ 40481 w 1466850"/>
              <a:gd name="connsiteY9" fmla="*/ 778669 h 1095375"/>
              <a:gd name="connsiteX10" fmla="*/ 47625 w 1466850"/>
              <a:gd name="connsiteY10" fmla="*/ 831056 h 1095375"/>
              <a:gd name="connsiteX11" fmla="*/ 38100 w 1466850"/>
              <a:gd name="connsiteY11" fmla="*/ 919162 h 1095375"/>
              <a:gd name="connsiteX12" fmla="*/ 78581 w 1466850"/>
              <a:gd name="connsiteY12" fmla="*/ 1028700 h 1095375"/>
              <a:gd name="connsiteX13" fmla="*/ 71437 w 1466850"/>
              <a:gd name="connsiteY13" fmla="*/ 1095375 h 1095375"/>
              <a:gd name="connsiteX14" fmla="*/ 114300 w 1466850"/>
              <a:gd name="connsiteY14" fmla="*/ 1095375 h 1095375"/>
              <a:gd name="connsiteX15" fmla="*/ 242887 w 1466850"/>
              <a:gd name="connsiteY15" fmla="*/ 1092994 h 1095375"/>
              <a:gd name="connsiteX16" fmla="*/ 238125 w 1466850"/>
              <a:gd name="connsiteY16" fmla="*/ 1045369 h 1095375"/>
              <a:gd name="connsiteX17" fmla="*/ 230981 w 1466850"/>
              <a:gd name="connsiteY17" fmla="*/ 1035844 h 1095375"/>
              <a:gd name="connsiteX18" fmla="*/ 252412 w 1466850"/>
              <a:gd name="connsiteY18" fmla="*/ 1019175 h 1095375"/>
              <a:gd name="connsiteX19" fmla="*/ 314325 w 1466850"/>
              <a:gd name="connsiteY19" fmla="*/ 995362 h 1095375"/>
              <a:gd name="connsiteX20" fmla="*/ 311944 w 1466850"/>
              <a:gd name="connsiteY20" fmla="*/ 959644 h 1095375"/>
              <a:gd name="connsiteX21" fmla="*/ 326231 w 1466850"/>
              <a:gd name="connsiteY21" fmla="*/ 942975 h 1095375"/>
              <a:gd name="connsiteX22" fmla="*/ 452437 w 1466850"/>
              <a:gd name="connsiteY22" fmla="*/ 950119 h 1095375"/>
              <a:gd name="connsiteX23" fmla="*/ 464344 w 1466850"/>
              <a:gd name="connsiteY23" fmla="*/ 933450 h 1095375"/>
              <a:gd name="connsiteX24" fmla="*/ 476250 w 1466850"/>
              <a:gd name="connsiteY24" fmla="*/ 883444 h 1095375"/>
              <a:gd name="connsiteX25" fmla="*/ 488156 w 1466850"/>
              <a:gd name="connsiteY25" fmla="*/ 857250 h 1095375"/>
              <a:gd name="connsiteX26" fmla="*/ 526256 w 1466850"/>
              <a:gd name="connsiteY26" fmla="*/ 862012 h 1095375"/>
              <a:gd name="connsiteX27" fmla="*/ 545306 w 1466850"/>
              <a:gd name="connsiteY27" fmla="*/ 909637 h 1095375"/>
              <a:gd name="connsiteX28" fmla="*/ 566737 w 1466850"/>
              <a:gd name="connsiteY28" fmla="*/ 881062 h 1095375"/>
              <a:gd name="connsiteX29" fmla="*/ 621506 w 1466850"/>
              <a:gd name="connsiteY29" fmla="*/ 845344 h 1095375"/>
              <a:gd name="connsiteX30" fmla="*/ 709612 w 1466850"/>
              <a:gd name="connsiteY30" fmla="*/ 814387 h 1095375"/>
              <a:gd name="connsiteX31" fmla="*/ 716756 w 1466850"/>
              <a:gd name="connsiteY31" fmla="*/ 769144 h 1095375"/>
              <a:gd name="connsiteX32" fmla="*/ 742950 w 1466850"/>
              <a:gd name="connsiteY32" fmla="*/ 750094 h 1095375"/>
              <a:gd name="connsiteX33" fmla="*/ 785812 w 1466850"/>
              <a:gd name="connsiteY33" fmla="*/ 726281 h 1095375"/>
              <a:gd name="connsiteX34" fmla="*/ 800100 w 1466850"/>
              <a:gd name="connsiteY34" fmla="*/ 716756 h 1095375"/>
              <a:gd name="connsiteX35" fmla="*/ 862012 w 1466850"/>
              <a:gd name="connsiteY35" fmla="*/ 721519 h 1095375"/>
              <a:gd name="connsiteX36" fmla="*/ 883444 w 1466850"/>
              <a:gd name="connsiteY36" fmla="*/ 721519 h 1095375"/>
              <a:gd name="connsiteX37" fmla="*/ 892969 w 1466850"/>
              <a:gd name="connsiteY37" fmla="*/ 697706 h 1095375"/>
              <a:gd name="connsiteX38" fmla="*/ 892969 w 1466850"/>
              <a:gd name="connsiteY38" fmla="*/ 697706 h 1095375"/>
              <a:gd name="connsiteX39" fmla="*/ 921544 w 1466850"/>
              <a:gd name="connsiteY39" fmla="*/ 609600 h 1095375"/>
              <a:gd name="connsiteX40" fmla="*/ 909637 w 1466850"/>
              <a:gd name="connsiteY40" fmla="*/ 552450 h 1095375"/>
              <a:gd name="connsiteX41" fmla="*/ 928687 w 1466850"/>
              <a:gd name="connsiteY41" fmla="*/ 540544 h 1095375"/>
              <a:gd name="connsiteX42" fmla="*/ 973931 w 1466850"/>
              <a:gd name="connsiteY42" fmla="*/ 535781 h 1095375"/>
              <a:gd name="connsiteX43" fmla="*/ 1014412 w 1466850"/>
              <a:gd name="connsiteY43" fmla="*/ 447675 h 1095375"/>
              <a:gd name="connsiteX44" fmla="*/ 1038225 w 1466850"/>
              <a:gd name="connsiteY44" fmla="*/ 445294 h 1095375"/>
              <a:gd name="connsiteX45" fmla="*/ 1073944 w 1466850"/>
              <a:gd name="connsiteY45" fmla="*/ 476250 h 1095375"/>
              <a:gd name="connsiteX46" fmla="*/ 1112044 w 1466850"/>
              <a:gd name="connsiteY46" fmla="*/ 514350 h 1095375"/>
              <a:gd name="connsiteX47" fmla="*/ 1171575 w 1466850"/>
              <a:gd name="connsiteY47" fmla="*/ 540544 h 1095375"/>
              <a:gd name="connsiteX48" fmla="*/ 1219200 w 1466850"/>
              <a:gd name="connsiteY48" fmla="*/ 521494 h 1095375"/>
              <a:gd name="connsiteX49" fmla="*/ 1245394 w 1466850"/>
              <a:gd name="connsiteY49" fmla="*/ 502444 h 1095375"/>
              <a:gd name="connsiteX50" fmla="*/ 1278731 w 1466850"/>
              <a:gd name="connsiteY50" fmla="*/ 511969 h 1095375"/>
              <a:gd name="connsiteX51" fmla="*/ 1295400 w 1466850"/>
              <a:gd name="connsiteY51" fmla="*/ 531019 h 1095375"/>
              <a:gd name="connsiteX52" fmla="*/ 1273969 w 1466850"/>
              <a:gd name="connsiteY52" fmla="*/ 573881 h 1095375"/>
              <a:gd name="connsiteX53" fmla="*/ 1271587 w 1466850"/>
              <a:gd name="connsiteY53" fmla="*/ 602456 h 1095375"/>
              <a:gd name="connsiteX54" fmla="*/ 1285875 w 1466850"/>
              <a:gd name="connsiteY54" fmla="*/ 611981 h 1095375"/>
              <a:gd name="connsiteX55" fmla="*/ 1300162 w 1466850"/>
              <a:gd name="connsiteY55" fmla="*/ 628650 h 1095375"/>
              <a:gd name="connsiteX56" fmla="*/ 1321594 w 1466850"/>
              <a:gd name="connsiteY56" fmla="*/ 666750 h 1095375"/>
              <a:gd name="connsiteX57" fmla="*/ 1347787 w 1466850"/>
              <a:gd name="connsiteY57" fmla="*/ 681037 h 1095375"/>
              <a:gd name="connsiteX58" fmla="*/ 1371600 w 1466850"/>
              <a:gd name="connsiteY58" fmla="*/ 681037 h 1095375"/>
              <a:gd name="connsiteX59" fmla="*/ 1376362 w 1466850"/>
              <a:gd name="connsiteY59" fmla="*/ 628650 h 1095375"/>
              <a:gd name="connsiteX60" fmla="*/ 1395412 w 1466850"/>
              <a:gd name="connsiteY60" fmla="*/ 578644 h 1095375"/>
              <a:gd name="connsiteX61" fmla="*/ 1426369 w 1466850"/>
              <a:gd name="connsiteY61" fmla="*/ 571500 h 1095375"/>
              <a:gd name="connsiteX62" fmla="*/ 1466850 w 1466850"/>
              <a:gd name="connsiteY62" fmla="*/ 552450 h 1095375"/>
              <a:gd name="connsiteX63" fmla="*/ 1443037 w 1466850"/>
              <a:gd name="connsiteY63" fmla="*/ 509587 h 1095375"/>
              <a:gd name="connsiteX64" fmla="*/ 1414462 w 1466850"/>
              <a:gd name="connsiteY64" fmla="*/ 464344 h 1095375"/>
              <a:gd name="connsiteX65" fmla="*/ 1388269 w 1466850"/>
              <a:gd name="connsiteY65" fmla="*/ 438150 h 1095375"/>
              <a:gd name="connsiteX66" fmla="*/ 1404937 w 1466850"/>
              <a:gd name="connsiteY66" fmla="*/ 400050 h 1095375"/>
              <a:gd name="connsiteX67" fmla="*/ 1404937 w 1466850"/>
              <a:gd name="connsiteY67" fmla="*/ 383381 h 1095375"/>
              <a:gd name="connsiteX68" fmla="*/ 1431131 w 1466850"/>
              <a:gd name="connsiteY68" fmla="*/ 338137 h 1095375"/>
              <a:gd name="connsiteX69" fmla="*/ 1419225 w 1466850"/>
              <a:gd name="connsiteY69" fmla="*/ 264319 h 1095375"/>
              <a:gd name="connsiteX70" fmla="*/ 1438275 w 1466850"/>
              <a:gd name="connsiteY70" fmla="*/ 202406 h 1095375"/>
              <a:gd name="connsiteX71" fmla="*/ 1435894 w 1466850"/>
              <a:gd name="connsiteY71" fmla="*/ 173831 h 1095375"/>
              <a:gd name="connsiteX72" fmla="*/ 1404937 w 1466850"/>
              <a:gd name="connsiteY72" fmla="*/ 164306 h 1095375"/>
              <a:gd name="connsiteX73" fmla="*/ 1364456 w 1466850"/>
              <a:gd name="connsiteY73" fmla="*/ 154781 h 1095375"/>
              <a:gd name="connsiteX74" fmla="*/ 1293019 w 1466850"/>
              <a:gd name="connsiteY74" fmla="*/ 154781 h 1095375"/>
              <a:gd name="connsiteX75" fmla="*/ 1233487 w 1466850"/>
              <a:gd name="connsiteY75" fmla="*/ 121444 h 1095375"/>
              <a:gd name="connsiteX76" fmla="*/ 1207294 w 1466850"/>
              <a:gd name="connsiteY76" fmla="*/ 114300 h 1095375"/>
              <a:gd name="connsiteX77" fmla="*/ 1188244 w 1466850"/>
              <a:gd name="connsiteY77" fmla="*/ 126206 h 1095375"/>
              <a:gd name="connsiteX78" fmla="*/ 1133475 w 1466850"/>
              <a:gd name="connsiteY78" fmla="*/ 188119 h 1095375"/>
              <a:gd name="connsiteX79" fmla="*/ 1116806 w 1466850"/>
              <a:gd name="connsiteY79" fmla="*/ 188119 h 1095375"/>
              <a:gd name="connsiteX80" fmla="*/ 1078706 w 1466850"/>
              <a:gd name="connsiteY80" fmla="*/ 142875 h 1095375"/>
              <a:gd name="connsiteX81" fmla="*/ 1054894 w 1466850"/>
              <a:gd name="connsiteY81" fmla="*/ 138112 h 1095375"/>
              <a:gd name="connsiteX82" fmla="*/ 997744 w 1466850"/>
              <a:gd name="connsiteY82" fmla="*/ 157162 h 1095375"/>
              <a:gd name="connsiteX83" fmla="*/ 973931 w 1466850"/>
              <a:gd name="connsiteY83" fmla="*/ 178594 h 1095375"/>
              <a:gd name="connsiteX84" fmla="*/ 928687 w 1466850"/>
              <a:gd name="connsiteY84" fmla="*/ 173831 h 1095375"/>
              <a:gd name="connsiteX85" fmla="*/ 878681 w 1466850"/>
              <a:gd name="connsiteY85" fmla="*/ 164306 h 1095375"/>
              <a:gd name="connsiteX86" fmla="*/ 864394 w 1466850"/>
              <a:gd name="connsiteY86" fmla="*/ 83344 h 1095375"/>
              <a:gd name="connsiteX87" fmla="*/ 845344 w 1466850"/>
              <a:gd name="connsiteY87" fmla="*/ 69056 h 1095375"/>
              <a:gd name="connsiteX88" fmla="*/ 747712 w 1466850"/>
              <a:gd name="connsiteY88" fmla="*/ 119062 h 1095375"/>
              <a:gd name="connsiteX89" fmla="*/ 721519 w 1466850"/>
              <a:gd name="connsiteY89" fmla="*/ 140494 h 1095375"/>
              <a:gd name="connsiteX90" fmla="*/ 709612 w 1466850"/>
              <a:gd name="connsiteY90" fmla="*/ 190500 h 1095375"/>
              <a:gd name="connsiteX91" fmla="*/ 707231 w 1466850"/>
              <a:gd name="connsiteY91" fmla="*/ 195262 h 1095375"/>
              <a:gd name="connsiteX92" fmla="*/ 654844 w 1466850"/>
              <a:gd name="connsiteY92" fmla="*/ 190500 h 1095375"/>
              <a:gd name="connsiteX93" fmla="*/ 633412 w 1466850"/>
              <a:gd name="connsiteY93" fmla="*/ 180975 h 1095375"/>
              <a:gd name="connsiteX94" fmla="*/ 614362 w 1466850"/>
              <a:gd name="connsiteY94" fmla="*/ 142875 h 1095375"/>
              <a:gd name="connsiteX95" fmla="*/ 590550 w 1466850"/>
              <a:gd name="connsiteY95" fmla="*/ 130969 h 1095375"/>
              <a:gd name="connsiteX96" fmla="*/ 540544 w 1466850"/>
              <a:gd name="connsiteY96" fmla="*/ 161925 h 1095375"/>
              <a:gd name="connsiteX97" fmla="*/ 507206 w 1466850"/>
              <a:gd name="connsiteY97" fmla="*/ 154781 h 1095375"/>
              <a:gd name="connsiteX98" fmla="*/ 495300 w 1466850"/>
              <a:gd name="connsiteY98" fmla="*/ 123825 h 1095375"/>
              <a:gd name="connsiteX99" fmla="*/ 490537 w 1466850"/>
              <a:gd name="connsiteY99" fmla="*/ 114300 h 1095375"/>
              <a:gd name="connsiteX100" fmla="*/ 431006 w 1466850"/>
              <a:gd name="connsiteY100" fmla="*/ 97631 h 1095375"/>
              <a:gd name="connsiteX101" fmla="*/ 442912 w 1466850"/>
              <a:gd name="connsiteY101" fmla="*/ 33337 h 1095375"/>
              <a:gd name="connsiteX102" fmla="*/ 423862 w 1466850"/>
              <a:gd name="connsiteY102" fmla="*/ 19050 h 1095375"/>
              <a:gd name="connsiteX103" fmla="*/ 335756 w 1466850"/>
              <a:gd name="connsiteY103" fmla="*/ 0 h 1095375"/>
              <a:gd name="connsiteX104" fmla="*/ 302419 w 1466850"/>
              <a:gd name="connsiteY104" fmla="*/ 35719 h 1095375"/>
              <a:gd name="connsiteX105" fmla="*/ 266700 w 1466850"/>
              <a:gd name="connsiteY105" fmla="*/ 50006 h 1095375"/>
              <a:gd name="connsiteX106" fmla="*/ 271462 w 1466850"/>
              <a:gd name="connsiteY106" fmla="*/ 95250 h 1095375"/>
              <a:gd name="connsiteX107" fmla="*/ 316706 w 1466850"/>
              <a:gd name="connsiteY107" fmla="*/ 121444 h 1095375"/>
              <a:gd name="connsiteX108" fmla="*/ 302419 w 1466850"/>
              <a:gd name="connsiteY108" fmla="*/ 145256 h 1095375"/>
              <a:gd name="connsiteX109" fmla="*/ 247650 w 1466850"/>
              <a:gd name="connsiteY109" fmla="*/ 159544 h 1095375"/>
              <a:gd name="connsiteX110" fmla="*/ 214312 w 1466850"/>
              <a:gd name="connsiteY110" fmla="*/ 216694 h 1095375"/>
              <a:gd name="connsiteX111" fmla="*/ 183356 w 1466850"/>
              <a:gd name="connsiteY111" fmla="*/ 221456 h 1095375"/>
              <a:gd name="connsiteX112" fmla="*/ 183356 w 1466850"/>
              <a:gd name="connsiteY112" fmla="*/ 254794 h 1095375"/>
              <a:gd name="connsiteX113" fmla="*/ 161925 w 1466850"/>
              <a:gd name="connsiteY113" fmla="*/ 304800 h 1095375"/>
              <a:gd name="connsiteX114" fmla="*/ 140494 w 1466850"/>
              <a:gd name="connsiteY114" fmla="*/ 323850 h 1095375"/>
              <a:gd name="connsiteX115" fmla="*/ 71439 w 1466850"/>
              <a:gd name="connsiteY115" fmla="*/ 300039 h 1095375"/>
              <a:gd name="connsiteX116" fmla="*/ 59530 w 1466850"/>
              <a:gd name="connsiteY116" fmla="*/ 302418 h 1095375"/>
              <a:gd name="connsiteX117" fmla="*/ 30956 w 1466850"/>
              <a:gd name="connsiteY117" fmla="*/ 295274 h 1095375"/>
              <a:gd name="connsiteX0" fmla="*/ 30956 w 1466850"/>
              <a:gd name="connsiteY0" fmla="*/ 295274 h 1164431"/>
              <a:gd name="connsiteX1" fmla="*/ 19050 w 1466850"/>
              <a:gd name="connsiteY1" fmla="*/ 381000 h 1164431"/>
              <a:gd name="connsiteX2" fmla="*/ 19050 w 1466850"/>
              <a:gd name="connsiteY2" fmla="*/ 397669 h 1164431"/>
              <a:gd name="connsiteX3" fmla="*/ 0 w 1466850"/>
              <a:gd name="connsiteY3" fmla="*/ 459581 h 1164431"/>
              <a:gd name="connsiteX4" fmla="*/ 7144 w 1466850"/>
              <a:gd name="connsiteY4" fmla="*/ 497681 h 1164431"/>
              <a:gd name="connsiteX5" fmla="*/ 9525 w 1466850"/>
              <a:gd name="connsiteY5" fmla="*/ 535781 h 1164431"/>
              <a:gd name="connsiteX6" fmla="*/ 19050 w 1466850"/>
              <a:gd name="connsiteY6" fmla="*/ 583406 h 1164431"/>
              <a:gd name="connsiteX7" fmla="*/ 23812 w 1466850"/>
              <a:gd name="connsiteY7" fmla="*/ 688181 h 1164431"/>
              <a:gd name="connsiteX8" fmla="*/ 35719 w 1466850"/>
              <a:gd name="connsiteY8" fmla="*/ 747712 h 1164431"/>
              <a:gd name="connsiteX9" fmla="*/ 40481 w 1466850"/>
              <a:gd name="connsiteY9" fmla="*/ 778669 h 1164431"/>
              <a:gd name="connsiteX10" fmla="*/ 47625 w 1466850"/>
              <a:gd name="connsiteY10" fmla="*/ 831056 h 1164431"/>
              <a:gd name="connsiteX11" fmla="*/ 38100 w 1466850"/>
              <a:gd name="connsiteY11" fmla="*/ 919162 h 1164431"/>
              <a:gd name="connsiteX12" fmla="*/ 78581 w 1466850"/>
              <a:gd name="connsiteY12" fmla="*/ 1028700 h 1164431"/>
              <a:gd name="connsiteX13" fmla="*/ 71437 w 1466850"/>
              <a:gd name="connsiteY13" fmla="*/ 1095375 h 1164431"/>
              <a:gd name="connsiteX14" fmla="*/ 88106 w 1466850"/>
              <a:gd name="connsiteY14" fmla="*/ 1164431 h 1164431"/>
              <a:gd name="connsiteX15" fmla="*/ 242887 w 1466850"/>
              <a:gd name="connsiteY15" fmla="*/ 1092994 h 1164431"/>
              <a:gd name="connsiteX16" fmla="*/ 238125 w 1466850"/>
              <a:gd name="connsiteY16" fmla="*/ 1045369 h 1164431"/>
              <a:gd name="connsiteX17" fmla="*/ 230981 w 1466850"/>
              <a:gd name="connsiteY17" fmla="*/ 1035844 h 1164431"/>
              <a:gd name="connsiteX18" fmla="*/ 252412 w 1466850"/>
              <a:gd name="connsiteY18" fmla="*/ 1019175 h 1164431"/>
              <a:gd name="connsiteX19" fmla="*/ 314325 w 1466850"/>
              <a:gd name="connsiteY19" fmla="*/ 995362 h 1164431"/>
              <a:gd name="connsiteX20" fmla="*/ 311944 w 1466850"/>
              <a:gd name="connsiteY20" fmla="*/ 959644 h 1164431"/>
              <a:gd name="connsiteX21" fmla="*/ 326231 w 1466850"/>
              <a:gd name="connsiteY21" fmla="*/ 942975 h 1164431"/>
              <a:gd name="connsiteX22" fmla="*/ 452437 w 1466850"/>
              <a:gd name="connsiteY22" fmla="*/ 950119 h 1164431"/>
              <a:gd name="connsiteX23" fmla="*/ 464344 w 1466850"/>
              <a:gd name="connsiteY23" fmla="*/ 933450 h 1164431"/>
              <a:gd name="connsiteX24" fmla="*/ 476250 w 1466850"/>
              <a:gd name="connsiteY24" fmla="*/ 883444 h 1164431"/>
              <a:gd name="connsiteX25" fmla="*/ 488156 w 1466850"/>
              <a:gd name="connsiteY25" fmla="*/ 857250 h 1164431"/>
              <a:gd name="connsiteX26" fmla="*/ 526256 w 1466850"/>
              <a:gd name="connsiteY26" fmla="*/ 862012 h 1164431"/>
              <a:gd name="connsiteX27" fmla="*/ 545306 w 1466850"/>
              <a:gd name="connsiteY27" fmla="*/ 909637 h 1164431"/>
              <a:gd name="connsiteX28" fmla="*/ 566737 w 1466850"/>
              <a:gd name="connsiteY28" fmla="*/ 881062 h 1164431"/>
              <a:gd name="connsiteX29" fmla="*/ 621506 w 1466850"/>
              <a:gd name="connsiteY29" fmla="*/ 845344 h 1164431"/>
              <a:gd name="connsiteX30" fmla="*/ 709612 w 1466850"/>
              <a:gd name="connsiteY30" fmla="*/ 814387 h 1164431"/>
              <a:gd name="connsiteX31" fmla="*/ 716756 w 1466850"/>
              <a:gd name="connsiteY31" fmla="*/ 769144 h 1164431"/>
              <a:gd name="connsiteX32" fmla="*/ 742950 w 1466850"/>
              <a:gd name="connsiteY32" fmla="*/ 750094 h 1164431"/>
              <a:gd name="connsiteX33" fmla="*/ 785812 w 1466850"/>
              <a:gd name="connsiteY33" fmla="*/ 726281 h 1164431"/>
              <a:gd name="connsiteX34" fmla="*/ 800100 w 1466850"/>
              <a:gd name="connsiteY34" fmla="*/ 716756 h 1164431"/>
              <a:gd name="connsiteX35" fmla="*/ 862012 w 1466850"/>
              <a:gd name="connsiteY35" fmla="*/ 721519 h 1164431"/>
              <a:gd name="connsiteX36" fmla="*/ 883444 w 1466850"/>
              <a:gd name="connsiteY36" fmla="*/ 721519 h 1164431"/>
              <a:gd name="connsiteX37" fmla="*/ 892969 w 1466850"/>
              <a:gd name="connsiteY37" fmla="*/ 697706 h 1164431"/>
              <a:gd name="connsiteX38" fmla="*/ 892969 w 1466850"/>
              <a:gd name="connsiteY38" fmla="*/ 697706 h 1164431"/>
              <a:gd name="connsiteX39" fmla="*/ 921544 w 1466850"/>
              <a:gd name="connsiteY39" fmla="*/ 609600 h 1164431"/>
              <a:gd name="connsiteX40" fmla="*/ 909637 w 1466850"/>
              <a:gd name="connsiteY40" fmla="*/ 552450 h 1164431"/>
              <a:gd name="connsiteX41" fmla="*/ 928687 w 1466850"/>
              <a:gd name="connsiteY41" fmla="*/ 540544 h 1164431"/>
              <a:gd name="connsiteX42" fmla="*/ 973931 w 1466850"/>
              <a:gd name="connsiteY42" fmla="*/ 535781 h 1164431"/>
              <a:gd name="connsiteX43" fmla="*/ 1014412 w 1466850"/>
              <a:gd name="connsiteY43" fmla="*/ 447675 h 1164431"/>
              <a:gd name="connsiteX44" fmla="*/ 1038225 w 1466850"/>
              <a:gd name="connsiteY44" fmla="*/ 445294 h 1164431"/>
              <a:gd name="connsiteX45" fmla="*/ 1073944 w 1466850"/>
              <a:gd name="connsiteY45" fmla="*/ 476250 h 1164431"/>
              <a:gd name="connsiteX46" fmla="*/ 1112044 w 1466850"/>
              <a:gd name="connsiteY46" fmla="*/ 514350 h 1164431"/>
              <a:gd name="connsiteX47" fmla="*/ 1171575 w 1466850"/>
              <a:gd name="connsiteY47" fmla="*/ 540544 h 1164431"/>
              <a:gd name="connsiteX48" fmla="*/ 1219200 w 1466850"/>
              <a:gd name="connsiteY48" fmla="*/ 521494 h 1164431"/>
              <a:gd name="connsiteX49" fmla="*/ 1245394 w 1466850"/>
              <a:gd name="connsiteY49" fmla="*/ 502444 h 1164431"/>
              <a:gd name="connsiteX50" fmla="*/ 1278731 w 1466850"/>
              <a:gd name="connsiteY50" fmla="*/ 511969 h 1164431"/>
              <a:gd name="connsiteX51" fmla="*/ 1295400 w 1466850"/>
              <a:gd name="connsiteY51" fmla="*/ 531019 h 1164431"/>
              <a:gd name="connsiteX52" fmla="*/ 1273969 w 1466850"/>
              <a:gd name="connsiteY52" fmla="*/ 573881 h 1164431"/>
              <a:gd name="connsiteX53" fmla="*/ 1271587 w 1466850"/>
              <a:gd name="connsiteY53" fmla="*/ 602456 h 1164431"/>
              <a:gd name="connsiteX54" fmla="*/ 1285875 w 1466850"/>
              <a:gd name="connsiteY54" fmla="*/ 611981 h 1164431"/>
              <a:gd name="connsiteX55" fmla="*/ 1300162 w 1466850"/>
              <a:gd name="connsiteY55" fmla="*/ 628650 h 1164431"/>
              <a:gd name="connsiteX56" fmla="*/ 1321594 w 1466850"/>
              <a:gd name="connsiteY56" fmla="*/ 666750 h 1164431"/>
              <a:gd name="connsiteX57" fmla="*/ 1347787 w 1466850"/>
              <a:gd name="connsiteY57" fmla="*/ 681037 h 1164431"/>
              <a:gd name="connsiteX58" fmla="*/ 1371600 w 1466850"/>
              <a:gd name="connsiteY58" fmla="*/ 681037 h 1164431"/>
              <a:gd name="connsiteX59" fmla="*/ 1376362 w 1466850"/>
              <a:gd name="connsiteY59" fmla="*/ 628650 h 1164431"/>
              <a:gd name="connsiteX60" fmla="*/ 1395412 w 1466850"/>
              <a:gd name="connsiteY60" fmla="*/ 578644 h 1164431"/>
              <a:gd name="connsiteX61" fmla="*/ 1426369 w 1466850"/>
              <a:gd name="connsiteY61" fmla="*/ 571500 h 1164431"/>
              <a:gd name="connsiteX62" fmla="*/ 1466850 w 1466850"/>
              <a:gd name="connsiteY62" fmla="*/ 552450 h 1164431"/>
              <a:gd name="connsiteX63" fmla="*/ 1443037 w 1466850"/>
              <a:gd name="connsiteY63" fmla="*/ 509587 h 1164431"/>
              <a:gd name="connsiteX64" fmla="*/ 1414462 w 1466850"/>
              <a:gd name="connsiteY64" fmla="*/ 464344 h 1164431"/>
              <a:gd name="connsiteX65" fmla="*/ 1388269 w 1466850"/>
              <a:gd name="connsiteY65" fmla="*/ 438150 h 1164431"/>
              <a:gd name="connsiteX66" fmla="*/ 1404937 w 1466850"/>
              <a:gd name="connsiteY66" fmla="*/ 400050 h 1164431"/>
              <a:gd name="connsiteX67" fmla="*/ 1404937 w 1466850"/>
              <a:gd name="connsiteY67" fmla="*/ 383381 h 1164431"/>
              <a:gd name="connsiteX68" fmla="*/ 1431131 w 1466850"/>
              <a:gd name="connsiteY68" fmla="*/ 338137 h 1164431"/>
              <a:gd name="connsiteX69" fmla="*/ 1419225 w 1466850"/>
              <a:gd name="connsiteY69" fmla="*/ 264319 h 1164431"/>
              <a:gd name="connsiteX70" fmla="*/ 1438275 w 1466850"/>
              <a:gd name="connsiteY70" fmla="*/ 202406 h 1164431"/>
              <a:gd name="connsiteX71" fmla="*/ 1435894 w 1466850"/>
              <a:gd name="connsiteY71" fmla="*/ 173831 h 1164431"/>
              <a:gd name="connsiteX72" fmla="*/ 1404937 w 1466850"/>
              <a:gd name="connsiteY72" fmla="*/ 164306 h 1164431"/>
              <a:gd name="connsiteX73" fmla="*/ 1364456 w 1466850"/>
              <a:gd name="connsiteY73" fmla="*/ 154781 h 1164431"/>
              <a:gd name="connsiteX74" fmla="*/ 1293019 w 1466850"/>
              <a:gd name="connsiteY74" fmla="*/ 154781 h 1164431"/>
              <a:gd name="connsiteX75" fmla="*/ 1233487 w 1466850"/>
              <a:gd name="connsiteY75" fmla="*/ 121444 h 1164431"/>
              <a:gd name="connsiteX76" fmla="*/ 1207294 w 1466850"/>
              <a:gd name="connsiteY76" fmla="*/ 114300 h 1164431"/>
              <a:gd name="connsiteX77" fmla="*/ 1188244 w 1466850"/>
              <a:gd name="connsiteY77" fmla="*/ 126206 h 1164431"/>
              <a:gd name="connsiteX78" fmla="*/ 1133475 w 1466850"/>
              <a:gd name="connsiteY78" fmla="*/ 188119 h 1164431"/>
              <a:gd name="connsiteX79" fmla="*/ 1116806 w 1466850"/>
              <a:gd name="connsiteY79" fmla="*/ 188119 h 1164431"/>
              <a:gd name="connsiteX80" fmla="*/ 1078706 w 1466850"/>
              <a:gd name="connsiteY80" fmla="*/ 142875 h 1164431"/>
              <a:gd name="connsiteX81" fmla="*/ 1054894 w 1466850"/>
              <a:gd name="connsiteY81" fmla="*/ 138112 h 1164431"/>
              <a:gd name="connsiteX82" fmla="*/ 997744 w 1466850"/>
              <a:gd name="connsiteY82" fmla="*/ 157162 h 1164431"/>
              <a:gd name="connsiteX83" fmla="*/ 973931 w 1466850"/>
              <a:gd name="connsiteY83" fmla="*/ 178594 h 1164431"/>
              <a:gd name="connsiteX84" fmla="*/ 928687 w 1466850"/>
              <a:gd name="connsiteY84" fmla="*/ 173831 h 1164431"/>
              <a:gd name="connsiteX85" fmla="*/ 878681 w 1466850"/>
              <a:gd name="connsiteY85" fmla="*/ 164306 h 1164431"/>
              <a:gd name="connsiteX86" fmla="*/ 864394 w 1466850"/>
              <a:gd name="connsiteY86" fmla="*/ 83344 h 1164431"/>
              <a:gd name="connsiteX87" fmla="*/ 845344 w 1466850"/>
              <a:gd name="connsiteY87" fmla="*/ 69056 h 1164431"/>
              <a:gd name="connsiteX88" fmla="*/ 747712 w 1466850"/>
              <a:gd name="connsiteY88" fmla="*/ 119062 h 1164431"/>
              <a:gd name="connsiteX89" fmla="*/ 721519 w 1466850"/>
              <a:gd name="connsiteY89" fmla="*/ 140494 h 1164431"/>
              <a:gd name="connsiteX90" fmla="*/ 709612 w 1466850"/>
              <a:gd name="connsiteY90" fmla="*/ 190500 h 1164431"/>
              <a:gd name="connsiteX91" fmla="*/ 707231 w 1466850"/>
              <a:gd name="connsiteY91" fmla="*/ 195262 h 1164431"/>
              <a:gd name="connsiteX92" fmla="*/ 654844 w 1466850"/>
              <a:gd name="connsiteY92" fmla="*/ 190500 h 1164431"/>
              <a:gd name="connsiteX93" fmla="*/ 633412 w 1466850"/>
              <a:gd name="connsiteY93" fmla="*/ 180975 h 1164431"/>
              <a:gd name="connsiteX94" fmla="*/ 614362 w 1466850"/>
              <a:gd name="connsiteY94" fmla="*/ 142875 h 1164431"/>
              <a:gd name="connsiteX95" fmla="*/ 590550 w 1466850"/>
              <a:gd name="connsiteY95" fmla="*/ 130969 h 1164431"/>
              <a:gd name="connsiteX96" fmla="*/ 540544 w 1466850"/>
              <a:gd name="connsiteY96" fmla="*/ 161925 h 1164431"/>
              <a:gd name="connsiteX97" fmla="*/ 507206 w 1466850"/>
              <a:gd name="connsiteY97" fmla="*/ 154781 h 1164431"/>
              <a:gd name="connsiteX98" fmla="*/ 495300 w 1466850"/>
              <a:gd name="connsiteY98" fmla="*/ 123825 h 1164431"/>
              <a:gd name="connsiteX99" fmla="*/ 490537 w 1466850"/>
              <a:gd name="connsiteY99" fmla="*/ 114300 h 1164431"/>
              <a:gd name="connsiteX100" fmla="*/ 431006 w 1466850"/>
              <a:gd name="connsiteY100" fmla="*/ 97631 h 1164431"/>
              <a:gd name="connsiteX101" fmla="*/ 442912 w 1466850"/>
              <a:gd name="connsiteY101" fmla="*/ 33337 h 1164431"/>
              <a:gd name="connsiteX102" fmla="*/ 423862 w 1466850"/>
              <a:gd name="connsiteY102" fmla="*/ 19050 h 1164431"/>
              <a:gd name="connsiteX103" fmla="*/ 335756 w 1466850"/>
              <a:gd name="connsiteY103" fmla="*/ 0 h 1164431"/>
              <a:gd name="connsiteX104" fmla="*/ 302419 w 1466850"/>
              <a:gd name="connsiteY104" fmla="*/ 35719 h 1164431"/>
              <a:gd name="connsiteX105" fmla="*/ 266700 w 1466850"/>
              <a:gd name="connsiteY105" fmla="*/ 50006 h 1164431"/>
              <a:gd name="connsiteX106" fmla="*/ 271462 w 1466850"/>
              <a:gd name="connsiteY106" fmla="*/ 95250 h 1164431"/>
              <a:gd name="connsiteX107" fmla="*/ 316706 w 1466850"/>
              <a:gd name="connsiteY107" fmla="*/ 121444 h 1164431"/>
              <a:gd name="connsiteX108" fmla="*/ 302419 w 1466850"/>
              <a:gd name="connsiteY108" fmla="*/ 145256 h 1164431"/>
              <a:gd name="connsiteX109" fmla="*/ 247650 w 1466850"/>
              <a:gd name="connsiteY109" fmla="*/ 159544 h 1164431"/>
              <a:gd name="connsiteX110" fmla="*/ 214312 w 1466850"/>
              <a:gd name="connsiteY110" fmla="*/ 216694 h 1164431"/>
              <a:gd name="connsiteX111" fmla="*/ 183356 w 1466850"/>
              <a:gd name="connsiteY111" fmla="*/ 221456 h 1164431"/>
              <a:gd name="connsiteX112" fmla="*/ 183356 w 1466850"/>
              <a:gd name="connsiteY112" fmla="*/ 254794 h 1164431"/>
              <a:gd name="connsiteX113" fmla="*/ 161925 w 1466850"/>
              <a:gd name="connsiteY113" fmla="*/ 304800 h 1164431"/>
              <a:gd name="connsiteX114" fmla="*/ 140494 w 1466850"/>
              <a:gd name="connsiteY114" fmla="*/ 323850 h 1164431"/>
              <a:gd name="connsiteX115" fmla="*/ 71439 w 1466850"/>
              <a:gd name="connsiteY115" fmla="*/ 300039 h 1164431"/>
              <a:gd name="connsiteX116" fmla="*/ 59530 w 1466850"/>
              <a:gd name="connsiteY116" fmla="*/ 302418 h 1164431"/>
              <a:gd name="connsiteX117" fmla="*/ 30956 w 1466850"/>
              <a:gd name="connsiteY117" fmla="*/ 295274 h 1164431"/>
              <a:gd name="connsiteX0" fmla="*/ 30956 w 1466850"/>
              <a:gd name="connsiteY0" fmla="*/ 295274 h 1164431"/>
              <a:gd name="connsiteX1" fmla="*/ 19050 w 1466850"/>
              <a:gd name="connsiteY1" fmla="*/ 381000 h 1164431"/>
              <a:gd name="connsiteX2" fmla="*/ 19050 w 1466850"/>
              <a:gd name="connsiteY2" fmla="*/ 397669 h 1164431"/>
              <a:gd name="connsiteX3" fmla="*/ 0 w 1466850"/>
              <a:gd name="connsiteY3" fmla="*/ 459581 h 1164431"/>
              <a:gd name="connsiteX4" fmla="*/ 7144 w 1466850"/>
              <a:gd name="connsiteY4" fmla="*/ 497681 h 1164431"/>
              <a:gd name="connsiteX5" fmla="*/ 9525 w 1466850"/>
              <a:gd name="connsiteY5" fmla="*/ 535781 h 1164431"/>
              <a:gd name="connsiteX6" fmla="*/ 19050 w 1466850"/>
              <a:gd name="connsiteY6" fmla="*/ 583406 h 1164431"/>
              <a:gd name="connsiteX7" fmla="*/ 23812 w 1466850"/>
              <a:gd name="connsiteY7" fmla="*/ 688181 h 1164431"/>
              <a:gd name="connsiteX8" fmla="*/ 35719 w 1466850"/>
              <a:gd name="connsiteY8" fmla="*/ 747712 h 1164431"/>
              <a:gd name="connsiteX9" fmla="*/ 40481 w 1466850"/>
              <a:gd name="connsiteY9" fmla="*/ 778669 h 1164431"/>
              <a:gd name="connsiteX10" fmla="*/ 47625 w 1466850"/>
              <a:gd name="connsiteY10" fmla="*/ 831056 h 1164431"/>
              <a:gd name="connsiteX11" fmla="*/ 38100 w 1466850"/>
              <a:gd name="connsiteY11" fmla="*/ 919162 h 1164431"/>
              <a:gd name="connsiteX12" fmla="*/ 78581 w 1466850"/>
              <a:gd name="connsiteY12" fmla="*/ 1028700 h 1164431"/>
              <a:gd name="connsiteX13" fmla="*/ 71437 w 1466850"/>
              <a:gd name="connsiteY13" fmla="*/ 1095375 h 1164431"/>
              <a:gd name="connsiteX14" fmla="*/ 88106 w 1466850"/>
              <a:gd name="connsiteY14" fmla="*/ 1164431 h 1164431"/>
              <a:gd name="connsiteX15" fmla="*/ 128587 w 1466850"/>
              <a:gd name="connsiteY15" fmla="*/ 1145381 h 1164431"/>
              <a:gd name="connsiteX16" fmla="*/ 242887 w 1466850"/>
              <a:gd name="connsiteY16" fmla="*/ 1092994 h 1164431"/>
              <a:gd name="connsiteX17" fmla="*/ 238125 w 1466850"/>
              <a:gd name="connsiteY17" fmla="*/ 1045369 h 1164431"/>
              <a:gd name="connsiteX18" fmla="*/ 230981 w 1466850"/>
              <a:gd name="connsiteY18" fmla="*/ 1035844 h 1164431"/>
              <a:gd name="connsiteX19" fmla="*/ 252412 w 1466850"/>
              <a:gd name="connsiteY19" fmla="*/ 1019175 h 1164431"/>
              <a:gd name="connsiteX20" fmla="*/ 314325 w 1466850"/>
              <a:gd name="connsiteY20" fmla="*/ 995362 h 1164431"/>
              <a:gd name="connsiteX21" fmla="*/ 311944 w 1466850"/>
              <a:gd name="connsiteY21" fmla="*/ 959644 h 1164431"/>
              <a:gd name="connsiteX22" fmla="*/ 326231 w 1466850"/>
              <a:gd name="connsiteY22" fmla="*/ 942975 h 1164431"/>
              <a:gd name="connsiteX23" fmla="*/ 452437 w 1466850"/>
              <a:gd name="connsiteY23" fmla="*/ 950119 h 1164431"/>
              <a:gd name="connsiteX24" fmla="*/ 464344 w 1466850"/>
              <a:gd name="connsiteY24" fmla="*/ 933450 h 1164431"/>
              <a:gd name="connsiteX25" fmla="*/ 476250 w 1466850"/>
              <a:gd name="connsiteY25" fmla="*/ 883444 h 1164431"/>
              <a:gd name="connsiteX26" fmla="*/ 488156 w 1466850"/>
              <a:gd name="connsiteY26" fmla="*/ 857250 h 1164431"/>
              <a:gd name="connsiteX27" fmla="*/ 526256 w 1466850"/>
              <a:gd name="connsiteY27" fmla="*/ 862012 h 1164431"/>
              <a:gd name="connsiteX28" fmla="*/ 545306 w 1466850"/>
              <a:gd name="connsiteY28" fmla="*/ 909637 h 1164431"/>
              <a:gd name="connsiteX29" fmla="*/ 566737 w 1466850"/>
              <a:gd name="connsiteY29" fmla="*/ 881062 h 1164431"/>
              <a:gd name="connsiteX30" fmla="*/ 621506 w 1466850"/>
              <a:gd name="connsiteY30" fmla="*/ 845344 h 1164431"/>
              <a:gd name="connsiteX31" fmla="*/ 709612 w 1466850"/>
              <a:gd name="connsiteY31" fmla="*/ 814387 h 1164431"/>
              <a:gd name="connsiteX32" fmla="*/ 716756 w 1466850"/>
              <a:gd name="connsiteY32" fmla="*/ 769144 h 1164431"/>
              <a:gd name="connsiteX33" fmla="*/ 742950 w 1466850"/>
              <a:gd name="connsiteY33" fmla="*/ 750094 h 1164431"/>
              <a:gd name="connsiteX34" fmla="*/ 785812 w 1466850"/>
              <a:gd name="connsiteY34" fmla="*/ 726281 h 1164431"/>
              <a:gd name="connsiteX35" fmla="*/ 800100 w 1466850"/>
              <a:gd name="connsiteY35" fmla="*/ 716756 h 1164431"/>
              <a:gd name="connsiteX36" fmla="*/ 862012 w 1466850"/>
              <a:gd name="connsiteY36" fmla="*/ 721519 h 1164431"/>
              <a:gd name="connsiteX37" fmla="*/ 883444 w 1466850"/>
              <a:gd name="connsiteY37" fmla="*/ 721519 h 1164431"/>
              <a:gd name="connsiteX38" fmla="*/ 892969 w 1466850"/>
              <a:gd name="connsiteY38" fmla="*/ 697706 h 1164431"/>
              <a:gd name="connsiteX39" fmla="*/ 892969 w 1466850"/>
              <a:gd name="connsiteY39" fmla="*/ 697706 h 1164431"/>
              <a:gd name="connsiteX40" fmla="*/ 921544 w 1466850"/>
              <a:gd name="connsiteY40" fmla="*/ 609600 h 1164431"/>
              <a:gd name="connsiteX41" fmla="*/ 909637 w 1466850"/>
              <a:gd name="connsiteY41" fmla="*/ 552450 h 1164431"/>
              <a:gd name="connsiteX42" fmla="*/ 928687 w 1466850"/>
              <a:gd name="connsiteY42" fmla="*/ 540544 h 1164431"/>
              <a:gd name="connsiteX43" fmla="*/ 973931 w 1466850"/>
              <a:gd name="connsiteY43" fmla="*/ 535781 h 1164431"/>
              <a:gd name="connsiteX44" fmla="*/ 1014412 w 1466850"/>
              <a:gd name="connsiteY44" fmla="*/ 447675 h 1164431"/>
              <a:gd name="connsiteX45" fmla="*/ 1038225 w 1466850"/>
              <a:gd name="connsiteY45" fmla="*/ 445294 h 1164431"/>
              <a:gd name="connsiteX46" fmla="*/ 1073944 w 1466850"/>
              <a:gd name="connsiteY46" fmla="*/ 476250 h 1164431"/>
              <a:gd name="connsiteX47" fmla="*/ 1112044 w 1466850"/>
              <a:gd name="connsiteY47" fmla="*/ 514350 h 1164431"/>
              <a:gd name="connsiteX48" fmla="*/ 1171575 w 1466850"/>
              <a:gd name="connsiteY48" fmla="*/ 540544 h 1164431"/>
              <a:gd name="connsiteX49" fmla="*/ 1219200 w 1466850"/>
              <a:gd name="connsiteY49" fmla="*/ 521494 h 1164431"/>
              <a:gd name="connsiteX50" fmla="*/ 1245394 w 1466850"/>
              <a:gd name="connsiteY50" fmla="*/ 502444 h 1164431"/>
              <a:gd name="connsiteX51" fmla="*/ 1278731 w 1466850"/>
              <a:gd name="connsiteY51" fmla="*/ 511969 h 1164431"/>
              <a:gd name="connsiteX52" fmla="*/ 1295400 w 1466850"/>
              <a:gd name="connsiteY52" fmla="*/ 531019 h 1164431"/>
              <a:gd name="connsiteX53" fmla="*/ 1273969 w 1466850"/>
              <a:gd name="connsiteY53" fmla="*/ 573881 h 1164431"/>
              <a:gd name="connsiteX54" fmla="*/ 1271587 w 1466850"/>
              <a:gd name="connsiteY54" fmla="*/ 602456 h 1164431"/>
              <a:gd name="connsiteX55" fmla="*/ 1285875 w 1466850"/>
              <a:gd name="connsiteY55" fmla="*/ 611981 h 1164431"/>
              <a:gd name="connsiteX56" fmla="*/ 1300162 w 1466850"/>
              <a:gd name="connsiteY56" fmla="*/ 628650 h 1164431"/>
              <a:gd name="connsiteX57" fmla="*/ 1321594 w 1466850"/>
              <a:gd name="connsiteY57" fmla="*/ 666750 h 1164431"/>
              <a:gd name="connsiteX58" fmla="*/ 1347787 w 1466850"/>
              <a:gd name="connsiteY58" fmla="*/ 681037 h 1164431"/>
              <a:gd name="connsiteX59" fmla="*/ 1371600 w 1466850"/>
              <a:gd name="connsiteY59" fmla="*/ 681037 h 1164431"/>
              <a:gd name="connsiteX60" fmla="*/ 1376362 w 1466850"/>
              <a:gd name="connsiteY60" fmla="*/ 628650 h 1164431"/>
              <a:gd name="connsiteX61" fmla="*/ 1395412 w 1466850"/>
              <a:gd name="connsiteY61" fmla="*/ 578644 h 1164431"/>
              <a:gd name="connsiteX62" fmla="*/ 1426369 w 1466850"/>
              <a:gd name="connsiteY62" fmla="*/ 571500 h 1164431"/>
              <a:gd name="connsiteX63" fmla="*/ 1466850 w 1466850"/>
              <a:gd name="connsiteY63" fmla="*/ 552450 h 1164431"/>
              <a:gd name="connsiteX64" fmla="*/ 1443037 w 1466850"/>
              <a:gd name="connsiteY64" fmla="*/ 509587 h 1164431"/>
              <a:gd name="connsiteX65" fmla="*/ 1414462 w 1466850"/>
              <a:gd name="connsiteY65" fmla="*/ 464344 h 1164431"/>
              <a:gd name="connsiteX66" fmla="*/ 1388269 w 1466850"/>
              <a:gd name="connsiteY66" fmla="*/ 438150 h 1164431"/>
              <a:gd name="connsiteX67" fmla="*/ 1404937 w 1466850"/>
              <a:gd name="connsiteY67" fmla="*/ 400050 h 1164431"/>
              <a:gd name="connsiteX68" fmla="*/ 1404937 w 1466850"/>
              <a:gd name="connsiteY68" fmla="*/ 383381 h 1164431"/>
              <a:gd name="connsiteX69" fmla="*/ 1431131 w 1466850"/>
              <a:gd name="connsiteY69" fmla="*/ 338137 h 1164431"/>
              <a:gd name="connsiteX70" fmla="*/ 1419225 w 1466850"/>
              <a:gd name="connsiteY70" fmla="*/ 264319 h 1164431"/>
              <a:gd name="connsiteX71" fmla="*/ 1438275 w 1466850"/>
              <a:gd name="connsiteY71" fmla="*/ 202406 h 1164431"/>
              <a:gd name="connsiteX72" fmla="*/ 1435894 w 1466850"/>
              <a:gd name="connsiteY72" fmla="*/ 173831 h 1164431"/>
              <a:gd name="connsiteX73" fmla="*/ 1404937 w 1466850"/>
              <a:gd name="connsiteY73" fmla="*/ 164306 h 1164431"/>
              <a:gd name="connsiteX74" fmla="*/ 1364456 w 1466850"/>
              <a:gd name="connsiteY74" fmla="*/ 154781 h 1164431"/>
              <a:gd name="connsiteX75" fmla="*/ 1293019 w 1466850"/>
              <a:gd name="connsiteY75" fmla="*/ 154781 h 1164431"/>
              <a:gd name="connsiteX76" fmla="*/ 1233487 w 1466850"/>
              <a:gd name="connsiteY76" fmla="*/ 121444 h 1164431"/>
              <a:gd name="connsiteX77" fmla="*/ 1207294 w 1466850"/>
              <a:gd name="connsiteY77" fmla="*/ 114300 h 1164431"/>
              <a:gd name="connsiteX78" fmla="*/ 1188244 w 1466850"/>
              <a:gd name="connsiteY78" fmla="*/ 126206 h 1164431"/>
              <a:gd name="connsiteX79" fmla="*/ 1133475 w 1466850"/>
              <a:gd name="connsiteY79" fmla="*/ 188119 h 1164431"/>
              <a:gd name="connsiteX80" fmla="*/ 1116806 w 1466850"/>
              <a:gd name="connsiteY80" fmla="*/ 188119 h 1164431"/>
              <a:gd name="connsiteX81" fmla="*/ 1078706 w 1466850"/>
              <a:gd name="connsiteY81" fmla="*/ 142875 h 1164431"/>
              <a:gd name="connsiteX82" fmla="*/ 1054894 w 1466850"/>
              <a:gd name="connsiteY82" fmla="*/ 138112 h 1164431"/>
              <a:gd name="connsiteX83" fmla="*/ 997744 w 1466850"/>
              <a:gd name="connsiteY83" fmla="*/ 157162 h 1164431"/>
              <a:gd name="connsiteX84" fmla="*/ 973931 w 1466850"/>
              <a:gd name="connsiteY84" fmla="*/ 178594 h 1164431"/>
              <a:gd name="connsiteX85" fmla="*/ 928687 w 1466850"/>
              <a:gd name="connsiteY85" fmla="*/ 173831 h 1164431"/>
              <a:gd name="connsiteX86" fmla="*/ 878681 w 1466850"/>
              <a:gd name="connsiteY86" fmla="*/ 164306 h 1164431"/>
              <a:gd name="connsiteX87" fmla="*/ 864394 w 1466850"/>
              <a:gd name="connsiteY87" fmla="*/ 83344 h 1164431"/>
              <a:gd name="connsiteX88" fmla="*/ 845344 w 1466850"/>
              <a:gd name="connsiteY88" fmla="*/ 69056 h 1164431"/>
              <a:gd name="connsiteX89" fmla="*/ 747712 w 1466850"/>
              <a:gd name="connsiteY89" fmla="*/ 119062 h 1164431"/>
              <a:gd name="connsiteX90" fmla="*/ 721519 w 1466850"/>
              <a:gd name="connsiteY90" fmla="*/ 140494 h 1164431"/>
              <a:gd name="connsiteX91" fmla="*/ 709612 w 1466850"/>
              <a:gd name="connsiteY91" fmla="*/ 190500 h 1164431"/>
              <a:gd name="connsiteX92" fmla="*/ 707231 w 1466850"/>
              <a:gd name="connsiteY92" fmla="*/ 195262 h 1164431"/>
              <a:gd name="connsiteX93" fmla="*/ 654844 w 1466850"/>
              <a:gd name="connsiteY93" fmla="*/ 190500 h 1164431"/>
              <a:gd name="connsiteX94" fmla="*/ 633412 w 1466850"/>
              <a:gd name="connsiteY94" fmla="*/ 180975 h 1164431"/>
              <a:gd name="connsiteX95" fmla="*/ 614362 w 1466850"/>
              <a:gd name="connsiteY95" fmla="*/ 142875 h 1164431"/>
              <a:gd name="connsiteX96" fmla="*/ 590550 w 1466850"/>
              <a:gd name="connsiteY96" fmla="*/ 130969 h 1164431"/>
              <a:gd name="connsiteX97" fmla="*/ 540544 w 1466850"/>
              <a:gd name="connsiteY97" fmla="*/ 161925 h 1164431"/>
              <a:gd name="connsiteX98" fmla="*/ 507206 w 1466850"/>
              <a:gd name="connsiteY98" fmla="*/ 154781 h 1164431"/>
              <a:gd name="connsiteX99" fmla="*/ 495300 w 1466850"/>
              <a:gd name="connsiteY99" fmla="*/ 123825 h 1164431"/>
              <a:gd name="connsiteX100" fmla="*/ 490537 w 1466850"/>
              <a:gd name="connsiteY100" fmla="*/ 114300 h 1164431"/>
              <a:gd name="connsiteX101" fmla="*/ 431006 w 1466850"/>
              <a:gd name="connsiteY101" fmla="*/ 97631 h 1164431"/>
              <a:gd name="connsiteX102" fmla="*/ 442912 w 1466850"/>
              <a:gd name="connsiteY102" fmla="*/ 33337 h 1164431"/>
              <a:gd name="connsiteX103" fmla="*/ 423862 w 1466850"/>
              <a:gd name="connsiteY103" fmla="*/ 19050 h 1164431"/>
              <a:gd name="connsiteX104" fmla="*/ 335756 w 1466850"/>
              <a:gd name="connsiteY104" fmla="*/ 0 h 1164431"/>
              <a:gd name="connsiteX105" fmla="*/ 302419 w 1466850"/>
              <a:gd name="connsiteY105" fmla="*/ 35719 h 1164431"/>
              <a:gd name="connsiteX106" fmla="*/ 266700 w 1466850"/>
              <a:gd name="connsiteY106" fmla="*/ 50006 h 1164431"/>
              <a:gd name="connsiteX107" fmla="*/ 271462 w 1466850"/>
              <a:gd name="connsiteY107" fmla="*/ 95250 h 1164431"/>
              <a:gd name="connsiteX108" fmla="*/ 316706 w 1466850"/>
              <a:gd name="connsiteY108" fmla="*/ 121444 h 1164431"/>
              <a:gd name="connsiteX109" fmla="*/ 302419 w 1466850"/>
              <a:gd name="connsiteY109" fmla="*/ 145256 h 1164431"/>
              <a:gd name="connsiteX110" fmla="*/ 247650 w 1466850"/>
              <a:gd name="connsiteY110" fmla="*/ 159544 h 1164431"/>
              <a:gd name="connsiteX111" fmla="*/ 214312 w 1466850"/>
              <a:gd name="connsiteY111" fmla="*/ 216694 h 1164431"/>
              <a:gd name="connsiteX112" fmla="*/ 183356 w 1466850"/>
              <a:gd name="connsiteY112" fmla="*/ 221456 h 1164431"/>
              <a:gd name="connsiteX113" fmla="*/ 183356 w 1466850"/>
              <a:gd name="connsiteY113" fmla="*/ 254794 h 1164431"/>
              <a:gd name="connsiteX114" fmla="*/ 161925 w 1466850"/>
              <a:gd name="connsiteY114" fmla="*/ 304800 h 1164431"/>
              <a:gd name="connsiteX115" fmla="*/ 140494 w 1466850"/>
              <a:gd name="connsiteY115" fmla="*/ 323850 h 1164431"/>
              <a:gd name="connsiteX116" fmla="*/ 71439 w 1466850"/>
              <a:gd name="connsiteY116" fmla="*/ 300039 h 1164431"/>
              <a:gd name="connsiteX117" fmla="*/ 59530 w 1466850"/>
              <a:gd name="connsiteY117" fmla="*/ 302418 h 1164431"/>
              <a:gd name="connsiteX118" fmla="*/ 30956 w 1466850"/>
              <a:gd name="connsiteY118" fmla="*/ 295274 h 1164431"/>
              <a:gd name="connsiteX0" fmla="*/ 30956 w 1466850"/>
              <a:gd name="connsiteY0" fmla="*/ 295274 h 1200149"/>
              <a:gd name="connsiteX1" fmla="*/ 19050 w 1466850"/>
              <a:gd name="connsiteY1" fmla="*/ 381000 h 1200149"/>
              <a:gd name="connsiteX2" fmla="*/ 19050 w 1466850"/>
              <a:gd name="connsiteY2" fmla="*/ 397669 h 1200149"/>
              <a:gd name="connsiteX3" fmla="*/ 0 w 1466850"/>
              <a:gd name="connsiteY3" fmla="*/ 459581 h 1200149"/>
              <a:gd name="connsiteX4" fmla="*/ 7144 w 1466850"/>
              <a:gd name="connsiteY4" fmla="*/ 497681 h 1200149"/>
              <a:gd name="connsiteX5" fmla="*/ 9525 w 1466850"/>
              <a:gd name="connsiteY5" fmla="*/ 535781 h 1200149"/>
              <a:gd name="connsiteX6" fmla="*/ 19050 w 1466850"/>
              <a:gd name="connsiteY6" fmla="*/ 583406 h 1200149"/>
              <a:gd name="connsiteX7" fmla="*/ 23812 w 1466850"/>
              <a:gd name="connsiteY7" fmla="*/ 688181 h 1200149"/>
              <a:gd name="connsiteX8" fmla="*/ 35719 w 1466850"/>
              <a:gd name="connsiteY8" fmla="*/ 747712 h 1200149"/>
              <a:gd name="connsiteX9" fmla="*/ 40481 w 1466850"/>
              <a:gd name="connsiteY9" fmla="*/ 778669 h 1200149"/>
              <a:gd name="connsiteX10" fmla="*/ 47625 w 1466850"/>
              <a:gd name="connsiteY10" fmla="*/ 831056 h 1200149"/>
              <a:gd name="connsiteX11" fmla="*/ 38100 w 1466850"/>
              <a:gd name="connsiteY11" fmla="*/ 919162 h 1200149"/>
              <a:gd name="connsiteX12" fmla="*/ 78581 w 1466850"/>
              <a:gd name="connsiteY12" fmla="*/ 1028700 h 1200149"/>
              <a:gd name="connsiteX13" fmla="*/ 71437 w 1466850"/>
              <a:gd name="connsiteY13" fmla="*/ 1095375 h 1200149"/>
              <a:gd name="connsiteX14" fmla="*/ 88106 w 1466850"/>
              <a:gd name="connsiteY14" fmla="*/ 1164431 h 1200149"/>
              <a:gd name="connsiteX15" fmla="*/ 166687 w 1466850"/>
              <a:gd name="connsiteY15" fmla="*/ 1200149 h 1200149"/>
              <a:gd name="connsiteX16" fmla="*/ 242887 w 1466850"/>
              <a:gd name="connsiteY16" fmla="*/ 1092994 h 1200149"/>
              <a:gd name="connsiteX17" fmla="*/ 238125 w 1466850"/>
              <a:gd name="connsiteY17" fmla="*/ 1045369 h 1200149"/>
              <a:gd name="connsiteX18" fmla="*/ 230981 w 1466850"/>
              <a:gd name="connsiteY18" fmla="*/ 1035844 h 1200149"/>
              <a:gd name="connsiteX19" fmla="*/ 252412 w 1466850"/>
              <a:gd name="connsiteY19" fmla="*/ 1019175 h 1200149"/>
              <a:gd name="connsiteX20" fmla="*/ 314325 w 1466850"/>
              <a:gd name="connsiteY20" fmla="*/ 995362 h 1200149"/>
              <a:gd name="connsiteX21" fmla="*/ 311944 w 1466850"/>
              <a:gd name="connsiteY21" fmla="*/ 959644 h 1200149"/>
              <a:gd name="connsiteX22" fmla="*/ 326231 w 1466850"/>
              <a:gd name="connsiteY22" fmla="*/ 942975 h 1200149"/>
              <a:gd name="connsiteX23" fmla="*/ 452437 w 1466850"/>
              <a:gd name="connsiteY23" fmla="*/ 950119 h 1200149"/>
              <a:gd name="connsiteX24" fmla="*/ 464344 w 1466850"/>
              <a:gd name="connsiteY24" fmla="*/ 933450 h 1200149"/>
              <a:gd name="connsiteX25" fmla="*/ 476250 w 1466850"/>
              <a:gd name="connsiteY25" fmla="*/ 883444 h 1200149"/>
              <a:gd name="connsiteX26" fmla="*/ 488156 w 1466850"/>
              <a:gd name="connsiteY26" fmla="*/ 857250 h 1200149"/>
              <a:gd name="connsiteX27" fmla="*/ 526256 w 1466850"/>
              <a:gd name="connsiteY27" fmla="*/ 862012 h 1200149"/>
              <a:gd name="connsiteX28" fmla="*/ 545306 w 1466850"/>
              <a:gd name="connsiteY28" fmla="*/ 909637 h 1200149"/>
              <a:gd name="connsiteX29" fmla="*/ 566737 w 1466850"/>
              <a:gd name="connsiteY29" fmla="*/ 881062 h 1200149"/>
              <a:gd name="connsiteX30" fmla="*/ 621506 w 1466850"/>
              <a:gd name="connsiteY30" fmla="*/ 845344 h 1200149"/>
              <a:gd name="connsiteX31" fmla="*/ 709612 w 1466850"/>
              <a:gd name="connsiteY31" fmla="*/ 814387 h 1200149"/>
              <a:gd name="connsiteX32" fmla="*/ 716756 w 1466850"/>
              <a:gd name="connsiteY32" fmla="*/ 769144 h 1200149"/>
              <a:gd name="connsiteX33" fmla="*/ 742950 w 1466850"/>
              <a:gd name="connsiteY33" fmla="*/ 750094 h 1200149"/>
              <a:gd name="connsiteX34" fmla="*/ 785812 w 1466850"/>
              <a:gd name="connsiteY34" fmla="*/ 726281 h 1200149"/>
              <a:gd name="connsiteX35" fmla="*/ 800100 w 1466850"/>
              <a:gd name="connsiteY35" fmla="*/ 716756 h 1200149"/>
              <a:gd name="connsiteX36" fmla="*/ 862012 w 1466850"/>
              <a:gd name="connsiteY36" fmla="*/ 721519 h 1200149"/>
              <a:gd name="connsiteX37" fmla="*/ 883444 w 1466850"/>
              <a:gd name="connsiteY37" fmla="*/ 721519 h 1200149"/>
              <a:gd name="connsiteX38" fmla="*/ 892969 w 1466850"/>
              <a:gd name="connsiteY38" fmla="*/ 697706 h 1200149"/>
              <a:gd name="connsiteX39" fmla="*/ 892969 w 1466850"/>
              <a:gd name="connsiteY39" fmla="*/ 697706 h 1200149"/>
              <a:gd name="connsiteX40" fmla="*/ 921544 w 1466850"/>
              <a:gd name="connsiteY40" fmla="*/ 609600 h 1200149"/>
              <a:gd name="connsiteX41" fmla="*/ 909637 w 1466850"/>
              <a:gd name="connsiteY41" fmla="*/ 552450 h 1200149"/>
              <a:gd name="connsiteX42" fmla="*/ 928687 w 1466850"/>
              <a:gd name="connsiteY42" fmla="*/ 540544 h 1200149"/>
              <a:gd name="connsiteX43" fmla="*/ 973931 w 1466850"/>
              <a:gd name="connsiteY43" fmla="*/ 535781 h 1200149"/>
              <a:gd name="connsiteX44" fmla="*/ 1014412 w 1466850"/>
              <a:gd name="connsiteY44" fmla="*/ 447675 h 1200149"/>
              <a:gd name="connsiteX45" fmla="*/ 1038225 w 1466850"/>
              <a:gd name="connsiteY45" fmla="*/ 445294 h 1200149"/>
              <a:gd name="connsiteX46" fmla="*/ 1073944 w 1466850"/>
              <a:gd name="connsiteY46" fmla="*/ 476250 h 1200149"/>
              <a:gd name="connsiteX47" fmla="*/ 1112044 w 1466850"/>
              <a:gd name="connsiteY47" fmla="*/ 514350 h 1200149"/>
              <a:gd name="connsiteX48" fmla="*/ 1171575 w 1466850"/>
              <a:gd name="connsiteY48" fmla="*/ 540544 h 1200149"/>
              <a:gd name="connsiteX49" fmla="*/ 1219200 w 1466850"/>
              <a:gd name="connsiteY49" fmla="*/ 521494 h 1200149"/>
              <a:gd name="connsiteX50" fmla="*/ 1245394 w 1466850"/>
              <a:gd name="connsiteY50" fmla="*/ 502444 h 1200149"/>
              <a:gd name="connsiteX51" fmla="*/ 1278731 w 1466850"/>
              <a:gd name="connsiteY51" fmla="*/ 511969 h 1200149"/>
              <a:gd name="connsiteX52" fmla="*/ 1295400 w 1466850"/>
              <a:gd name="connsiteY52" fmla="*/ 531019 h 1200149"/>
              <a:gd name="connsiteX53" fmla="*/ 1273969 w 1466850"/>
              <a:gd name="connsiteY53" fmla="*/ 573881 h 1200149"/>
              <a:gd name="connsiteX54" fmla="*/ 1271587 w 1466850"/>
              <a:gd name="connsiteY54" fmla="*/ 602456 h 1200149"/>
              <a:gd name="connsiteX55" fmla="*/ 1285875 w 1466850"/>
              <a:gd name="connsiteY55" fmla="*/ 611981 h 1200149"/>
              <a:gd name="connsiteX56" fmla="*/ 1300162 w 1466850"/>
              <a:gd name="connsiteY56" fmla="*/ 628650 h 1200149"/>
              <a:gd name="connsiteX57" fmla="*/ 1321594 w 1466850"/>
              <a:gd name="connsiteY57" fmla="*/ 666750 h 1200149"/>
              <a:gd name="connsiteX58" fmla="*/ 1347787 w 1466850"/>
              <a:gd name="connsiteY58" fmla="*/ 681037 h 1200149"/>
              <a:gd name="connsiteX59" fmla="*/ 1371600 w 1466850"/>
              <a:gd name="connsiteY59" fmla="*/ 681037 h 1200149"/>
              <a:gd name="connsiteX60" fmla="*/ 1376362 w 1466850"/>
              <a:gd name="connsiteY60" fmla="*/ 628650 h 1200149"/>
              <a:gd name="connsiteX61" fmla="*/ 1395412 w 1466850"/>
              <a:gd name="connsiteY61" fmla="*/ 578644 h 1200149"/>
              <a:gd name="connsiteX62" fmla="*/ 1426369 w 1466850"/>
              <a:gd name="connsiteY62" fmla="*/ 571500 h 1200149"/>
              <a:gd name="connsiteX63" fmla="*/ 1466850 w 1466850"/>
              <a:gd name="connsiteY63" fmla="*/ 552450 h 1200149"/>
              <a:gd name="connsiteX64" fmla="*/ 1443037 w 1466850"/>
              <a:gd name="connsiteY64" fmla="*/ 509587 h 1200149"/>
              <a:gd name="connsiteX65" fmla="*/ 1414462 w 1466850"/>
              <a:gd name="connsiteY65" fmla="*/ 464344 h 1200149"/>
              <a:gd name="connsiteX66" fmla="*/ 1388269 w 1466850"/>
              <a:gd name="connsiteY66" fmla="*/ 438150 h 1200149"/>
              <a:gd name="connsiteX67" fmla="*/ 1404937 w 1466850"/>
              <a:gd name="connsiteY67" fmla="*/ 400050 h 1200149"/>
              <a:gd name="connsiteX68" fmla="*/ 1404937 w 1466850"/>
              <a:gd name="connsiteY68" fmla="*/ 383381 h 1200149"/>
              <a:gd name="connsiteX69" fmla="*/ 1431131 w 1466850"/>
              <a:gd name="connsiteY69" fmla="*/ 338137 h 1200149"/>
              <a:gd name="connsiteX70" fmla="*/ 1419225 w 1466850"/>
              <a:gd name="connsiteY70" fmla="*/ 264319 h 1200149"/>
              <a:gd name="connsiteX71" fmla="*/ 1438275 w 1466850"/>
              <a:gd name="connsiteY71" fmla="*/ 202406 h 1200149"/>
              <a:gd name="connsiteX72" fmla="*/ 1435894 w 1466850"/>
              <a:gd name="connsiteY72" fmla="*/ 173831 h 1200149"/>
              <a:gd name="connsiteX73" fmla="*/ 1404937 w 1466850"/>
              <a:gd name="connsiteY73" fmla="*/ 164306 h 1200149"/>
              <a:gd name="connsiteX74" fmla="*/ 1364456 w 1466850"/>
              <a:gd name="connsiteY74" fmla="*/ 154781 h 1200149"/>
              <a:gd name="connsiteX75" fmla="*/ 1293019 w 1466850"/>
              <a:gd name="connsiteY75" fmla="*/ 154781 h 1200149"/>
              <a:gd name="connsiteX76" fmla="*/ 1233487 w 1466850"/>
              <a:gd name="connsiteY76" fmla="*/ 121444 h 1200149"/>
              <a:gd name="connsiteX77" fmla="*/ 1207294 w 1466850"/>
              <a:gd name="connsiteY77" fmla="*/ 114300 h 1200149"/>
              <a:gd name="connsiteX78" fmla="*/ 1188244 w 1466850"/>
              <a:gd name="connsiteY78" fmla="*/ 126206 h 1200149"/>
              <a:gd name="connsiteX79" fmla="*/ 1133475 w 1466850"/>
              <a:gd name="connsiteY79" fmla="*/ 188119 h 1200149"/>
              <a:gd name="connsiteX80" fmla="*/ 1116806 w 1466850"/>
              <a:gd name="connsiteY80" fmla="*/ 188119 h 1200149"/>
              <a:gd name="connsiteX81" fmla="*/ 1078706 w 1466850"/>
              <a:gd name="connsiteY81" fmla="*/ 142875 h 1200149"/>
              <a:gd name="connsiteX82" fmla="*/ 1054894 w 1466850"/>
              <a:gd name="connsiteY82" fmla="*/ 138112 h 1200149"/>
              <a:gd name="connsiteX83" fmla="*/ 997744 w 1466850"/>
              <a:gd name="connsiteY83" fmla="*/ 157162 h 1200149"/>
              <a:gd name="connsiteX84" fmla="*/ 973931 w 1466850"/>
              <a:gd name="connsiteY84" fmla="*/ 178594 h 1200149"/>
              <a:gd name="connsiteX85" fmla="*/ 928687 w 1466850"/>
              <a:gd name="connsiteY85" fmla="*/ 173831 h 1200149"/>
              <a:gd name="connsiteX86" fmla="*/ 878681 w 1466850"/>
              <a:gd name="connsiteY86" fmla="*/ 164306 h 1200149"/>
              <a:gd name="connsiteX87" fmla="*/ 864394 w 1466850"/>
              <a:gd name="connsiteY87" fmla="*/ 83344 h 1200149"/>
              <a:gd name="connsiteX88" fmla="*/ 845344 w 1466850"/>
              <a:gd name="connsiteY88" fmla="*/ 69056 h 1200149"/>
              <a:gd name="connsiteX89" fmla="*/ 747712 w 1466850"/>
              <a:gd name="connsiteY89" fmla="*/ 119062 h 1200149"/>
              <a:gd name="connsiteX90" fmla="*/ 721519 w 1466850"/>
              <a:gd name="connsiteY90" fmla="*/ 140494 h 1200149"/>
              <a:gd name="connsiteX91" fmla="*/ 709612 w 1466850"/>
              <a:gd name="connsiteY91" fmla="*/ 190500 h 1200149"/>
              <a:gd name="connsiteX92" fmla="*/ 707231 w 1466850"/>
              <a:gd name="connsiteY92" fmla="*/ 195262 h 1200149"/>
              <a:gd name="connsiteX93" fmla="*/ 654844 w 1466850"/>
              <a:gd name="connsiteY93" fmla="*/ 190500 h 1200149"/>
              <a:gd name="connsiteX94" fmla="*/ 633412 w 1466850"/>
              <a:gd name="connsiteY94" fmla="*/ 180975 h 1200149"/>
              <a:gd name="connsiteX95" fmla="*/ 614362 w 1466850"/>
              <a:gd name="connsiteY95" fmla="*/ 142875 h 1200149"/>
              <a:gd name="connsiteX96" fmla="*/ 590550 w 1466850"/>
              <a:gd name="connsiteY96" fmla="*/ 130969 h 1200149"/>
              <a:gd name="connsiteX97" fmla="*/ 540544 w 1466850"/>
              <a:gd name="connsiteY97" fmla="*/ 161925 h 1200149"/>
              <a:gd name="connsiteX98" fmla="*/ 507206 w 1466850"/>
              <a:gd name="connsiteY98" fmla="*/ 154781 h 1200149"/>
              <a:gd name="connsiteX99" fmla="*/ 495300 w 1466850"/>
              <a:gd name="connsiteY99" fmla="*/ 123825 h 1200149"/>
              <a:gd name="connsiteX100" fmla="*/ 490537 w 1466850"/>
              <a:gd name="connsiteY100" fmla="*/ 114300 h 1200149"/>
              <a:gd name="connsiteX101" fmla="*/ 431006 w 1466850"/>
              <a:gd name="connsiteY101" fmla="*/ 97631 h 1200149"/>
              <a:gd name="connsiteX102" fmla="*/ 442912 w 1466850"/>
              <a:gd name="connsiteY102" fmla="*/ 33337 h 1200149"/>
              <a:gd name="connsiteX103" fmla="*/ 423862 w 1466850"/>
              <a:gd name="connsiteY103" fmla="*/ 19050 h 1200149"/>
              <a:gd name="connsiteX104" fmla="*/ 335756 w 1466850"/>
              <a:gd name="connsiteY104" fmla="*/ 0 h 1200149"/>
              <a:gd name="connsiteX105" fmla="*/ 302419 w 1466850"/>
              <a:gd name="connsiteY105" fmla="*/ 35719 h 1200149"/>
              <a:gd name="connsiteX106" fmla="*/ 266700 w 1466850"/>
              <a:gd name="connsiteY106" fmla="*/ 50006 h 1200149"/>
              <a:gd name="connsiteX107" fmla="*/ 271462 w 1466850"/>
              <a:gd name="connsiteY107" fmla="*/ 95250 h 1200149"/>
              <a:gd name="connsiteX108" fmla="*/ 316706 w 1466850"/>
              <a:gd name="connsiteY108" fmla="*/ 121444 h 1200149"/>
              <a:gd name="connsiteX109" fmla="*/ 302419 w 1466850"/>
              <a:gd name="connsiteY109" fmla="*/ 145256 h 1200149"/>
              <a:gd name="connsiteX110" fmla="*/ 247650 w 1466850"/>
              <a:gd name="connsiteY110" fmla="*/ 159544 h 1200149"/>
              <a:gd name="connsiteX111" fmla="*/ 214312 w 1466850"/>
              <a:gd name="connsiteY111" fmla="*/ 216694 h 1200149"/>
              <a:gd name="connsiteX112" fmla="*/ 183356 w 1466850"/>
              <a:gd name="connsiteY112" fmla="*/ 221456 h 1200149"/>
              <a:gd name="connsiteX113" fmla="*/ 183356 w 1466850"/>
              <a:gd name="connsiteY113" fmla="*/ 254794 h 1200149"/>
              <a:gd name="connsiteX114" fmla="*/ 161925 w 1466850"/>
              <a:gd name="connsiteY114" fmla="*/ 304800 h 1200149"/>
              <a:gd name="connsiteX115" fmla="*/ 140494 w 1466850"/>
              <a:gd name="connsiteY115" fmla="*/ 323850 h 1200149"/>
              <a:gd name="connsiteX116" fmla="*/ 71439 w 1466850"/>
              <a:gd name="connsiteY116" fmla="*/ 300039 h 1200149"/>
              <a:gd name="connsiteX117" fmla="*/ 59530 w 1466850"/>
              <a:gd name="connsiteY117" fmla="*/ 302418 h 1200149"/>
              <a:gd name="connsiteX118" fmla="*/ 30956 w 1466850"/>
              <a:gd name="connsiteY118" fmla="*/ 295274 h 1200149"/>
              <a:gd name="connsiteX0" fmla="*/ 30956 w 1466850"/>
              <a:gd name="connsiteY0" fmla="*/ 295274 h 1200149"/>
              <a:gd name="connsiteX1" fmla="*/ 19050 w 1466850"/>
              <a:gd name="connsiteY1" fmla="*/ 381000 h 1200149"/>
              <a:gd name="connsiteX2" fmla="*/ 19050 w 1466850"/>
              <a:gd name="connsiteY2" fmla="*/ 397669 h 1200149"/>
              <a:gd name="connsiteX3" fmla="*/ 0 w 1466850"/>
              <a:gd name="connsiteY3" fmla="*/ 459581 h 1200149"/>
              <a:gd name="connsiteX4" fmla="*/ 7144 w 1466850"/>
              <a:gd name="connsiteY4" fmla="*/ 497681 h 1200149"/>
              <a:gd name="connsiteX5" fmla="*/ 9525 w 1466850"/>
              <a:gd name="connsiteY5" fmla="*/ 535781 h 1200149"/>
              <a:gd name="connsiteX6" fmla="*/ 19050 w 1466850"/>
              <a:gd name="connsiteY6" fmla="*/ 583406 h 1200149"/>
              <a:gd name="connsiteX7" fmla="*/ 23812 w 1466850"/>
              <a:gd name="connsiteY7" fmla="*/ 688181 h 1200149"/>
              <a:gd name="connsiteX8" fmla="*/ 35719 w 1466850"/>
              <a:gd name="connsiteY8" fmla="*/ 747712 h 1200149"/>
              <a:gd name="connsiteX9" fmla="*/ 40481 w 1466850"/>
              <a:gd name="connsiteY9" fmla="*/ 778669 h 1200149"/>
              <a:gd name="connsiteX10" fmla="*/ 47625 w 1466850"/>
              <a:gd name="connsiteY10" fmla="*/ 831056 h 1200149"/>
              <a:gd name="connsiteX11" fmla="*/ 38100 w 1466850"/>
              <a:gd name="connsiteY11" fmla="*/ 919162 h 1200149"/>
              <a:gd name="connsiteX12" fmla="*/ 78581 w 1466850"/>
              <a:gd name="connsiteY12" fmla="*/ 1028700 h 1200149"/>
              <a:gd name="connsiteX13" fmla="*/ 71437 w 1466850"/>
              <a:gd name="connsiteY13" fmla="*/ 1095375 h 1200149"/>
              <a:gd name="connsiteX14" fmla="*/ 88106 w 1466850"/>
              <a:gd name="connsiteY14" fmla="*/ 1164431 h 1200149"/>
              <a:gd name="connsiteX15" fmla="*/ 166687 w 1466850"/>
              <a:gd name="connsiteY15" fmla="*/ 1200149 h 1200149"/>
              <a:gd name="connsiteX16" fmla="*/ 185737 w 1466850"/>
              <a:gd name="connsiteY16" fmla="*/ 1173956 h 1200149"/>
              <a:gd name="connsiteX17" fmla="*/ 242887 w 1466850"/>
              <a:gd name="connsiteY17" fmla="*/ 1092994 h 1200149"/>
              <a:gd name="connsiteX18" fmla="*/ 238125 w 1466850"/>
              <a:gd name="connsiteY18" fmla="*/ 1045369 h 1200149"/>
              <a:gd name="connsiteX19" fmla="*/ 230981 w 1466850"/>
              <a:gd name="connsiteY19" fmla="*/ 1035844 h 1200149"/>
              <a:gd name="connsiteX20" fmla="*/ 252412 w 1466850"/>
              <a:gd name="connsiteY20" fmla="*/ 1019175 h 1200149"/>
              <a:gd name="connsiteX21" fmla="*/ 314325 w 1466850"/>
              <a:gd name="connsiteY21" fmla="*/ 995362 h 1200149"/>
              <a:gd name="connsiteX22" fmla="*/ 311944 w 1466850"/>
              <a:gd name="connsiteY22" fmla="*/ 959644 h 1200149"/>
              <a:gd name="connsiteX23" fmla="*/ 326231 w 1466850"/>
              <a:gd name="connsiteY23" fmla="*/ 942975 h 1200149"/>
              <a:gd name="connsiteX24" fmla="*/ 452437 w 1466850"/>
              <a:gd name="connsiteY24" fmla="*/ 950119 h 1200149"/>
              <a:gd name="connsiteX25" fmla="*/ 464344 w 1466850"/>
              <a:gd name="connsiteY25" fmla="*/ 933450 h 1200149"/>
              <a:gd name="connsiteX26" fmla="*/ 476250 w 1466850"/>
              <a:gd name="connsiteY26" fmla="*/ 883444 h 1200149"/>
              <a:gd name="connsiteX27" fmla="*/ 488156 w 1466850"/>
              <a:gd name="connsiteY27" fmla="*/ 857250 h 1200149"/>
              <a:gd name="connsiteX28" fmla="*/ 526256 w 1466850"/>
              <a:gd name="connsiteY28" fmla="*/ 862012 h 1200149"/>
              <a:gd name="connsiteX29" fmla="*/ 545306 w 1466850"/>
              <a:gd name="connsiteY29" fmla="*/ 909637 h 1200149"/>
              <a:gd name="connsiteX30" fmla="*/ 566737 w 1466850"/>
              <a:gd name="connsiteY30" fmla="*/ 881062 h 1200149"/>
              <a:gd name="connsiteX31" fmla="*/ 621506 w 1466850"/>
              <a:gd name="connsiteY31" fmla="*/ 845344 h 1200149"/>
              <a:gd name="connsiteX32" fmla="*/ 709612 w 1466850"/>
              <a:gd name="connsiteY32" fmla="*/ 814387 h 1200149"/>
              <a:gd name="connsiteX33" fmla="*/ 716756 w 1466850"/>
              <a:gd name="connsiteY33" fmla="*/ 769144 h 1200149"/>
              <a:gd name="connsiteX34" fmla="*/ 742950 w 1466850"/>
              <a:gd name="connsiteY34" fmla="*/ 750094 h 1200149"/>
              <a:gd name="connsiteX35" fmla="*/ 785812 w 1466850"/>
              <a:gd name="connsiteY35" fmla="*/ 726281 h 1200149"/>
              <a:gd name="connsiteX36" fmla="*/ 800100 w 1466850"/>
              <a:gd name="connsiteY36" fmla="*/ 716756 h 1200149"/>
              <a:gd name="connsiteX37" fmla="*/ 862012 w 1466850"/>
              <a:gd name="connsiteY37" fmla="*/ 721519 h 1200149"/>
              <a:gd name="connsiteX38" fmla="*/ 883444 w 1466850"/>
              <a:gd name="connsiteY38" fmla="*/ 721519 h 1200149"/>
              <a:gd name="connsiteX39" fmla="*/ 892969 w 1466850"/>
              <a:gd name="connsiteY39" fmla="*/ 697706 h 1200149"/>
              <a:gd name="connsiteX40" fmla="*/ 892969 w 1466850"/>
              <a:gd name="connsiteY40" fmla="*/ 697706 h 1200149"/>
              <a:gd name="connsiteX41" fmla="*/ 921544 w 1466850"/>
              <a:gd name="connsiteY41" fmla="*/ 609600 h 1200149"/>
              <a:gd name="connsiteX42" fmla="*/ 909637 w 1466850"/>
              <a:gd name="connsiteY42" fmla="*/ 552450 h 1200149"/>
              <a:gd name="connsiteX43" fmla="*/ 928687 w 1466850"/>
              <a:gd name="connsiteY43" fmla="*/ 540544 h 1200149"/>
              <a:gd name="connsiteX44" fmla="*/ 973931 w 1466850"/>
              <a:gd name="connsiteY44" fmla="*/ 535781 h 1200149"/>
              <a:gd name="connsiteX45" fmla="*/ 1014412 w 1466850"/>
              <a:gd name="connsiteY45" fmla="*/ 447675 h 1200149"/>
              <a:gd name="connsiteX46" fmla="*/ 1038225 w 1466850"/>
              <a:gd name="connsiteY46" fmla="*/ 445294 h 1200149"/>
              <a:gd name="connsiteX47" fmla="*/ 1073944 w 1466850"/>
              <a:gd name="connsiteY47" fmla="*/ 476250 h 1200149"/>
              <a:gd name="connsiteX48" fmla="*/ 1112044 w 1466850"/>
              <a:gd name="connsiteY48" fmla="*/ 514350 h 1200149"/>
              <a:gd name="connsiteX49" fmla="*/ 1171575 w 1466850"/>
              <a:gd name="connsiteY49" fmla="*/ 540544 h 1200149"/>
              <a:gd name="connsiteX50" fmla="*/ 1219200 w 1466850"/>
              <a:gd name="connsiteY50" fmla="*/ 521494 h 1200149"/>
              <a:gd name="connsiteX51" fmla="*/ 1245394 w 1466850"/>
              <a:gd name="connsiteY51" fmla="*/ 502444 h 1200149"/>
              <a:gd name="connsiteX52" fmla="*/ 1278731 w 1466850"/>
              <a:gd name="connsiteY52" fmla="*/ 511969 h 1200149"/>
              <a:gd name="connsiteX53" fmla="*/ 1295400 w 1466850"/>
              <a:gd name="connsiteY53" fmla="*/ 531019 h 1200149"/>
              <a:gd name="connsiteX54" fmla="*/ 1273969 w 1466850"/>
              <a:gd name="connsiteY54" fmla="*/ 573881 h 1200149"/>
              <a:gd name="connsiteX55" fmla="*/ 1271587 w 1466850"/>
              <a:gd name="connsiteY55" fmla="*/ 602456 h 1200149"/>
              <a:gd name="connsiteX56" fmla="*/ 1285875 w 1466850"/>
              <a:gd name="connsiteY56" fmla="*/ 611981 h 1200149"/>
              <a:gd name="connsiteX57" fmla="*/ 1300162 w 1466850"/>
              <a:gd name="connsiteY57" fmla="*/ 628650 h 1200149"/>
              <a:gd name="connsiteX58" fmla="*/ 1321594 w 1466850"/>
              <a:gd name="connsiteY58" fmla="*/ 666750 h 1200149"/>
              <a:gd name="connsiteX59" fmla="*/ 1347787 w 1466850"/>
              <a:gd name="connsiteY59" fmla="*/ 681037 h 1200149"/>
              <a:gd name="connsiteX60" fmla="*/ 1371600 w 1466850"/>
              <a:gd name="connsiteY60" fmla="*/ 681037 h 1200149"/>
              <a:gd name="connsiteX61" fmla="*/ 1376362 w 1466850"/>
              <a:gd name="connsiteY61" fmla="*/ 628650 h 1200149"/>
              <a:gd name="connsiteX62" fmla="*/ 1395412 w 1466850"/>
              <a:gd name="connsiteY62" fmla="*/ 578644 h 1200149"/>
              <a:gd name="connsiteX63" fmla="*/ 1426369 w 1466850"/>
              <a:gd name="connsiteY63" fmla="*/ 571500 h 1200149"/>
              <a:gd name="connsiteX64" fmla="*/ 1466850 w 1466850"/>
              <a:gd name="connsiteY64" fmla="*/ 552450 h 1200149"/>
              <a:gd name="connsiteX65" fmla="*/ 1443037 w 1466850"/>
              <a:gd name="connsiteY65" fmla="*/ 509587 h 1200149"/>
              <a:gd name="connsiteX66" fmla="*/ 1414462 w 1466850"/>
              <a:gd name="connsiteY66" fmla="*/ 464344 h 1200149"/>
              <a:gd name="connsiteX67" fmla="*/ 1388269 w 1466850"/>
              <a:gd name="connsiteY67" fmla="*/ 438150 h 1200149"/>
              <a:gd name="connsiteX68" fmla="*/ 1404937 w 1466850"/>
              <a:gd name="connsiteY68" fmla="*/ 400050 h 1200149"/>
              <a:gd name="connsiteX69" fmla="*/ 1404937 w 1466850"/>
              <a:gd name="connsiteY69" fmla="*/ 383381 h 1200149"/>
              <a:gd name="connsiteX70" fmla="*/ 1431131 w 1466850"/>
              <a:gd name="connsiteY70" fmla="*/ 338137 h 1200149"/>
              <a:gd name="connsiteX71" fmla="*/ 1419225 w 1466850"/>
              <a:gd name="connsiteY71" fmla="*/ 264319 h 1200149"/>
              <a:gd name="connsiteX72" fmla="*/ 1438275 w 1466850"/>
              <a:gd name="connsiteY72" fmla="*/ 202406 h 1200149"/>
              <a:gd name="connsiteX73" fmla="*/ 1435894 w 1466850"/>
              <a:gd name="connsiteY73" fmla="*/ 173831 h 1200149"/>
              <a:gd name="connsiteX74" fmla="*/ 1404937 w 1466850"/>
              <a:gd name="connsiteY74" fmla="*/ 164306 h 1200149"/>
              <a:gd name="connsiteX75" fmla="*/ 1364456 w 1466850"/>
              <a:gd name="connsiteY75" fmla="*/ 154781 h 1200149"/>
              <a:gd name="connsiteX76" fmla="*/ 1293019 w 1466850"/>
              <a:gd name="connsiteY76" fmla="*/ 154781 h 1200149"/>
              <a:gd name="connsiteX77" fmla="*/ 1233487 w 1466850"/>
              <a:gd name="connsiteY77" fmla="*/ 121444 h 1200149"/>
              <a:gd name="connsiteX78" fmla="*/ 1207294 w 1466850"/>
              <a:gd name="connsiteY78" fmla="*/ 114300 h 1200149"/>
              <a:gd name="connsiteX79" fmla="*/ 1188244 w 1466850"/>
              <a:gd name="connsiteY79" fmla="*/ 126206 h 1200149"/>
              <a:gd name="connsiteX80" fmla="*/ 1133475 w 1466850"/>
              <a:gd name="connsiteY80" fmla="*/ 188119 h 1200149"/>
              <a:gd name="connsiteX81" fmla="*/ 1116806 w 1466850"/>
              <a:gd name="connsiteY81" fmla="*/ 188119 h 1200149"/>
              <a:gd name="connsiteX82" fmla="*/ 1078706 w 1466850"/>
              <a:gd name="connsiteY82" fmla="*/ 142875 h 1200149"/>
              <a:gd name="connsiteX83" fmla="*/ 1054894 w 1466850"/>
              <a:gd name="connsiteY83" fmla="*/ 138112 h 1200149"/>
              <a:gd name="connsiteX84" fmla="*/ 997744 w 1466850"/>
              <a:gd name="connsiteY84" fmla="*/ 157162 h 1200149"/>
              <a:gd name="connsiteX85" fmla="*/ 973931 w 1466850"/>
              <a:gd name="connsiteY85" fmla="*/ 178594 h 1200149"/>
              <a:gd name="connsiteX86" fmla="*/ 928687 w 1466850"/>
              <a:gd name="connsiteY86" fmla="*/ 173831 h 1200149"/>
              <a:gd name="connsiteX87" fmla="*/ 878681 w 1466850"/>
              <a:gd name="connsiteY87" fmla="*/ 164306 h 1200149"/>
              <a:gd name="connsiteX88" fmla="*/ 864394 w 1466850"/>
              <a:gd name="connsiteY88" fmla="*/ 83344 h 1200149"/>
              <a:gd name="connsiteX89" fmla="*/ 845344 w 1466850"/>
              <a:gd name="connsiteY89" fmla="*/ 69056 h 1200149"/>
              <a:gd name="connsiteX90" fmla="*/ 747712 w 1466850"/>
              <a:gd name="connsiteY90" fmla="*/ 119062 h 1200149"/>
              <a:gd name="connsiteX91" fmla="*/ 721519 w 1466850"/>
              <a:gd name="connsiteY91" fmla="*/ 140494 h 1200149"/>
              <a:gd name="connsiteX92" fmla="*/ 709612 w 1466850"/>
              <a:gd name="connsiteY92" fmla="*/ 190500 h 1200149"/>
              <a:gd name="connsiteX93" fmla="*/ 707231 w 1466850"/>
              <a:gd name="connsiteY93" fmla="*/ 195262 h 1200149"/>
              <a:gd name="connsiteX94" fmla="*/ 654844 w 1466850"/>
              <a:gd name="connsiteY94" fmla="*/ 190500 h 1200149"/>
              <a:gd name="connsiteX95" fmla="*/ 633412 w 1466850"/>
              <a:gd name="connsiteY95" fmla="*/ 180975 h 1200149"/>
              <a:gd name="connsiteX96" fmla="*/ 614362 w 1466850"/>
              <a:gd name="connsiteY96" fmla="*/ 142875 h 1200149"/>
              <a:gd name="connsiteX97" fmla="*/ 590550 w 1466850"/>
              <a:gd name="connsiteY97" fmla="*/ 130969 h 1200149"/>
              <a:gd name="connsiteX98" fmla="*/ 540544 w 1466850"/>
              <a:gd name="connsiteY98" fmla="*/ 161925 h 1200149"/>
              <a:gd name="connsiteX99" fmla="*/ 507206 w 1466850"/>
              <a:gd name="connsiteY99" fmla="*/ 154781 h 1200149"/>
              <a:gd name="connsiteX100" fmla="*/ 495300 w 1466850"/>
              <a:gd name="connsiteY100" fmla="*/ 123825 h 1200149"/>
              <a:gd name="connsiteX101" fmla="*/ 490537 w 1466850"/>
              <a:gd name="connsiteY101" fmla="*/ 114300 h 1200149"/>
              <a:gd name="connsiteX102" fmla="*/ 431006 w 1466850"/>
              <a:gd name="connsiteY102" fmla="*/ 97631 h 1200149"/>
              <a:gd name="connsiteX103" fmla="*/ 442912 w 1466850"/>
              <a:gd name="connsiteY103" fmla="*/ 33337 h 1200149"/>
              <a:gd name="connsiteX104" fmla="*/ 423862 w 1466850"/>
              <a:gd name="connsiteY104" fmla="*/ 19050 h 1200149"/>
              <a:gd name="connsiteX105" fmla="*/ 335756 w 1466850"/>
              <a:gd name="connsiteY105" fmla="*/ 0 h 1200149"/>
              <a:gd name="connsiteX106" fmla="*/ 302419 w 1466850"/>
              <a:gd name="connsiteY106" fmla="*/ 35719 h 1200149"/>
              <a:gd name="connsiteX107" fmla="*/ 266700 w 1466850"/>
              <a:gd name="connsiteY107" fmla="*/ 50006 h 1200149"/>
              <a:gd name="connsiteX108" fmla="*/ 271462 w 1466850"/>
              <a:gd name="connsiteY108" fmla="*/ 95250 h 1200149"/>
              <a:gd name="connsiteX109" fmla="*/ 316706 w 1466850"/>
              <a:gd name="connsiteY109" fmla="*/ 121444 h 1200149"/>
              <a:gd name="connsiteX110" fmla="*/ 302419 w 1466850"/>
              <a:gd name="connsiteY110" fmla="*/ 145256 h 1200149"/>
              <a:gd name="connsiteX111" fmla="*/ 247650 w 1466850"/>
              <a:gd name="connsiteY111" fmla="*/ 159544 h 1200149"/>
              <a:gd name="connsiteX112" fmla="*/ 214312 w 1466850"/>
              <a:gd name="connsiteY112" fmla="*/ 216694 h 1200149"/>
              <a:gd name="connsiteX113" fmla="*/ 183356 w 1466850"/>
              <a:gd name="connsiteY113" fmla="*/ 221456 h 1200149"/>
              <a:gd name="connsiteX114" fmla="*/ 183356 w 1466850"/>
              <a:gd name="connsiteY114" fmla="*/ 254794 h 1200149"/>
              <a:gd name="connsiteX115" fmla="*/ 161925 w 1466850"/>
              <a:gd name="connsiteY115" fmla="*/ 304800 h 1200149"/>
              <a:gd name="connsiteX116" fmla="*/ 140494 w 1466850"/>
              <a:gd name="connsiteY116" fmla="*/ 323850 h 1200149"/>
              <a:gd name="connsiteX117" fmla="*/ 71439 w 1466850"/>
              <a:gd name="connsiteY117" fmla="*/ 300039 h 1200149"/>
              <a:gd name="connsiteX118" fmla="*/ 59530 w 1466850"/>
              <a:gd name="connsiteY118" fmla="*/ 302418 h 1200149"/>
              <a:gd name="connsiteX119" fmla="*/ 30956 w 1466850"/>
              <a:gd name="connsiteY119" fmla="*/ 295274 h 1200149"/>
              <a:gd name="connsiteX0" fmla="*/ 30956 w 1466850"/>
              <a:gd name="connsiteY0" fmla="*/ 295274 h 1209675"/>
              <a:gd name="connsiteX1" fmla="*/ 19050 w 1466850"/>
              <a:gd name="connsiteY1" fmla="*/ 381000 h 1209675"/>
              <a:gd name="connsiteX2" fmla="*/ 19050 w 1466850"/>
              <a:gd name="connsiteY2" fmla="*/ 397669 h 1209675"/>
              <a:gd name="connsiteX3" fmla="*/ 0 w 1466850"/>
              <a:gd name="connsiteY3" fmla="*/ 459581 h 1209675"/>
              <a:gd name="connsiteX4" fmla="*/ 7144 w 1466850"/>
              <a:gd name="connsiteY4" fmla="*/ 497681 h 1209675"/>
              <a:gd name="connsiteX5" fmla="*/ 9525 w 1466850"/>
              <a:gd name="connsiteY5" fmla="*/ 535781 h 1209675"/>
              <a:gd name="connsiteX6" fmla="*/ 19050 w 1466850"/>
              <a:gd name="connsiteY6" fmla="*/ 583406 h 1209675"/>
              <a:gd name="connsiteX7" fmla="*/ 23812 w 1466850"/>
              <a:gd name="connsiteY7" fmla="*/ 688181 h 1209675"/>
              <a:gd name="connsiteX8" fmla="*/ 35719 w 1466850"/>
              <a:gd name="connsiteY8" fmla="*/ 747712 h 1209675"/>
              <a:gd name="connsiteX9" fmla="*/ 40481 w 1466850"/>
              <a:gd name="connsiteY9" fmla="*/ 778669 h 1209675"/>
              <a:gd name="connsiteX10" fmla="*/ 47625 w 1466850"/>
              <a:gd name="connsiteY10" fmla="*/ 831056 h 1209675"/>
              <a:gd name="connsiteX11" fmla="*/ 38100 w 1466850"/>
              <a:gd name="connsiteY11" fmla="*/ 919162 h 1209675"/>
              <a:gd name="connsiteX12" fmla="*/ 78581 w 1466850"/>
              <a:gd name="connsiteY12" fmla="*/ 1028700 h 1209675"/>
              <a:gd name="connsiteX13" fmla="*/ 71437 w 1466850"/>
              <a:gd name="connsiteY13" fmla="*/ 1095375 h 1209675"/>
              <a:gd name="connsiteX14" fmla="*/ 88106 w 1466850"/>
              <a:gd name="connsiteY14" fmla="*/ 1164431 h 1209675"/>
              <a:gd name="connsiteX15" fmla="*/ 166687 w 1466850"/>
              <a:gd name="connsiteY15" fmla="*/ 1200149 h 1209675"/>
              <a:gd name="connsiteX16" fmla="*/ 202406 w 1466850"/>
              <a:gd name="connsiteY16" fmla="*/ 1209675 h 1209675"/>
              <a:gd name="connsiteX17" fmla="*/ 242887 w 1466850"/>
              <a:gd name="connsiteY17" fmla="*/ 1092994 h 1209675"/>
              <a:gd name="connsiteX18" fmla="*/ 238125 w 1466850"/>
              <a:gd name="connsiteY18" fmla="*/ 1045369 h 1209675"/>
              <a:gd name="connsiteX19" fmla="*/ 230981 w 1466850"/>
              <a:gd name="connsiteY19" fmla="*/ 1035844 h 1209675"/>
              <a:gd name="connsiteX20" fmla="*/ 252412 w 1466850"/>
              <a:gd name="connsiteY20" fmla="*/ 1019175 h 1209675"/>
              <a:gd name="connsiteX21" fmla="*/ 314325 w 1466850"/>
              <a:gd name="connsiteY21" fmla="*/ 995362 h 1209675"/>
              <a:gd name="connsiteX22" fmla="*/ 311944 w 1466850"/>
              <a:gd name="connsiteY22" fmla="*/ 959644 h 1209675"/>
              <a:gd name="connsiteX23" fmla="*/ 326231 w 1466850"/>
              <a:gd name="connsiteY23" fmla="*/ 942975 h 1209675"/>
              <a:gd name="connsiteX24" fmla="*/ 452437 w 1466850"/>
              <a:gd name="connsiteY24" fmla="*/ 950119 h 1209675"/>
              <a:gd name="connsiteX25" fmla="*/ 464344 w 1466850"/>
              <a:gd name="connsiteY25" fmla="*/ 933450 h 1209675"/>
              <a:gd name="connsiteX26" fmla="*/ 476250 w 1466850"/>
              <a:gd name="connsiteY26" fmla="*/ 883444 h 1209675"/>
              <a:gd name="connsiteX27" fmla="*/ 488156 w 1466850"/>
              <a:gd name="connsiteY27" fmla="*/ 857250 h 1209675"/>
              <a:gd name="connsiteX28" fmla="*/ 526256 w 1466850"/>
              <a:gd name="connsiteY28" fmla="*/ 862012 h 1209675"/>
              <a:gd name="connsiteX29" fmla="*/ 545306 w 1466850"/>
              <a:gd name="connsiteY29" fmla="*/ 909637 h 1209675"/>
              <a:gd name="connsiteX30" fmla="*/ 566737 w 1466850"/>
              <a:gd name="connsiteY30" fmla="*/ 881062 h 1209675"/>
              <a:gd name="connsiteX31" fmla="*/ 621506 w 1466850"/>
              <a:gd name="connsiteY31" fmla="*/ 845344 h 1209675"/>
              <a:gd name="connsiteX32" fmla="*/ 709612 w 1466850"/>
              <a:gd name="connsiteY32" fmla="*/ 814387 h 1209675"/>
              <a:gd name="connsiteX33" fmla="*/ 716756 w 1466850"/>
              <a:gd name="connsiteY33" fmla="*/ 769144 h 1209675"/>
              <a:gd name="connsiteX34" fmla="*/ 742950 w 1466850"/>
              <a:gd name="connsiteY34" fmla="*/ 750094 h 1209675"/>
              <a:gd name="connsiteX35" fmla="*/ 785812 w 1466850"/>
              <a:gd name="connsiteY35" fmla="*/ 726281 h 1209675"/>
              <a:gd name="connsiteX36" fmla="*/ 800100 w 1466850"/>
              <a:gd name="connsiteY36" fmla="*/ 716756 h 1209675"/>
              <a:gd name="connsiteX37" fmla="*/ 862012 w 1466850"/>
              <a:gd name="connsiteY37" fmla="*/ 721519 h 1209675"/>
              <a:gd name="connsiteX38" fmla="*/ 883444 w 1466850"/>
              <a:gd name="connsiteY38" fmla="*/ 721519 h 1209675"/>
              <a:gd name="connsiteX39" fmla="*/ 892969 w 1466850"/>
              <a:gd name="connsiteY39" fmla="*/ 697706 h 1209675"/>
              <a:gd name="connsiteX40" fmla="*/ 892969 w 1466850"/>
              <a:gd name="connsiteY40" fmla="*/ 697706 h 1209675"/>
              <a:gd name="connsiteX41" fmla="*/ 921544 w 1466850"/>
              <a:gd name="connsiteY41" fmla="*/ 609600 h 1209675"/>
              <a:gd name="connsiteX42" fmla="*/ 909637 w 1466850"/>
              <a:gd name="connsiteY42" fmla="*/ 552450 h 1209675"/>
              <a:gd name="connsiteX43" fmla="*/ 928687 w 1466850"/>
              <a:gd name="connsiteY43" fmla="*/ 540544 h 1209675"/>
              <a:gd name="connsiteX44" fmla="*/ 973931 w 1466850"/>
              <a:gd name="connsiteY44" fmla="*/ 535781 h 1209675"/>
              <a:gd name="connsiteX45" fmla="*/ 1014412 w 1466850"/>
              <a:gd name="connsiteY45" fmla="*/ 447675 h 1209675"/>
              <a:gd name="connsiteX46" fmla="*/ 1038225 w 1466850"/>
              <a:gd name="connsiteY46" fmla="*/ 445294 h 1209675"/>
              <a:gd name="connsiteX47" fmla="*/ 1073944 w 1466850"/>
              <a:gd name="connsiteY47" fmla="*/ 476250 h 1209675"/>
              <a:gd name="connsiteX48" fmla="*/ 1112044 w 1466850"/>
              <a:gd name="connsiteY48" fmla="*/ 514350 h 1209675"/>
              <a:gd name="connsiteX49" fmla="*/ 1171575 w 1466850"/>
              <a:gd name="connsiteY49" fmla="*/ 540544 h 1209675"/>
              <a:gd name="connsiteX50" fmla="*/ 1219200 w 1466850"/>
              <a:gd name="connsiteY50" fmla="*/ 521494 h 1209675"/>
              <a:gd name="connsiteX51" fmla="*/ 1245394 w 1466850"/>
              <a:gd name="connsiteY51" fmla="*/ 502444 h 1209675"/>
              <a:gd name="connsiteX52" fmla="*/ 1278731 w 1466850"/>
              <a:gd name="connsiteY52" fmla="*/ 511969 h 1209675"/>
              <a:gd name="connsiteX53" fmla="*/ 1295400 w 1466850"/>
              <a:gd name="connsiteY53" fmla="*/ 531019 h 1209675"/>
              <a:gd name="connsiteX54" fmla="*/ 1273969 w 1466850"/>
              <a:gd name="connsiteY54" fmla="*/ 573881 h 1209675"/>
              <a:gd name="connsiteX55" fmla="*/ 1271587 w 1466850"/>
              <a:gd name="connsiteY55" fmla="*/ 602456 h 1209675"/>
              <a:gd name="connsiteX56" fmla="*/ 1285875 w 1466850"/>
              <a:gd name="connsiteY56" fmla="*/ 611981 h 1209675"/>
              <a:gd name="connsiteX57" fmla="*/ 1300162 w 1466850"/>
              <a:gd name="connsiteY57" fmla="*/ 628650 h 1209675"/>
              <a:gd name="connsiteX58" fmla="*/ 1321594 w 1466850"/>
              <a:gd name="connsiteY58" fmla="*/ 666750 h 1209675"/>
              <a:gd name="connsiteX59" fmla="*/ 1347787 w 1466850"/>
              <a:gd name="connsiteY59" fmla="*/ 681037 h 1209675"/>
              <a:gd name="connsiteX60" fmla="*/ 1371600 w 1466850"/>
              <a:gd name="connsiteY60" fmla="*/ 681037 h 1209675"/>
              <a:gd name="connsiteX61" fmla="*/ 1376362 w 1466850"/>
              <a:gd name="connsiteY61" fmla="*/ 628650 h 1209675"/>
              <a:gd name="connsiteX62" fmla="*/ 1395412 w 1466850"/>
              <a:gd name="connsiteY62" fmla="*/ 578644 h 1209675"/>
              <a:gd name="connsiteX63" fmla="*/ 1426369 w 1466850"/>
              <a:gd name="connsiteY63" fmla="*/ 571500 h 1209675"/>
              <a:gd name="connsiteX64" fmla="*/ 1466850 w 1466850"/>
              <a:gd name="connsiteY64" fmla="*/ 552450 h 1209675"/>
              <a:gd name="connsiteX65" fmla="*/ 1443037 w 1466850"/>
              <a:gd name="connsiteY65" fmla="*/ 509587 h 1209675"/>
              <a:gd name="connsiteX66" fmla="*/ 1414462 w 1466850"/>
              <a:gd name="connsiteY66" fmla="*/ 464344 h 1209675"/>
              <a:gd name="connsiteX67" fmla="*/ 1388269 w 1466850"/>
              <a:gd name="connsiteY67" fmla="*/ 438150 h 1209675"/>
              <a:gd name="connsiteX68" fmla="*/ 1404937 w 1466850"/>
              <a:gd name="connsiteY68" fmla="*/ 400050 h 1209675"/>
              <a:gd name="connsiteX69" fmla="*/ 1404937 w 1466850"/>
              <a:gd name="connsiteY69" fmla="*/ 383381 h 1209675"/>
              <a:gd name="connsiteX70" fmla="*/ 1431131 w 1466850"/>
              <a:gd name="connsiteY70" fmla="*/ 338137 h 1209675"/>
              <a:gd name="connsiteX71" fmla="*/ 1419225 w 1466850"/>
              <a:gd name="connsiteY71" fmla="*/ 264319 h 1209675"/>
              <a:gd name="connsiteX72" fmla="*/ 1438275 w 1466850"/>
              <a:gd name="connsiteY72" fmla="*/ 202406 h 1209675"/>
              <a:gd name="connsiteX73" fmla="*/ 1435894 w 1466850"/>
              <a:gd name="connsiteY73" fmla="*/ 173831 h 1209675"/>
              <a:gd name="connsiteX74" fmla="*/ 1404937 w 1466850"/>
              <a:gd name="connsiteY74" fmla="*/ 164306 h 1209675"/>
              <a:gd name="connsiteX75" fmla="*/ 1364456 w 1466850"/>
              <a:gd name="connsiteY75" fmla="*/ 154781 h 1209675"/>
              <a:gd name="connsiteX76" fmla="*/ 1293019 w 1466850"/>
              <a:gd name="connsiteY76" fmla="*/ 154781 h 1209675"/>
              <a:gd name="connsiteX77" fmla="*/ 1233487 w 1466850"/>
              <a:gd name="connsiteY77" fmla="*/ 121444 h 1209675"/>
              <a:gd name="connsiteX78" fmla="*/ 1207294 w 1466850"/>
              <a:gd name="connsiteY78" fmla="*/ 114300 h 1209675"/>
              <a:gd name="connsiteX79" fmla="*/ 1188244 w 1466850"/>
              <a:gd name="connsiteY79" fmla="*/ 126206 h 1209675"/>
              <a:gd name="connsiteX80" fmla="*/ 1133475 w 1466850"/>
              <a:gd name="connsiteY80" fmla="*/ 188119 h 1209675"/>
              <a:gd name="connsiteX81" fmla="*/ 1116806 w 1466850"/>
              <a:gd name="connsiteY81" fmla="*/ 188119 h 1209675"/>
              <a:gd name="connsiteX82" fmla="*/ 1078706 w 1466850"/>
              <a:gd name="connsiteY82" fmla="*/ 142875 h 1209675"/>
              <a:gd name="connsiteX83" fmla="*/ 1054894 w 1466850"/>
              <a:gd name="connsiteY83" fmla="*/ 138112 h 1209675"/>
              <a:gd name="connsiteX84" fmla="*/ 997744 w 1466850"/>
              <a:gd name="connsiteY84" fmla="*/ 157162 h 1209675"/>
              <a:gd name="connsiteX85" fmla="*/ 973931 w 1466850"/>
              <a:gd name="connsiteY85" fmla="*/ 178594 h 1209675"/>
              <a:gd name="connsiteX86" fmla="*/ 928687 w 1466850"/>
              <a:gd name="connsiteY86" fmla="*/ 173831 h 1209675"/>
              <a:gd name="connsiteX87" fmla="*/ 878681 w 1466850"/>
              <a:gd name="connsiteY87" fmla="*/ 164306 h 1209675"/>
              <a:gd name="connsiteX88" fmla="*/ 864394 w 1466850"/>
              <a:gd name="connsiteY88" fmla="*/ 83344 h 1209675"/>
              <a:gd name="connsiteX89" fmla="*/ 845344 w 1466850"/>
              <a:gd name="connsiteY89" fmla="*/ 69056 h 1209675"/>
              <a:gd name="connsiteX90" fmla="*/ 747712 w 1466850"/>
              <a:gd name="connsiteY90" fmla="*/ 119062 h 1209675"/>
              <a:gd name="connsiteX91" fmla="*/ 721519 w 1466850"/>
              <a:gd name="connsiteY91" fmla="*/ 140494 h 1209675"/>
              <a:gd name="connsiteX92" fmla="*/ 709612 w 1466850"/>
              <a:gd name="connsiteY92" fmla="*/ 190500 h 1209675"/>
              <a:gd name="connsiteX93" fmla="*/ 707231 w 1466850"/>
              <a:gd name="connsiteY93" fmla="*/ 195262 h 1209675"/>
              <a:gd name="connsiteX94" fmla="*/ 654844 w 1466850"/>
              <a:gd name="connsiteY94" fmla="*/ 190500 h 1209675"/>
              <a:gd name="connsiteX95" fmla="*/ 633412 w 1466850"/>
              <a:gd name="connsiteY95" fmla="*/ 180975 h 1209675"/>
              <a:gd name="connsiteX96" fmla="*/ 614362 w 1466850"/>
              <a:gd name="connsiteY96" fmla="*/ 142875 h 1209675"/>
              <a:gd name="connsiteX97" fmla="*/ 590550 w 1466850"/>
              <a:gd name="connsiteY97" fmla="*/ 130969 h 1209675"/>
              <a:gd name="connsiteX98" fmla="*/ 540544 w 1466850"/>
              <a:gd name="connsiteY98" fmla="*/ 161925 h 1209675"/>
              <a:gd name="connsiteX99" fmla="*/ 507206 w 1466850"/>
              <a:gd name="connsiteY99" fmla="*/ 154781 h 1209675"/>
              <a:gd name="connsiteX100" fmla="*/ 495300 w 1466850"/>
              <a:gd name="connsiteY100" fmla="*/ 123825 h 1209675"/>
              <a:gd name="connsiteX101" fmla="*/ 490537 w 1466850"/>
              <a:gd name="connsiteY101" fmla="*/ 114300 h 1209675"/>
              <a:gd name="connsiteX102" fmla="*/ 431006 w 1466850"/>
              <a:gd name="connsiteY102" fmla="*/ 97631 h 1209675"/>
              <a:gd name="connsiteX103" fmla="*/ 442912 w 1466850"/>
              <a:gd name="connsiteY103" fmla="*/ 33337 h 1209675"/>
              <a:gd name="connsiteX104" fmla="*/ 423862 w 1466850"/>
              <a:gd name="connsiteY104" fmla="*/ 19050 h 1209675"/>
              <a:gd name="connsiteX105" fmla="*/ 335756 w 1466850"/>
              <a:gd name="connsiteY105" fmla="*/ 0 h 1209675"/>
              <a:gd name="connsiteX106" fmla="*/ 302419 w 1466850"/>
              <a:gd name="connsiteY106" fmla="*/ 35719 h 1209675"/>
              <a:gd name="connsiteX107" fmla="*/ 266700 w 1466850"/>
              <a:gd name="connsiteY107" fmla="*/ 50006 h 1209675"/>
              <a:gd name="connsiteX108" fmla="*/ 271462 w 1466850"/>
              <a:gd name="connsiteY108" fmla="*/ 95250 h 1209675"/>
              <a:gd name="connsiteX109" fmla="*/ 316706 w 1466850"/>
              <a:gd name="connsiteY109" fmla="*/ 121444 h 1209675"/>
              <a:gd name="connsiteX110" fmla="*/ 302419 w 1466850"/>
              <a:gd name="connsiteY110" fmla="*/ 145256 h 1209675"/>
              <a:gd name="connsiteX111" fmla="*/ 247650 w 1466850"/>
              <a:gd name="connsiteY111" fmla="*/ 159544 h 1209675"/>
              <a:gd name="connsiteX112" fmla="*/ 214312 w 1466850"/>
              <a:gd name="connsiteY112" fmla="*/ 216694 h 1209675"/>
              <a:gd name="connsiteX113" fmla="*/ 183356 w 1466850"/>
              <a:gd name="connsiteY113" fmla="*/ 221456 h 1209675"/>
              <a:gd name="connsiteX114" fmla="*/ 183356 w 1466850"/>
              <a:gd name="connsiteY114" fmla="*/ 254794 h 1209675"/>
              <a:gd name="connsiteX115" fmla="*/ 161925 w 1466850"/>
              <a:gd name="connsiteY115" fmla="*/ 304800 h 1209675"/>
              <a:gd name="connsiteX116" fmla="*/ 140494 w 1466850"/>
              <a:gd name="connsiteY116" fmla="*/ 323850 h 1209675"/>
              <a:gd name="connsiteX117" fmla="*/ 71439 w 1466850"/>
              <a:gd name="connsiteY117" fmla="*/ 300039 h 1209675"/>
              <a:gd name="connsiteX118" fmla="*/ 59530 w 1466850"/>
              <a:gd name="connsiteY118" fmla="*/ 302418 h 1209675"/>
              <a:gd name="connsiteX119" fmla="*/ 30956 w 1466850"/>
              <a:gd name="connsiteY119" fmla="*/ 295274 h 1209675"/>
              <a:gd name="connsiteX0" fmla="*/ 30956 w 1466850"/>
              <a:gd name="connsiteY0" fmla="*/ 295274 h 1209675"/>
              <a:gd name="connsiteX1" fmla="*/ 19050 w 1466850"/>
              <a:gd name="connsiteY1" fmla="*/ 381000 h 1209675"/>
              <a:gd name="connsiteX2" fmla="*/ 19050 w 1466850"/>
              <a:gd name="connsiteY2" fmla="*/ 397669 h 1209675"/>
              <a:gd name="connsiteX3" fmla="*/ 0 w 1466850"/>
              <a:gd name="connsiteY3" fmla="*/ 459581 h 1209675"/>
              <a:gd name="connsiteX4" fmla="*/ 7144 w 1466850"/>
              <a:gd name="connsiteY4" fmla="*/ 497681 h 1209675"/>
              <a:gd name="connsiteX5" fmla="*/ 9525 w 1466850"/>
              <a:gd name="connsiteY5" fmla="*/ 535781 h 1209675"/>
              <a:gd name="connsiteX6" fmla="*/ 19050 w 1466850"/>
              <a:gd name="connsiteY6" fmla="*/ 583406 h 1209675"/>
              <a:gd name="connsiteX7" fmla="*/ 23812 w 1466850"/>
              <a:gd name="connsiteY7" fmla="*/ 688181 h 1209675"/>
              <a:gd name="connsiteX8" fmla="*/ 35719 w 1466850"/>
              <a:gd name="connsiteY8" fmla="*/ 747712 h 1209675"/>
              <a:gd name="connsiteX9" fmla="*/ 40481 w 1466850"/>
              <a:gd name="connsiteY9" fmla="*/ 778669 h 1209675"/>
              <a:gd name="connsiteX10" fmla="*/ 47625 w 1466850"/>
              <a:gd name="connsiteY10" fmla="*/ 831056 h 1209675"/>
              <a:gd name="connsiteX11" fmla="*/ 38100 w 1466850"/>
              <a:gd name="connsiteY11" fmla="*/ 919162 h 1209675"/>
              <a:gd name="connsiteX12" fmla="*/ 78581 w 1466850"/>
              <a:gd name="connsiteY12" fmla="*/ 1028700 h 1209675"/>
              <a:gd name="connsiteX13" fmla="*/ 71437 w 1466850"/>
              <a:gd name="connsiteY13" fmla="*/ 1095375 h 1209675"/>
              <a:gd name="connsiteX14" fmla="*/ 88106 w 1466850"/>
              <a:gd name="connsiteY14" fmla="*/ 1164431 h 1209675"/>
              <a:gd name="connsiteX15" fmla="*/ 166687 w 1466850"/>
              <a:gd name="connsiteY15" fmla="*/ 1200149 h 1209675"/>
              <a:gd name="connsiteX16" fmla="*/ 202406 w 1466850"/>
              <a:gd name="connsiteY16" fmla="*/ 1209675 h 1209675"/>
              <a:gd name="connsiteX17" fmla="*/ 219075 w 1466850"/>
              <a:gd name="connsiteY17" fmla="*/ 1150144 h 1209675"/>
              <a:gd name="connsiteX18" fmla="*/ 242887 w 1466850"/>
              <a:gd name="connsiteY18" fmla="*/ 1092994 h 1209675"/>
              <a:gd name="connsiteX19" fmla="*/ 238125 w 1466850"/>
              <a:gd name="connsiteY19" fmla="*/ 1045369 h 1209675"/>
              <a:gd name="connsiteX20" fmla="*/ 230981 w 1466850"/>
              <a:gd name="connsiteY20" fmla="*/ 1035844 h 1209675"/>
              <a:gd name="connsiteX21" fmla="*/ 252412 w 1466850"/>
              <a:gd name="connsiteY21" fmla="*/ 1019175 h 1209675"/>
              <a:gd name="connsiteX22" fmla="*/ 314325 w 1466850"/>
              <a:gd name="connsiteY22" fmla="*/ 995362 h 1209675"/>
              <a:gd name="connsiteX23" fmla="*/ 311944 w 1466850"/>
              <a:gd name="connsiteY23" fmla="*/ 959644 h 1209675"/>
              <a:gd name="connsiteX24" fmla="*/ 326231 w 1466850"/>
              <a:gd name="connsiteY24" fmla="*/ 942975 h 1209675"/>
              <a:gd name="connsiteX25" fmla="*/ 452437 w 1466850"/>
              <a:gd name="connsiteY25" fmla="*/ 950119 h 1209675"/>
              <a:gd name="connsiteX26" fmla="*/ 464344 w 1466850"/>
              <a:gd name="connsiteY26" fmla="*/ 933450 h 1209675"/>
              <a:gd name="connsiteX27" fmla="*/ 476250 w 1466850"/>
              <a:gd name="connsiteY27" fmla="*/ 883444 h 1209675"/>
              <a:gd name="connsiteX28" fmla="*/ 488156 w 1466850"/>
              <a:gd name="connsiteY28" fmla="*/ 857250 h 1209675"/>
              <a:gd name="connsiteX29" fmla="*/ 526256 w 1466850"/>
              <a:gd name="connsiteY29" fmla="*/ 862012 h 1209675"/>
              <a:gd name="connsiteX30" fmla="*/ 545306 w 1466850"/>
              <a:gd name="connsiteY30" fmla="*/ 909637 h 1209675"/>
              <a:gd name="connsiteX31" fmla="*/ 566737 w 1466850"/>
              <a:gd name="connsiteY31" fmla="*/ 881062 h 1209675"/>
              <a:gd name="connsiteX32" fmla="*/ 621506 w 1466850"/>
              <a:gd name="connsiteY32" fmla="*/ 845344 h 1209675"/>
              <a:gd name="connsiteX33" fmla="*/ 709612 w 1466850"/>
              <a:gd name="connsiteY33" fmla="*/ 814387 h 1209675"/>
              <a:gd name="connsiteX34" fmla="*/ 716756 w 1466850"/>
              <a:gd name="connsiteY34" fmla="*/ 769144 h 1209675"/>
              <a:gd name="connsiteX35" fmla="*/ 742950 w 1466850"/>
              <a:gd name="connsiteY35" fmla="*/ 750094 h 1209675"/>
              <a:gd name="connsiteX36" fmla="*/ 785812 w 1466850"/>
              <a:gd name="connsiteY36" fmla="*/ 726281 h 1209675"/>
              <a:gd name="connsiteX37" fmla="*/ 800100 w 1466850"/>
              <a:gd name="connsiteY37" fmla="*/ 716756 h 1209675"/>
              <a:gd name="connsiteX38" fmla="*/ 862012 w 1466850"/>
              <a:gd name="connsiteY38" fmla="*/ 721519 h 1209675"/>
              <a:gd name="connsiteX39" fmla="*/ 883444 w 1466850"/>
              <a:gd name="connsiteY39" fmla="*/ 721519 h 1209675"/>
              <a:gd name="connsiteX40" fmla="*/ 892969 w 1466850"/>
              <a:gd name="connsiteY40" fmla="*/ 697706 h 1209675"/>
              <a:gd name="connsiteX41" fmla="*/ 892969 w 1466850"/>
              <a:gd name="connsiteY41" fmla="*/ 697706 h 1209675"/>
              <a:gd name="connsiteX42" fmla="*/ 921544 w 1466850"/>
              <a:gd name="connsiteY42" fmla="*/ 609600 h 1209675"/>
              <a:gd name="connsiteX43" fmla="*/ 909637 w 1466850"/>
              <a:gd name="connsiteY43" fmla="*/ 552450 h 1209675"/>
              <a:gd name="connsiteX44" fmla="*/ 928687 w 1466850"/>
              <a:gd name="connsiteY44" fmla="*/ 540544 h 1209675"/>
              <a:gd name="connsiteX45" fmla="*/ 973931 w 1466850"/>
              <a:gd name="connsiteY45" fmla="*/ 535781 h 1209675"/>
              <a:gd name="connsiteX46" fmla="*/ 1014412 w 1466850"/>
              <a:gd name="connsiteY46" fmla="*/ 447675 h 1209675"/>
              <a:gd name="connsiteX47" fmla="*/ 1038225 w 1466850"/>
              <a:gd name="connsiteY47" fmla="*/ 445294 h 1209675"/>
              <a:gd name="connsiteX48" fmla="*/ 1073944 w 1466850"/>
              <a:gd name="connsiteY48" fmla="*/ 476250 h 1209675"/>
              <a:gd name="connsiteX49" fmla="*/ 1112044 w 1466850"/>
              <a:gd name="connsiteY49" fmla="*/ 514350 h 1209675"/>
              <a:gd name="connsiteX50" fmla="*/ 1171575 w 1466850"/>
              <a:gd name="connsiteY50" fmla="*/ 540544 h 1209675"/>
              <a:gd name="connsiteX51" fmla="*/ 1219200 w 1466850"/>
              <a:gd name="connsiteY51" fmla="*/ 521494 h 1209675"/>
              <a:gd name="connsiteX52" fmla="*/ 1245394 w 1466850"/>
              <a:gd name="connsiteY52" fmla="*/ 502444 h 1209675"/>
              <a:gd name="connsiteX53" fmla="*/ 1278731 w 1466850"/>
              <a:gd name="connsiteY53" fmla="*/ 511969 h 1209675"/>
              <a:gd name="connsiteX54" fmla="*/ 1295400 w 1466850"/>
              <a:gd name="connsiteY54" fmla="*/ 531019 h 1209675"/>
              <a:gd name="connsiteX55" fmla="*/ 1273969 w 1466850"/>
              <a:gd name="connsiteY55" fmla="*/ 573881 h 1209675"/>
              <a:gd name="connsiteX56" fmla="*/ 1271587 w 1466850"/>
              <a:gd name="connsiteY56" fmla="*/ 602456 h 1209675"/>
              <a:gd name="connsiteX57" fmla="*/ 1285875 w 1466850"/>
              <a:gd name="connsiteY57" fmla="*/ 611981 h 1209675"/>
              <a:gd name="connsiteX58" fmla="*/ 1300162 w 1466850"/>
              <a:gd name="connsiteY58" fmla="*/ 628650 h 1209675"/>
              <a:gd name="connsiteX59" fmla="*/ 1321594 w 1466850"/>
              <a:gd name="connsiteY59" fmla="*/ 666750 h 1209675"/>
              <a:gd name="connsiteX60" fmla="*/ 1347787 w 1466850"/>
              <a:gd name="connsiteY60" fmla="*/ 681037 h 1209675"/>
              <a:gd name="connsiteX61" fmla="*/ 1371600 w 1466850"/>
              <a:gd name="connsiteY61" fmla="*/ 681037 h 1209675"/>
              <a:gd name="connsiteX62" fmla="*/ 1376362 w 1466850"/>
              <a:gd name="connsiteY62" fmla="*/ 628650 h 1209675"/>
              <a:gd name="connsiteX63" fmla="*/ 1395412 w 1466850"/>
              <a:gd name="connsiteY63" fmla="*/ 578644 h 1209675"/>
              <a:gd name="connsiteX64" fmla="*/ 1426369 w 1466850"/>
              <a:gd name="connsiteY64" fmla="*/ 571500 h 1209675"/>
              <a:gd name="connsiteX65" fmla="*/ 1466850 w 1466850"/>
              <a:gd name="connsiteY65" fmla="*/ 552450 h 1209675"/>
              <a:gd name="connsiteX66" fmla="*/ 1443037 w 1466850"/>
              <a:gd name="connsiteY66" fmla="*/ 509587 h 1209675"/>
              <a:gd name="connsiteX67" fmla="*/ 1414462 w 1466850"/>
              <a:gd name="connsiteY67" fmla="*/ 464344 h 1209675"/>
              <a:gd name="connsiteX68" fmla="*/ 1388269 w 1466850"/>
              <a:gd name="connsiteY68" fmla="*/ 438150 h 1209675"/>
              <a:gd name="connsiteX69" fmla="*/ 1404937 w 1466850"/>
              <a:gd name="connsiteY69" fmla="*/ 400050 h 1209675"/>
              <a:gd name="connsiteX70" fmla="*/ 1404937 w 1466850"/>
              <a:gd name="connsiteY70" fmla="*/ 383381 h 1209675"/>
              <a:gd name="connsiteX71" fmla="*/ 1431131 w 1466850"/>
              <a:gd name="connsiteY71" fmla="*/ 338137 h 1209675"/>
              <a:gd name="connsiteX72" fmla="*/ 1419225 w 1466850"/>
              <a:gd name="connsiteY72" fmla="*/ 264319 h 1209675"/>
              <a:gd name="connsiteX73" fmla="*/ 1438275 w 1466850"/>
              <a:gd name="connsiteY73" fmla="*/ 202406 h 1209675"/>
              <a:gd name="connsiteX74" fmla="*/ 1435894 w 1466850"/>
              <a:gd name="connsiteY74" fmla="*/ 173831 h 1209675"/>
              <a:gd name="connsiteX75" fmla="*/ 1404937 w 1466850"/>
              <a:gd name="connsiteY75" fmla="*/ 164306 h 1209675"/>
              <a:gd name="connsiteX76" fmla="*/ 1364456 w 1466850"/>
              <a:gd name="connsiteY76" fmla="*/ 154781 h 1209675"/>
              <a:gd name="connsiteX77" fmla="*/ 1293019 w 1466850"/>
              <a:gd name="connsiteY77" fmla="*/ 154781 h 1209675"/>
              <a:gd name="connsiteX78" fmla="*/ 1233487 w 1466850"/>
              <a:gd name="connsiteY78" fmla="*/ 121444 h 1209675"/>
              <a:gd name="connsiteX79" fmla="*/ 1207294 w 1466850"/>
              <a:gd name="connsiteY79" fmla="*/ 114300 h 1209675"/>
              <a:gd name="connsiteX80" fmla="*/ 1188244 w 1466850"/>
              <a:gd name="connsiteY80" fmla="*/ 126206 h 1209675"/>
              <a:gd name="connsiteX81" fmla="*/ 1133475 w 1466850"/>
              <a:gd name="connsiteY81" fmla="*/ 188119 h 1209675"/>
              <a:gd name="connsiteX82" fmla="*/ 1116806 w 1466850"/>
              <a:gd name="connsiteY82" fmla="*/ 188119 h 1209675"/>
              <a:gd name="connsiteX83" fmla="*/ 1078706 w 1466850"/>
              <a:gd name="connsiteY83" fmla="*/ 142875 h 1209675"/>
              <a:gd name="connsiteX84" fmla="*/ 1054894 w 1466850"/>
              <a:gd name="connsiteY84" fmla="*/ 138112 h 1209675"/>
              <a:gd name="connsiteX85" fmla="*/ 997744 w 1466850"/>
              <a:gd name="connsiteY85" fmla="*/ 157162 h 1209675"/>
              <a:gd name="connsiteX86" fmla="*/ 973931 w 1466850"/>
              <a:gd name="connsiteY86" fmla="*/ 178594 h 1209675"/>
              <a:gd name="connsiteX87" fmla="*/ 928687 w 1466850"/>
              <a:gd name="connsiteY87" fmla="*/ 173831 h 1209675"/>
              <a:gd name="connsiteX88" fmla="*/ 878681 w 1466850"/>
              <a:gd name="connsiteY88" fmla="*/ 164306 h 1209675"/>
              <a:gd name="connsiteX89" fmla="*/ 864394 w 1466850"/>
              <a:gd name="connsiteY89" fmla="*/ 83344 h 1209675"/>
              <a:gd name="connsiteX90" fmla="*/ 845344 w 1466850"/>
              <a:gd name="connsiteY90" fmla="*/ 69056 h 1209675"/>
              <a:gd name="connsiteX91" fmla="*/ 747712 w 1466850"/>
              <a:gd name="connsiteY91" fmla="*/ 119062 h 1209675"/>
              <a:gd name="connsiteX92" fmla="*/ 721519 w 1466850"/>
              <a:gd name="connsiteY92" fmla="*/ 140494 h 1209675"/>
              <a:gd name="connsiteX93" fmla="*/ 709612 w 1466850"/>
              <a:gd name="connsiteY93" fmla="*/ 190500 h 1209675"/>
              <a:gd name="connsiteX94" fmla="*/ 707231 w 1466850"/>
              <a:gd name="connsiteY94" fmla="*/ 195262 h 1209675"/>
              <a:gd name="connsiteX95" fmla="*/ 654844 w 1466850"/>
              <a:gd name="connsiteY95" fmla="*/ 190500 h 1209675"/>
              <a:gd name="connsiteX96" fmla="*/ 633412 w 1466850"/>
              <a:gd name="connsiteY96" fmla="*/ 180975 h 1209675"/>
              <a:gd name="connsiteX97" fmla="*/ 614362 w 1466850"/>
              <a:gd name="connsiteY97" fmla="*/ 142875 h 1209675"/>
              <a:gd name="connsiteX98" fmla="*/ 590550 w 1466850"/>
              <a:gd name="connsiteY98" fmla="*/ 130969 h 1209675"/>
              <a:gd name="connsiteX99" fmla="*/ 540544 w 1466850"/>
              <a:gd name="connsiteY99" fmla="*/ 161925 h 1209675"/>
              <a:gd name="connsiteX100" fmla="*/ 507206 w 1466850"/>
              <a:gd name="connsiteY100" fmla="*/ 154781 h 1209675"/>
              <a:gd name="connsiteX101" fmla="*/ 495300 w 1466850"/>
              <a:gd name="connsiteY101" fmla="*/ 123825 h 1209675"/>
              <a:gd name="connsiteX102" fmla="*/ 490537 w 1466850"/>
              <a:gd name="connsiteY102" fmla="*/ 114300 h 1209675"/>
              <a:gd name="connsiteX103" fmla="*/ 431006 w 1466850"/>
              <a:gd name="connsiteY103" fmla="*/ 97631 h 1209675"/>
              <a:gd name="connsiteX104" fmla="*/ 442912 w 1466850"/>
              <a:gd name="connsiteY104" fmla="*/ 33337 h 1209675"/>
              <a:gd name="connsiteX105" fmla="*/ 423862 w 1466850"/>
              <a:gd name="connsiteY105" fmla="*/ 19050 h 1209675"/>
              <a:gd name="connsiteX106" fmla="*/ 335756 w 1466850"/>
              <a:gd name="connsiteY106" fmla="*/ 0 h 1209675"/>
              <a:gd name="connsiteX107" fmla="*/ 302419 w 1466850"/>
              <a:gd name="connsiteY107" fmla="*/ 35719 h 1209675"/>
              <a:gd name="connsiteX108" fmla="*/ 266700 w 1466850"/>
              <a:gd name="connsiteY108" fmla="*/ 50006 h 1209675"/>
              <a:gd name="connsiteX109" fmla="*/ 271462 w 1466850"/>
              <a:gd name="connsiteY109" fmla="*/ 95250 h 1209675"/>
              <a:gd name="connsiteX110" fmla="*/ 316706 w 1466850"/>
              <a:gd name="connsiteY110" fmla="*/ 121444 h 1209675"/>
              <a:gd name="connsiteX111" fmla="*/ 302419 w 1466850"/>
              <a:gd name="connsiteY111" fmla="*/ 145256 h 1209675"/>
              <a:gd name="connsiteX112" fmla="*/ 247650 w 1466850"/>
              <a:gd name="connsiteY112" fmla="*/ 159544 h 1209675"/>
              <a:gd name="connsiteX113" fmla="*/ 214312 w 1466850"/>
              <a:gd name="connsiteY113" fmla="*/ 216694 h 1209675"/>
              <a:gd name="connsiteX114" fmla="*/ 183356 w 1466850"/>
              <a:gd name="connsiteY114" fmla="*/ 221456 h 1209675"/>
              <a:gd name="connsiteX115" fmla="*/ 183356 w 1466850"/>
              <a:gd name="connsiteY115" fmla="*/ 254794 h 1209675"/>
              <a:gd name="connsiteX116" fmla="*/ 161925 w 1466850"/>
              <a:gd name="connsiteY116" fmla="*/ 304800 h 1209675"/>
              <a:gd name="connsiteX117" fmla="*/ 140494 w 1466850"/>
              <a:gd name="connsiteY117" fmla="*/ 323850 h 1209675"/>
              <a:gd name="connsiteX118" fmla="*/ 71439 w 1466850"/>
              <a:gd name="connsiteY118" fmla="*/ 300039 h 1209675"/>
              <a:gd name="connsiteX119" fmla="*/ 59530 w 1466850"/>
              <a:gd name="connsiteY119" fmla="*/ 302418 h 1209675"/>
              <a:gd name="connsiteX120" fmla="*/ 30956 w 1466850"/>
              <a:gd name="connsiteY120" fmla="*/ 295274 h 1209675"/>
              <a:gd name="connsiteX0" fmla="*/ 30956 w 1466850"/>
              <a:gd name="connsiteY0" fmla="*/ 295274 h 1209675"/>
              <a:gd name="connsiteX1" fmla="*/ 19050 w 1466850"/>
              <a:gd name="connsiteY1" fmla="*/ 381000 h 1209675"/>
              <a:gd name="connsiteX2" fmla="*/ 19050 w 1466850"/>
              <a:gd name="connsiteY2" fmla="*/ 397669 h 1209675"/>
              <a:gd name="connsiteX3" fmla="*/ 0 w 1466850"/>
              <a:gd name="connsiteY3" fmla="*/ 459581 h 1209675"/>
              <a:gd name="connsiteX4" fmla="*/ 7144 w 1466850"/>
              <a:gd name="connsiteY4" fmla="*/ 497681 h 1209675"/>
              <a:gd name="connsiteX5" fmla="*/ 9525 w 1466850"/>
              <a:gd name="connsiteY5" fmla="*/ 535781 h 1209675"/>
              <a:gd name="connsiteX6" fmla="*/ 19050 w 1466850"/>
              <a:gd name="connsiteY6" fmla="*/ 583406 h 1209675"/>
              <a:gd name="connsiteX7" fmla="*/ 23812 w 1466850"/>
              <a:gd name="connsiteY7" fmla="*/ 688181 h 1209675"/>
              <a:gd name="connsiteX8" fmla="*/ 35719 w 1466850"/>
              <a:gd name="connsiteY8" fmla="*/ 747712 h 1209675"/>
              <a:gd name="connsiteX9" fmla="*/ 40481 w 1466850"/>
              <a:gd name="connsiteY9" fmla="*/ 778669 h 1209675"/>
              <a:gd name="connsiteX10" fmla="*/ 47625 w 1466850"/>
              <a:gd name="connsiteY10" fmla="*/ 831056 h 1209675"/>
              <a:gd name="connsiteX11" fmla="*/ 38100 w 1466850"/>
              <a:gd name="connsiteY11" fmla="*/ 919162 h 1209675"/>
              <a:gd name="connsiteX12" fmla="*/ 78581 w 1466850"/>
              <a:gd name="connsiteY12" fmla="*/ 1028700 h 1209675"/>
              <a:gd name="connsiteX13" fmla="*/ 71437 w 1466850"/>
              <a:gd name="connsiteY13" fmla="*/ 1095375 h 1209675"/>
              <a:gd name="connsiteX14" fmla="*/ 88106 w 1466850"/>
              <a:gd name="connsiteY14" fmla="*/ 1164431 h 1209675"/>
              <a:gd name="connsiteX15" fmla="*/ 166687 w 1466850"/>
              <a:gd name="connsiteY15" fmla="*/ 1200149 h 1209675"/>
              <a:gd name="connsiteX16" fmla="*/ 202406 w 1466850"/>
              <a:gd name="connsiteY16" fmla="*/ 1209675 h 1209675"/>
              <a:gd name="connsiteX17" fmla="*/ 159544 w 1466850"/>
              <a:gd name="connsiteY17" fmla="*/ 1112044 h 1209675"/>
              <a:gd name="connsiteX18" fmla="*/ 242887 w 1466850"/>
              <a:gd name="connsiteY18" fmla="*/ 1092994 h 1209675"/>
              <a:gd name="connsiteX19" fmla="*/ 238125 w 1466850"/>
              <a:gd name="connsiteY19" fmla="*/ 1045369 h 1209675"/>
              <a:gd name="connsiteX20" fmla="*/ 230981 w 1466850"/>
              <a:gd name="connsiteY20" fmla="*/ 1035844 h 1209675"/>
              <a:gd name="connsiteX21" fmla="*/ 252412 w 1466850"/>
              <a:gd name="connsiteY21" fmla="*/ 1019175 h 1209675"/>
              <a:gd name="connsiteX22" fmla="*/ 314325 w 1466850"/>
              <a:gd name="connsiteY22" fmla="*/ 995362 h 1209675"/>
              <a:gd name="connsiteX23" fmla="*/ 311944 w 1466850"/>
              <a:gd name="connsiteY23" fmla="*/ 959644 h 1209675"/>
              <a:gd name="connsiteX24" fmla="*/ 326231 w 1466850"/>
              <a:gd name="connsiteY24" fmla="*/ 942975 h 1209675"/>
              <a:gd name="connsiteX25" fmla="*/ 452437 w 1466850"/>
              <a:gd name="connsiteY25" fmla="*/ 950119 h 1209675"/>
              <a:gd name="connsiteX26" fmla="*/ 464344 w 1466850"/>
              <a:gd name="connsiteY26" fmla="*/ 933450 h 1209675"/>
              <a:gd name="connsiteX27" fmla="*/ 476250 w 1466850"/>
              <a:gd name="connsiteY27" fmla="*/ 883444 h 1209675"/>
              <a:gd name="connsiteX28" fmla="*/ 488156 w 1466850"/>
              <a:gd name="connsiteY28" fmla="*/ 857250 h 1209675"/>
              <a:gd name="connsiteX29" fmla="*/ 526256 w 1466850"/>
              <a:gd name="connsiteY29" fmla="*/ 862012 h 1209675"/>
              <a:gd name="connsiteX30" fmla="*/ 545306 w 1466850"/>
              <a:gd name="connsiteY30" fmla="*/ 909637 h 1209675"/>
              <a:gd name="connsiteX31" fmla="*/ 566737 w 1466850"/>
              <a:gd name="connsiteY31" fmla="*/ 881062 h 1209675"/>
              <a:gd name="connsiteX32" fmla="*/ 621506 w 1466850"/>
              <a:gd name="connsiteY32" fmla="*/ 845344 h 1209675"/>
              <a:gd name="connsiteX33" fmla="*/ 709612 w 1466850"/>
              <a:gd name="connsiteY33" fmla="*/ 814387 h 1209675"/>
              <a:gd name="connsiteX34" fmla="*/ 716756 w 1466850"/>
              <a:gd name="connsiteY34" fmla="*/ 769144 h 1209675"/>
              <a:gd name="connsiteX35" fmla="*/ 742950 w 1466850"/>
              <a:gd name="connsiteY35" fmla="*/ 750094 h 1209675"/>
              <a:gd name="connsiteX36" fmla="*/ 785812 w 1466850"/>
              <a:gd name="connsiteY36" fmla="*/ 726281 h 1209675"/>
              <a:gd name="connsiteX37" fmla="*/ 800100 w 1466850"/>
              <a:gd name="connsiteY37" fmla="*/ 716756 h 1209675"/>
              <a:gd name="connsiteX38" fmla="*/ 862012 w 1466850"/>
              <a:gd name="connsiteY38" fmla="*/ 721519 h 1209675"/>
              <a:gd name="connsiteX39" fmla="*/ 883444 w 1466850"/>
              <a:gd name="connsiteY39" fmla="*/ 721519 h 1209675"/>
              <a:gd name="connsiteX40" fmla="*/ 892969 w 1466850"/>
              <a:gd name="connsiteY40" fmla="*/ 697706 h 1209675"/>
              <a:gd name="connsiteX41" fmla="*/ 892969 w 1466850"/>
              <a:gd name="connsiteY41" fmla="*/ 697706 h 1209675"/>
              <a:gd name="connsiteX42" fmla="*/ 921544 w 1466850"/>
              <a:gd name="connsiteY42" fmla="*/ 609600 h 1209675"/>
              <a:gd name="connsiteX43" fmla="*/ 909637 w 1466850"/>
              <a:gd name="connsiteY43" fmla="*/ 552450 h 1209675"/>
              <a:gd name="connsiteX44" fmla="*/ 928687 w 1466850"/>
              <a:gd name="connsiteY44" fmla="*/ 540544 h 1209675"/>
              <a:gd name="connsiteX45" fmla="*/ 973931 w 1466850"/>
              <a:gd name="connsiteY45" fmla="*/ 535781 h 1209675"/>
              <a:gd name="connsiteX46" fmla="*/ 1014412 w 1466850"/>
              <a:gd name="connsiteY46" fmla="*/ 447675 h 1209675"/>
              <a:gd name="connsiteX47" fmla="*/ 1038225 w 1466850"/>
              <a:gd name="connsiteY47" fmla="*/ 445294 h 1209675"/>
              <a:gd name="connsiteX48" fmla="*/ 1073944 w 1466850"/>
              <a:gd name="connsiteY48" fmla="*/ 476250 h 1209675"/>
              <a:gd name="connsiteX49" fmla="*/ 1112044 w 1466850"/>
              <a:gd name="connsiteY49" fmla="*/ 514350 h 1209675"/>
              <a:gd name="connsiteX50" fmla="*/ 1171575 w 1466850"/>
              <a:gd name="connsiteY50" fmla="*/ 540544 h 1209675"/>
              <a:gd name="connsiteX51" fmla="*/ 1219200 w 1466850"/>
              <a:gd name="connsiteY51" fmla="*/ 521494 h 1209675"/>
              <a:gd name="connsiteX52" fmla="*/ 1245394 w 1466850"/>
              <a:gd name="connsiteY52" fmla="*/ 502444 h 1209675"/>
              <a:gd name="connsiteX53" fmla="*/ 1278731 w 1466850"/>
              <a:gd name="connsiteY53" fmla="*/ 511969 h 1209675"/>
              <a:gd name="connsiteX54" fmla="*/ 1295400 w 1466850"/>
              <a:gd name="connsiteY54" fmla="*/ 531019 h 1209675"/>
              <a:gd name="connsiteX55" fmla="*/ 1273969 w 1466850"/>
              <a:gd name="connsiteY55" fmla="*/ 573881 h 1209675"/>
              <a:gd name="connsiteX56" fmla="*/ 1271587 w 1466850"/>
              <a:gd name="connsiteY56" fmla="*/ 602456 h 1209675"/>
              <a:gd name="connsiteX57" fmla="*/ 1285875 w 1466850"/>
              <a:gd name="connsiteY57" fmla="*/ 611981 h 1209675"/>
              <a:gd name="connsiteX58" fmla="*/ 1300162 w 1466850"/>
              <a:gd name="connsiteY58" fmla="*/ 628650 h 1209675"/>
              <a:gd name="connsiteX59" fmla="*/ 1321594 w 1466850"/>
              <a:gd name="connsiteY59" fmla="*/ 666750 h 1209675"/>
              <a:gd name="connsiteX60" fmla="*/ 1347787 w 1466850"/>
              <a:gd name="connsiteY60" fmla="*/ 681037 h 1209675"/>
              <a:gd name="connsiteX61" fmla="*/ 1371600 w 1466850"/>
              <a:gd name="connsiteY61" fmla="*/ 681037 h 1209675"/>
              <a:gd name="connsiteX62" fmla="*/ 1376362 w 1466850"/>
              <a:gd name="connsiteY62" fmla="*/ 628650 h 1209675"/>
              <a:gd name="connsiteX63" fmla="*/ 1395412 w 1466850"/>
              <a:gd name="connsiteY63" fmla="*/ 578644 h 1209675"/>
              <a:gd name="connsiteX64" fmla="*/ 1426369 w 1466850"/>
              <a:gd name="connsiteY64" fmla="*/ 571500 h 1209675"/>
              <a:gd name="connsiteX65" fmla="*/ 1466850 w 1466850"/>
              <a:gd name="connsiteY65" fmla="*/ 552450 h 1209675"/>
              <a:gd name="connsiteX66" fmla="*/ 1443037 w 1466850"/>
              <a:gd name="connsiteY66" fmla="*/ 509587 h 1209675"/>
              <a:gd name="connsiteX67" fmla="*/ 1414462 w 1466850"/>
              <a:gd name="connsiteY67" fmla="*/ 464344 h 1209675"/>
              <a:gd name="connsiteX68" fmla="*/ 1388269 w 1466850"/>
              <a:gd name="connsiteY68" fmla="*/ 438150 h 1209675"/>
              <a:gd name="connsiteX69" fmla="*/ 1404937 w 1466850"/>
              <a:gd name="connsiteY69" fmla="*/ 400050 h 1209675"/>
              <a:gd name="connsiteX70" fmla="*/ 1404937 w 1466850"/>
              <a:gd name="connsiteY70" fmla="*/ 383381 h 1209675"/>
              <a:gd name="connsiteX71" fmla="*/ 1431131 w 1466850"/>
              <a:gd name="connsiteY71" fmla="*/ 338137 h 1209675"/>
              <a:gd name="connsiteX72" fmla="*/ 1419225 w 1466850"/>
              <a:gd name="connsiteY72" fmla="*/ 264319 h 1209675"/>
              <a:gd name="connsiteX73" fmla="*/ 1438275 w 1466850"/>
              <a:gd name="connsiteY73" fmla="*/ 202406 h 1209675"/>
              <a:gd name="connsiteX74" fmla="*/ 1435894 w 1466850"/>
              <a:gd name="connsiteY74" fmla="*/ 173831 h 1209675"/>
              <a:gd name="connsiteX75" fmla="*/ 1404937 w 1466850"/>
              <a:gd name="connsiteY75" fmla="*/ 164306 h 1209675"/>
              <a:gd name="connsiteX76" fmla="*/ 1364456 w 1466850"/>
              <a:gd name="connsiteY76" fmla="*/ 154781 h 1209675"/>
              <a:gd name="connsiteX77" fmla="*/ 1293019 w 1466850"/>
              <a:gd name="connsiteY77" fmla="*/ 154781 h 1209675"/>
              <a:gd name="connsiteX78" fmla="*/ 1233487 w 1466850"/>
              <a:gd name="connsiteY78" fmla="*/ 121444 h 1209675"/>
              <a:gd name="connsiteX79" fmla="*/ 1207294 w 1466850"/>
              <a:gd name="connsiteY79" fmla="*/ 114300 h 1209675"/>
              <a:gd name="connsiteX80" fmla="*/ 1188244 w 1466850"/>
              <a:gd name="connsiteY80" fmla="*/ 126206 h 1209675"/>
              <a:gd name="connsiteX81" fmla="*/ 1133475 w 1466850"/>
              <a:gd name="connsiteY81" fmla="*/ 188119 h 1209675"/>
              <a:gd name="connsiteX82" fmla="*/ 1116806 w 1466850"/>
              <a:gd name="connsiteY82" fmla="*/ 188119 h 1209675"/>
              <a:gd name="connsiteX83" fmla="*/ 1078706 w 1466850"/>
              <a:gd name="connsiteY83" fmla="*/ 142875 h 1209675"/>
              <a:gd name="connsiteX84" fmla="*/ 1054894 w 1466850"/>
              <a:gd name="connsiteY84" fmla="*/ 138112 h 1209675"/>
              <a:gd name="connsiteX85" fmla="*/ 997744 w 1466850"/>
              <a:gd name="connsiteY85" fmla="*/ 157162 h 1209675"/>
              <a:gd name="connsiteX86" fmla="*/ 973931 w 1466850"/>
              <a:gd name="connsiteY86" fmla="*/ 178594 h 1209675"/>
              <a:gd name="connsiteX87" fmla="*/ 928687 w 1466850"/>
              <a:gd name="connsiteY87" fmla="*/ 173831 h 1209675"/>
              <a:gd name="connsiteX88" fmla="*/ 878681 w 1466850"/>
              <a:gd name="connsiteY88" fmla="*/ 164306 h 1209675"/>
              <a:gd name="connsiteX89" fmla="*/ 864394 w 1466850"/>
              <a:gd name="connsiteY89" fmla="*/ 83344 h 1209675"/>
              <a:gd name="connsiteX90" fmla="*/ 845344 w 1466850"/>
              <a:gd name="connsiteY90" fmla="*/ 69056 h 1209675"/>
              <a:gd name="connsiteX91" fmla="*/ 747712 w 1466850"/>
              <a:gd name="connsiteY91" fmla="*/ 119062 h 1209675"/>
              <a:gd name="connsiteX92" fmla="*/ 721519 w 1466850"/>
              <a:gd name="connsiteY92" fmla="*/ 140494 h 1209675"/>
              <a:gd name="connsiteX93" fmla="*/ 709612 w 1466850"/>
              <a:gd name="connsiteY93" fmla="*/ 190500 h 1209675"/>
              <a:gd name="connsiteX94" fmla="*/ 707231 w 1466850"/>
              <a:gd name="connsiteY94" fmla="*/ 195262 h 1209675"/>
              <a:gd name="connsiteX95" fmla="*/ 654844 w 1466850"/>
              <a:gd name="connsiteY95" fmla="*/ 190500 h 1209675"/>
              <a:gd name="connsiteX96" fmla="*/ 633412 w 1466850"/>
              <a:gd name="connsiteY96" fmla="*/ 180975 h 1209675"/>
              <a:gd name="connsiteX97" fmla="*/ 614362 w 1466850"/>
              <a:gd name="connsiteY97" fmla="*/ 142875 h 1209675"/>
              <a:gd name="connsiteX98" fmla="*/ 590550 w 1466850"/>
              <a:gd name="connsiteY98" fmla="*/ 130969 h 1209675"/>
              <a:gd name="connsiteX99" fmla="*/ 540544 w 1466850"/>
              <a:gd name="connsiteY99" fmla="*/ 161925 h 1209675"/>
              <a:gd name="connsiteX100" fmla="*/ 507206 w 1466850"/>
              <a:gd name="connsiteY100" fmla="*/ 154781 h 1209675"/>
              <a:gd name="connsiteX101" fmla="*/ 495300 w 1466850"/>
              <a:gd name="connsiteY101" fmla="*/ 123825 h 1209675"/>
              <a:gd name="connsiteX102" fmla="*/ 490537 w 1466850"/>
              <a:gd name="connsiteY102" fmla="*/ 114300 h 1209675"/>
              <a:gd name="connsiteX103" fmla="*/ 431006 w 1466850"/>
              <a:gd name="connsiteY103" fmla="*/ 97631 h 1209675"/>
              <a:gd name="connsiteX104" fmla="*/ 442912 w 1466850"/>
              <a:gd name="connsiteY104" fmla="*/ 33337 h 1209675"/>
              <a:gd name="connsiteX105" fmla="*/ 423862 w 1466850"/>
              <a:gd name="connsiteY105" fmla="*/ 19050 h 1209675"/>
              <a:gd name="connsiteX106" fmla="*/ 335756 w 1466850"/>
              <a:gd name="connsiteY106" fmla="*/ 0 h 1209675"/>
              <a:gd name="connsiteX107" fmla="*/ 302419 w 1466850"/>
              <a:gd name="connsiteY107" fmla="*/ 35719 h 1209675"/>
              <a:gd name="connsiteX108" fmla="*/ 266700 w 1466850"/>
              <a:gd name="connsiteY108" fmla="*/ 50006 h 1209675"/>
              <a:gd name="connsiteX109" fmla="*/ 271462 w 1466850"/>
              <a:gd name="connsiteY109" fmla="*/ 95250 h 1209675"/>
              <a:gd name="connsiteX110" fmla="*/ 316706 w 1466850"/>
              <a:gd name="connsiteY110" fmla="*/ 121444 h 1209675"/>
              <a:gd name="connsiteX111" fmla="*/ 302419 w 1466850"/>
              <a:gd name="connsiteY111" fmla="*/ 145256 h 1209675"/>
              <a:gd name="connsiteX112" fmla="*/ 247650 w 1466850"/>
              <a:gd name="connsiteY112" fmla="*/ 159544 h 1209675"/>
              <a:gd name="connsiteX113" fmla="*/ 214312 w 1466850"/>
              <a:gd name="connsiteY113" fmla="*/ 216694 h 1209675"/>
              <a:gd name="connsiteX114" fmla="*/ 183356 w 1466850"/>
              <a:gd name="connsiteY114" fmla="*/ 221456 h 1209675"/>
              <a:gd name="connsiteX115" fmla="*/ 183356 w 1466850"/>
              <a:gd name="connsiteY115" fmla="*/ 254794 h 1209675"/>
              <a:gd name="connsiteX116" fmla="*/ 161925 w 1466850"/>
              <a:gd name="connsiteY116" fmla="*/ 304800 h 1209675"/>
              <a:gd name="connsiteX117" fmla="*/ 140494 w 1466850"/>
              <a:gd name="connsiteY117" fmla="*/ 323850 h 1209675"/>
              <a:gd name="connsiteX118" fmla="*/ 71439 w 1466850"/>
              <a:gd name="connsiteY118" fmla="*/ 300039 h 1209675"/>
              <a:gd name="connsiteX119" fmla="*/ 59530 w 1466850"/>
              <a:gd name="connsiteY119" fmla="*/ 302418 h 1209675"/>
              <a:gd name="connsiteX120" fmla="*/ 30956 w 1466850"/>
              <a:gd name="connsiteY120" fmla="*/ 295274 h 1209675"/>
              <a:gd name="connsiteX0" fmla="*/ 30956 w 1466850"/>
              <a:gd name="connsiteY0" fmla="*/ 295274 h 1209675"/>
              <a:gd name="connsiteX1" fmla="*/ 19050 w 1466850"/>
              <a:gd name="connsiteY1" fmla="*/ 381000 h 1209675"/>
              <a:gd name="connsiteX2" fmla="*/ 19050 w 1466850"/>
              <a:gd name="connsiteY2" fmla="*/ 397669 h 1209675"/>
              <a:gd name="connsiteX3" fmla="*/ 0 w 1466850"/>
              <a:gd name="connsiteY3" fmla="*/ 459581 h 1209675"/>
              <a:gd name="connsiteX4" fmla="*/ 7144 w 1466850"/>
              <a:gd name="connsiteY4" fmla="*/ 497681 h 1209675"/>
              <a:gd name="connsiteX5" fmla="*/ 9525 w 1466850"/>
              <a:gd name="connsiteY5" fmla="*/ 535781 h 1209675"/>
              <a:gd name="connsiteX6" fmla="*/ 19050 w 1466850"/>
              <a:gd name="connsiteY6" fmla="*/ 583406 h 1209675"/>
              <a:gd name="connsiteX7" fmla="*/ 23812 w 1466850"/>
              <a:gd name="connsiteY7" fmla="*/ 688181 h 1209675"/>
              <a:gd name="connsiteX8" fmla="*/ 35719 w 1466850"/>
              <a:gd name="connsiteY8" fmla="*/ 747712 h 1209675"/>
              <a:gd name="connsiteX9" fmla="*/ 40481 w 1466850"/>
              <a:gd name="connsiteY9" fmla="*/ 778669 h 1209675"/>
              <a:gd name="connsiteX10" fmla="*/ 47625 w 1466850"/>
              <a:gd name="connsiteY10" fmla="*/ 831056 h 1209675"/>
              <a:gd name="connsiteX11" fmla="*/ 38100 w 1466850"/>
              <a:gd name="connsiteY11" fmla="*/ 919162 h 1209675"/>
              <a:gd name="connsiteX12" fmla="*/ 78581 w 1466850"/>
              <a:gd name="connsiteY12" fmla="*/ 1028700 h 1209675"/>
              <a:gd name="connsiteX13" fmla="*/ 71437 w 1466850"/>
              <a:gd name="connsiteY13" fmla="*/ 1095375 h 1209675"/>
              <a:gd name="connsiteX14" fmla="*/ 88106 w 1466850"/>
              <a:gd name="connsiteY14" fmla="*/ 1164431 h 1209675"/>
              <a:gd name="connsiteX15" fmla="*/ 166687 w 1466850"/>
              <a:gd name="connsiteY15" fmla="*/ 1200149 h 1209675"/>
              <a:gd name="connsiteX16" fmla="*/ 202406 w 1466850"/>
              <a:gd name="connsiteY16" fmla="*/ 1209675 h 1209675"/>
              <a:gd name="connsiteX17" fmla="*/ 188119 w 1466850"/>
              <a:gd name="connsiteY17" fmla="*/ 1145381 h 1209675"/>
              <a:gd name="connsiteX18" fmla="*/ 242887 w 1466850"/>
              <a:gd name="connsiteY18" fmla="*/ 1092994 h 1209675"/>
              <a:gd name="connsiteX19" fmla="*/ 238125 w 1466850"/>
              <a:gd name="connsiteY19" fmla="*/ 1045369 h 1209675"/>
              <a:gd name="connsiteX20" fmla="*/ 230981 w 1466850"/>
              <a:gd name="connsiteY20" fmla="*/ 1035844 h 1209675"/>
              <a:gd name="connsiteX21" fmla="*/ 252412 w 1466850"/>
              <a:gd name="connsiteY21" fmla="*/ 1019175 h 1209675"/>
              <a:gd name="connsiteX22" fmla="*/ 314325 w 1466850"/>
              <a:gd name="connsiteY22" fmla="*/ 995362 h 1209675"/>
              <a:gd name="connsiteX23" fmla="*/ 311944 w 1466850"/>
              <a:gd name="connsiteY23" fmla="*/ 959644 h 1209675"/>
              <a:gd name="connsiteX24" fmla="*/ 326231 w 1466850"/>
              <a:gd name="connsiteY24" fmla="*/ 942975 h 1209675"/>
              <a:gd name="connsiteX25" fmla="*/ 452437 w 1466850"/>
              <a:gd name="connsiteY25" fmla="*/ 950119 h 1209675"/>
              <a:gd name="connsiteX26" fmla="*/ 464344 w 1466850"/>
              <a:gd name="connsiteY26" fmla="*/ 933450 h 1209675"/>
              <a:gd name="connsiteX27" fmla="*/ 476250 w 1466850"/>
              <a:gd name="connsiteY27" fmla="*/ 883444 h 1209675"/>
              <a:gd name="connsiteX28" fmla="*/ 488156 w 1466850"/>
              <a:gd name="connsiteY28" fmla="*/ 857250 h 1209675"/>
              <a:gd name="connsiteX29" fmla="*/ 526256 w 1466850"/>
              <a:gd name="connsiteY29" fmla="*/ 862012 h 1209675"/>
              <a:gd name="connsiteX30" fmla="*/ 545306 w 1466850"/>
              <a:gd name="connsiteY30" fmla="*/ 909637 h 1209675"/>
              <a:gd name="connsiteX31" fmla="*/ 566737 w 1466850"/>
              <a:gd name="connsiteY31" fmla="*/ 881062 h 1209675"/>
              <a:gd name="connsiteX32" fmla="*/ 621506 w 1466850"/>
              <a:gd name="connsiteY32" fmla="*/ 845344 h 1209675"/>
              <a:gd name="connsiteX33" fmla="*/ 709612 w 1466850"/>
              <a:gd name="connsiteY33" fmla="*/ 814387 h 1209675"/>
              <a:gd name="connsiteX34" fmla="*/ 716756 w 1466850"/>
              <a:gd name="connsiteY34" fmla="*/ 769144 h 1209675"/>
              <a:gd name="connsiteX35" fmla="*/ 742950 w 1466850"/>
              <a:gd name="connsiteY35" fmla="*/ 750094 h 1209675"/>
              <a:gd name="connsiteX36" fmla="*/ 785812 w 1466850"/>
              <a:gd name="connsiteY36" fmla="*/ 726281 h 1209675"/>
              <a:gd name="connsiteX37" fmla="*/ 800100 w 1466850"/>
              <a:gd name="connsiteY37" fmla="*/ 716756 h 1209675"/>
              <a:gd name="connsiteX38" fmla="*/ 862012 w 1466850"/>
              <a:gd name="connsiteY38" fmla="*/ 721519 h 1209675"/>
              <a:gd name="connsiteX39" fmla="*/ 883444 w 1466850"/>
              <a:gd name="connsiteY39" fmla="*/ 721519 h 1209675"/>
              <a:gd name="connsiteX40" fmla="*/ 892969 w 1466850"/>
              <a:gd name="connsiteY40" fmla="*/ 697706 h 1209675"/>
              <a:gd name="connsiteX41" fmla="*/ 892969 w 1466850"/>
              <a:gd name="connsiteY41" fmla="*/ 697706 h 1209675"/>
              <a:gd name="connsiteX42" fmla="*/ 921544 w 1466850"/>
              <a:gd name="connsiteY42" fmla="*/ 609600 h 1209675"/>
              <a:gd name="connsiteX43" fmla="*/ 909637 w 1466850"/>
              <a:gd name="connsiteY43" fmla="*/ 552450 h 1209675"/>
              <a:gd name="connsiteX44" fmla="*/ 928687 w 1466850"/>
              <a:gd name="connsiteY44" fmla="*/ 540544 h 1209675"/>
              <a:gd name="connsiteX45" fmla="*/ 973931 w 1466850"/>
              <a:gd name="connsiteY45" fmla="*/ 535781 h 1209675"/>
              <a:gd name="connsiteX46" fmla="*/ 1014412 w 1466850"/>
              <a:gd name="connsiteY46" fmla="*/ 447675 h 1209675"/>
              <a:gd name="connsiteX47" fmla="*/ 1038225 w 1466850"/>
              <a:gd name="connsiteY47" fmla="*/ 445294 h 1209675"/>
              <a:gd name="connsiteX48" fmla="*/ 1073944 w 1466850"/>
              <a:gd name="connsiteY48" fmla="*/ 476250 h 1209675"/>
              <a:gd name="connsiteX49" fmla="*/ 1112044 w 1466850"/>
              <a:gd name="connsiteY49" fmla="*/ 514350 h 1209675"/>
              <a:gd name="connsiteX50" fmla="*/ 1171575 w 1466850"/>
              <a:gd name="connsiteY50" fmla="*/ 540544 h 1209675"/>
              <a:gd name="connsiteX51" fmla="*/ 1219200 w 1466850"/>
              <a:gd name="connsiteY51" fmla="*/ 521494 h 1209675"/>
              <a:gd name="connsiteX52" fmla="*/ 1245394 w 1466850"/>
              <a:gd name="connsiteY52" fmla="*/ 502444 h 1209675"/>
              <a:gd name="connsiteX53" fmla="*/ 1278731 w 1466850"/>
              <a:gd name="connsiteY53" fmla="*/ 511969 h 1209675"/>
              <a:gd name="connsiteX54" fmla="*/ 1295400 w 1466850"/>
              <a:gd name="connsiteY54" fmla="*/ 531019 h 1209675"/>
              <a:gd name="connsiteX55" fmla="*/ 1273969 w 1466850"/>
              <a:gd name="connsiteY55" fmla="*/ 573881 h 1209675"/>
              <a:gd name="connsiteX56" fmla="*/ 1271587 w 1466850"/>
              <a:gd name="connsiteY56" fmla="*/ 602456 h 1209675"/>
              <a:gd name="connsiteX57" fmla="*/ 1285875 w 1466850"/>
              <a:gd name="connsiteY57" fmla="*/ 611981 h 1209675"/>
              <a:gd name="connsiteX58" fmla="*/ 1300162 w 1466850"/>
              <a:gd name="connsiteY58" fmla="*/ 628650 h 1209675"/>
              <a:gd name="connsiteX59" fmla="*/ 1321594 w 1466850"/>
              <a:gd name="connsiteY59" fmla="*/ 666750 h 1209675"/>
              <a:gd name="connsiteX60" fmla="*/ 1347787 w 1466850"/>
              <a:gd name="connsiteY60" fmla="*/ 681037 h 1209675"/>
              <a:gd name="connsiteX61" fmla="*/ 1371600 w 1466850"/>
              <a:gd name="connsiteY61" fmla="*/ 681037 h 1209675"/>
              <a:gd name="connsiteX62" fmla="*/ 1376362 w 1466850"/>
              <a:gd name="connsiteY62" fmla="*/ 628650 h 1209675"/>
              <a:gd name="connsiteX63" fmla="*/ 1395412 w 1466850"/>
              <a:gd name="connsiteY63" fmla="*/ 578644 h 1209675"/>
              <a:gd name="connsiteX64" fmla="*/ 1426369 w 1466850"/>
              <a:gd name="connsiteY64" fmla="*/ 571500 h 1209675"/>
              <a:gd name="connsiteX65" fmla="*/ 1466850 w 1466850"/>
              <a:gd name="connsiteY65" fmla="*/ 552450 h 1209675"/>
              <a:gd name="connsiteX66" fmla="*/ 1443037 w 1466850"/>
              <a:gd name="connsiteY66" fmla="*/ 509587 h 1209675"/>
              <a:gd name="connsiteX67" fmla="*/ 1414462 w 1466850"/>
              <a:gd name="connsiteY67" fmla="*/ 464344 h 1209675"/>
              <a:gd name="connsiteX68" fmla="*/ 1388269 w 1466850"/>
              <a:gd name="connsiteY68" fmla="*/ 438150 h 1209675"/>
              <a:gd name="connsiteX69" fmla="*/ 1404937 w 1466850"/>
              <a:gd name="connsiteY69" fmla="*/ 400050 h 1209675"/>
              <a:gd name="connsiteX70" fmla="*/ 1404937 w 1466850"/>
              <a:gd name="connsiteY70" fmla="*/ 383381 h 1209675"/>
              <a:gd name="connsiteX71" fmla="*/ 1431131 w 1466850"/>
              <a:gd name="connsiteY71" fmla="*/ 338137 h 1209675"/>
              <a:gd name="connsiteX72" fmla="*/ 1419225 w 1466850"/>
              <a:gd name="connsiteY72" fmla="*/ 264319 h 1209675"/>
              <a:gd name="connsiteX73" fmla="*/ 1438275 w 1466850"/>
              <a:gd name="connsiteY73" fmla="*/ 202406 h 1209675"/>
              <a:gd name="connsiteX74" fmla="*/ 1435894 w 1466850"/>
              <a:gd name="connsiteY74" fmla="*/ 173831 h 1209675"/>
              <a:gd name="connsiteX75" fmla="*/ 1404937 w 1466850"/>
              <a:gd name="connsiteY75" fmla="*/ 164306 h 1209675"/>
              <a:gd name="connsiteX76" fmla="*/ 1364456 w 1466850"/>
              <a:gd name="connsiteY76" fmla="*/ 154781 h 1209675"/>
              <a:gd name="connsiteX77" fmla="*/ 1293019 w 1466850"/>
              <a:gd name="connsiteY77" fmla="*/ 154781 h 1209675"/>
              <a:gd name="connsiteX78" fmla="*/ 1233487 w 1466850"/>
              <a:gd name="connsiteY78" fmla="*/ 121444 h 1209675"/>
              <a:gd name="connsiteX79" fmla="*/ 1207294 w 1466850"/>
              <a:gd name="connsiteY79" fmla="*/ 114300 h 1209675"/>
              <a:gd name="connsiteX80" fmla="*/ 1188244 w 1466850"/>
              <a:gd name="connsiteY80" fmla="*/ 126206 h 1209675"/>
              <a:gd name="connsiteX81" fmla="*/ 1133475 w 1466850"/>
              <a:gd name="connsiteY81" fmla="*/ 188119 h 1209675"/>
              <a:gd name="connsiteX82" fmla="*/ 1116806 w 1466850"/>
              <a:gd name="connsiteY82" fmla="*/ 188119 h 1209675"/>
              <a:gd name="connsiteX83" fmla="*/ 1078706 w 1466850"/>
              <a:gd name="connsiteY83" fmla="*/ 142875 h 1209675"/>
              <a:gd name="connsiteX84" fmla="*/ 1054894 w 1466850"/>
              <a:gd name="connsiteY84" fmla="*/ 138112 h 1209675"/>
              <a:gd name="connsiteX85" fmla="*/ 997744 w 1466850"/>
              <a:gd name="connsiteY85" fmla="*/ 157162 h 1209675"/>
              <a:gd name="connsiteX86" fmla="*/ 973931 w 1466850"/>
              <a:gd name="connsiteY86" fmla="*/ 178594 h 1209675"/>
              <a:gd name="connsiteX87" fmla="*/ 928687 w 1466850"/>
              <a:gd name="connsiteY87" fmla="*/ 173831 h 1209675"/>
              <a:gd name="connsiteX88" fmla="*/ 878681 w 1466850"/>
              <a:gd name="connsiteY88" fmla="*/ 164306 h 1209675"/>
              <a:gd name="connsiteX89" fmla="*/ 864394 w 1466850"/>
              <a:gd name="connsiteY89" fmla="*/ 83344 h 1209675"/>
              <a:gd name="connsiteX90" fmla="*/ 845344 w 1466850"/>
              <a:gd name="connsiteY90" fmla="*/ 69056 h 1209675"/>
              <a:gd name="connsiteX91" fmla="*/ 747712 w 1466850"/>
              <a:gd name="connsiteY91" fmla="*/ 119062 h 1209675"/>
              <a:gd name="connsiteX92" fmla="*/ 721519 w 1466850"/>
              <a:gd name="connsiteY92" fmla="*/ 140494 h 1209675"/>
              <a:gd name="connsiteX93" fmla="*/ 709612 w 1466850"/>
              <a:gd name="connsiteY93" fmla="*/ 190500 h 1209675"/>
              <a:gd name="connsiteX94" fmla="*/ 707231 w 1466850"/>
              <a:gd name="connsiteY94" fmla="*/ 195262 h 1209675"/>
              <a:gd name="connsiteX95" fmla="*/ 654844 w 1466850"/>
              <a:gd name="connsiteY95" fmla="*/ 190500 h 1209675"/>
              <a:gd name="connsiteX96" fmla="*/ 633412 w 1466850"/>
              <a:gd name="connsiteY96" fmla="*/ 180975 h 1209675"/>
              <a:gd name="connsiteX97" fmla="*/ 614362 w 1466850"/>
              <a:gd name="connsiteY97" fmla="*/ 142875 h 1209675"/>
              <a:gd name="connsiteX98" fmla="*/ 590550 w 1466850"/>
              <a:gd name="connsiteY98" fmla="*/ 130969 h 1209675"/>
              <a:gd name="connsiteX99" fmla="*/ 540544 w 1466850"/>
              <a:gd name="connsiteY99" fmla="*/ 161925 h 1209675"/>
              <a:gd name="connsiteX100" fmla="*/ 507206 w 1466850"/>
              <a:gd name="connsiteY100" fmla="*/ 154781 h 1209675"/>
              <a:gd name="connsiteX101" fmla="*/ 495300 w 1466850"/>
              <a:gd name="connsiteY101" fmla="*/ 123825 h 1209675"/>
              <a:gd name="connsiteX102" fmla="*/ 490537 w 1466850"/>
              <a:gd name="connsiteY102" fmla="*/ 114300 h 1209675"/>
              <a:gd name="connsiteX103" fmla="*/ 431006 w 1466850"/>
              <a:gd name="connsiteY103" fmla="*/ 97631 h 1209675"/>
              <a:gd name="connsiteX104" fmla="*/ 442912 w 1466850"/>
              <a:gd name="connsiteY104" fmla="*/ 33337 h 1209675"/>
              <a:gd name="connsiteX105" fmla="*/ 423862 w 1466850"/>
              <a:gd name="connsiteY105" fmla="*/ 19050 h 1209675"/>
              <a:gd name="connsiteX106" fmla="*/ 335756 w 1466850"/>
              <a:gd name="connsiteY106" fmla="*/ 0 h 1209675"/>
              <a:gd name="connsiteX107" fmla="*/ 302419 w 1466850"/>
              <a:gd name="connsiteY107" fmla="*/ 35719 h 1209675"/>
              <a:gd name="connsiteX108" fmla="*/ 266700 w 1466850"/>
              <a:gd name="connsiteY108" fmla="*/ 50006 h 1209675"/>
              <a:gd name="connsiteX109" fmla="*/ 271462 w 1466850"/>
              <a:gd name="connsiteY109" fmla="*/ 95250 h 1209675"/>
              <a:gd name="connsiteX110" fmla="*/ 316706 w 1466850"/>
              <a:gd name="connsiteY110" fmla="*/ 121444 h 1209675"/>
              <a:gd name="connsiteX111" fmla="*/ 302419 w 1466850"/>
              <a:gd name="connsiteY111" fmla="*/ 145256 h 1209675"/>
              <a:gd name="connsiteX112" fmla="*/ 247650 w 1466850"/>
              <a:gd name="connsiteY112" fmla="*/ 159544 h 1209675"/>
              <a:gd name="connsiteX113" fmla="*/ 214312 w 1466850"/>
              <a:gd name="connsiteY113" fmla="*/ 216694 h 1209675"/>
              <a:gd name="connsiteX114" fmla="*/ 183356 w 1466850"/>
              <a:gd name="connsiteY114" fmla="*/ 221456 h 1209675"/>
              <a:gd name="connsiteX115" fmla="*/ 183356 w 1466850"/>
              <a:gd name="connsiteY115" fmla="*/ 254794 h 1209675"/>
              <a:gd name="connsiteX116" fmla="*/ 161925 w 1466850"/>
              <a:gd name="connsiteY116" fmla="*/ 304800 h 1209675"/>
              <a:gd name="connsiteX117" fmla="*/ 140494 w 1466850"/>
              <a:gd name="connsiteY117" fmla="*/ 323850 h 1209675"/>
              <a:gd name="connsiteX118" fmla="*/ 71439 w 1466850"/>
              <a:gd name="connsiteY118" fmla="*/ 300039 h 1209675"/>
              <a:gd name="connsiteX119" fmla="*/ 59530 w 1466850"/>
              <a:gd name="connsiteY119" fmla="*/ 302418 h 1209675"/>
              <a:gd name="connsiteX120" fmla="*/ 30956 w 1466850"/>
              <a:gd name="connsiteY120" fmla="*/ 295274 h 1209675"/>
              <a:gd name="connsiteX0" fmla="*/ 30956 w 1466850"/>
              <a:gd name="connsiteY0" fmla="*/ 295274 h 1209675"/>
              <a:gd name="connsiteX1" fmla="*/ 19050 w 1466850"/>
              <a:gd name="connsiteY1" fmla="*/ 381000 h 1209675"/>
              <a:gd name="connsiteX2" fmla="*/ 19050 w 1466850"/>
              <a:gd name="connsiteY2" fmla="*/ 397669 h 1209675"/>
              <a:gd name="connsiteX3" fmla="*/ 0 w 1466850"/>
              <a:gd name="connsiteY3" fmla="*/ 459581 h 1209675"/>
              <a:gd name="connsiteX4" fmla="*/ 7144 w 1466850"/>
              <a:gd name="connsiteY4" fmla="*/ 497681 h 1209675"/>
              <a:gd name="connsiteX5" fmla="*/ 9525 w 1466850"/>
              <a:gd name="connsiteY5" fmla="*/ 535781 h 1209675"/>
              <a:gd name="connsiteX6" fmla="*/ 19050 w 1466850"/>
              <a:gd name="connsiteY6" fmla="*/ 583406 h 1209675"/>
              <a:gd name="connsiteX7" fmla="*/ 23812 w 1466850"/>
              <a:gd name="connsiteY7" fmla="*/ 688181 h 1209675"/>
              <a:gd name="connsiteX8" fmla="*/ 35719 w 1466850"/>
              <a:gd name="connsiteY8" fmla="*/ 747712 h 1209675"/>
              <a:gd name="connsiteX9" fmla="*/ 40481 w 1466850"/>
              <a:gd name="connsiteY9" fmla="*/ 778669 h 1209675"/>
              <a:gd name="connsiteX10" fmla="*/ 47625 w 1466850"/>
              <a:gd name="connsiteY10" fmla="*/ 831056 h 1209675"/>
              <a:gd name="connsiteX11" fmla="*/ 38100 w 1466850"/>
              <a:gd name="connsiteY11" fmla="*/ 919162 h 1209675"/>
              <a:gd name="connsiteX12" fmla="*/ 78581 w 1466850"/>
              <a:gd name="connsiteY12" fmla="*/ 1028700 h 1209675"/>
              <a:gd name="connsiteX13" fmla="*/ 71437 w 1466850"/>
              <a:gd name="connsiteY13" fmla="*/ 1095375 h 1209675"/>
              <a:gd name="connsiteX14" fmla="*/ 88106 w 1466850"/>
              <a:gd name="connsiteY14" fmla="*/ 1164431 h 1209675"/>
              <a:gd name="connsiteX15" fmla="*/ 166687 w 1466850"/>
              <a:gd name="connsiteY15" fmla="*/ 1200149 h 1209675"/>
              <a:gd name="connsiteX16" fmla="*/ 202406 w 1466850"/>
              <a:gd name="connsiteY16" fmla="*/ 1209675 h 1209675"/>
              <a:gd name="connsiteX17" fmla="*/ 188119 w 1466850"/>
              <a:gd name="connsiteY17" fmla="*/ 1145381 h 1209675"/>
              <a:gd name="connsiteX18" fmla="*/ 242887 w 1466850"/>
              <a:gd name="connsiteY18" fmla="*/ 1092994 h 1209675"/>
              <a:gd name="connsiteX19" fmla="*/ 238125 w 1466850"/>
              <a:gd name="connsiteY19" fmla="*/ 1045369 h 1209675"/>
              <a:gd name="connsiteX20" fmla="*/ 230981 w 1466850"/>
              <a:gd name="connsiteY20" fmla="*/ 1035844 h 1209675"/>
              <a:gd name="connsiteX21" fmla="*/ 252412 w 1466850"/>
              <a:gd name="connsiteY21" fmla="*/ 1019175 h 1209675"/>
              <a:gd name="connsiteX22" fmla="*/ 314325 w 1466850"/>
              <a:gd name="connsiteY22" fmla="*/ 995362 h 1209675"/>
              <a:gd name="connsiteX23" fmla="*/ 311944 w 1466850"/>
              <a:gd name="connsiteY23" fmla="*/ 959644 h 1209675"/>
              <a:gd name="connsiteX24" fmla="*/ 326231 w 1466850"/>
              <a:gd name="connsiteY24" fmla="*/ 942975 h 1209675"/>
              <a:gd name="connsiteX25" fmla="*/ 452437 w 1466850"/>
              <a:gd name="connsiteY25" fmla="*/ 950119 h 1209675"/>
              <a:gd name="connsiteX26" fmla="*/ 464344 w 1466850"/>
              <a:gd name="connsiteY26" fmla="*/ 933450 h 1209675"/>
              <a:gd name="connsiteX27" fmla="*/ 476250 w 1466850"/>
              <a:gd name="connsiteY27" fmla="*/ 883444 h 1209675"/>
              <a:gd name="connsiteX28" fmla="*/ 488156 w 1466850"/>
              <a:gd name="connsiteY28" fmla="*/ 857250 h 1209675"/>
              <a:gd name="connsiteX29" fmla="*/ 526256 w 1466850"/>
              <a:gd name="connsiteY29" fmla="*/ 862012 h 1209675"/>
              <a:gd name="connsiteX30" fmla="*/ 545306 w 1466850"/>
              <a:gd name="connsiteY30" fmla="*/ 909637 h 1209675"/>
              <a:gd name="connsiteX31" fmla="*/ 566737 w 1466850"/>
              <a:gd name="connsiteY31" fmla="*/ 881062 h 1209675"/>
              <a:gd name="connsiteX32" fmla="*/ 621506 w 1466850"/>
              <a:gd name="connsiteY32" fmla="*/ 845344 h 1209675"/>
              <a:gd name="connsiteX33" fmla="*/ 709612 w 1466850"/>
              <a:gd name="connsiteY33" fmla="*/ 814387 h 1209675"/>
              <a:gd name="connsiteX34" fmla="*/ 716756 w 1466850"/>
              <a:gd name="connsiteY34" fmla="*/ 769144 h 1209675"/>
              <a:gd name="connsiteX35" fmla="*/ 742950 w 1466850"/>
              <a:gd name="connsiteY35" fmla="*/ 750094 h 1209675"/>
              <a:gd name="connsiteX36" fmla="*/ 785812 w 1466850"/>
              <a:gd name="connsiteY36" fmla="*/ 726281 h 1209675"/>
              <a:gd name="connsiteX37" fmla="*/ 800100 w 1466850"/>
              <a:gd name="connsiteY37" fmla="*/ 716756 h 1209675"/>
              <a:gd name="connsiteX38" fmla="*/ 862012 w 1466850"/>
              <a:gd name="connsiteY38" fmla="*/ 721519 h 1209675"/>
              <a:gd name="connsiteX39" fmla="*/ 883444 w 1466850"/>
              <a:gd name="connsiteY39" fmla="*/ 721519 h 1209675"/>
              <a:gd name="connsiteX40" fmla="*/ 892969 w 1466850"/>
              <a:gd name="connsiteY40" fmla="*/ 697706 h 1209675"/>
              <a:gd name="connsiteX41" fmla="*/ 892969 w 1466850"/>
              <a:gd name="connsiteY41" fmla="*/ 697706 h 1209675"/>
              <a:gd name="connsiteX42" fmla="*/ 921544 w 1466850"/>
              <a:gd name="connsiteY42" fmla="*/ 609600 h 1209675"/>
              <a:gd name="connsiteX43" fmla="*/ 909637 w 1466850"/>
              <a:gd name="connsiteY43" fmla="*/ 552450 h 1209675"/>
              <a:gd name="connsiteX44" fmla="*/ 928687 w 1466850"/>
              <a:gd name="connsiteY44" fmla="*/ 540544 h 1209675"/>
              <a:gd name="connsiteX45" fmla="*/ 973931 w 1466850"/>
              <a:gd name="connsiteY45" fmla="*/ 535781 h 1209675"/>
              <a:gd name="connsiteX46" fmla="*/ 1014412 w 1466850"/>
              <a:gd name="connsiteY46" fmla="*/ 447675 h 1209675"/>
              <a:gd name="connsiteX47" fmla="*/ 1038225 w 1466850"/>
              <a:gd name="connsiteY47" fmla="*/ 445294 h 1209675"/>
              <a:gd name="connsiteX48" fmla="*/ 1073944 w 1466850"/>
              <a:gd name="connsiteY48" fmla="*/ 476250 h 1209675"/>
              <a:gd name="connsiteX49" fmla="*/ 1112044 w 1466850"/>
              <a:gd name="connsiteY49" fmla="*/ 514350 h 1209675"/>
              <a:gd name="connsiteX50" fmla="*/ 1171575 w 1466850"/>
              <a:gd name="connsiteY50" fmla="*/ 540544 h 1209675"/>
              <a:gd name="connsiteX51" fmla="*/ 1219200 w 1466850"/>
              <a:gd name="connsiteY51" fmla="*/ 521494 h 1209675"/>
              <a:gd name="connsiteX52" fmla="*/ 1245394 w 1466850"/>
              <a:gd name="connsiteY52" fmla="*/ 502444 h 1209675"/>
              <a:gd name="connsiteX53" fmla="*/ 1278731 w 1466850"/>
              <a:gd name="connsiteY53" fmla="*/ 511969 h 1209675"/>
              <a:gd name="connsiteX54" fmla="*/ 1295400 w 1466850"/>
              <a:gd name="connsiteY54" fmla="*/ 531019 h 1209675"/>
              <a:gd name="connsiteX55" fmla="*/ 1273969 w 1466850"/>
              <a:gd name="connsiteY55" fmla="*/ 573881 h 1209675"/>
              <a:gd name="connsiteX56" fmla="*/ 1271587 w 1466850"/>
              <a:gd name="connsiteY56" fmla="*/ 602456 h 1209675"/>
              <a:gd name="connsiteX57" fmla="*/ 1285875 w 1466850"/>
              <a:gd name="connsiteY57" fmla="*/ 611981 h 1209675"/>
              <a:gd name="connsiteX58" fmla="*/ 1300162 w 1466850"/>
              <a:gd name="connsiteY58" fmla="*/ 628650 h 1209675"/>
              <a:gd name="connsiteX59" fmla="*/ 1321594 w 1466850"/>
              <a:gd name="connsiteY59" fmla="*/ 666750 h 1209675"/>
              <a:gd name="connsiteX60" fmla="*/ 1347787 w 1466850"/>
              <a:gd name="connsiteY60" fmla="*/ 681037 h 1209675"/>
              <a:gd name="connsiteX61" fmla="*/ 1371600 w 1466850"/>
              <a:gd name="connsiteY61" fmla="*/ 681037 h 1209675"/>
              <a:gd name="connsiteX62" fmla="*/ 1376362 w 1466850"/>
              <a:gd name="connsiteY62" fmla="*/ 628650 h 1209675"/>
              <a:gd name="connsiteX63" fmla="*/ 1395412 w 1466850"/>
              <a:gd name="connsiteY63" fmla="*/ 578644 h 1209675"/>
              <a:gd name="connsiteX64" fmla="*/ 1426369 w 1466850"/>
              <a:gd name="connsiteY64" fmla="*/ 571500 h 1209675"/>
              <a:gd name="connsiteX65" fmla="*/ 1466850 w 1466850"/>
              <a:gd name="connsiteY65" fmla="*/ 552450 h 1209675"/>
              <a:gd name="connsiteX66" fmla="*/ 1443037 w 1466850"/>
              <a:gd name="connsiteY66" fmla="*/ 509587 h 1209675"/>
              <a:gd name="connsiteX67" fmla="*/ 1414462 w 1466850"/>
              <a:gd name="connsiteY67" fmla="*/ 464344 h 1209675"/>
              <a:gd name="connsiteX68" fmla="*/ 1388269 w 1466850"/>
              <a:gd name="connsiteY68" fmla="*/ 438150 h 1209675"/>
              <a:gd name="connsiteX69" fmla="*/ 1404937 w 1466850"/>
              <a:gd name="connsiteY69" fmla="*/ 400050 h 1209675"/>
              <a:gd name="connsiteX70" fmla="*/ 1404937 w 1466850"/>
              <a:gd name="connsiteY70" fmla="*/ 383381 h 1209675"/>
              <a:gd name="connsiteX71" fmla="*/ 1431131 w 1466850"/>
              <a:gd name="connsiteY71" fmla="*/ 338137 h 1209675"/>
              <a:gd name="connsiteX72" fmla="*/ 1419225 w 1466850"/>
              <a:gd name="connsiteY72" fmla="*/ 264319 h 1209675"/>
              <a:gd name="connsiteX73" fmla="*/ 1438275 w 1466850"/>
              <a:gd name="connsiteY73" fmla="*/ 202406 h 1209675"/>
              <a:gd name="connsiteX74" fmla="*/ 1435894 w 1466850"/>
              <a:gd name="connsiteY74" fmla="*/ 173831 h 1209675"/>
              <a:gd name="connsiteX75" fmla="*/ 1404937 w 1466850"/>
              <a:gd name="connsiteY75" fmla="*/ 164306 h 1209675"/>
              <a:gd name="connsiteX76" fmla="*/ 1364456 w 1466850"/>
              <a:gd name="connsiteY76" fmla="*/ 154781 h 1209675"/>
              <a:gd name="connsiteX77" fmla="*/ 1293019 w 1466850"/>
              <a:gd name="connsiteY77" fmla="*/ 154781 h 1209675"/>
              <a:gd name="connsiteX78" fmla="*/ 1233487 w 1466850"/>
              <a:gd name="connsiteY78" fmla="*/ 121444 h 1209675"/>
              <a:gd name="connsiteX79" fmla="*/ 1207294 w 1466850"/>
              <a:gd name="connsiteY79" fmla="*/ 114300 h 1209675"/>
              <a:gd name="connsiteX80" fmla="*/ 1188244 w 1466850"/>
              <a:gd name="connsiteY80" fmla="*/ 126206 h 1209675"/>
              <a:gd name="connsiteX81" fmla="*/ 1133475 w 1466850"/>
              <a:gd name="connsiteY81" fmla="*/ 188119 h 1209675"/>
              <a:gd name="connsiteX82" fmla="*/ 1116806 w 1466850"/>
              <a:gd name="connsiteY82" fmla="*/ 188119 h 1209675"/>
              <a:gd name="connsiteX83" fmla="*/ 1078706 w 1466850"/>
              <a:gd name="connsiteY83" fmla="*/ 142875 h 1209675"/>
              <a:gd name="connsiteX84" fmla="*/ 1054894 w 1466850"/>
              <a:gd name="connsiteY84" fmla="*/ 138112 h 1209675"/>
              <a:gd name="connsiteX85" fmla="*/ 997744 w 1466850"/>
              <a:gd name="connsiteY85" fmla="*/ 157162 h 1209675"/>
              <a:gd name="connsiteX86" fmla="*/ 973931 w 1466850"/>
              <a:gd name="connsiteY86" fmla="*/ 178594 h 1209675"/>
              <a:gd name="connsiteX87" fmla="*/ 928687 w 1466850"/>
              <a:gd name="connsiteY87" fmla="*/ 173831 h 1209675"/>
              <a:gd name="connsiteX88" fmla="*/ 878681 w 1466850"/>
              <a:gd name="connsiteY88" fmla="*/ 164306 h 1209675"/>
              <a:gd name="connsiteX89" fmla="*/ 864394 w 1466850"/>
              <a:gd name="connsiteY89" fmla="*/ 83344 h 1209675"/>
              <a:gd name="connsiteX90" fmla="*/ 845344 w 1466850"/>
              <a:gd name="connsiteY90" fmla="*/ 69056 h 1209675"/>
              <a:gd name="connsiteX91" fmla="*/ 747712 w 1466850"/>
              <a:gd name="connsiteY91" fmla="*/ 119062 h 1209675"/>
              <a:gd name="connsiteX92" fmla="*/ 721519 w 1466850"/>
              <a:gd name="connsiteY92" fmla="*/ 140494 h 1209675"/>
              <a:gd name="connsiteX93" fmla="*/ 709612 w 1466850"/>
              <a:gd name="connsiteY93" fmla="*/ 190500 h 1209675"/>
              <a:gd name="connsiteX94" fmla="*/ 707231 w 1466850"/>
              <a:gd name="connsiteY94" fmla="*/ 195262 h 1209675"/>
              <a:gd name="connsiteX95" fmla="*/ 654844 w 1466850"/>
              <a:gd name="connsiteY95" fmla="*/ 190500 h 1209675"/>
              <a:gd name="connsiteX96" fmla="*/ 633412 w 1466850"/>
              <a:gd name="connsiteY96" fmla="*/ 180975 h 1209675"/>
              <a:gd name="connsiteX97" fmla="*/ 614362 w 1466850"/>
              <a:gd name="connsiteY97" fmla="*/ 142875 h 1209675"/>
              <a:gd name="connsiteX98" fmla="*/ 590550 w 1466850"/>
              <a:gd name="connsiteY98" fmla="*/ 130969 h 1209675"/>
              <a:gd name="connsiteX99" fmla="*/ 540544 w 1466850"/>
              <a:gd name="connsiteY99" fmla="*/ 161925 h 1209675"/>
              <a:gd name="connsiteX100" fmla="*/ 507206 w 1466850"/>
              <a:gd name="connsiteY100" fmla="*/ 154781 h 1209675"/>
              <a:gd name="connsiteX101" fmla="*/ 495300 w 1466850"/>
              <a:gd name="connsiteY101" fmla="*/ 123825 h 1209675"/>
              <a:gd name="connsiteX102" fmla="*/ 490537 w 1466850"/>
              <a:gd name="connsiteY102" fmla="*/ 114300 h 1209675"/>
              <a:gd name="connsiteX103" fmla="*/ 431006 w 1466850"/>
              <a:gd name="connsiteY103" fmla="*/ 97631 h 1209675"/>
              <a:gd name="connsiteX104" fmla="*/ 442912 w 1466850"/>
              <a:gd name="connsiteY104" fmla="*/ 33337 h 1209675"/>
              <a:gd name="connsiteX105" fmla="*/ 423862 w 1466850"/>
              <a:gd name="connsiteY105" fmla="*/ 19050 h 1209675"/>
              <a:gd name="connsiteX106" fmla="*/ 335756 w 1466850"/>
              <a:gd name="connsiteY106" fmla="*/ 0 h 1209675"/>
              <a:gd name="connsiteX107" fmla="*/ 302419 w 1466850"/>
              <a:gd name="connsiteY107" fmla="*/ 35719 h 1209675"/>
              <a:gd name="connsiteX108" fmla="*/ 266700 w 1466850"/>
              <a:gd name="connsiteY108" fmla="*/ 50006 h 1209675"/>
              <a:gd name="connsiteX109" fmla="*/ 271462 w 1466850"/>
              <a:gd name="connsiteY109" fmla="*/ 95250 h 1209675"/>
              <a:gd name="connsiteX110" fmla="*/ 316706 w 1466850"/>
              <a:gd name="connsiteY110" fmla="*/ 121444 h 1209675"/>
              <a:gd name="connsiteX111" fmla="*/ 302419 w 1466850"/>
              <a:gd name="connsiteY111" fmla="*/ 145256 h 1209675"/>
              <a:gd name="connsiteX112" fmla="*/ 247650 w 1466850"/>
              <a:gd name="connsiteY112" fmla="*/ 159544 h 1209675"/>
              <a:gd name="connsiteX113" fmla="*/ 214312 w 1466850"/>
              <a:gd name="connsiteY113" fmla="*/ 216694 h 1209675"/>
              <a:gd name="connsiteX114" fmla="*/ 183356 w 1466850"/>
              <a:gd name="connsiteY114" fmla="*/ 221456 h 1209675"/>
              <a:gd name="connsiteX115" fmla="*/ 183356 w 1466850"/>
              <a:gd name="connsiteY115" fmla="*/ 254794 h 1209675"/>
              <a:gd name="connsiteX116" fmla="*/ 161925 w 1466850"/>
              <a:gd name="connsiteY116" fmla="*/ 304800 h 1209675"/>
              <a:gd name="connsiteX117" fmla="*/ 140494 w 1466850"/>
              <a:gd name="connsiteY117" fmla="*/ 323850 h 1209675"/>
              <a:gd name="connsiteX118" fmla="*/ 71439 w 1466850"/>
              <a:gd name="connsiteY118" fmla="*/ 300039 h 1209675"/>
              <a:gd name="connsiteX119" fmla="*/ 59530 w 1466850"/>
              <a:gd name="connsiteY119" fmla="*/ 302418 h 1209675"/>
              <a:gd name="connsiteX120" fmla="*/ 30956 w 1466850"/>
              <a:gd name="connsiteY120" fmla="*/ 295274 h 1209675"/>
              <a:gd name="connsiteX0" fmla="*/ 30956 w 1466850"/>
              <a:gd name="connsiteY0" fmla="*/ 295274 h 1209675"/>
              <a:gd name="connsiteX1" fmla="*/ 19050 w 1466850"/>
              <a:gd name="connsiteY1" fmla="*/ 381000 h 1209675"/>
              <a:gd name="connsiteX2" fmla="*/ 19050 w 1466850"/>
              <a:gd name="connsiteY2" fmla="*/ 397669 h 1209675"/>
              <a:gd name="connsiteX3" fmla="*/ 0 w 1466850"/>
              <a:gd name="connsiteY3" fmla="*/ 459581 h 1209675"/>
              <a:gd name="connsiteX4" fmla="*/ 7144 w 1466850"/>
              <a:gd name="connsiteY4" fmla="*/ 497681 h 1209675"/>
              <a:gd name="connsiteX5" fmla="*/ 9525 w 1466850"/>
              <a:gd name="connsiteY5" fmla="*/ 535781 h 1209675"/>
              <a:gd name="connsiteX6" fmla="*/ 19050 w 1466850"/>
              <a:gd name="connsiteY6" fmla="*/ 583406 h 1209675"/>
              <a:gd name="connsiteX7" fmla="*/ 23812 w 1466850"/>
              <a:gd name="connsiteY7" fmla="*/ 688181 h 1209675"/>
              <a:gd name="connsiteX8" fmla="*/ 35719 w 1466850"/>
              <a:gd name="connsiteY8" fmla="*/ 747712 h 1209675"/>
              <a:gd name="connsiteX9" fmla="*/ 40481 w 1466850"/>
              <a:gd name="connsiteY9" fmla="*/ 778669 h 1209675"/>
              <a:gd name="connsiteX10" fmla="*/ 47625 w 1466850"/>
              <a:gd name="connsiteY10" fmla="*/ 831056 h 1209675"/>
              <a:gd name="connsiteX11" fmla="*/ 38100 w 1466850"/>
              <a:gd name="connsiteY11" fmla="*/ 919162 h 1209675"/>
              <a:gd name="connsiteX12" fmla="*/ 78581 w 1466850"/>
              <a:gd name="connsiteY12" fmla="*/ 1028700 h 1209675"/>
              <a:gd name="connsiteX13" fmla="*/ 71437 w 1466850"/>
              <a:gd name="connsiteY13" fmla="*/ 1095375 h 1209675"/>
              <a:gd name="connsiteX14" fmla="*/ 88106 w 1466850"/>
              <a:gd name="connsiteY14" fmla="*/ 1164431 h 1209675"/>
              <a:gd name="connsiteX15" fmla="*/ 166687 w 1466850"/>
              <a:gd name="connsiteY15" fmla="*/ 1200149 h 1209675"/>
              <a:gd name="connsiteX16" fmla="*/ 202406 w 1466850"/>
              <a:gd name="connsiteY16" fmla="*/ 1209675 h 1209675"/>
              <a:gd name="connsiteX17" fmla="*/ 188119 w 1466850"/>
              <a:gd name="connsiteY17" fmla="*/ 1145381 h 1209675"/>
              <a:gd name="connsiteX18" fmla="*/ 242887 w 1466850"/>
              <a:gd name="connsiteY18" fmla="*/ 1092994 h 1209675"/>
              <a:gd name="connsiteX19" fmla="*/ 238125 w 1466850"/>
              <a:gd name="connsiteY19" fmla="*/ 1045369 h 1209675"/>
              <a:gd name="connsiteX20" fmla="*/ 230981 w 1466850"/>
              <a:gd name="connsiteY20" fmla="*/ 1035844 h 1209675"/>
              <a:gd name="connsiteX21" fmla="*/ 252412 w 1466850"/>
              <a:gd name="connsiteY21" fmla="*/ 1019175 h 1209675"/>
              <a:gd name="connsiteX22" fmla="*/ 314325 w 1466850"/>
              <a:gd name="connsiteY22" fmla="*/ 995362 h 1209675"/>
              <a:gd name="connsiteX23" fmla="*/ 311944 w 1466850"/>
              <a:gd name="connsiteY23" fmla="*/ 959644 h 1209675"/>
              <a:gd name="connsiteX24" fmla="*/ 326231 w 1466850"/>
              <a:gd name="connsiteY24" fmla="*/ 942975 h 1209675"/>
              <a:gd name="connsiteX25" fmla="*/ 452437 w 1466850"/>
              <a:gd name="connsiteY25" fmla="*/ 950119 h 1209675"/>
              <a:gd name="connsiteX26" fmla="*/ 464344 w 1466850"/>
              <a:gd name="connsiteY26" fmla="*/ 933450 h 1209675"/>
              <a:gd name="connsiteX27" fmla="*/ 476250 w 1466850"/>
              <a:gd name="connsiteY27" fmla="*/ 883444 h 1209675"/>
              <a:gd name="connsiteX28" fmla="*/ 488156 w 1466850"/>
              <a:gd name="connsiteY28" fmla="*/ 857250 h 1209675"/>
              <a:gd name="connsiteX29" fmla="*/ 526256 w 1466850"/>
              <a:gd name="connsiteY29" fmla="*/ 862012 h 1209675"/>
              <a:gd name="connsiteX30" fmla="*/ 545306 w 1466850"/>
              <a:gd name="connsiteY30" fmla="*/ 909637 h 1209675"/>
              <a:gd name="connsiteX31" fmla="*/ 566737 w 1466850"/>
              <a:gd name="connsiteY31" fmla="*/ 881062 h 1209675"/>
              <a:gd name="connsiteX32" fmla="*/ 621506 w 1466850"/>
              <a:gd name="connsiteY32" fmla="*/ 845344 h 1209675"/>
              <a:gd name="connsiteX33" fmla="*/ 709612 w 1466850"/>
              <a:gd name="connsiteY33" fmla="*/ 814387 h 1209675"/>
              <a:gd name="connsiteX34" fmla="*/ 716756 w 1466850"/>
              <a:gd name="connsiteY34" fmla="*/ 769144 h 1209675"/>
              <a:gd name="connsiteX35" fmla="*/ 742950 w 1466850"/>
              <a:gd name="connsiteY35" fmla="*/ 750094 h 1209675"/>
              <a:gd name="connsiteX36" fmla="*/ 785812 w 1466850"/>
              <a:gd name="connsiteY36" fmla="*/ 726281 h 1209675"/>
              <a:gd name="connsiteX37" fmla="*/ 800100 w 1466850"/>
              <a:gd name="connsiteY37" fmla="*/ 716756 h 1209675"/>
              <a:gd name="connsiteX38" fmla="*/ 862012 w 1466850"/>
              <a:gd name="connsiteY38" fmla="*/ 721519 h 1209675"/>
              <a:gd name="connsiteX39" fmla="*/ 883444 w 1466850"/>
              <a:gd name="connsiteY39" fmla="*/ 721519 h 1209675"/>
              <a:gd name="connsiteX40" fmla="*/ 892969 w 1466850"/>
              <a:gd name="connsiteY40" fmla="*/ 697706 h 1209675"/>
              <a:gd name="connsiteX41" fmla="*/ 892969 w 1466850"/>
              <a:gd name="connsiteY41" fmla="*/ 697706 h 1209675"/>
              <a:gd name="connsiteX42" fmla="*/ 921544 w 1466850"/>
              <a:gd name="connsiteY42" fmla="*/ 609600 h 1209675"/>
              <a:gd name="connsiteX43" fmla="*/ 909637 w 1466850"/>
              <a:gd name="connsiteY43" fmla="*/ 552450 h 1209675"/>
              <a:gd name="connsiteX44" fmla="*/ 928687 w 1466850"/>
              <a:gd name="connsiteY44" fmla="*/ 540544 h 1209675"/>
              <a:gd name="connsiteX45" fmla="*/ 973931 w 1466850"/>
              <a:gd name="connsiteY45" fmla="*/ 535781 h 1209675"/>
              <a:gd name="connsiteX46" fmla="*/ 1014412 w 1466850"/>
              <a:gd name="connsiteY46" fmla="*/ 447675 h 1209675"/>
              <a:gd name="connsiteX47" fmla="*/ 1038225 w 1466850"/>
              <a:gd name="connsiteY47" fmla="*/ 445294 h 1209675"/>
              <a:gd name="connsiteX48" fmla="*/ 1073944 w 1466850"/>
              <a:gd name="connsiteY48" fmla="*/ 476250 h 1209675"/>
              <a:gd name="connsiteX49" fmla="*/ 1112044 w 1466850"/>
              <a:gd name="connsiteY49" fmla="*/ 514350 h 1209675"/>
              <a:gd name="connsiteX50" fmla="*/ 1171575 w 1466850"/>
              <a:gd name="connsiteY50" fmla="*/ 540544 h 1209675"/>
              <a:gd name="connsiteX51" fmla="*/ 1219200 w 1466850"/>
              <a:gd name="connsiteY51" fmla="*/ 521494 h 1209675"/>
              <a:gd name="connsiteX52" fmla="*/ 1245394 w 1466850"/>
              <a:gd name="connsiteY52" fmla="*/ 502444 h 1209675"/>
              <a:gd name="connsiteX53" fmla="*/ 1278731 w 1466850"/>
              <a:gd name="connsiteY53" fmla="*/ 511969 h 1209675"/>
              <a:gd name="connsiteX54" fmla="*/ 1295400 w 1466850"/>
              <a:gd name="connsiteY54" fmla="*/ 531019 h 1209675"/>
              <a:gd name="connsiteX55" fmla="*/ 1273969 w 1466850"/>
              <a:gd name="connsiteY55" fmla="*/ 573881 h 1209675"/>
              <a:gd name="connsiteX56" fmla="*/ 1285875 w 1466850"/>
              <a:gd name="connsiteY56" fmla="*/ 611981 h 1209675"/>
              <a:gd name="connsiteX57" fmla="*/ 1300162 w 1466850"/>
              <a:gd name="connsiteY57" fmla="*/ 628650 h 1209675"/>
              <a:gd name="connsiteX58" fmla="*/ 1321594 w 1466850"/>
              <a:gd name="connsiteY58" fmla="*/ 666750 h 1209675"/>
              <a:gd name="connsiteX59" fmla="*/ 1347787 w 1466850"/>
              <a:gd name="connsiteY59" fmla="*/ 681037 h 1209675"/>
              <a:gd name="connsiteX60" fmla="*/ 1371600 w 1466850"/>
              <a:gd name="connsiteY60" fmla="*/ 681037 h 1209675"/>
              <a:gd name="connsiteX61" fmla="*/ 1376362 w 1466850"/>
              <a:gd name="connsiteY61" fmla="*/ 628650 h 1209675"/>
              <a:gd name="connsiteX62" fmla="*/ 1395412 w 1466850"/>
              <a:gd name="connsiteY62" fmla="*/ 578644 h 1209675"/>
              <a:gd name="connsiteX63" fmla="*/ 1426369 w 1466850"/>
              <a:gd name="connsiteY63" fmla="*/ 571500 h 1209675"/>
              <a:gd name="connsiteX64" fmla="*/ 1466850 w 1466850"/>
              <a:gd name="connsiteY64" fmla="*/ 552450 h 1209675"/>
              <a:gd name="connsiteX65" fmla="*/ 1443037 w 1466850"/>
              <a:gd name="connsiteY65" fmla="*/ 509587 h 1209675"/>
              <a:gd name="connsiteX66" fmla="*/ 1414462 w 1466850"/>
              <a:gd name="connsiteY66" fmla="*/ 464344 h 1209675"/>
              <a:gd name="connsiteX67" fmla="*/ 1388269 w 1466850"/>
              <a:gd name="connsiteY67" fmla="*/ 438150 h 1209675"/>
              <a:gd name="connsiteX68" fmla="*/ 1404937 w 1466850"/>
              <a:gd name="connsiteY68" fmla="*/ 400050 h 1209675"/>
              <a:gd name="connsiteX69" fmla="*/ 1404937 w 1466850"/>
              <a:gd name="connsiteY69" fmla="*/ 383381 h 1209675"/>
              <a:gd name="connsiteX70" fmla="*/ 1431131 w 1466850"/>
              <a:gd name="connsiteY70" fmla="*/ 338137 h 1209675"/>
              <a:gd name="connsiteX71" fmla="*/ 1419225 w 1466850"/>
              <a:gd name="connsiteY71" fmla="*/ 264319 h 1209675"/>
              <a:gd name="connsiteX72" fmla="*/ 1438275 w 1466850"/>
              <a:gd name="connsiteY72" fmla="*/ 202406 h 1209675"/>
              <a:gd name="connsiteX73" fmla="*/ 1435894 w 1466850"/>
              <a:gd name="connsiteY73" fmla="*/ 173831 h 1209675"/>
              <a:gd name="connsiteX74" fmla="*/ 1404937 w 1466850"/>
              <a:gd name="connsiteY74" fmla="*/ 164306 h 1209675"/>
              <a:gd name="connsiteX75" fmla="*/ 1364456 w 1466850"/>
              <a:gd name="connsiteY75" fmla="*/ 154781 h 1209675"/>
              <a:gd name="connsiteX76" fmla="*/ 1293019 w 1466850"/>
              <a:gd name="connsiteY76" fmla="*/ 154781 h 1209675"/>
              <a:gd name="connsiteX77" fmla="*/ 1233487 w 1466850"/>
              <a:gd name="connsiteY77" fmla="*/ 121444 h 1209675"/>
              <a:gd name="connsiteX78" fmla="*/ 1207294 w 1466850"/>
              <a:gd name="connsiteY78" fmla="*/ 114300 h 1209675"/>
              <a:gd name="connsiteX79" fmla="*/ 1188244 w 1466850"/>
              <a:gd name="connsiteY79" fmla="*/ 126206 h 1209675"/>
              <a:gd name="connsiteX80" fmla="*/ 1133475 w 1466850"/>
              <a:gd name="connsiteY80" fmla="*/ 188119 h 1209675"/>
              <a:gd name="connsiteX81" fmla="*/ 1116806 w 1466850"/>
              <a:gd name="connsiteY81" fmla="*/ 188119 h 1209675"/>
              <a:gd name="connsiteX82" fmla="*/ 1078706 w 1466850"/>
              <a:gd name="connsiteY82" fmla="*/ 142875 h 1209675"/>
              <a:gd name="connsiteX83" fmla="*/ 1054894 w 1466850"/>
              <a:gd name="connsiteY83" fmla="*/ 138112 h 1209675"/>
              <a:gd name="connsiteX84" fmla="*/ 997744 w 1466850"/>
              <a:gd name="connsiteY84" fmla="*/ 157162 h 1209675"/>
              <a:gd name="connsiteX85" fmla="*/ 973931 w 1466850"/>
              <a:gd name="connsiteY85" fmla="*/ 178594 h 1209675"/>
              <a:gd name="connsiteX86" fmla="*/ 928687 w 1466850"/>
              <a:gd name="connsiteY86" fmla="*/ 173831 h 1209675"/>
              <a:gd name="connsiteX87" fmla="*/ 878681 w 1466850"/>
              <a:gd name="connsiteY87" fmla="*/ 164306 h 1209675"/>
              <a:gd name="connsiteX88" fmla="*/ 864394 w 1466850"/>
              <a:gd name="connsiteY88" fmla="*/ 83344 h 1209675"/>
              <a:gd name="connsiteX89" fmla="*/ 845344 w 1466850"/>
              <a:gd name="connsiteY89" fmla="*/ 69056 h 1209675"/>
              <a:gd name="connsiteX90" fmla="*/ 747712 w 1466850"/>
              <a:gd name="connsiteY90" fmla="*/ 119062 h 1209675"/>
              <a:gd name="connsiteX91" fmla="*/ 721519 w 1466850"/>
              <a:gd name="connsiteY91" fmla="*/ 140494 h 1209675"/>
              <a:gd name="connsiteX92" fmla="*/ 709612 w 1466850"/>
              <a:gd name="connsiteY92" fmla="*/ 190500 h 1209675"/>
              <a:gd name="connsiteX93" fmla="*/ 707231 w 1466850"/>
              <a:gd name="connsiteY93" fmla="*/ 195262 h 1209675"/>
              <a:gd name="connsiteX94" fmla="*/ 654844 w 1466850"/>
              <a:gd name="connsiteY94" fmla="*/ 190500 h 1209675"/>
              <a:gd name="connsiteX95" fmla="*/ 633412 w 1466850"/>
              <a:gd name="connsiteY95" fmla="*/ 180975 h 1209675"/>
              <a:gd name="connsiteX96" fmla="*/ 614362 w 1466850"/>
              <a:gd name="connsiteY96" fmla="*/ 142875 h 1209675"/>
              <a:gd name="connsiteX97" fmla="*/ 590550 w 1466850"/>
              <a:gd name="connsiteY97" fmla="*/ 130969 h 1209675"/>
              <a:gd name="connsiteX98" fmla="*/ 540544 w 1466850"/>
              <a:gd name="connsiteY98" fmla="*/ 161925 h 1209675"/>
              <a:gd name="connsiteX99" fmla="*/ 507206 w 1466850"/>
              <a:gd name="connsiteY99" fmla="*/ 154781 h 1209675"/>
              <a:gd name="connsiteX100" fmla="*/ 495300 w 1466850"/>
              <a:gd name="connsiteY100" fmla="*/ 123825 h 1209675"/>
              <a:gd name="connsiteX101" fmla="*/ 490537 w 1466850"/>
              <a:gd name="connsiteY101" fmla="*/ 114300 h 1209675"/>
              <a:gd name="connsiteX102" fmla="*/ 431006 w 1466850"/>
              <a:gd name="connsiteY102" fmla="*/ 97631 h 1209675"/>
              <a:gd name="connsiteX103" fmla="*/ 442912 w 1466850"/>
              <a:gd name="connsiteY103" fmla="*/ 33337 h 1209675"/>
              <a:gd name="connsiteX104" fmla="*/ 423862 w 1466850"/>
              <a:gd name="connsiteY104" fmla="*/ 19050 h 1209675"/>
              <a:gd name="connsiteX105" fmla="*/ 335756 w 1466850"/>
              <a:gd name="connsiteY105" fmla="*/ 0 h 1209675"/>
              <a:gd name="connsiteX106" fmla="*/ 302419 w 1466850"/>
              <a:gd name="connsiteY106" fmla="*/ 35719 h 1209675"/>
              <a:gd name="connsiteX107" fmla="*/ 266700 w 1466850"/>
              <a:gd name="connsiteY107" fmla="*/ 50006 h 1209675"/>
              <a:gd name="connsiteX108" fmla="*/ 271462 w 1466850"/>
              <a:gd name="connsiteY108" fmla="*/ 95250 h 1209675"/>
              <a:gd name="connsiteX109" fmla="*/ 316706 w 1466850"/>
              <a:gd name="connsiteY109" fmla="*/ 121444 h 1209675"/>
              <a:gd name="connsiteX110" fmla="*/ 302419 w 1466850"/>
              <a:gd name="connsiteY110" fmla="*/ 145256 h 1209675"/>
              <a:gd name="connsiteX111" fmla="*/ 247650 w 1466850"/>
              <a:gd name="connsiteY111" fmla="*/ 159544 h 1209675"/>
              <a:gd name="connsiteX112" fmla="*/ 214312 w 1466850"/>
              <a:gd name="connsiteY112" fmla="*/ 216694 h 1209675"/>
              <a:gd name="connsiteX113" fmla="*/ 183356 w 1466850"/>
              <a:gd name="connsiteY113" fmla="*/ 221456 h 1209675"/>
              <a:gd name="connsiteX114" fmla="*/ 183356 w 1466850"/>
              <a:gd name="connsiteY114" fmla="*/ 254794 h 1209675"/>
              <a:gd name="connsiteX115" fmla="*/ 161925 w 1466850"/>
              <a:gd name="connsiteY115" fmla="*/ 304800 h 1209675"/>
              <a:gd name="connsiteX116" fmla="*/ 140494 w 1466850"/>
              <a:gd name="connsiteY116" fmla="*/ 323850 h 1209675"/>
              <a:gd name="connsiteX117" fmla="*/ 71439 w 1466850"/>
              <a:gd name="connsiteY117" fmla="*/ 300039 h 1209675"/>
              <a:gd name="connsiteX118" fmla="*/ 59530 w 1466850"/>
              <a:gd name="connsiteY118" fmla="*/ 302418 h 1209675"/>
              <a:gd name="connsiteX119" fmla="*/ 30956 w 1466850"/>
              <a:gd name="connsiteY119" fmla="*/ 295274 h 1209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1466850" h="1209675">
                <a:moveTo>
                  <a:pt x="30956" y="295274"/>
                </a:moveTo>
                <a:lnTo>
                  <a:pt x="19050" y="381000"/>
                </a:lnTo>
                <a:lnTo>
                  <a:pt x="19050" y="397669"/>
                </a:lnTo>
                <a:lnTo>
                  <a:pt x="0" y="459581"/>
                </a:lnTo>
                <a:lnTo>
                  <a:pt x="7144" y="497681"/>
                </a:lnTo>
                <a:lnTo>
                  <a:pt x="9525" y="535781"/>
                </a:lnTo>
                <a:lnTo>
                  <a:pt x="19050" y="583406"/>
                </a:lnTo>
                <a:lnTo>
                  <a:pt x="23812" y="688181"/>
                </a:lnTo>
                <a:lnTo>
                  <a:pt x="35719" y="747712"/>
                </a:lnTo>
                <a:lnTo>
                  <a:pt x="40481" y="778669"/>
                </a:lnTo>
                <a:lnTo>
                  <a:pt x="47625" y="831056"/>
                </a:lnTo>
                <a:lnTo>
                  <a:pt x="38100" y="919162"/>
                </a:lnTo>
                <a:lnTo>
                  <a:pt x="78581" y="1028700"/>
                </a:lnTo>
                <a:lnTo>
                  <a:pt x="71437" y="1095375"/>
                </a:lnTo>
                <a:lnTo>
                  <a:pt x="88106" y="1164431"/>
                </a:lnTo>
                <a:lnTo>
                  <a:pt x="166687" y="1200149"/>
                </a:lnTo>
                <a:lnTo>
                  <a:pt x="202406" y="1209675"/>
                </a:lnTo>
                <a:lnTo>
                  <a:pt x="188119" y="1145381"/>
                </a:lnTo>
                <a:cubicBezTo>
                  <a:pt x="211137" y="1135063"/>
                  <a:pt x="224631" y="1110456"/>
                  <a:pt x="242887" y="1092994"/>
                </a:cubicBezTo>
                <a:lnTo>
                  <a:pt x="238125" y="1045369"/>
                </a:lnTo>
                <a:lnTo>
                  <a:pt x="230981" y="1035844"/>
                </a:lnTo>
                <a:lnTo>
                  <a:pt x="252412" y="1019175"/>
                </a:lnTo>
                <a:lnTo>
                  <a:pt x="314325" y="995362"/>
                </a:lnTo>
                <a:lnTo>
                  <a:pt x="311944" y="959644"/>
                </a:lnTo>
                <a:lnTo>
                  <a:pt x="326231" y="942975"/>
                </a:lnTo>
                <a:lnTo>
                  <a:pt x="452437" y="950119"/>
                </a:lnTo>
                <a:lnTo>
                  <a:pt x="464344" y="933450"/>
                </a:lnTo>
                <a:lnTo>
                  <a:pt x="476250" y="883444"/>
                </a:lnTo>
                <a:lnTo>
                  <a:pt x="488156" y="857250"/>
                </a:lnTo>
                <a:lnTo>
                  <a:pt x="526256" y="862012"/>
                </a:lnTo>
                <a:lnTo>
                  <a:pt x="545306" y="909637"/>
                </a:lnTo>
                <a:lnTo>
                  <a:pt x="566737" y="881062"/>
                </a:lnTo>
                <a:lnTo>
                  <a:pt x="621506" y="845344"/>
                </a:lnTo>
                <a:lnTo>
                  <a:pt x="709612" y="814387"/>
                </a:lnTo>
                <a:lnTo>
                  <a:pt x="716756" y="769144"/>
                </a:lnTo>
                <a:lnTo>
                  <a:pt x="742950" y="750094"/>
                </a:lnTo>
                <a:lnTo>
                  <a:pt x="785812" y="726281"/>
                </a:lnTo>
                <a:lnTo>
                  <a:pt x="800100" y="716756"/>
                </a:lnTo>
                <a:lnTo>
                  <a:pt x="862012" y="721519"/>
                </a:lnTo>
                <a:lnTo>
                  <a:pt x="883444" y="721519"/>
                </a:lnTo>
                <a:lnTo>
                  <a:pt x="892969" y="697706"/>
                </a:lnTo>
                <a:lnTo>
                  <a:pt x="892969" y="697706"/>
                </a:lnTo>
                <a:lnTo>
                  <a:pt x="921544" y="609600"/>
                </a:lnTo>
                <a:lnTo>
                  <a:pt x="909637" y="552450"/>
                </a:lnTo>
                <a:lnTo>
                  <a:pt x="928687" y="540544"/>
                </a:lnTo>
                <a:lnTo>
                  <a:pt x="973931" y="535781"/>
                </a:lnTo>
                <a:lnTo>
                  <a:pt x="1014412" y="447675"/>
                </a:lnTo>
                <a:lnTo>
                  <a:pt x="1038225" y="445294"/>
                </a:lnTo>
                <a:lnTo>
                  <a:pt x="1073944" y="476250"/>
                </a:lnTo>
                <a:lnTo>
                  <a:pt x="1112044" y="514350"/>
                </a:lnTo>
                <a:lnTo>
                  <a:pt x="1171575" y="540544"/>
                </a:lnTo>
                <a:lnTo>
                  <a:pt x="1219200" y="521494"/>
                </a:lnTo>
                <a:lnTo>
                  <a:pt x="1245394" y="502444"/>
                </a:lnTo>
                <a:lnTo>
                  <a:pt x="1278731" y="511969"/>
                </a:lnTo>
                <a:lnTo>
                  <a:pt x="1295400" y="531019"/>
                </a:lnTo>
                <a:lnTo>
                  <a:pt x="1273969" y="573881"/>
                </a:lnTo>
                <a:lnTo>
                  <a:pt x="1285875" y="611981"/>
                </a:lnTo>
                <a:lnTo>
                  <a:pt x="1300162" y="628650"/>
                </a:lnTo>
                <a:lnTo>
                  <a:pt x="1321594" y="666750"/>
                </a:lnTo>
                <a:lnTo>
                  <a:pt x="1347787" y="681037"/>
                </a:lnTo>
                <a:lnTo>
                  <a:pt x="1371600" y="681037"/>
                </a:lnTo>
                <a:lnTo>
                  <a:pt x="1376362" y="628650"/>
                </a:lnTo>
                <a:lnTo>
                  <a:pt x="1395412" y="578644"/>
                </a:lnTo>
                <a:lnTo>
                  <a:pt x="1426369" y="571500"/>
                </a:lnTo>
                <a:lnTo>
                  <a:pt x="1466850" y="552450"/>
                </a:lnTo>
                <a:lnTo>
                  <a:pt x="1443037" y="509587"/>
                </a:lnTo>
                <a:lnTo>
                  <a:pt x="1414462" y="464344"/>
                </a:lnTo>
                <a:lnTo>
                  <a:pt x="1388269" y="438150"/>
                </a:lnTo>
                <a:lnTo>
                  <a:pt x="1404937" y="400050"/>
                </a:lnTo>
                <a:lnTo>
                  <a:pt x="1404937" y="383381"/>
                </a:lnTo>
                <a:lnTo>
                  <a:pt x="1431131" y="338137"/>
                </a:lnTo>
                <a:lnTo>
                  <a:pt x="1419225" y="264319"/>
                </a:lnTo>
                <a:lnTo>
                  <a:pt x="1438275" y="202406"/>
                </a:lnTo>
                <a:lnTo>
                  <a:pt x="1435894" y="173831"/>
                </a:lnTo>
                <a:lnTo>
                  <a:pt x="1404937" y="164306"/>
                </a:lnTo>
                <a:lnTo>
                  <a:pt x="1364456" y="154781"/>
                </a:lnTo>
                <a:lnTo>
                  <a:pt x="1293019" y="154781"/>
                </a:lnTo>
                <a:lnTo>
                  <a:pt x="1233487" y="121444"/>
                </a:lnTo>
                <a:lnTo>
                  <a:pt x="1207294" y="114300"/>
                </a:lnTo>
                <a:lnTo>
                  <a:pt x="1188244" y="126206"/>
                </a:lnTo>
                <a:lnTo>
                  <a:pt x="1133475" y="188119"/>
                </a:lnTo>
                <a:lnTo>
                  <a:pt x="1116806" y="188119"/>
                </a:lnTo>
                <a:lnTo>
                  <a:pt x="1078706" y="142875"/>
                </a:lnTo>
                <a:lnTo>
                  <a:pt x="1054894" y="138112"/>
                </a:lnTo>
                <a:lnTo>
                  <a:pt x="997744" y="157162"/>
                </a:lnTo>
                <a:lnTo>
                  <a:pt x="973931" y="178594"/>
                </a:lnTo>
                <a:lnTo>
                  <a:pt x="928687" y="173831"/>
                </a:lnTo>
                <a:lnTo>
                  <a:pt x="878681" y="164306"/>
                </a:lnTo>
                <a:lnTo>
                  <a:pt x="864394" y="83344"/>
                </a:lnTo>
                <a:lnTo>
                  <a:pt x="845344" y="69056"/>
                </a:lnTo>
                <a:lnTo>
                  <a:pt x="747712" y="119062"/>
                </a:lnTo>
                <a:lnTo>
                  <a:pt x="721519" y="140494"/>
                </a:lnTo>
                <a:lnTo>
                  <a:pt x="709612" y="190500"/>
                </a:lnTo>
                <a:lnTo>
                  <a:pt x="707231" y="195262"/>
                </a:lnTo>
                <a:lnTo>
                  <a:pt x="654844" y="190500"/>
                </a:lnTo>
                <a:lnTo>
                  <a:pt x="633412" y="180975"/>
                </a:lnTo>
                <a:lnTo>
                  <a:pt x="614362" y="142875"/>
                </a:lnTo>
                <a:lnTo>
                  <a:pt x="590550" y="130969"/>
                </a:lnTo>
                <a:lnTo>
                  <a:pt x="540544" y="161925"/>
                </a:lnTo>
                <a:lnTo>
                  <a:pt x="507206" y="154781"/>
                </a:lnTo>
                <a:lnTo>
                  <a:pt x="495300" y="123825"/>
                </a:lnTo>
                <a:lnTo>
                  <a:pt x="490537" y="114300"/>
                </a:lnTo>
                <a:lnTo>
                  <a:pt x="431006" y="97631"/>
                </a:lnTo>
                <a:lnTo>
                  <a:pt x="442912" y="33337"/>
                </a:lnTo>
                <a:lnTo>
                  <a:pt x="423862" y="19050"/>
                </a:lnTo>
                <a:lnTo>
                  <a:pt x="335756" y="0"/>
                </a:lnTo>
                <a:lnTo>
                  <a:pt x="302419" y="35719"/>
                </a:lnTo>
                <a:lnTo>
                  <a:pt x="266700" y="50006"/>
                </a:lnTo>
                <a:lnTo>
                  <a:pt x="271462" y="95250"/>
                </a:lnTo>
                <a:lnTo>
                  <a:pt x="316706" y="121444"/>
                </a:lnTo>
                <a:lnTo>
                  <a:pt x="302419" y="145256"/>
                </a:lnTo>
                <a:lnTo>
                  <a:pt x="247650" y="159544"/>
                </a:lnTo>
                <a:lnTo>
                  <a:pt x="214312" y="216694"/>
                </a:lnTo>
                <a:lnTo>
                  <a:pt x="183356" y="221456"/>
                </a:lnTo>
                <a:lnTo>
                  <a:pt x="183356" y="254794"/>
                </a:lnTo>
                <a:lnTo>
                  <a:pt x="161925" y="304800"/>
                </a:lnTo>
                <a:lnTo>
                  <a:pt x="140494" y="323850"/>
                </a:lnTo>
                <a:lnTo>
                  <a:pt x="71439" y="300039"/>
                </a:lnTo>
                <a:lnTo>
                  <a:pt x="59530" y="302418"/>
                </a:lnTo>
                <a:lnTo>
                  <a:pt x="30956" y="295274"/>
                </a:lnTo>
                <a:close/>
              </a:path>
            </a:pathLst>
          </a:custGeom>
          <a:solidFill>
            <a:srgbClr val="CC00CC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2016125" y="3896787"/>
            <a:ext cx="1562100" cy="1308100"/>
          </a:xfrm>
          <a:custGeom>
            <a:avLst/>
            <a:gdLst>
              <a:gd name="connsiteX0" fmla="*/ 688181 w 1562100"/>
              <a:gd name="connsiteY0" fmla="*/ 1000125 h 1126331"/>
              <a:gd name="connsiteX1" fmla="*/ 688181 w 1562100"/>
              <a:gd name="connsiteY1" fmla="*/ 914400 h 1126331"/>
              <a:gd name="connsiteX2" fmla="*/ 692944 w 1562100"/>
              <a:gd name="connsiteY2" fmla="*/ 871537 h 1126331"/>
              <a:gd name="connsiteX3" fmla="*/ 692944 w 1562100"/>
              <a:gd name="connsiteY3" fmla="*/ 826294 h 1126331"/>
              <a:gd name="connsiteX4" fmla="*/ 676275 w 1562100"/>
              <a:gd name="connsiteY4" fmla="*/ 802481 h 1126331"/>
              <a:gd name="connsiteX5" fmla="*/ 690563 w 1562100"/>
              <a:gd name="connsiteY5" fmla="*/ 750094 h 1126331"/>
              <a:gd name="connsiteX6" fmla="*/ 685800 w 1562100"/>
              <a:gd name="connsiteY6" fmla="*/ 723900 h 1126331"/>
              <a:gd name="connsiteX7" fmla="*/ 697706 w 1562100"/>
              <a:gd name="connsiteY7" fmla="*/ 678656 h 1126331"/>
              <a:gd name="connsiteX8" fmla="*/ 714375 w 1562100"/>
              <a:gd name="connsiteY8" fmla="*/ 654844 h 1126331"/>
              <a:gd name="connsiteX9" fmla="*/ 721519 w 1562100"/>
              <a:gd name="connsiteY9" fmla="*/ 621506 h 1126331"/>
              <a:gd name="connsiteX10" fmla="*/ 735806 w 1562100"/>
              <a:gd name="connsiteY10" fmla="*/ 602456 h 1126331"/>
              <a:gd name="connsiteX11" fmla="*/ 792956 w 1562100"/>
              <a:gd name="connsiteY11" fmla="*/ 592931 h 1126331"/>
              <a:gd name="connsiteX12" fmla="*/ 838200 w 1562100"/>
              <a:gd name="connsiteY12" fmla="*/ 576262 h 1126331"/>
              <a:gd name="connsiteX13" fmla="*/ 876300 w 1562100"/>
              <a:gd name="connsiteY13" fmla="*/ 535781 h 1126331"/>
              <a:gd name="connsiteX14" fmla="*/ 923925 w 1562100"/>
              <a:gd name="connsiteY14" fmla="*/ 521494 h 1126331"/>
              <a:gd name="connsiteX15" fmla="*/ 995363 w 1562100"/>
              <a:gd name="connsiteY15" fmla="*/ 516731 h 1126331"/>
              <a:gd name="connsiteX16" fmla="*/ 1040606 w 1562100"/>
              <a:gd name="connsiteY16" fmla="*/ 507206 h 1126331"/>
              <a:gd name="connsiteX17" fmla="*/ 1119188 w 1562100"/>
              <a:gd name="connsiteY17" fmla="*/ 400050 h 1126331"/>
              <a:gd name="connsiteX18" fmla="*/ 1126331 w 1562100"/>
              <a:gd name="connsiteY18" fmla="*/ 366712 h 1126331"/>
              <a:gd name="connsiteX19" fmla="*/ 1152525 w 1562100"/>
              <a:gd name="connsiteY19" fmla="*/ 338137 h 1126331"/>
              <a:gd name="connsiteX20" fmla="*/ 1197769 w 1562100"/>
              <a:gd name="connsiteY20" fmla="*/ 328612 h 1126331"/>
              <a:gd name="connsiteX21" fmla="*/ 1290638 w 1562100"/>
              <a:gd name="connsiteY21" fmla="*/ 252412 h 1126331"/>
              <a:gd name="connsiteX22" fmla="*/ 1314450 w 1562100"/>
              <a:gd name="connsiteY22" fmla="*/ 250031 h 1126331"/>
              <a:gd name="connsiteX23" fmla="*/ 1409700 w 1562100"/>
              <a:gd name="connsiteY23" fmla="*/ 169069 h 1126331"/>
              <a:gd name="connsiteX24" fmla="*/ 1414463 w 1562100"/>
              <a:gd name="connsiteY24" fmla="*/ 150019 h 1126331"/>
              <a:gd name="connsiteX25" fmla="*/ 1507331 w 1562100"/>
              <a:gd name="connsiteY25" fmla="*/ 95250 h 1126331"/>
              <a:gd name="connsiteX26" fmla="*/ 1543050 w 1562100"/>
              <a:gd name="connsiteY26" fmla="*/ 50006 h 1126331"/>
              <a:gd name="connsiteX27" fmla="*/ 1562100 w 1562100"/>
              <a:gd name="connsiteY27" fmla="*/ 11906 h 1126331"/>
              <a:gd name="connsiteX28" fmla="*/ 1512094 w 1562100"/>
              <a:gd name="connsiteY28" fmla="*/ 30956 h 1126331"/>
              <a:gd name="connsiteX29" fmla="*/ 1478756 w 1562100"/>
              <a:gd name="connsiteY29" fmla="*/ 30956 h 1126331"/>
              <a:gd name="connsiteX30" fmla="*/ 1452563 w 1562100"/>
              <a:gd name="connsiteY30" fmla="*/ 69056 h 1126331"/>
              <a:gd name="connsiteX31" fmla="*/ 1421606 w 1562100"/>
              <a:gd name="connsiteY31" fmla="*/ 66675 h 1126331"/>
              <a:gd name="connsiteX32" fmla="*/ 1366838 w 1562100"/>
              <a:gd name="connsiteY32" fmla="*/ 35719 h 1126331"/>
              <a:gd name="connsiteX33" fmla="*/ 1323975 w 1562100"/>
              <a:gd name="connsiteY33" fmla="*/ 23812 h 1126331"/>
              <a:gd name="connsiteX34" fmla="*/ 1238250 w 1562100"/>
              <a:gd name="connsiteY34" fmla="*/ 59531 h 1126331"/>
              <a:gd name="connsiteX35" fmla="*/ 1223963 w 1562100"/>
              <a:gd name="connsiteY35" fmla="*/ 97631 h 1126331"/>
              <a:gd name="connsiteX36" fmla="*/ 1195388 w 1562100"/>
              <a:gd name="connsiteY36" fmla="*/ 154781 h 1126331"/>
              <a:gd name="connsiteX37" fmla="*/ 1109663 w 1562100"/>
              <a:gd name="connsiteY37" fmla="*/ 116681 h 1126331"/>
              <a:gd name="connsiteX38" fmla="*/ 1097756 w 1562100"/>
              <a:gd name="connsiteY38" fmla="*/ 159544 h 1126331"/>
              <a:gd name="connsiteX39" fmla="*/ 1083469 w 1562100"/>
              <a:gd name="connsiteY39" fmla="*/ 192881 h 1126331"/>
              <a:gd name="connsiteX40" fmla="*/ 959644 w 1562100"/>
              <a:gd name="connsiteY40" fmla="*/ 223837 h 1126331"/>
              <a:gd name="connsiteX41" fmla="*/ 945356 w 1562100"/>
              <a:gd name="connsiteY41" fmla="*/ 219075 h 1126331"/>
              <a:gd name="connsiteX42" fmla="*/ 926306 w 1562100"/>
              <a:gd name="connsiteY42" fmla="*/ 240506 h 1126331"/>
              <a:gd name="connsiteX43" fmla="*/ 890588 w 1562100"/>
              <a:gd name="connsiteY43" fmla="*/ 247650 h 1126331"/>
              <a:gd name="connsiteX44" fmla="*/ 854869 w 1562100"/>
              <a:gd name="connsiteY44" fmla="*/ 197644 h 1126331"/>
              <a:gd name="connsiteX45" fmla="*/ 835819 w 1562100"/>
              <a:gd name="connsiteY45" fmla="*/ 185737 h 1126331"/>
              <a:gd name="connsiteX46" fmla="*/ 826294 w 1562100"/>
              <a:gd name="connsiteY46" fmla="*/ 140494 h 1126331"/>
              <a:gd name="connsiteX47" fmla="*/ 792956 w 1562100"/>
              <a:gd name="connsiteY47" fmla="*/ 123825 h 1126331"/>
              <a:gd name="connsiteX48" fmla="*/ 759619 w 1562100"/>
              <a:gd name="connsiteY48" fmla="*/ 116681 h 1126331"/>
              <a:gd name="connsiteX49" fmla="*/ 740569 w 1562100"/>
              <a:gd name="connsiteY49" fmla="*/ 111919 h 1126331"/>
              <a:gd name="connsiteX50" fmla="*/ 728663 w 1562100"/>
              <a:gd name="connsiteY50" fmla="*/ 102394 h 1126331"/>
              <a:gd name="connsiteX51" fmla="*/ 735806 w 1562100"/>
              <a:gd name="connsiteY51" fmla="*/ 76200 h 1126331"/>
              <a:gd name="connsiteX52" fmla="*/ 742950 w 1562100"/>
              <a:gd name="connsiteY52" fmla="*/ 52387 h 1126331"/>
              <a:gd name="connsiteX53" fmla="*/ 700088 w 1562100"/>
              <a:gd name="connsiteY53" fmla="*/ 2381 h 1126331"/>
              <a:gd name="connsiteX54" fmla="*/ 328613 w 1562100"/>
              <a:gd name="connsiteY54" fmla="*/ 0 h 1126331"/>
              <a:gd name="connsiteX55" fmla="*/ 292894 w 1562100"/>
              <a:gd name="connsiteY55" fmla="*/ 102394 h 1126331"/>
              <a:gd name="connsiteX56" fmla="*/ 264319 w 1562100"/>
              <a:gd name="connsiteY56" fmla="*/ 109537 h 1126331"/>
              <a:gd name="connsiteX57" fmla="*/ 261938 w 1562100"/>
              <a:gd name="connsiteY57" fmla="*/ 123825 h 1126331"/>
              <a:gd name="connsiteX58" fmla="*/ 261938 w 1562100"/>
              <a:gd name="connsiteY58" fmla="*/ 157162 h 1126331"/>
              <a:gd name="connsiteX59" fmla="*/ 228600 w 1562100"/>
              <a:gd name="connsiteY59" fmla="*/ 200025 h 1126331"/>
              <a:gd name="connsiteX60" fmla="*/ 271463 w 1562100"/>
              <a:gd name="connsiteY60" fmla="*/ 216694 h 1126331"/>
              <a:gd name="connsiteX61" fmla="*/ 278606 w 1562100"/>
              <a:gd name="connsiteY61" fmla="*/ 235744 h 1126331"/>
              <a:gd name="connsiteX62" fmla="*/ 257175 w 1562100"/>
              <a:gd name="connsiteY62" fmla="*/ 271462 h 1126331"/>
              <a:gd name="connsiteX63" fmla="*/ 221456 w 1562100"/>
              <a:gd name="connsiteY63" fmla="*/ 280987 h 1126331"/>
              <a:gd name="connsiteX64" fmla="*/ 221456 w 1562100"/>
              <a:gd name="connsiteY64" fmla="*/ 321469 h 1126331"/>
              <a:gd name="connsiteX65" fmla="*/ 254794 w 1562100"/>
              <a:gd name="connsiteY65" fmla="*/ 359569 h 1126331"/>
              <a:gd name="connsiteX66" fmla="*/ 226219 w 1562100"/>
              <a:gd name="connsiteY66" fmla="*/ 423862 h 1126331"/>
              <a:gd name="connsiteX67" fmla="*/ 180975 w 1562100"/>
              <a:gd name="connsiteY67" fmla="*/ 452437 h 1126331"/>
              <a:gd name="connsiteX68" fmla="*/ 183356 w 1562100"/>
              <a:gd name="connsiteY68" fmla="*/ 469106 h 1126331"/>
              <a:gd name="connsiteX69" fmla="*/ 204788 w 1562100"/>
              <a:gd name="connsiteY69" fmla="*/ 478631 h 1126331"/>
              <a:gd name="connsiteX70" fmla="*/ 219075 w 1562100"/>
              <a:gd name="connsiteY70" fmla="*/ 488156 h 1126331"/>
              <a:gd name="connsiteX71" fmla="*/ 223838 w 1562100"/>
              <a:gd name="connsiteY71" fmla="*/ 507206 h 1126331"/>
              <a:gd name="connsiteX72" fmla="*/ 195263 w 1562100"/>
              <a:gd name="connsiteY72" fmla="*/ 533400 h 1126331"/>
              <a:gd name="connsiteX73" fmla="*/ 123825 w 1562100"/>
              <a:gd name="connsiteY73" fmla="*/ 578644 h 1126331"/>
              <a:gd name="connsiteX74" fmla="*/ 123825 w 1562100"/>
              <a:gd name="connsiteY74" fmla="*/ 614362 h 1126331"/>
              <a:gd name="connsiteX75" fmla="*/ 135731 w 1562100"/>
              <a:gd name="connsiteY75" fmla="*/ 645319 h 1126331"/>
              <a:gd name="connsiteX76" fmla="*/ 123825 w 1562100"/>
              <a:gd name="connsiteY76" fmla="*/ 685800 h 1126331"/>
              <a:gd name="connsiteX77" fmla="*/ 76200 w 1562100"/>
              <a:gd name="connsiteY77" fmla="*/ 681037 h 1126331"/>
              <a:gd name="connsiteX78" fmla="*/ 52388 w 1562100"/>
              <a:gd name="connsiteY78" fmla="*/ 626269 h 1126331"/>
              <a:gd name="connsiteX79" fmla="*/ 33338 w 1562100"/>
              <a:gd name="connsiteY79" fmla="*/ 619125 h 1126331"/>
              <a:gd name="connsiteX80" fmla="*/ 23813 w 1562100"/>
              <a:gd name="connsiteY80" fmla="*/ 657225 h 1126331"/>
              <a:gd name="connsiteX81" fmla="*/ 21431 w 1562100"/>
              <a:gd name="connsiteY81" fmla="*/ 666750 h 1126331"/>
              <a:gd name="connsiteX82" fmla="*/ 7144 w 1562100"/>
              <a:gd name="connsiteY82" fmla="*/ 683419 h 1126331"/>
              <a:gd name="connsiteX83" fmla="*/ 0 w 1562100"/>
              <a:gd name="connsiteY83" fmla="*/ 740569 h 1126331"/>
              <a:gd name="connsiteX84" fmla="*/ 23813 w 1562100"/>
              <a:gd name="connsiteY84" fmla="*/ 769144 h 1126331"/>
              <a:gd name="connsiteX85" fmla="*/ 16669 w 1562100"/>
              <a:gd name="connsiteY85" fmla="*/ 809625 h 1126331"/>
              <a:gd name="connsiteX86" fmla="*/ 35719 w 1562100"/>
              <a:gd name="connsiteY86" fmla="*/ 814387 h 1126331"/>
              <a:gd name="connsiteX87" fmla="*/ 69056 w 1562100"/>
              <a:gd name="connsiteY87" fmla="*/ 814387 h 1126331"/>
              <a:gd name="connsiteX88" fmla="*/ 85725 w 1562100"/>
              <a:gd name="connsiteY88" fmla="*/ 804862 h 1126331"/>
              <a:gd name="connsiteX89" fmla="*/ 135731 w 1562100"/>
              <a:gd name="connsiteY89" fmla="*/ 862012 h 1126331"/>
              <a:gd name="connsiteX90" fmla="*/ 123825 w 1562100"/>
              <a:gd name="connsiteY90" fmla="*/ 881062 h 1126331"/>
              <a:gd name="connsiteX91" fmla="*/ 133350 w 1562100"/>
              <a:gd name="connsiteY91" fmla="*/ 909637 h 1126331"/>
              <a:gd name="connsiteX92" fmla="*/ 164306 w 1562100"/>
              <a:gd name="connsiteY92" fmla="*/ 928687 h 1126331"/>
              <a:gd name="connsiteX93" fmla="*/ 190500 w 1562100"/>
              <a:gd name="connsiteY93" fmla="*/ 938212 h 1126331"/>
              <a:gd name="connsiteX94" fmla="*/ 216694 w 1562100"/>
              <a:gd name="connsiteY94" fmla="*/ 945356 h 1126331"/>
              <a:gd name="connsiteX95" fmla="*/ 228600 w 1562100"/>
              <a:gd name="connsiteY95" fmla="*/ 947737 h 1126331"/>
              <a:gd name="connsiteX96" fmla="*/ 240506 w 1562100"/>
              <a:gd name="connsiteY96" fmla="*/ 909637 h 1126331"/>
              <a:gd name="connsiteX97" fmla="*/ 269081 w 1562100"/>
              <a:gd name="connsiteY97" fmla="*/ 914400 h 1126331"/>
              <a:gd name="connsiteX98" fmla="*/ 288131 w 1562100"/>
              <a:gd name="connsiteY98" fmla="*/ 902494 h 1126331"/>
              <a:gd name="connsiteX99" fmla="*/ 307181 w 1562100"/>
              <a:gd name="connsiteY99" fmla="*/ 952500 h 1126331"/>
              <a:gd name="connsiteX100" fmla="*/ 330994 w 1562100"/>
              <a:gd name="connsiteY100" fmla="*/ 966787 h 1126331"/>
              <a:gd name="connsiteX101" fmla="*/ 340519 w 1562100"/>
              <a:gd name="connsiteY101" fmla="*/ 995362 h 1126331"/>
              <a:gd name="connsiteX102" fmla="*/ 357188 w 1562100"/>
              <a:gd name="connsiteY102" fmla="*/ 1004887 h 1126331"/>
              <a:gd name="connsiteX103" fmla="*/ 364331 w 1562100"/>
              <a:gd name="connsiteY103" fmla="*/ 1035844 h 1126331"/>
              <a:gd name="connsiteX104" fmla="*/ 335756 w 1562100"/>
              <a:gd name="connsiteY104" fmla="*/ 1062037 h 1126331"/>
              <a:gd name="connsiteX105" fmla="*/ 309563 w 1562100"/>
              <a:gd name="connsiteY105" fmla="*/ 1078706 h 1126331"/>
              <a:gd name="connsiteX106" fmla="*/ 297656 w 1562100"/>
              <a:gd name="connsiteY106" fmla="*/ 1102519 h 1126331"/>
              <a:gd name="connsiteX107" fmla="*/ 302419 w 1562100"/>
              <a:gd name="connsiteY107" fmla="*/ 1126331 h 1126331"/>
              <a:gd name="connsiteX108" fmla="*/ 342900 w 1562100"/>
              <a:gd name="connsiteY108" fmla="*/ 1126331 h 1126331"/>
              <a:gd name="connsiteX109" fmla="*/ 390525 w 1562100"/>
              <a:gd name="connsiteY109" fmla="*/ 1121569 h 1126331"/>
              <a:gd name="connsiteX110" fmla="*/ 428625 w 1562100"/>
              <a:gd name="connsiteY110" fmla="*/ 1112044 h 1126331"/>
              <a:gd name="connsiteX111" fmla="*/ 454819 w 1562100"/>
              <a:gd name="connsiteY111" fmla="*/ 1119187 h 1126331"/>
              <a:gd name="connsiteX112" fmla="*/ 473869 w 1562100"/>
              <a:gd name="connsiteY112" fmla="*/ 1097756 h 1126331"/>
              <a:gd name="connsiteX113" fmla="*/ 492919 w 1562100"/>
              <a:gd name="connsiteY113" fmla="*/ 1097756 h 1126331"/>
              <a:gd name="connsiteX114" fmla="*/ 507206 w 1562100"/>
              <a:gd name="connsiteY114" fmla="*/ 1066800 h 1126331"/>
              <a:gd name="connsiteX115" fmla="*/ 557213 w 1562100"/>
              <a:gd name="connsiteY115" fmla="*/ 1052512 h 1126331"/>
              <a:gd name="connsiteX116" fmla="*/ 583406 w 1562100"/>
              <a:gd name="connsiteY116" fmla="*/ 1033462 h 1126331"/>
              <a:gd name="connsiteX117" fmla="*/ 590550 w 1562100"/>
              <a:gd name="connsiteY117" fmla="*/ 995362 h 1126331"/>
              <a:gd name="connsiteX118" fmla="*/ 607219 w 1562100"/>
              <a:gd name="connsiteY118" fmla="*/ 969169 h 1126331"/>
              <a:gd name="connsiteX119" fmla="*/ 688181 w 1562100"/>
              <a:gd name="connsiteY119" fmla="*/ 1000125 h 1126331"/>
              <a:gd name="connsiteX0" fmla="*/ 688181 w 1562100"/>
              <a:gd name="connsiteY0" fmla="*/ 1000125 h 1126331"/>
              <a:gd name="connsiteX1" fmla="*/ 688181 w 1562100"/>
              <a:gd name="connsiteY1" fmla="*/ 914400 h 1126331"/>
              <a:gd name="connsiteX2" fmla="*/ 692944 w 1562100"/>
              <a:gd name="connsiteY2" fmla="*/ 871537 h 1126331"/>
              <a:gd name="connsiteX3" fmla="*/ 692944 w 1562100"/>
              <a:gd name="connsiteY3" fmla="*/ 826294 h 1126331"/>
              <a:gd name="connsiteX4" fmla="*/ 676275 w 1562100"/>
              <a:gd name="connsiteY4" fmla="*/ 802481 h 1126331"/>
              <a:gd name="connsiteX5" fmla="*/ 690563 w 1562100"/>
              <a:gd name="connsiteY5" fmla="*/ 750094 h 1126331"/>
              <a:gd name="connsiteX6" fmla="*/ 685800 w 1562100"/>
              <a:gd name="connsiteY6" fmla="*/ 723900 h 1126331"/>
              <a:gd name="connsiteX7" fmla="*/ 697706 w 1562100"/>
              <a:gd name="connsiteY7" fmla="*/ 678656 h 1126331"/>
              <a:gd name="connsiteX8" fmla="*/ 714375 w 1562100"/>
              <a:gd name="connsiteY8" fmla="*/ 654844 h 1126331"/>
              <a:gd name="connsiteX9" fmla="*/ 721519 w 1562100"/>
              <a:gd name="connsiteY9" fmla="*/ 621506 h 1126331"/>
              <a:gd name="connsiteX10" fmla="*/ 735806 w 1562100"/>
              <a:gd name="connsiteY10" fmla="*/ 602456 h 1126331"/>
              <a:gd name="connsiteX11" fmla="*/ 792956 w 1562100"/>
              <a:gd name="connsiteY11" fmla="*/ 592931 h 1126331"/>
              <a:gd name="connsiteX12" fmla="*/ 838200 w 1562100"/>
              <a:gd name="connsiteY12" fmla="*/ 576262 h 1126331"/>
              <a:gd name="connsiteX13" fmla="*/ 876300 w 1562100"/>
              <a:gd name="connsiteY13" fmla="*/ 535781 h 1126331"/>
              <a:gd name="connsiteX14" fmla="*/ 923925 w 1562100"/>
              <a:gd name="connsiteY14" fmla="*/ 521494 h 1126331"/>
              <a:gd name="connsiteX15" fmla="*/ 995363 w 1562100"/>
              <a:gd name="connsiteY15" fmla="*/ 516731 h 1126331"/>
              <a:gd name="connsiteX16" fmla="*/ 1040606 w 1562100"/>
              <a:gd name="connsiteY16" fmla="*/ 507206 h 1126331"/>
              <a:gd name="connsiteX17" fmla="*/ 1119188 w 1562100"/>
              <a:gd name="connsiteY17" fmla="*/ 400050 h 1126331"/>
              <a:gd name="connsiteX18" fmla="*/ 1126331 w 1562100"/>
              <a:gd name="connsiteY18" fmla="*/ 366712 h 1126331"/>
              <a:gd name="connsiteX19" fmla="*/ 1152525 w 1562100"/>
              <a:gd name="connsiteY19" fmla="*/ 338137 h 1126331"/>
              <a:gd name="connsiteX20" fmla="*/ 1197769 w 1562100"/>
              <a:gd name="connsiteY20" fmla="*/ 328612 h 1126331"/>
              <a:gd name="connsiteX21" fmla="*/ 1290638 w 1562100"/>
              <a:gd name="connsiteY21" fmla="*/ 252412 h 1126331"/>
              <a:gd name="connsiteX22" fmla="*/ 1314450 w 1562100"/>
              <a:gd name="connsiteY22" fmla="*/ 250031 h 1126331"/>
              <a:gd name="connsiteX23" fmla="*/ 1409700 w 1562100"/>
              <a:gd name="connsiteY23" fmla="*/ 169069 h 1126331"/>
              <a:gd name="connsiteX24" fmla="*/ 1414463 w 1562100"/>
              <a:gd name="connsiteY24" fmla="*/ 150019 h 1126331"/>
              <a:gd name="connsiteX25" fmla="*/ 1507331 w 1562100"/>
              <a:gd name="connsiteY25" fmla="*/ 95250 h 1126331"/>
              <a:gd name="connsiteX26" fmla="*/ 1543050 w 1562100"/>
              <a:gd name="connsiteY26" fmla="*/ 50006 h 1126331"/>
              <a:gd name="connsiteX27" fmla="*/ 1562100 w 1562100"/>
              <a:gd name="connsiteY27" fmla="*/ 11906 h 1126331"/>
              <a:gd name="connsiteX28" fmla="*/ 1512094 w 1562100"/>
              <a:gd name="connsiteY28" fmla="*/ 30956 h 1126331"/>
              <a:gd name="connsiteX29" fmla="*/ 1478756 w 1562100"/>
              <a:gd name="connsiteY29" fmla="*/ 30956 h 1126331"/>
              <a:gd name="connsiteX30" fmla="*/ 1452563 w 1562100"/>
              <a:gd name="connsiteY30" fmla="*/ 69056 h 1126331"/>
              <a:gd name="connsiteX31" fmla="*/ 1421606 w 1562100"/>
              <a:gd name="connsiteY31" fmla="*/ 66675 h 1126331"/>
              <a:gd name="connsiteX32" fmla="*/ 1366838 w 1562100"/>
              <a:gd name="connsiteY32" fmla="*/ 35719 h 1126331"/>
              <a:gd name="connsiteX33" fmla="*/ 1323975 w 1562100"/>
              <a:gd name="connsiteY33" fmla="*/ 23812 h 1126331"/>
              <a:gd name="connsiteX34" fmla="*/ 1238250 w 1562100"/>
              <a:gd name="connsiteY34" fmla="*/ 59531 h 1126331"/>
              <a:gd name="connsiteX35" fmla="*/ 1223963 w 1562100"/>
              <a:gd name="connsiteY35" fmla="*/ 97631 h 1126331"/>
              <a:gd name="connsiteX36" fmla="*/ 1195388 w 1562100"/>
              <a:gd name="connsiteY36" fmla="*/ 154781 h 1126331"/>
              <a:gd name="connsiteX37" fmla="*/ 1109663 w 1562100"/>
              <a:gd name="connsiteY37" fmla="*/ 116681 h 1126331"/>
              <a:gd name="connsiteX38" fmla="*/ 1097756 w 1562100"/>
              <a:gd name="connsiteY38" fmla="*/ 159544 h 1126331"/>
              <a:gd name="connsiteX39" fmla="*/ 1083469 w 1562100"/>
              <a:gd name="connsiteY39" fmla="*/ 192881 h 1126331"/>
              <a:gd name="connsiteX40" fmla="*/ 959644 w 1562100"/>
              <a:gd name="connsiteY40" fmla="*/ 223837 h 1126331"/>
              <a:gd name="connsiteX41" fmla="*/ 945356 w 1562100"/>
              <a:gd name="connsiteY41" fmla="*/ 219075 h 1126331"/>
              <a:gd name="connsiteX42" fmla="*/ 926306 w 1562100"/>
              <a:gd name="connsiteY42" fmla="*/ 240506 h 1126331"/>
              <a:gd name="connsiteX43" fmla="*/ 890588 w 1562100"/>
              <a:gd name="connsiteY43" fmla="*/ 247650 h 1126331"/>
              <a:gd name="connsiteX44" fmla="*/ 854869 w 1562100"/>
              <a:gd name="connsiteY44" fmla="*/ 197644 h 1126331"/>
              <a:gd name="connsiteX45" fmla="*/ 835819 w 1562100"/>
              <a:gd name="connsiteY45" fmla="*/ 185737 h 1126331"/>
              <a:gd name="connsiteX46" fmla="*/ 826294 w 1562100"/>
              <a:gd name="connsiteY46" fmla="*/ 140494 h 1126331"/>
              <a:gd name="connsiteX47" fmla="*/ 792956 w 1562100"/>
              <a:gd name="connsiteY47" fmla="*/ 123825 h 1126331"/>
              <a:gd name="connsiteX48" fmla="*/ 759619 w 1562100"/>
              <a:gd name="connsiteY48" fmla="*/ 116681 h 1126331"/>
              <a:gd name="connsiteX49" fmla="*/ 740569 w 1562100"/>
              <a:gd name="connsiteY49" fmla="*/ 111919 h 1126331"/>
              <a:gd name="connsiteX50" fmla="*/ 728663 w 1562100"/>
              <a:gd name="connsiteY50" fmla="*/ 102394 h 1126331"/>
              <a:gd name="connsiteX51" fmla="*/ 735806 w 1562100"/>
              <a:gd name="connsiteY51" fmla="*/ 76200 h 1126331"/>
              <a:gd name="connsiteX52" fmla="*/ 742950 w 1562100"/>
              <a:gd name="connsiteY52" fmla="*/ 52387 h 1126331"/>
              <a:gd name="connsiteX53" fmla="*/ 700088 w 1562100"/>
              <a:gd name="connsiteY53" fmla="*/ 2381 h 1126331"/>
              <a:gd name="connsiteX54" fmla="*/ 378619 w 1562100"/>
              <a:gd name="connsiteY54" fmla="*/ 2381 h 1126331"/>
              <a:gd name="connsiteX55" fmla="*/ 328613 w 1562100"/>
              <a:gd name="connsiteY55" fmla="*/ 0 h 1126331"/>
              <a:gd name="connsiteX56" fmla="*/ 292894 w 1562100"/>
              <a:gd name="connsiteY56" fmla="*/ 102394 h 1126331"/>
              <a:gd name="connsiteX57" fmla="*/ 264319 w 1562100"/>
              <a:gd name="connsiteY57" fmla="*/ 109537 h 1126331"/>
              <a:gd name="connsiteX58" fmla="*/ 261938 w 1562100"/>
              <a:gd name="connsiteY58" fmla="*/ 123825 h 1126331"/>
              <a:gd name="connsiteX59" fmla="*/ 261938 w 1562100"/>
              <a:gd name="connsiteY59" fmla="*/ 157162 h 1126331"/>
              <a:gd name="connsiteX60" fmla="*/ 228600 w 1562100"/>
              <a:gd name="connsiteY60" fmla="*/ 200025 h 1126331"/>
              <a:gd name="connsiteX61" fmla="*/ 271463 w 1562100"/>
              <a:gd name="connsiteY61" fmla="*/ 216694 h 1126331"/>
              <a:gd name="connsiteX62" fmla="*/ 278606 w 1562100"/>
              <a:gd name="connsiteY62" fmla="*/ 235744 h 1126331"/>
              <a:gd name="connsiteX63" fmla="*/ 257175 w 1562100"/>
              <a:gd name="connsiteY63" fmla="*/ 271462 h 1126331"/>
              <a:gd name="connsiteX64" fmla="*/ 221456 w 1562100"/>
              <a:gd name="connsiteY64" fmla="*/ 280987 h 1126331"/>
              <a:gd name="connsiteX65" fmla="*/ 221456 w 1562100"/>
              <a:gd name="connsiteY65" fmla="*/ 321469 h 1126331"/>
              <a:gd name="connsiteX66" fmla="*/ 254794 w 1562100"/>
              <a:gd name="connsiteY66" fmla="*/ 359569 h 1126331"/>
              <a:gd name="connsiteX67" fmla="*/ 226219 w 1562100"/>
              <a:gd name="connsiteY67" fmla="*/ 423862 h 1126331"/>
              <a:gd name="connsiteX68" fmla="*/ 180975 w 1562100"/>
              <a:gd name="connsiteY68" fmla="*/ 452437 h 1126331"/>
              <a:gd name="connsiteX69" fmla="*/ 183356 w 1562100"/>
              <a:gd name="connsiteY69" fmla="*/ 469106 h 1126331"/>
              <a:gd name="connsiteX70" fmla="*/ 204788 w 1562100"/>
              <a:gd name="connsiteY70" fmla="*/ 478631 h 1126331"/>
              <a:gd name="connsiteX71" fmla="*/ 219075 w 1562100"/>
              <a:gd name="connsiteY71" fmla="*/ 488156 h 1126331"/>
              <a:gd name="connsiteX72" fmla="*/ 223838 w 1562100"/>
              <a:gd name="connsiteY72" fmla="*/ 507206 h 1126331"/>
              <a:gd name="connsiteX73" fmla="*/ 195263 w 1562100"/>
              <a:gd name="connsiteY73" fmla="*/ 533400 h 1126331"/>
              <a:gd name="connsiteX74" fmla="*/ 123825 w 1562100"/>
              <a:gd name="connsiteY74" fmla="*/ 578644 h 1126331"/>
              <a:gd name="connsiteX75" fmla="*/ 123825 w 1562100"/>
              <a:gd name="connsiteY75" fmla="*/ 614362 h 1126331"/>
              <a:gd name="connsiteX76" fmla="*/ 135731 w 1562100"/>
              <a:gd name="connsiteY76" fmla="*/ 645319 h 1126331"/>
              <a:gd name="connsiteX77" fmla="*/ 123825 w 1562100"/>
              <a:gd name="connsiteY77" fmla="*/ 685800 h 1126331"/>
              <a:gd name="connsiteX78" fmla="*/ 76200 w 1562100"/>
              <a:gd name="connsiteY78" fmla="*/ 681037 h 1126331"/>
              <a:gd name="connsiteX79" fmla="*/ 52388 w 1562100"/>
              <a:gd name="connsiteY79" fmla="*/ 626269 h 1126331"/>
              <a:gd name="connsiteX80" fmla="*/ 33338 w 1562100"/>
              <a:gd name="connsiteY80" fmla="*/ 619125 h 1126331"/>
              <a:gd name="connsiteX81" fmla="*/ 23813 w 1562100"/>
              <a:gd name="connsiteY81" fmla="*/ 657225 h 1126331"/>
              <a:gd name="connsiteX82" fmla="*/ 21431 w 1562100"/>
              <a:gd name="connsiteY82" fmla="*/ 666750 h 1126331"/>
              <a:gd name="connsiteX83" fmla="*/ 7144 w 1562100"/>
              <a:gd name="connsiteY83" fmla="*/ 683419 h 1126331"/>
              <a:gd name="connsiteX84" fmla="*/ 0 w 1562100"/>
              <a:gd name="connsiteY84" fmla="*/ 740569 h 1126331"/>
              <a:gd name="connsiteX85" fmla="*/ 23813 w 1562100"/>
              <a:gd name="connsiteY85" fmla="*/ 769144 h 1126331"/>
              <a:gd name="connsiteX86" fmla="*/ 16669 w 1562100"/>
              <a:gd name="connsiteY86" fmla="*/ 809625 h 1126331"/>
              <a:gd name="connsiteX87" fmla="*/ 35719 w 1562100"/>
              <a:gd name="connsiteY87" fmla="*/ 814387 h 1126331"/>
              <a:gd name="connsiteX88" fmla="*/ 69056 w 1562100"/>
              <a:gd name="connsiteY88" fmla="*/ 814387 h 1126331"/>
              <a:gd name="connsiteX89" fmla="*/ 85725 w 1562100"/>
              <a:gd name="connsiteY89" fmla="*/ 804862 h 1126331"/>
              <a:gd name="connsiteX90" fmla="*/ 135731 w 1562100"/>
              <a:gd name="connsiteY90" fmla="*/ 862012 h 1126331"/>
              <a:gd name="connsiteX91" fmla="*/ 123825 w 1562100"/>
              <a:gd name="connsiteY91" fmla="*/ 881062 h 1126331"/>
              <a:gd name="connsiteX92" fmla="*/ 133350 w 1562100"/>
              <a:gd name="connsiteY92" fmla="*/ 909637 h 1126331"/>
              <a:gd name="connsiteX93" fmla="*/ 164306 w 1562100"/>
              <a:gd name="connsiteY93" fmla="*/ 928687 h 1126331"/>
              <a:gd name="connsiteX94" fmla="*/ 190500 w 1562100"/>
              <a:gd name="connsiteY94" fmla="*/ 938212 h 1126331"/>
              <a:gd name="connsiteX95" fmla="*/ 216694 w 1562100"/>
              <a:gd name="connsiteY95" fmla="*/ 945356 h 1126331"/>
              <a:gd name="connsiteX96" fmla="*/ 228600 w 1562100"/>
              <a:gd name="connsiteY96" fmla="*/ 947737 h 1126331"/>
              <a:gd name="connsiteX97" fmla="*/ 240506 w 1562100"/>
              <a:gd name="connsiteY97" fmla="*/ 909637 h 1126331"/>
              <a:gd name="connsiteX98" fmla="*/ 269081 w 1562100"/>
              <a:gd name="connsiteY98" fmla="*/ 914400 h 1126331"/>
              <a:gd name="connsiteX99" fmla="*/ 288131 w 1562100"/>
              <a:gd name="connsiteY99" fmla="*/ 902494 h 1126331"/>
              <a:gd name="connsiteX100" fmla="*/ 307181 w 1562100"/>
              <a:gd name="connsiteY100" fmla="*/ 952500 h 1126331"/>
              <a:gd name="connsiteX101" fmla="*/ 330994 w 1562100"/>
              <a:gd name="connsiteY101" fmla="*/ 966787 h 1126331"/>
              <a:gd name="connsiteX102" fmla="*/ 340519 w 1562100"/>
              <a:gd name="connsiteY102" fmla="*/ 995362 h 1126331"/>
              <a:gd name="connsiteX103" fmla="*/ 357188 w 1562100"/>
              <a:gd name="connsiteY103" fmla="*/ 1004887 h 1126331"/>
              <a:gd name="connsiteX104" fmla="*/ 364331 w 1562100"/>
              <a:gd name="connsiteY104" fmla="*/ 1035844 h 1126331"/>
              <a:gd name="connsiteX105" fmla="*/ 335756 w 1562100"/>
              <a:gd name="connsiteY105" fmla="*/ 1062037 h 1126331"/>
              <a:gd name="connsiteX106" fmla="*/ 309563 w 1562100"/>
              <a:gd name="connsiteY106" fmla="*/ 1078706 h 1126331"/>
              <a:gd name="connsiteX107" fmla="*/ 297656 w 1562100"/>
              <a:gd name="connsiteY107" fmla="*/ 1102519 h 1126331"/>
              <a:gd name="connsiteX108" fmla="*/ 302419 w 1562100"/>
              <a:gd name="connsiteY108" fmla="*/ 1126331 h 1126331"/>
              <a:gd name="connsiteX109" fmla="*/ 342900 w 1562100"/>
              <a:gd name="connsiteY109" fmla="*/ 1126331 h 1126331"/>
              <a:gd name="connsiteX110" fmla="*/ 390525 w 1562100"/>
              <a:gd name="connsiteY110" fmla="*/ 1121569 h 1126331"/>
              <a:gd name="connsiteX111" fmla="*/ 428625 w 1562100"/>
              <a:gd name="connsiteY111" fmla="*/ 1112044 h 1126331"/>
              <a:gd name="connsiteX112" fmla="*/ 454819 w 1562100"/>
              <a:gd name="connsiteY112" fmla="*/ 1119187 h 1126331"/>
              <a:gd name="connsiteX113" fmla="*/ 473869 w 1562100"/>
              <a:gd name="connsiteY113" fmla="*/ 1097756 h 1126331"/>
              <a:gd name="connsiteX114" fmla="*/ 492919 w 1562100"/>
              <a:gd name="connsiteY114" fmla="*/ 1097756 h 1126331"/>
              <a:gd name="connsiteX115" fmla="*/ 507206 w 1562100"/>
              <a:gd name="connsiteY115" fmla="*/ 1066800 h 1126331"/>
              <a:gd name="connsiteX116" fmla="*/ 557213 w 1562100"/>
              <a:gd name="connsiteY116" fmla="*/ 1052512 h 1126331"/>
              <a:gd name="connsiteX117" fmla="*/ 583406 w 1562100"/>
              <a:gd name="connsiteY117" fmla="*/ 1033462 h 1126331"/>
              <a:gd name="connsiteX118" fmla="*/ 590550 w 1562100"/>
              <a:gd name="connsiteY118" fmla="*/ 995362 h 1126331"/>
              <a:gd name="connsiteX119" fmla="*/ 607219 w 1562100"/>
              <a:gd name="connsiteY119" fmla="*/ 969169 h 1126331"/>
              <a:gd name="connsiteX120" fmla="*/ 688181 w 1562100"/>
              <a:gd name="connsiteY120" fmla="*/ 1000125 h 1126331"/>
              <a:gd name="connsiteX0" fmla="*/ 688181 w 1562100"/>
              <a:gd name="connsiteY0" fmla="*/ 1078707 h 1204913"/>
              <a:gd name="connsiteX1" fmla="*/ 688181 w 1562100"/>
              <a:gd name="connsiteY1" fmla="*/ 992982 h 1204913"/>
              <a:gd name="connsiteX2" fmla="*/ 692944 w 1562100"/>
              <a:gd name="connsiteY2" fmla="*/ 950119 h 1204913"/>
              <a:gd name="connsiteX3" fmla="*/ 692944 w 1562100"/>
              <a:gd name="connsiteY3" fmla="*/ 904876 h 1204913"/>
              <a:gd name="connsiteX4" fmla="*/ 676275 w 1562100"/>
              <a:gd name="connsiteY4" fmla="*/ 881063 h 1204913"/>
              <a:gd name="connsiteX5" fmla="*/ 690563 w 1562100"/>
              <a:gd name="connsiteY5" fmla="*/ 828676 h 1204913"/>
              <a:gd name="connsiteX6" fmla="*/ 685800 w 1562100"/>
              <a:gd name="connsiteY6" fmla="*/ 802482 h 1204913"/>
              <a:gd name="connsiteX7" fmla="*/ 697706 w 1562100"/>
              <a:gd name="connsiteY7" fmla="*/ 757238 h 1204913"/>
              <a:gd name="connsiteX8" fmla="*/ 714375 w 1562100"/>
              <a:gd name="connsiteY8" fmla="*/ 733426 h 1204913"/>
              <a:gd name="connsiteX9" fmla="*/ 721519 w 1562100"/>
              <a:gd name="connsiteY9" fmla="*/ 700088 h 1204913"/>
              <a:gd name="connsiteX10" fmla="*/ 735806 w 1562100"/>
              <a:gd name="connsiteY10" fmla="*/ 681038 h 1204913"/>
              <a:gd name="connsiteX11" fmla="*/ 792956 w 1562100"/>
              <a:gd name="connsiteY11" fmla="*/ 671513 h 1204913"/>
              <a:gd name="connsiteX12" fmla="*/ 838200 w 1562100"/>
              <a:gd name="connsiteY12" fmla="*/ 654844 h 1204913"/>
              <a:gd name="connsiteX13" fmla="*/ 876300 w 1562100"/>
              <a:gd name="connsiteY13" fmla="*/ 614363 h 1204913"/>
              <a:gd name="connsiteX14" fmla="*/ 923925 w 1562100"/>
              <a:gd name="connsiteY14" fmla="*/ 600076 h 1204913"/>
              <a:gd name="connsiteX15" fmla="*/ 995363 w 1562100"/>
              <a:gd name="connsiteY15" fmla="*/ 595313 h 1204913"/>
              <a:gd name="connsiteX16" fmla="*/ 1040606 w 1562100"/>
              <a:gd name="connsiteY16" fmla="*/ 585788 h 1204913"/>
              <a:gd name="connsiteX17" fmla="*/ 1119188 w 1562100"/>
              <a:gd name="connsiteY17" fmla="*/ 478632 h 1204913"/>
              <a:gd name="connsiteX18" fmla="*/ 1126331 w 1562100"/>
              <a:gd name="connsiteY18" fmla="*/ 445294 h 1204913"/>
              <a:gd name="connsiteX19" fmla="*/ 1152525 w 1562100"/>
              <a:gd name="connsiteY19" fmla="*/ 416719 h 1204913"/>
              <a:gd name="connsiteX20" fmla="*/ 1197769 w 1562100"/>
              <a:gd name="connsiteY20" fmla="*/ 407194 h 1204913"/>
              <a:gd name="connsiteX21" fmla="*/ 1290638 w 1562100"/>
              <a:gd name="connsiteY21" fmla="*/ 330994 h 1204913"/>
              <a:gd name="connsiteX22" fmla="*/ 1314450 w 1562100"/>
              <a:gd name="connsiteY22" fmla="*/ 328613 h 1204913"/>
              <a:gd name="connsiteX23" fmla="*/ 1409700 w 1562100"/>
              <a:gd name="connsiteY23" fmla="*/ 247651 h 1204913"/>
              <a:gd name="connsiteX24" fmla="*/ 1414463 w 1562100"/>
              <a:gd name="connsiteY24" fmla="*/ 228601 h 1204913"/>
              <a:gd name="connsiteX25" fmla="*/ 1507331 w 1562100"/>
              <a:gd name="connsiteY25" fmla="*/ 173832 h 1204913"/>
              <a:gd name="connsiteX26" fmla="*/ 1543050 w 1562100"/>
              <a:gd name="connsiteY26" fmla="*/ 128588 h 1204913"/>
              <a:gd name="connsiteX27" fmla="*/ 1562100 w 1562100"/>
              <a:gd name="connsiteY27" fmla="*/ 90488 h 1204913"/>
              <a:gd name="connsiteX28" fmla="*/ 1512094 w 1562100"/>
              <a:gd name="connsiteY28" fmla="*/ 109538 h 1204913"/>
              <a:gd name="connsiteX29" fmla="*/ 1478756 w 1562100"/>
              <a:gd name="connsiteY29" fmla="*/ 109538 h 1204913"/>
              <a:gd name="connsiteX30" fmla="*/ 1452563 w 1562100"/>
              <a:gd name="connsiteY30" fmla="*/ 147638 h 1204913"/>
              <a:gd name="connsiteX31" fmla="*/ 1421606 w 1562100"/>
              <a:gd name="connsiteY31" fmla="*/ 145257 h 1204913"/>
              <a:gd name="connsiteX32" fmla="*/ 1366838 w 1562100"/>
              <a:gd name="connsiteY32" fmla="*/ 114301 h 1204913"/>
              <a:gd name="connsiteX33" fmla="*/ 1323975 w 1562100"/>
              <a:gd name="connsiteY33" fmla="*/ 102394 h 1204913"/>
              <a:gd name="connsiteX34" fmla="*/ 1238250 w 1562100"/>
              <a:gd name="connsiteY34" fmla="*/ 138113 h 1204913"/>
              <a:gd name="connsiteX35" fmla="*/ 1223963 w 1562100"/>
              <a:gd name="connsiteY35" fmla="*/ 176213 h 1204913"/>
              <a:gd name="connsiteX36" fmla="*/ 1195388 w 1562100"/>
              <a:gd name="connsiteY36" fmla="*/ 233363 h 1204913"/>
              <a:gd name="connsiteX37" fmla="*/ 1109663 w 1562100"/>
              <a:gd name="connsiteY37" fmla="*/ 195263 h 1204913"/>
              <a:gd name="connsiteX38" fmla="*/ 1097756 w 1562100"/>
              <a:gd name="connsiteY38" fmla="*/ 238126 h 1204913"/>
              <a:gd name="connsiteX39" fmla="*/ 1083469 w 1562100"/>
              <a:gd name="connsiteY39" fmla="*/ 271463 h 1204913"/>
              <a:gd name="connsiteX40" fmla="*/ 959644 w 1562100"/>
              <a:gd name="connsiteY40" fmla="*/ 302419 h 1204913"/>
              <a:gd name="connsiteX41" fmla="*/ 945356 w 1562100"/>
              <a:gd name="connsiteY41" fmla="*/ 297657 h 1204913"/>
              <a:gd name="connsiteX42" fmla="*/ 926306 w 1562100"/>
              <a:gd name="connsiteY42" fmla="*/ 319088 h 1204913"/>
              <a:gd name="connsiteX43" fmla="*/ 890588 w 1562100"/>
              <a:gd name="connsiteY43" fmla="*/ 326232 h 1204913"/>
              <a:gd name="connsiteX44" fmla="*/ 854869 w 1562100"/>
              <a:gd name="connsiteY44" fmla="*/ 276226 h 1204913"/>
              <a:gd name="connsiteX45" fmla="*/ 835819 w 1562100"/>
              <a:gd name="connsiteY45" fmla="*/ 264319 h 1204913"/>
              <a:gd name="connsiteX46" fmla="*/ 826294 w 1562100"/>
              <a:gd name="connsiteY46" fmla="*/ 219076 h 1204913"/>
              <a:gd name="connsiteX47" fmla="*/ 792956 w 1562100"/>
              <a:gd name="connsiteY47" fmla="*/ 202407 h 1204913"/>
              <a:gd name="connsiteX48" fmla="*/ 759619 w 1562100"/>
              <a:gd name="connsiteY48" fmla="*/ 195263 h 1204913"/>
              <a:gd name="connsiteX49" fmla="*/ 740569 w 1562100"/>
              <a:gd name="connsiteY49" fmla="*/ 190501 h 1204913"/>
              <a:gd name="connsiteX50" fmla="*/ 728663 w 1562100"/>
              <a:gd name="connsiteY50" fmla="*/ 180976 h 1204913"/>
              <a:gd name="connsiteX51" fmla="*/ 735806 w 1562100"/>
              <a:gd name="connsiteY51" fmla="*/ 154782 h 1204913"/>
              <a:gd name="connsiteX52" fmla="*/ 742950 w 1562100"/>
              <a:gd name="connsiteY52" fmla="*/ 130969 h 1204913"/>
              <a:gd name="connsiteX53" fmla="*/ 700088 w 1562100"/>
              <a:gd name="connsiteY53" fmla="*/ 80963 h 1204913"/>
              <a:gd name="connsiteX54" fmla="*/ 314326 w 1562100"/>
              <a:gd name="connsiteY54" fmla="*/ 0 h 1204913"/>
              <a:gd name="connsiteX55" fmla="*/ 328613 w 1562100"/>
              <a:gd name="connsiteY55" fmla="*/ 78582 h 1204913"/>
              <a:gd name="connsiteX56" fmla="*/ 292894 w 1562100"/>
              <a:gd name="connsiteY56" fmla="*/ 180976 h 1204913"/>
              <a:gd name="connsiteX57" fmla="*/ 264319 w 1562100"/>
              <a:gd name="connsiteY57" fmla="*/ 188119 h 1204913"/>
              <a:gd name="connsiteX58" fmla="*/ 261938 w 1562100"/>
              <a:gd name="connsiteY58" fmla="*/ 202407 h 1204913"/>
              <a:gd name="connsiteX59" fmla="*/ 261938 w 1562100"/>
              <a:gd name="connsiteY59" fmla="*/ 235744 h 1204913"/>
              <a:gd name="connsiteX60" fmla="*/ 228600 w 1562100"/>
              <a:gd name="connsiteY60" fmla="*/ 278607 h 1204913"/>
              <a:gd name="connsiteX61" fmla="*/ 271463 w 1562100"/>
              <a:gd name="connsiteY61" fmla="*/ 295276 h 1204913"/>
              <a:gd name="connsiteX62" fmla="*/ 278606 w 1562100"/>
              <a:gd name="connsiteY62" fmla="*/ 314326 h 1204913"/>
              <a:gd name="connsiteX63" fmla="*/ 257175 w 1562100"/>
              <a:gd name="connsiteY63" fmla="*/ 350044 h 1204913"/>
              <a:gd name="connsiteX64" fmla="*/ 221456 w 1562100"/>
              <a:gd name="connsiteY64" fmla="*/ 359569 h 1204913"/>
              <a:gd name="connsiteX65" fmla="*/ 221456 w 1562100"/>
              <a:gd name="connsiteY65" fmla="*/ 400051 h 1204913"/>
              <a:gd name="connsiteX66" fmla="*/ 254794 w 1562100"/>
              <a:gd name="connsiteY66" fmla="*/ 438151 h 1204913"/>
              <a:gd name="connsiteX67" fmla="*/ 226219 w 1562100"/>
              <a:gd name="connsiteY67" fmla="*/ 502444 h 1204913"/>
              <a:gd name="connsiteX68" fmla="*/ 180975 w 1562100"/>
              <a:gd name="connsiteY68" fmla="*/ 531019 h 1204913"/>
              <a:gd name="connsiteX69" fmla="*/ 183356 w 1562100"/>
              <a:gd name="connsiteY69" fmla="*/ 547688 h 1204913"/>
              <a:gd name="connsiteX70" fmla="*/ 204788 w 1562100"/>
              <a:gd name="connsiteY70" fmla="*/ 557213 h 1204913"/>
              <a:gd name="connsiteX71" fmla="*/ 219075 w 1562100"/>
              <a:gd name="connsiteY71" fmla="*/ 566738 h 1204913"/>
              <a:gd name="connsiteX72" fmla="*/ 223838 w 1562100"/>
              <a:gd name="connsiteY72" fmla="*/ 585788 h 1204913"/>
              <a:gd name="connsiteX73" fmla="*/ 195263 w 1562100"/>
              <a:gd name="connsiteY73" fmla="*/ 611982 h 1204913"/>
              <a:gd name="connsiteX74" fmla="*/ 123825 w 1562100"/>
              <a:gd name="connsiteY74" fmla="*/ 657226 h 1204913"/>
              <a:gd name="connsiteX75" fmla="*/ 123825 w 1562100"/>
              <a:gd name="connsiteY75" fmla="*/ 692944 h 1204913"/>
              <a:gd name="connsiteX76" fmla="*/ 135731 w 1562100"/>
              <a:gd name="connsiteY76" fmla="*/ 723901 h 1204913"/>
              <a:gd name="connsiteX77" fmla="*/ 123825 w 1562100"/>
              <a:gd name="connsiteY77" fmla="*/ 764382 h 1204913"/>
              <a:gd name="connsiteX78" fmla="*/ 76200 w 1562100"/>
              <a:gd name="connsiteY78" fmla="*/ 759619 h 1204913"/>
              <a:gd name="connsiteX79" fmla="*/ 52388 w 1562100"/>
              <a:gd name="connsiteY79" fmla="*/ 704851 h 1204913"/>
              <a:gd name="connsiteX80" fmla="*/ 33338 w 1562100"/>
              <a:gd name="connsiteY80" fmla="*/ 697707 h 1204913"/>
              <a:gd name="connsiteX81" fmla="*/ 23813 w 1562100"/>
              <a:gd name="connsiteY81" fmla="*/ 735807 h 1204913"/>
              <a:gd name="connsiteX82" fmla="*/ 21431 w 1562100"/>
              <a:gd name="connsiteY82" fmla="*/ 745332 h 1204913"/>
              <a:gd name="connsiteX83" fmla="*/ 7144 w 1562100"/>
              <a:gd name="connsiteY83" fmla="*/ 762001 h 1204913"/>
              <a:gd name="connsiteX84" fmla="*/ 0 w 1562100"/>
              <a:gd name="connsiteY84" fmla="*/ 819151 h 1204913"/>
              <a:gd name="connsiteX85" fmla="*/ 23813 w 1562100"/>
              <a:gd name="connsiteY85" fmla="*/ 847726 h 1204913"/>
              <a:gd name="connsiteX86" fmla="*/ 16669 w 1562100"/>
              <a:gd name="connsiteY86" fmla="*/ 888207 h 1204913"/>
              <a:gd name="connsiteX87" fmla="*/ 35719 w 1562100"/>
              <a:gd name="connsiteY87" fmla="*/ 892969 h 1204913"/>
              <a:gd name="connsiteX88" fmla="*/ 69056 w 1562100"/>
              <a:gd name="connsiteY88" fmla="*/ 892969 h 1204913"/>
              <a:gd name="connsiteX89" fmla="*/ 85725 w 1562100"/>
              <a:gd name="connsiteY89" fmla="*/ 883444 h 1204913"/>
              <a:gd name="connsiteX90" fmla="*/ 135731 w 1562100"/>
              <a:gd name="connsiteY90" fmla="*/ 940594 h 1204913"/>
              <a:gd name="connsiteX91" fmla="*/ 123825 w 1562100"/>
              <a:gd name="connsiteY91" fmla="*/ 959644 h 1204913"/>
              <a:gd name="connsiteX92" fmla="*/ 133350 w 1562100"/>
              <a:gd name="connsiteY92" fmla="*/ 988219 h 1204913"/>
              <a:gd name="connsiteX93" fmla="*/ 164306 w 1562100"/>
              <a:gd name="connsiteY93" fmla="*/ 1007269 h 1204913"/>
              <a:gd name="connsiteX94" fmla="*/ 190500 w 1562100"/>
              <a:gd name="connsiteY94" fmla="*/ 1016794 h 1204913"/>
              <a:gd name="connsiteX95" fmla="*/ 216694 w 1562100"/>
              <a:gd name="connsiteY95" fmla="*/ 1023938 h 1204913"/>
              <a:gd name="connsiteX96" fmla="*/ 228600 w 1562100"/>
              <a:gd name="connsiteY96" fmla="*/ 1026319 h 1204913"/>
              <a:gd name="connsiteX97" fmla="*/ 240506 w 1562100"/>
              <a:gd name="connsiteY97" fmla="*/ 988219 h 1204913"/>
              <a:gd name="connsiteX98" fmla="*/ 269081 w 1562100"/>
              <a:gd name="connsiteY98" fmla="*/ 992982 h 1204913"/>
              <a:gd name="connsiteX99" fmla="*/ 288131 w 1562100"/>
              <a:gd name="connsiteY99" fmla="*/ 981076 h 1204913"/>
              <a:gd name="connsiteX100" fmla="*/ 307181 w 1562100"/>
              <a:gd name="connsiteY100" fmla="*/ 1031082 h 1204913"/>
              <a:gd name="connsiteX101" fmla="*/ 330994 w 1562100"/>
              <a:gd name="connsiteY101" fmla="*/ 1045369 h 1204913"/>
              <a:gd name="connsiteX102" fmla="*/ 340519 w 1562100"/>
              <a:gd name="connsiteY102" fmla="*/ 1073944 h 1204913"/>
              <a:gd name="connsiteX103" fmla="*/ 357188 w 1562100"/>
              <a:gd name="connsiteY103" fmla="*/ 1083469 h 1204913"/>
              <a:gd name="connsiteX104" fmla="*/ 364331 w 1562100"/>
              <a:gd name="connsiteY104" fmla="*/ 1114426 h 1204913"/>
              <a:gd name="connsiteX105" fmla="*/ 335756 w 1562100"/>
              <a:gd name="connsiteY105" fmla="*/ 1140619 h 1204913"/>
              <a:gd name="connsiteX106" fmla="*/ 309563 w 1562100"/>
              <a:gd name="connsiteY106" fmla="*/ 1157288 h 1204913"/>
              <a:gd name="connsiteX107" fmla="*/ 297656 w 1562100"/>
              <a:gd name="connsiteY107" fmla="*/ 1181101 h 1204913"/>
              <a:gd name="connsiteX108" fmla="*/ 302419 w 1562100"/>
              <a:gd name="connsiteY108" fmla="*/ 1204913 h 1204913"/>
              <a:gd name="connsiteX109" fmla="*/ 342900 w 1562100"/>
              <a:gd name="connsiteY109" fmla="*/ 1204913 h 1204913"/>
              <a:gd name="connsiteX110" fmla="*/ 390525 w 1562100"/>
              <a:gd name="connsiteY110" fmla="*/ 1200151 h 1204913"/>
              <a:gd name="connsiteX111" fmla="*/ 428625 w 1562100"/>
              <a:gd name="connsiteY111" fmla="*/ 1190626 h 1204913"/>
              <a:gd name="connsiteX112" fmla="*/ 454819 w 1562100"/>
              <a:gd name="connsiteY112" fmla="*/ 1197769 h 1204913"/>
              <a:gd name="connsiteX113" fmla="*/ 473869 w 1562100"/>
              <a:gd name="connsiteY113" fmla="*/ 1176338 h 1204913"/>
              <a:gd name="connsiteX114" fmla="*/ 492919 w 1562100"/>
              <a:gd name="connsiteY114" fmla="*/ 1176338 h 1204913"/>
              <a:gd name="connsiteX115" fmla="*/ 507206 w 1562100"/>
              <a:gd name="connsiteY115" fmla="*/ 1145382 h 1204913"/>
              <a:gd name="connsiteX116" fmla="*/ 557213 w 1562100"/>
              <a:gd name="connsiteY116" fmla="*/ 1131094 h 1204913"/>
              <a:gd name="connsiteX117" fmla="*/ 583406 w 1562100"/>
              <a:gd name="connsiteY117" fmla="*/ 1112044 h 1204913"/>
              <a:gd name="connsiteX118" fmla="*/ 590550 w 1562100"/>
              <a:gd name="connsiteY118" fmla="*/ 1073944 h 1204913"/>
              <a:gd name="connsiteX119" fmla="*/ 607219 w 1562100"/>
              <a:gd name="connsiteY119" fmla="*/ 1047751 h 1204913"/>
              <a:gd name="connsiteX120" fmla="*/ 688181 w 1562100"/>
              <a:gd name="connsiteY120" fmla="*/ 1078707 h 1204913"/>
              <a:gd name="connsiteX0" fmla="*/ 688181 w 1562100"/>
              <a:gd name="connsiteY0" fmla="*/ 1078707 h 1204913"/>
              <a:gd name="connsiteX1" fmla="*/ 688181 w 1562100"/>
              <a:gd name="connsiteY1" fmla="*/ 992982 h 1204913"/>
              <a:gd name="connsiteX2" fmla="*/ 692944 w 1562100"/>
              <a:gd name="connsiteY2" fmla="*/ 950119 h 1204913"/>
              <a:gd name="connsiteX3" fmla="*/ 692944 w 1562100"/>
              <a:gd name="connsiteY3" fmla="*/ 904876 h 1204913"/>
              <a:gd name="connsiteX4" fmla="*/ 676275 w 1562100"/>
              <a:gd name="connsiteY4" fmla="*/ 881063 h 1204913"/>
              <a:gd name="connsiteX5" fmla="*/ 690563 w 1562100"/>
              <a:gd name="connsiteY5" fmla="*/ 828676 h 1204913"/>
              <a:gd name="connsiteX6" fmla="*/ 685800 w 1562100"/>
              <a:gd name="connsiteY6" fmla="*/ 802482 h 1204913"/>
              <a:gd name="connsiteX7" fmla="*/ 697706 w 1562100"/>
              <a:gd name="connsiteY7" fmla="*/ 757238 h 1204913"/>
              <a:gd name="connsiteX8" fmla="*/ 714375 w 1562100"/>
              <a:gd name="connsiteY8" fmla="*/ 733426 h 1204913"/>
              <a:gd name="connsiteX9" fmla="*/ 721519 w 1562100"/>
              <a:gd name="connsiteY9" fmla="*/ 700088 h 1204913"/>
              <a:gd name="connsiteX10" fmla="*/ 735806 w 1562100"/>
              <a:gd name="connsiteY10" fmla="*/ 681038 h 1204913"/>
              <a:gd name="connsiteX11" fmla="*/ 792956 w 1562100"/>
              <a:gd name="connsiteY11" fmla="*/ 671513 h 1204913"/>
              <a:gd name="connsiteX12" fmla="*/ 838200 w 1562100"/>
              <a:gd name="connsiteY12" fmla="*/ 654844 h 1204913"/>
              <a:gd name="connsiteX13" fmla="*/ 876300 w 1562100"/>
              <a:gd name="connsiteY13" fmla="*/ 614363 h 1204913"/>
              <a:gd name="connsiteX14" fmla="*/ 923925 w 1562100"/>
              <a:gd name="connsiteY14" fmla="*/ 600076 h 1204913"/>
              <a:gd name="connsiteX15" fmla="*/ 995363 w 1562100"/>
              <a:gd name="connsiteY15" fmla="*/ 595313 h 1204913"/>
              <a:gd name="connsiteX16" fmla="*/ 1040606 w 1562100"/>
              <a:gd name="connsiteY16" fmla="*/ 585788 h 1204913"/>
              <a:gd name="connsiteX17" fmla="*/ 1119188 w 1562100"/>
              <a:gd name="connsiteY17" fmla="*/ 478632 h 1204913"/>
              <a:gd name="connsiteX18" fmla="*/ 1126331 w 1562100"/>
              <a:gd name="connsiteY18" fmla="*/ 445294 h 1204913"/>
              <a:gd name="connsiteX19" fmla="*/ 1152525 w 1562100"/>
              <a:gd name="connsiteY19" fmla="*/ 416719 h 1204913"/>
              <a:gd name="connsiteX20" fmla="*/ 1197769 w 1562100"/>
              <a:gd name="connsiteY20" fmla="*/ 407194 h 1204913"/>
              <a:gd name="connsiteX21" fmla="*/ 1290638 w 1562100"/>
              <a:gd name="connsiteY21" fmla="*/ 330994 h 1204913"/>
              <a:gd name="connsiteX22" fmla="*/ 1314450 w 1562100"/>
              <a:gd name="connsiteY22" fmla="*/ 328613 h 1204913"/>
              <a:gd name="connsiteX23" fmla="*/ 1409700 w 1562100"/>
              <a:gd name="connsiteY23" fmla="*/ 247651 h 1204913"/>
              <a:gd name="connsiteX24" fmla="*/ 1414463 w 1562100"/>
              <a:gd name="connsiteY24" fmla="*/ 228601 h 1204913"/>
              <a:gd name="connsiteX25" fmla="*/ 1507331 w 1562100"/>
              <a:gd name="connsiteY25" fmla="*/ 173832 h 1204913"/>
              <a:gd name="connsiteX26" fmla="*/ 1543050 w 1562100"/>
              <a:gd name="connsiteY26" fmla="*/ 128588 h 1204913"/>
              <a:gd name="connsiteX27" fmla="*/ 1562100 w 1562100"/>
              <a:gd name="connsiteY27" fmla="*/ 90488 h 1204913"/>
              <a:gd name="connsiteX28" fmla="*/ 1512094 w 1562100"/>
              <a:gd name="connsiteY28" fmla="*/ 109538 h 1204913"/>
              <a:gd name="connsiteX29" fmla="*/ 1478756 w 1562100"/>
              <a:gd name="connsiteY29" fmla="*/ 109538 h 1204913"/>
              <a:gd name="connsiteX30" fmla="*/ 1452563 w 1562100"/>
              <a:gd name="connsiteY30" fmla="*/ 147638 h 1204913"/>
              <a:gd name="connsiteX31" fmla="*/ 1421606 w 1562100"/>
              <a:gd name="connsiteY31" fmla="*/ 145257 h 1204913"/>
              <a:gd name="connsiteX32" fmla="*/ 1366838 w 1562100"/>
              <a:gd name="connsiteY32" fmla="*/ 114301 h 1204913"/>
              <a:gd name="connsiteX33" fmla="*/ 1323975 w 1562100"/>
              <a:gd name="connsiteY33" fmla="*/ 102394 h 1204913"/>
              <a:gd name="connsiteX34" fmla="*/ 1238250 w 1562100"/>
              <a:gd name="connsiteY34" fmla="*/ 138113 h 1204913"/>
              <a:gd name="connsiteX35" fmla="*/ 1223963 w 1562100"/>
              <a:gd name="connsiteY35" fmla="*/ 176213 h 1204913"/>
              <a:gd name="connsiteX36" fmla="*/ 1195388 w 1562100"/>
              <a:gd name="connsiteY36" fmla="*/ 233363 h 1204913"/>
              <a:gd name="connsiteX37" fmla="*/ 1109663 w 1562100"/>
              <a:gd name="connsiteY37" fmla="*/ 195263 h 1204913"/>
              <a:gd name="connsiteX38" fmla="*/ 1097756 w 1562100"/>
              <a:gd name="connsiteY38" fmla="*/ 238126 h 1204913"/>
              <a:gd name="connsiteX39" fmla="*/ 1083469 w 1562100"/>
              <a:gd name="connsiteY39" fmla="*/ 271463 h 1204913"/>
              <a:gd name="connsiteX40" fmla="*/ 959644 w 1562100"/>
              <a:gd name="connsiteY40" fmla="*/ 302419 h 1204913"/>
              <a:gd name="connsiteX41" fmla="*/ 945356 w 1562100"/>
              <a:gd name="connsiteY41" fmla="*/ 297657 h 1204913"/>
              <a:gd name="connsiteX42" fmla="*/ 926306 w 1562100"/>
              <a:gd name="connsiteY42" fmla="*/ 319088 h 1204913"/>
              <a:gd name="connsiteX43" fmla="*/ 890588 w 1562100"/>
              <a:gd name="connsiteY43" fmla="*/ 326232 h 1204913"/>
              <a:gd name="connsiteX44" fmla="*/ 854869 w 1562100"/>
              <a:gd name="connsiteY44" fmla="*/ 276226 h 1204913"/>
              <a:gd name="connsiteX45" fmla="*/ 835819 w 1562100"/>
              <a:gd name="connsiteY45" fmla="*/ 264319 h 1204913"/>
              <a:gd name="connsiteX46" fmla="*/ 826294 w 1562100"/>
              <a:gd name="connsiteY46" fmla="*/ 219076 h 1204913"/>
              <a:gd name="connsiteX47" fmla="*/ 792956 w 1562100"/>
              <a:gd name="connsiteY47" fmla="*/ 202407 h 1204913"/>
              <a:gd name="connsiteX48" fmla="*/ 759619 w 1562100"/>
              <a:gd name="connsiteY48" fmla="*/ 195263 h 1204913"/>
              <a:gd name="connsiteX49" fmla="*/ 740569 w 1562100"/>
              <a:gd name="connsiteY49" fmla="*/ 190501 h 1204913"/>
              <a:gd name="connsiteX50" fmla="*/ 728663 w 1562100"/>
              <a:gd name="connsiteY50" fmla="*/ 180976 h 1204913"/>
              <a:gd name="connsiteX51" fmla="*/ 735806 w 1562100"/>
              <a:gd name="connsiteY51" fmla="*/ 154782 h 1204913"/>
              <a:gd name="connsiteX52" fmla="*/ 742950 w 1562100"/>
              <a:gd name="connsiteY52" fmla="*/ 130969 h 1204913"/>
              <a:gd name="connsiteX53" fmla="*/ 700088 w 1562100"/>
              <a:gd name="connsiteY53" fmla="*/ 80963 h 1204913"/>
              <a:gd name="connsiteX54" fmla="*/ 392906 w 1562100"/>
              <a:gd name="connsiteY54" fmla="*/ 19051 h 1204913"/>
              <a:gd name="connsiteX55" fmla="*/ 314326 w 1562100"/>
              <a:gd name="connsiteY55" fmla="*/ 0 h 1204913"/>
              <a:gd name="connsiteX56" fmla="*/ 328613 w 1562100"/>
              <a:gd name="connsiteY56" fmla="*/ 78582 h 1204913"/>
              <a:gd name="connsiteX57" fmla="*/ 292894 w 1562100"/>
              <a:gd name="connsiteY57" fmla="*/ 180976 h 1204913"/>
              <a:gd name="connsiteX58" fmla="*/ 264319 w 1562100"/>
              <a:gd name="connsiteY58" fmla="*/ 188119 h 1204913"/>
              <a:gd name="connsiteX59" fmla="*/ 261938 w 1562100"/>
              <a:gd name="connsiteY59" fmla="*/ 202407 h 1204913"/>
              <a:gd name="connsiteX60" fmla="*/ 261938 w 1562100"/>
              <a:gd name="connsiteY60" fmla="*/ 235744 h 1204913"/>
              <a:gd name="connsiteX61" fmla="*/ 228600 w 1562100"/>
              <a:gd name="connsiteY61" fmla="*/ 278607 h 1204913"/>
              <a:gd name="connsiteX62" fmla="*/ 271463 w 1562100"/>
              <a:gd name="connsiteY62" fmla="*/ 295276 h 1204913"/>
              <a:gd name="connsiteX63" fmla="*/ 278606 w 1562100"/>
              <a:gd name="connsiteY63" fmla="*/ 314326 h 1204913"/>
              <a:gd name="connsiteX64" fmla="*/ 257175 w 1562100"/>
              <a:gd name="connsiteY64" fmla="*/ 350044 h 1204913"/>
              <a:gd name="connsiteX65" fmla="*/ 221456 w 1562100"/>
              <a:gd name="connsiteY65" fmla="*/ 359569 h 1204913"/>
              <a:gd name="connsiteX66" fmla="*/ 221456 w 1562100"/>
              <a:gd name="connsiteY66" fmla="*/ 400051 h 1204913"/>
              <a:gd name="connsiteX67" fmla="*/ 254794 w 1562100"/>
              <a:gd name="connsiteY67" fmla="*/ 438151 h 1204913"/>
              <a:gd name="connsiteX68" fmla="*/ 226219 w 1562100"/>
              <a:gd name="connsiteY68" fmla="*/ 502444 h 1204913"/>
              <a:gd name="connsiteX69" fmla="*/ 180975 w 1562100"/>
              <a:gd name="connsiteY69" fmla="*/ 531019 h 1204913"/>
              <a:gd name="connsiteX70" fmla="*/ 183356 w 1562100"/>
              <a:gd name="connsiteY70" fmla="*/ 547688 h 1204913"/>
              <a:gd name="connsiteX71" fmla="*/ 204788 w 1562100"/>
              <a:gd name="connsiteY71" fmla="*/ 557213 h 1204913"/>
              <a:gd name="connsiteX72" fmla="*/ 219075 w 1562100"/>
              <a:gd name="connsiteY72" fmla="*/ 566738 h 1204913"/>
              <a:gd name="connsiteX73" fmla="*/ 223838 w 1562100"/>
              <a:gd name="connsiteY73" fmla="*/ 585788 h 1204913"/>
              <a:gd name="connsiteX74" fmla="*/ 195263 w 1562100"/>
              <a:gd name="connsiteY74" fmla="*/ 611982 h 1204913"/>
              <a:gd name="connsiteX75" fmla="*/ 123825 w 1562100"/>
              <a:gd name="connsiteY75" fmla="*/ 657226 h 1204913"/>
              <a:gd name="connsiteX76" fmla="*/ 123825 w 1562100"/>
              <a:gd name="connsiteY76" fmla="*/ 692944 h 1204913"/>
              <a:gd name="connsiteX77" fmla="*/ 135731 w 1562100"/>
              <a:gd name="connsiteY77" fmla="*/ 723901 h 1204913"/>
              <a:gd name="connsiteX78" fmla="*/ 123825 w 1562100"/>
              <a:gd name="connsiteY78" fmla="*/ 764382 h 1204913"/>
              <a:gd name="connsiteX79" fmla="*/ 76200 w 1562100"/>
              <a:gd name="connsiteY79" fmla="*/ 759619 h 1204913"/>
              <a:gd name="connsiteX80" fmla="*/ 52388 w 1562100"/>
              <a:gd name="connsiteY80" fmla="*/ 704851 h 1204913"/>
              <a:gd name="connsiteX81" fmla="*/ 33338 w 1562100"/>
              <a:gd name="connsiteY81" fmla="*/ 697707 h 1204913"/>
              <a:gd name="connsiteX82" fmla="*/ 23813 w 1562100"/>
              <a:gd name="connsiteY82" fmla="*/ 735807 h 1204913"/>
              <a:gd name="connsiteX83" fmla="*/ 21431 w 1562100"/>
              <a:gd name="connsiteY83" fmla="*/ 745332 h 1204913"/>
              <a:gd name="connsiteX84" fmla="*/ 7144 w 1562100"/>
              <a:gd name="connsiteY84" fmla="*/ 762001 h 1204913"/>
              <a:gd name="connsiteX85" fmla="*/ 0 w 1562100"/>
              <a:gd name="connsiteY85" fmla="*/ 819151 h 1204913"/>
              <a:gd name="connsiteX86" fmla="*/ 23813 w 1562100"/>
              <a:gd name="connsiteY86" fmla="*/ 847726 h 1204913"/>
              <a:gd name="connsiteX87" fmla="*/ 16669 w 1562100"/>
              <a:gd name="connsiteY87" fmla="*/ 888207 h 1204913"/>
              <a:gd name="connsiteX88" fmla="*/ 35719 w 1562100"/>
              <a:gd name="connsiteY88" fmla="*/ 892969 h 1204913"/>
              <a:gd name="connsiteX89" fmla="*/ 69056 w 1562100"/>
              <a:gd name="connsiteY89" fmla="*/ 892969 h 1204913"/>
              <a:gd name="connsiteX90" fmla="*/ 85725 w 1562100"/>
              <a:gd name="connsiteY90" fmla="*/ 883444 h 1204913"/>
              <a:gd name="connsiteX91" fmla="*/ 135731 w 1562100"/>
              <a:gd name="connsiteY91" fmla="*/ 940594 h 1204913"/>
              <a:gd name="connsiteX92" fmla="*/ 123825 w 1562100"/>
              <a:gd name="connsiteY92" fmla="*/ 959644 h 1204913"/>
              <a:gd name="connsiteX93" fmla="*/ 133350 w 1562100"/>
              <a:gd name="connsiteY93" fmla="*/ 988219 h 1204913"/>
              <a:gd name="connsiteX94" fmla="*/ 164306 w 1562100"/>
              <a:gd name="connsiteY94" fmla="*/ 1007269 h 1204913"/>
              <a:gd name="connsiteX95" fmla="*/ 190500 w 1562100"/>
              <a:gd name="connsiteY95" fmla="*/ 1016794 h 1204913"/>
              <a:gd name="connsiteX96" fmla="*/ 216694 w 1562100"/>
              <a:gd name="connsiteY96" fmla="*/ 1023938 h 1204913"/>
              <a:gd name="connsiteX97" fmla="*/ 228600 w 1562100"/>
              <a:gd name="connsiteY97" fmla="*/ 1026319 h 1204913"/>
              <a:gd name="connsiteX98" fmla="*/ 240506 w 1562100"/>
              <a:gd name="connsiteY98" fmla="*/ 988219 h 1204913"/>
              <a:gd name="connsiteX99" fmla="*/ 269081 w 1562100"/>
              <a:gd name="connsiteY99" fmla="*/ 992982 h 1204913"/>
              <a:gd name="connsiteX100" fmla="*/ 288131 w 1562100"/>
              <a:gd name="connsiteY100" fmla="*/ 981076 h 1204913"/>
              <a:gd name="connsiteX101" fmla="*/ 307181 w 1562100"/>
              <a:gd name="connsiteY101" fmla="*/ 1031082 h 1204913"/>
              <a:gd name="connsiteX102" fmla="*/ 330994 w 1562100"/>
              <a:gd name="connsiteY102" fmla="*/ 1045369 h 1204913"/>
              <a:gd name="connsiteX103" fmla="*/ 340519 w 1562100"/>
              <a:gd name="connsiteY103" fmla="*/ 1073944 h 1204913"/>
              <a:gd name="connsiteX104" fmla="*/ 357188 w 1562100"/>
              <a:gd name="connsiteY104" fmla="*/ 1083469 h 1204913"/>
              <a:gd name="connsiteX105" fmla="*/ 364331 w 1562100"/>
              <a:gd name="connsiteY105" fmla="*/ 1114426 h 1204913"/>
              <a:gd name="connsiteX106" fmla="*/ 335756 w 1562100"/>
              <a:gd name="connsiteY106" fmla="*/ 1140619 h 1204913"/>
              <a:gd name="connsiteX107" fmla="*/ 309563 w 1562100"/>
              <a:gd name="connsiteY107" fmla="*/ 1157288 h 1204913"/>
              <a:gd name="connsiteX108" fmla="*/ 297656 w 1562100"/>
              <a:gd name="connsiteY108" fmla="*/ 1181101 h 1204913"/>
              <a:gd name="connsiteX109" fmla="*/ 302419 w 1562100"/>
              <a:gd name="connsiteY109" fmla="*/ 1204913 h 1204913"/>
              <a:gd name="connsiteX110" fmla="*/ 342900 w 1562100"/>
              <a:gd name="connsiteY110" fmla="*/ 1204913 h 1204913"/>
              <a:gd name="connsiteX111" fmla="*/ 390525 w 1562100"/>
              <a:gd name="connsiteY111" fmla="*/ 1200151 h 1204913"/>
              <a:gd name="connsiteX112" fmla="*/ 428625 w 1562100"/>
              <a:gd name="connsiteY112" fmla="*/ 1190626 h 1204913"/>
              <a:gd name="connsiteX113" fmla="*/ 454819 w 1562100"/>
              <a:gd name="connsiteY113" fmla="*/ 1197769 h 1204913"/>
              <a:gd name="connsiteX114" fmla="*/ 473869 w 1562100"/>
              <a:gd name="connsiteY114" fmla="*/ 1176338 h 1204913"/>
              <a:gd name="connsiteX115" fmla="*/ 492919 w 1562100"/>
              <a:gd name="connsiteY115" fmla="*/ 1176338 h 1204913"/>
              <a:gd name="connsiteX116" fmla="*/ 507206 w 1562100"/>
              <a:gd name="connsiteY116" fmla="*/ 1145382 h 1204913"/>
              <a:gd name="connsiteX117" fmla="*/ 557213 w 1562100"/>
              <a:gd name="connsiteY117" fmla="*/ 1131094 h 1204913"/>
              <a:gd name="connsiteX118" fmla="*/ 583406 w 1562100"/>
              <a:gd name="connsiteY118" fmla="*/ 1112044 h 1204913"/>
              <a:gd name="connsiteX119" fmla="*/ 590550 w 1562100"/>
              <a:gd name="connsiteY119" fmla="*/ 1073944 h 1204913"/>
              <a:gd name="connsiteX120" fmla="*/ 607219 w 1562100"/>
              <a:gd name="connsiteY120" fmla="*/ 1047751 h 1204913"/>
              <a:gd name="connsiteX121" fmla="*/ 688181 w 1562100"/>
              <a:gd name="connsiteY121" fmla="*/ 1078707 h 1204913"/>
              <a:gd name="connsiteX0" fmla="*/ 688181 w 1562100"/>
              <a:gd name="connsiteY0" fmla="*/ 1078707 h 1204913"/>
              <a:gd name="connsiteX1" fmla="*/ 688181 w 1562100"/>
              <a:gd name="connsiteY1" fmla="*/ 992982 h 1204913"/>
              <a:gd name="connsiteX2" fmla="*/ 692944 w 1562100"/>
              <a:gd name="connsiteY2" fmla="*/ 950119 h 1204913"/>
              <a:gd name="connsiteX3" fmla="*/ 692944 w 1562100"/>
              <a:gd name="connsiteY3" fmla="*/ 904876 h 1204913"/>
              <a:gd name="connsiteX4" fmla="*/ 676275 w 1562100"/>
              <a:gd name="connsiteY4" fmla="*/ 881063 h 1204913"/>
              <a:gd name="connsiteX5" fmla="*/ 690563 w 1562100"/>
              <a:gd name="connsiteY5" fmla="*/ 828676 h 1204913"/>
              <a:gd name="connsiteX6" fmla="*/ 685800 w 1562100"/>
              <a:gd name="connsiteY6" fmla="*/ 802482 h 1204913"/>
              <a:gd name="connsiteX7" fmla="*/ 697706 w 1562100"/>
              <a:gd name="connsiteY7" fmla="*/ 757238 h 1204913"/>
              <a:gd name="connsiteX8" fmla="*/ 714375 w 1562100"/>
              <a:gd name="connsiteY8" fmla="*/ 733426 h 1204913"/>
              <a:gd name="connsiteX9" fmla="*/ 721519 w 1562100"/>
              <a:gd name="connsiteY9" fmla="*/ 700088 h 1204913"/>
              <a:gd name="connsiteX10" fmla="*/ 735806 w 1562100"/>
              <a:gd name="connsiteY10" fmla="*/ 681038 h 1204913"/>
              <a:gd name="connsiteX11" fmla="*/ 792956 w 1562100"/>
              <a:gd name="connsiteY11" fmla="*/ 671513 h 1204913"/>
              <a:gd name="connsiteX12" fmla="*/ 838200 w 1562100"/>
              <a:gd name="connsiteY12" fmla="*/ 654844 h 1204913"/>
              <a:gd name="connsiteX13" fmla="*/ 876300 w 1562100"/>
              <a:gd name="connsiteY13" fmla="*/ 614363 h 1204913"/>
              <a:gd name="connsiteX14" fmla="*/ 923925 w 1562100"/>
              <a:gd name="connsiteY14" fmla="*/ 600076 h 1204913"/>
              <a:gd name="connsiteX15" fmla="*/ 995363 w 1562100"/>
              <a:gd name="connsiteY15" fmla="*/ 595313 h 1204913"/>
              <a:gd name="connsiteX16" fmla="*/ 1040606 w 1562100"/>
              <a:gd name="connsiteY16" fmla="*/ 585788 h 1204913"/>
              <a:gd name="connsiteX17" fmla="*/ 1119188 w 1562100"/>
              <a:gd name="connsiteY17" fmla="*/ 478632 h 1204913"/>
              <a:gd name="connsiteX18" fmla="*/ 1126331 w 1562100"/>
              <a:gd name="connsiteY18" fmla="*/ 445294 h 1204913"/>
              <a:gd name="connsiteX19" fmla="*/ 1152525 w 1562100"/>
              <a:gd name="connsiteY19" fmla="*/ 416719 h 1204913"/>
              <a:gd name="connsiteX20" fmla="*/ 1197769 w 1562100"/>
              <a:gd name="connsiteY20" fmla="*/ 407194 h 1204913"/>
              <a:gd name="connsiteX21" fmla="*/ 1290638 w 1562100"/>
              <a:gd name="connsiteY21" fmla="*/ 330994 h 1204913"/>
              <a:gd name="connsiteX22" fmla="*/ 1314450 w 1562100"/>
              <a:gd name="connsiteY22" fmla="*/ 328613 h 1204913"/>
              <a:gd name="connsiteX23" fmla="*/ 1409700 w 1562100"/>
              <a:gd name="connsiteY23" fmla="*/ 247651 h 1204913"/>
              <a:gd name="connsiteX24" fmla="*/ 1414463 w 1562100"/>
              <a:gd name="connsiteY24" fmla="*/ 228601 h 1204913"/>
              <a:gd name="connsiteX25" fmla="*/ 1507331 w 1562100"/>
              <a:gd name="connsiteY25" fmla="*/ 173832 h 1204913"/>
              <a:gd name="connsiteX26" fmla="*/ 1543050 w 1562100"/>
              <a:gd name="connsiteY26" fmla="*/ 128588 h 1204913"/>
              <a:gd name="connsiteX27" fmla="*/ 1562100 w 1562100"/>
              <a:gd name="connsiteY27" fmla="*/ 90488 h 1204913"/>
              <a:gd name="connsiteX28" fmla="*/ 1512094 w 1562100"/>
              <a:gd name="connsiteY28" fmla="*/ 109538 h 1204913"/>
              <a:gd name="connsiteX29" fmla="*/ 1478756 w 1562100"/>
              <a:gd name="connsiteY29" fmla="*/ 109538 h 1204913"/>
              <a:gd name="connsiteX30" fmla="*/ 1452563 w 1562100"/>
              <a:gd name="connsiteY30" fmla="*/ 147638 h 1204913"/>
              <a:gd name="connsiteX31" fmla="*/ 1421606 w 1562100"/>
              <a:gd name="connsiteY31" fmla="*/ 145257 h 1204913"/>
              <a:gd name="connsiteX32" fmla="*/ 1366838 w 1562100"/>
              <a:gd name="connsiteY32" fmla="*/ 114301 h 1204913"/>
              <a:gd name="connsiteX33" fmla="*/ 1323975 w 1562100"/>
              <a:gd name="connsiteY33" fmla="*/ 102394 h 1204913"/>
              <a:gd name="connsiteX34" fmla="*/ 1238250 w 1562100"/>
              <a:gd name="connsiteY34" fmla="*/ 138113 h 1204913"/>
              <a:gd name="connsiteX35" fmla="*/ 1223963 w 1562100"/>
              <a:gd name="connsiteY35" fmla="*/ 176213 h 1204913"/>
              <a:gd name="connsiteX36" fmla="*/ 1195388 w 1562100"/>
              <a:gd name="connsiteY36" fmla="*/ 233363 h 1204913"/>
              <a:gd name="connsiteX37" fmla="*/ 1109663 w 1562100"/>
              <a:gd name="connsiteY37" fmla="*/ 195263 h 1204913"/>
              <a:gd name="connsiteX38" fmla="*/ 1097756 w 1562100"/>
              <a:gd name="connsiteY38" fmla="*/ 238126 h 1204913"/>
              <a:gd name="connsiteX39" fmla="*/ 1083469 w 1562100"/>
              <a:gd name="connsiteY39" fmla="*/ 271463 h 1204913"/>
              <a:gd name="connsiteX40" fmla="*/ 959644 w 1562100"/>
              <a:gd name="connsiteY40" fmla="*/ 302419 h 1204913"/>
              <a:gd name="connsiteX41" fmla="*/ 945356 w 1562100"/>
              <a:gd name="connsiteY41" fmla="*/ 297657 h 1204913"/>
              <a:gd name="connsiteX42" fmla="*/ 926306 w 1562100"/>
              <a:gd name="connsiteY42" fmla="*/ 319088 h 1204913"/>
              <a:gd name="connsiteX43" fmla="*/ 890588 w 1562100"/>
              <a:gd name="connsiteY43" fmla="*/ 326232 h 1204913"/>
              <a:gd name="connsiteX44" fmla="*/ 854869 w 1562100"/>
              <a:gd name="connsiteY44" fmla="*/ 276226 h 1204913"/>
              <a:gd name="connsiteX45" fmla="*/ 835819 w 1562100"/>
              <a:gd name="connsiteY45" fmla="*/ 264319 h 1204913"/>
              <a:gd name="connsiteX46" fmla="*/ 826294 w 1562100"/>
              <a:gd name="connsiteY46" fmla="*/ 219076 h 1204913"/>
              <a:gd name="connsiteX47" fmla="*/ 792956 w 1562100"/>
              <a:gd name="connsiteY47" fmla="*/ 202407 h 1204913"/>
              <a:gd name="connsiteX48" fmla="*/ 759619 w 1562100"/>
              <a:gd name="connsiteY48" fmla="*/ 195263 h 1204913"/>
              <a:gd name="connsiteX49" fmla="*/ 740569 w 1562100"/>
              <a:gd name="connsiteY49" fmla="*/ 190501 h 1204913"/>
              <a:gd name="connsiteX50" fmla="*/ 728663 w 1562100"/>
              <a:gd name="connsiteY50" fmla="*/ 180976 h 1204913"/>
              <a:gd name="connsiteX51" fmla="*/ 735806 w 1562100"/>
              <a:gd name="connsiteY51" fmla="*/ 154782 h 1204913"/>
              <a:gd name="connsiteX52" fmla="*/ 742950 w 1562100"/>
              <a:gd name="connsiteY52" fmla="*/ 130969 h 1204913"/>
              <a:gd name="connsiteX53" fmla="*/ 700088 w 1562100"/>
              <a:gd name="connsiteY53" fmla="*/ 80963 h 1204913"/>
              <a:gd name="connsiteX54" fmla="*/ 392906 w 1562100"/>
              <a:gd name="connsiteY54" fmla="*/ 19051 h 1204913"/>
              <a:gd name="connsiteX55" fmla="*/ 314326 w 1562100"/>
              <a:gd name="connsiteY55" fmla="*/ 0 h 1204913"/>
              <a:gd name="connsiteX56" fmla="*/ 328613 w 1562100"/>
              <a:gd name="connsiteY56" fmla="*/ 78582 h 1204913"/>
              <a:gd name="connsiteX57" fmla="*/ 292894 w 1562100"/>
              <a:gd name="connsiteY57" fmla="*/ 180976 h 1204913"/>
              <a:gd name="connsiteX58" fmla="*/ 264319 w 1562100"/>
              <a:gd name="connsiteY58" fmla="*/ 188119 h 1204913"/>
              <a:gd name="connsiteX59" fmla="*/ 261938 w 1562100"/>
              <a:gd name="connsiteY59" fmla="*/ 202407 h 1204913"/>
              <a:gd name="connsiteX60" fmla="*/ 261938 w 1562100"/>
              <a:gd name="connsiteY60" fmla="*/ 235744 h 1204913"/>
              <a:gd name="connsiteX61" fmla="*/ 228600 w 1562100"/>
              <a:gd name="connsiteY61" fmla="*/ 278607 h 1204913"/>
              <a:gd name="connsiteX62" fmla="*/ 271463 w 1562100"/>
              <a:gd name="connsiteY62" fmla="*/ 295276 h 1204913"/>
              <a:gd name="connsiteX63" fmla="*/ 278606 w 1562100"/>
              <a:gd name="connsiteY63" fmla="*/ 314326 h 1204913"/>
              <a:gd name="connsiteX64" fmla="*/ 257175 w 1562100"/>
              <a:gd name="connsiteY64" fmla="*/ 350044 h 1204913"/>
              <a:gd name="connsiteX65" fmla="*/ 221456 w 1562100"/>
              <a:gd name="connsiteY65" fmla="*/ 359569 h 1204913"/>
              <a:gd name="connsiteX66" fmla="*/ 221456 w 1562100"/>
              <a:gd name="connsiteY66" fmla="*/ 400051 h 1204913"/>
              <a:gd name="connsiteX67" fmla="*/ 254794 w 1562100"/>
              <a:gd name="connsiteY67" fmla="*/ 438151 h 1204913"/>
              <a:gd name="connsiteX68" fmla="*/ 226219 w 1562100"/>
              <a:gd name="connsiteY68" fmla="*/ 502444 h 1204913"/>
              <a:gd name="connsiteX69" fmla="*/ 180975 w 1562100"/>
              <a:gd name="connsiteY69" fmla="*/ 531019 h 1204913"/>
              <a:gd name="connsiteX70" fmla="*/ 183356 w 1562100"/>
              <a:gd name="connsiteY70" fmla="*/ 547688 h 1204913"/>
              <a:gd name="connsiteX71" fmla="*/ 204788 w 1562100"/>
              <a:gd name="connsiteY71" fmla="*/ 557213 h 1204913"/>
              <a:gd name="connsiteX72" fmla="*/ 219075 w 1562100"/>
              <a:gd name="connsiteY72" fmla="*/ 566738 h 1204913"/>
              <a:gd name="connsiteX73" fmla="*/ 223838 w 1562100"/>
              <a:gd name="connsiteY73" fmla="*/ 585788 h 1204913"/>
              <a:gd name="connsiteX74" fmla="*/ 195263 w 1562100"/>
              <a:gd name="connsiteY74" fmla="*/ 611982 h 1204913"/>
              <a:gd name="connsiteX75" fmla="*/ 123825 w 1562100"/>
              <a:gd name="connsiteY75" fmla="*/ 657226 h 1204913"/>
              <a:gd name="connsiteX76" fmla="*/ 123825 w 1562100"/>
              <a:gd name="connsiteY76" fmla="*/ 692944 h 1204913"/>
              <a:gd name="connsiteX77" fmla="*/ 135731 w 1562100"/>
              <a:gd name="connsiteY77" fmla="*/ 723901 h 1204913"/>
              <a:gd name="connsiteX78" fmla="*/ 123825 w 1562100"/>
              <a:gd name="connsiteY78" fmla="*/ 764382 h 1204913"/>
              <a:gd name="connsiteX79" fmla="*/ 76200 w 1562100"/>
              <a:gd name="connsiteY79" fmla="*/ 759619 h 1204913"/>
              <a:gd name="connsiteX80" fmla="*/ 52388 w 1562100"/>
              <a:gd name="connsiteY80" fmla="*/ 704851 h 1204913"/>
              <a:gd name="connsiteX81" fmla="*/ 33338 w 1562100"/>
              <a:gd name="connsiteY81" fmla="*/ 697707 h 1204913"/>
              <a:gd name="connsiteX82" fmla="*/ 23813 w 1562100"/>
              <a:gd name="connsiteY82" fmla="*/ 735807 h 1204913"/>
              <a:gd name="connsiteX83" fmla="*/ 21431 w 1562100"/>
              <a:gd name="connsiteY83" fmla="*/ 745332 h 1204913"/>
              <a:gd name="connsiteX84" fmla="*/ 7144 w 1562100"/>
              <a:gd name="connsiteY84" fmla="*/ 762001 h 1204913"/>
              <a:gd name="connsiteX85" fmla="*/ 0 w 1562100"/>
              <a:gd name="connsiteY85" fmla="*/ 819151 h 1204913"/>
              <a:gd name="connsiteX86" fmla="*/ 23813 w 1562100"/>
              <a:gd name="connsiteY86" fmla="*/ 847726 h 1204913"/>
              <a:gd name="connsiteX87" fmla="*/ 16669 w 1562100"/>
              <a:gd name="connsiteY87" fmla="*/ 888207 h 1204913"/>
              <a:gd name="connsiteX88" fmla="*/ 35719 w 1562100"/>
              <a:gd name="connsiteY88" fmla="*/ 892969 h 1204913"/>
              <a:gd name="connsiteX89" fmla="*/ 69056 w 1562100"/>
              <a:gd name="connsiteY89" fmla="*/ 892969 h 1204913"/>
              <a:gd name="connsiteX90" fmla="*/ 85725 w 1562100"/>
              <a:gd name="connsiteY90" fmla="*/ 883444 h 1204913"/>
              <a:gd name="connsiteX91" fmla="*/ 135731 w 1562100"/>
              <a:gd name="connsiteY91" fmla="*/ 940594 h 1204913"/>
              <a:gd name="connsiteX92" fmla="*/ 123825 w 1562100"/>
              <a:gd name="connsiteY92" fmla="*/ 959644 h 1204913"/>
              <a:gd name="connsiteX93" fmla="*/ 133350 w 1562100"/>
              <a:gd name="connsiteY93" fmla="*/ 988219 h 1204913"/>
              <a:gd name="connsiteX94" fmla="*/ 164306 w 1562100"/>
              <a:gd name="connsiteY94" fmla="*/ 1007269 h 1204913"/>
              <a:gd name="connsiteX95" fmla="*/ 190500 w 1562100"/>
              <a:gd name="connsiteY95" fmla="*/ 1016794 h 1204913"/>
              <a:gd name="connsiteX96" fmla="*/ 216694 w 1562100"/>
              <a:gd name="connsiteY96" fmla="*/ 1023938 h 1204913"/>
              <a:gd name="connsiteX97" fmla="*/ 228600 w 1562100"/>
              <a:gd name="connsiteY97" fmla="*/ 1026319 h 1204913"/>
              <a:gd name="connsiteX98" fmla="*/ 240506 w 1562100"/>
              <a:gd name="connsiteY98" fmla="*/ 988219 h 1204913"/>
              <a:gd name="connsiteX99" fmla="*/ 269081 w 1562100"/>
              <a:gd name="connsiteY99" fmla="*/ 992982 h 1204913"/>
              <a:gd name="connsiteX100" fmla="*/ 288131 w 1562100"/>
              <a:gd name="connsiteY100" fmla="*/ 981076 h 1204913"/>
              <a:gd name="connsiteX101" fmla="*/ 307181 w 1562100"/>
              <a:gd name="connsiteY101" fmla="*/ 1031082 h 1204913"/>
              <a:gd name="connsiteX102" fmla="*/ 330994 w 1562100"/>
              <a:gd name="connsiteY102" fmla="*/ 1045369 h 1204913"/>
              <a:gd name="connsiteX103" fmla="*/ 340519 w 1562100"/>
              <a:gd name="connsiteY103" fmla="*/ 1073944 h 1204913"/>
              <a:gd name="connsiteX104" fmla="*/ 357188 w 1562100"/>
              <a:gd name="connsiteY104" fmla="*/ 1083469 h 1204913"/>
              <a:gd name="connsiteX105" fmla="*/ 364331 w 1562100"/>
              <a:gd name="connsiteY105" fmla="*/ 1114426 h 1204913"/>
              <a:gd name="connsiteX106" fmla="*/ 335756 w 1562100"/>
              <a:gd name="connsiteY106" fmla="*/ 1140619 h 1204913"/>
              <a:gd name="connsiteX107" fmla="*/ 309563 w 1562100"/>
              <a:gd name="connsiteY107" fmla="*/ 1157288 h 1204913"/>
              <a:gd name="connsiteX108" fmla="*/ 297656 w 1562100"/>
              <a:gd name="connsiteY108" fmla="*/ 1181101 h 1204913"/>
              <a:gd name="connsiteX109" fmla="*/ 302419 w 1562100"/>
              <a:gd name="connsiteY109" fmla="*/ 1204913 h 1204913"/>
              <a:gd name="connsiteX110" fmla="*/ 342900 w 1562100"/>
              <a:gd name="connsiteY110" fmla="*/ 1204913 h 1204913"/>
              <a:gd name="connsiteX111" fmla="*/ 390525 w 1562100"/>
              <a:gd name="connsiteY111" fmla="*/ 1200151 h 1204913"/>
              <a:gd name="connsiteX112" fmla="*/ 428625 w 1562100"/>
              <a:gd name="connsiteY112" fmla="*/ 1190626 h 1204913"/>
              <a:gd name="connsiteX113" fmla="*/ 454819 w 1562100"/>
              <a:gd name="connsiteY113" fmla="*/ 1197769 h 1204913"/>
              <a:gd name="connsiteX114" fmla="*/ 473869 w 1562100"/>
              <a:gd name="connsiteY114" fmla="*/ 1176338 h 1204913"/>
              <a:gd name="connsiteX115" fmla="*/ 492919 w 1562100"/>
              <a:gd name="connsiteY115" fmla="*/ 1176338 h 1204913"/>
              <a:gd name="connsiteX116" fmla="*/ 507206 w 1562100"/>
              <a:gd name="connsiteY116" fmla="*/ 1145382 h 1204913"/>
              <a:gd name="connsiteX117" fmla="*/ 557213 w 1562100"/>
              <a:gd name="connsiteY117" fmla="*/ 1131094 h 1204913"/>
              <a:gd name="connsiteX118" fmla="*/ 583406 w 1562100"/>
              <a:gd name="connsiteY118" fmla="*/ 1112044 h 1204913"/>
              <a:gd name="connsiteX119" fmla="*/ 590550 w 1562100"/>
              <a:gd name="connsiteY119" fmla="*/ 1073944 h 1204913"/>
              <a:gd name="connsiteX120" fmla="*/ 607219 w 1562100"/>
              <a:gd name="connsiteY120" fmla="*/ 1047751 h 1204913"/>
              <a:gd name="connsiteX121" fmla="*/ 688181 w 1562100"/>
              <a:gd name="connsiteY121" fmla="*/ 1078707 h 1204913"/>
              <a:gd name="connsiteX0" fmla="*/ 688181 w 1562100"/>
              <a:gd name="connsiteY0" fmla="*/ 1089758 h 1215964"/>
              <a:gd name="connsiteX1" fmla="*/ 688181 w 1562100"/>
              <a:gd name="connsiteY1" fmla="*/ 1004033 h 1215964"/>
              <a:gd name="connsiteX2" fmla="*/ 692944 w 1562100"/>
              <a:gd name="connsiteY2" fmla="*/ 961170 h 1215964"/>
              <a:gd name="connsiteX3" fmla="*/ 692944 w 1562100"/>
              <a:gd name="connsiteY3" fmla="*/ 915927 h 1215964"/>
              <a:gd name="connsiteX4" fmla="*/ 676275 w 1562100"/>
              <a:gd name="connsiteY4" fmla="*/ 892114 h 1215964"/>
              <a:gd name="connsiteX5" fmla="*/ 690563 w 1562100"/>
              <a:gd name="connsiteY5" fmla="*/ 839727 h 1215964"/>
              <a:gd name="connsiteX6" fmla="*/ 685800 w 1562100"/>
              <a:gd name="connsiteY6" fmla="*/ 813533 h 1215964"/>
              <a:gd name="connsiteX7" fmla="*/ 697706 w 1562100"/>
              <a:gd name="connsiteY7" fmla="*/ 768289 h 1215964"/>
              <a:gd name="connsiteX8" fmla="*/ 714375 w 1562100"/>
              <a:gd name="connsiteY8" fmla="*/ 744477 h 1215964"/>
              <a:gd name="connsiteX9" fmla="*/ 721519 w 1562100"/>
              <a:gd name="connsiteY9" fmla="*/ 711139 h 1215964"/>
              <a:gd name="connsiteX10" fmla="*/ 735806 w 1562100"/>
              <a:gd name="connsiteY10" fmla="*/ 692089 h 1215964"/>
              <a:gd name="connsiteX11" fmla="*/ 792956 w 1562100"/>
              <a:gd name="connsiteY11" fmla="*/ 682564 h 1215964"/>
              <a:gd name="connsiteX12" fmla="*/ 838200 w 1562100"/>
              <a:gd name="connsiteY12" fmla="*/ 665895 h 1215964"/>
              <a:gd name="connsiteX13" fmla="*/ 876300 w 1562100"/>
              <a:gd name="connsiteY13" fmla="*/ 625414 h 1215964"/>
              <a:gd name="connsiteX14" fmla="*/ 923925 w 1562100"/>
              <a:gd name="connsiteY14" fmla="*/ 611127 h 1215964"/>
              <a:gd name="connsiteX15" fmla="*/ 995363 w 1562100"/>
              <a:gd name="connsiteY15" fmla="*/ 606364 h 1215964"/>
              <a:gd name="connsiteX16" fmla="*/ 1040606 w 1562100"/>
              <a:gd name="connsiteY16" fmla="*/ 596839 h 1215964"/>
              <a:gd name="connsiteX17" fmla="*/ 1119188 w 1562100"/>
              <a:gd name="connsiteY17" fmla="*/ 489683 h 1215964"/>
              <a:gd name="connsiteX18" fmla="*/ 1126331 w 1562100"/>
              <a:gd name="connsiteY18" fmla="*/ 456345 h 1215964"/>
              <a:gd name="connsiteX19" fmla="*/ 1152525 w 1562100"/>
              <a:gd name="connsiteY19" fmla="*/ 427770 h 1215964"/>
              <a:gd name="connsiteX20" fmla="*/ 1197769 w 1562100"/>
              <a:gd name="connsiteY20" fmla="*/ 418245 h 1215964"/>
              <a:gd name="connsiteX21" fmla="*/ 1290638 w 1562100"/>
              <a:gd name="connsiteY21" fmla="*/ 342045 h 1215964"/>
              <a:gd name="connsiteX22" fmla="*/ 1314450 w 1562100"/>
              <a:gd name="connsiteY22" fmla="*/ 339664 h 1215964"/>
              <a:gd name="connsiteX23" fmla="*/ 1409700 w 1562100"/>
              <a:gd name="connsiteY23" fmla="*/ 258702 h 1215964"/>
              <a:gd name="connsiteX24" fmla="*/ 1414463 w 1562100"/>
              <a:gd name="connsiteY24" fmla="*/ 239652 h 1215964"/>
              <a:gd name="connsiteX25" fmla="*/ 1507331 w 1562100"/>
              <a:gd name="connsiteY25" fmla="*/ 184883 h 1215964"/>
              <a:gd name="connsiteX26" fmla="*/ 1543050 w 1562100"/>
              <a:gd name="connsiteY26" fmla="*/ 139639 h 1215964"/>
              <a:gd name="connsiteX27" fmla="*/ 1562100 w 1562100"/>
              <a:gd name="connsiteY27" fmla="*/ 101539 h 1215964"/>
              <a:gd name="connsiteX28" fmla="*/ 1512094 w 1562100"/>
              <a:gd name="connsiteY28" fmla="*/ 120589 h 1215964"/>
              <a:gd name="connsiteX29" fmla="*/ 1478756 w 1562100"/>
              <a:gd name="connsiteY29" fmla="*/ 120589 h 1215964"/>
              <a:gd name="connsiteX30" fmla="*/ 1452563 w 1562100"/>
              <a:gd name="connsiteY30" fmla="*/ 158689 h 1215964"/>
              <a:gd name="connsiteX31" fmla="*/ 1421606 w 1562100"/>
              <a:gd name="connsiteY31" fmla="*/ 156308 h 1215964"/>
              <a:gd name="connsiteX32" fmla="*/ 1366838 w 1562100"/>
              <a:gd name="connsiteY32" fmla="*/ 125352 h 1215964"/>
              <a:gd name="connsiteX33" fmla="*/ 1323975 w 1562100"/>
              <a:gd name="connsiteY33" fmla="*/ 113445 h 1215964"/>
              <a:gd name="connsiteX34" fmla="*/ 1238250 w 1562100"/>
              <a:gd name="connsiteY34" fmla="*/ 149164 h 1215964"/>
              <a:gd name="connsiteX35" fmla="*/ 1223963 w 1562100"/>
              <a:gd name="connsiteY35" fmla="*/ 187264 h 1215964"/>
              <a:gd name="connsiteX36" fmla="*/ 1195388 w 1562100"/>
              <a:gd name="connsiteY36" fmla="*/ 244414 h 1215964"/>
              <a:gd name="connsiteX37" fmla="*/ 1109663 w 1562100"/>
              <a:gd name="connsiteY37" fmla="*/ 206314 h 1215964"/>
              <a:gd name="connsiteX38" fmla="*/ 1097756 w 1562100"/>
              <a:gd name="connsiteY38" fmla="*/ 249177 h 1215964"/>
              <a:gd name="connsiteX39" fmla="*/ 1083469 w 1562100"/>
              <a:gd name="connsiteY39" fmla="*/ 282514 h 1215964"/>
              <a:gd name="connsiteX40" fmla="*/ 959644 w 1562100"/>
              <a:gd name="connsiteY40" fmla="*/ 313470 h 1215964"/>
              <a:gd name="connsiteX41" fmla="*/ 945356 w 1562100"/>
              <a:gd name="connsiteY41" fmla="*/ 308708 h 1215964"/>
              <a:gd name="connsiteX42" fmla="*/ 926306 w 1562100"/>
              <a:gd name="connsiteY42" fmla="*/ 330139 h 1215964"/>
              <a:gd name="connsiteX43" fmla="*/ 890588 w 1562100"/>
              <a:gd name="connsiteY43" fmla="*/ 337283 h 1215964"/>
              <a:gd name="connsiteX44" fmla="*/ 854869 w 1562100"/>
              <a:gd name="connsiteY44" fmla="*/ 287277 h 1215964"/>
              <a:gd name="connsiteX45" fmla="*/ 835819 w 1562100"/>
              <a:gd name="connsiteY45" fmla="*/ 275370 h 1215964"/>
              <a:gd name="connsiteX46" fmla="*/ 826294 w 1562100"/>
              <a:gd name="connsiteY46" fmla="*/ 230127 h 1215964"/>
              <a:gd name="connsiteX47" fmla="*/ 792956 w 1562100"/>
              <a:gd name="connsiteY47" fmla="*/ 213458 h 1215964"/>
              <a:gd name="connsiteX48" fmla="*/ 759619 w 1562100"/>
              <a:gd name="connsiteY48" fmla="*/ 206314 h 1215964"/>
              <a:gd name="connsiteX49" fmla="*/ 740569 w 1562100"/>
              <a:gd name="connsiteY49" fmla="*/ 201552 h 1215964"/>
              <a:gd name="connsiteX50" fmla="*/ 728663 w 1562100"/>
              <a:gd name="connsiteY50" fmla="*/ 192027 h 1215964"/>
              <a:gd name="connsiteX51" fmla="*/ 735806 w 1562100"/>
              <a:gd name="connsiteY51" fmla="*/ 165833 h 1215964"/>
              <a:gd name="connsiteX52" fmla="*/ 742950 w 1562100"/>
              <a:gd name="connsiteY52" fmla="*/ 142020 h 1215964"/>
              <a:gd name="connsiteX53" fmla="*/ 700088 w 1562100"/>
              <a:gd name="connsiteY53" fmla="*/ 92014 h 1215964"/>
              <a:gd name="connsiteX54" fmla="*/ 376238 w 1562100"/>
              <a:gd name="connsiteY54" fmla="*/ 11052 h 1215964"/>
              <a:gd name="connsiteX55" fmla="*/ 314326 w 1562100"/>
              <a:gd name="connsiteY55" fmla="*/ 11051 h 1215964"/>
              <a:gd name="connsiteX56" fmla="*/ 328613 w 1562100"/>
              <a:gd name="connsiteY56" fmla="*/ 89633 h 1215964"/>
              <a:gd name="connsiteX57" fmla="*/ 292894 w 1562100"/>
              <a:gd name="connsiteY57" fmla="*/ 192027 h 1215964"/>
              <a:gd name="connsiteX58" fmla="*/ 264319 w 1562100"/>
              <a:gd name="connsiteY58" fmla="*/ 199170 h 1215964"/>
              <a:gd name="connsiteX59" fmla="*/ 261938 w 1562100"/>
              <a:gd name="connsiteY59" fmla="*/ 213458 h 1215964"/>
              <a:gd name="connsiteX60" fmla="*/ 261938 w 1562100"/>
              <a:gd name="connsiteY60" fmla="*/ 246795 h 1215964"/>
              <a:gd name="connsiteX61" fmla="*/ 228600 w 1562100"/>
              <a:gd name="connsiteY61" fmla="*/ 289658 h 1215964"/>
              <a:gd name="connsiteX62" fmla="*/ 271463 w 1562100"/>
              <a:gd name="connsiteY62" fmla="*/ 306327 h 1215964"/>
              <a:gd name="connsiteX63" fmla="*/ 278606 w 1562100"/>
              <a:gd name="connsiteY63" fmla="*/ 325377 h 1215964"/>
              <a:gd name="connsiteX64" fmla="*/ 257175 w 1562100"/>
              <a:gd name="connsiteY64" fmla="*/ 361095 h 1215964"/>
              <a:gd name="connsiteX65" fmla="*/ 221456 w 1562100"/>
              <a:gd name="connsiteY65" fmla="*/ 370620 h 1215964"/>
              <a:gd name="connsiteX66" fmla="*/ 221456 w 1562100"/>
              <a:gd name="connsiteY66" fmla="*/ 411102 h 1215964"/>
              <a:gd name="connsiteX67" fmla="*/ 254794 w 1562100"/>
              <a:gd name="connsiteY67" fmla="*/ 449202 h 1215964"/>
              <a:gd name="connsiteX68" fmla="*/ 226219 w 1562100"/>
              <a:gd name="connsiteY68" fmla="*/ 513495 h 1215964"/>
              <a:gd name="connsiteX69" fmla="*/ 180975 w 1562100"/>
              <a:gd name="connsiteY69" fmla="*/ 542070 h 1215964"/>
              <a:gd name="connsiteX70" fmla="*/ 183356 w 1562100"/>
              <a:gd name="connsiteY70" fmla="*/ 558739 h 1215964"/>
              <a:gd name="connsiteX71" fmla="*/ 204788 w 1562100"/>
              <a:gd name="connsiteY71" fmla="*/ 568264 h 1215964"/>
              <a:gd name="connsiteX72" fmla="*/ 219075 w 1562100"/>
              <a:gd name="connsiteY72" fmla="*/ 577789 h 1215964"/>
              <a:gd name="connsiteX73" fmla="*/ 223838 w 1562100"/>
              <a:gd name="connsiteY73" fmla="*/ 596839 h 1215964"/>
              <a:gd name="connsiteX74" fmla="*/ 195263 w 1562100"/>
              <a:gd name="connsiteY74" fmla="*/ 623033 h 1215964"/>
              <a:gd name="connsiteX75" fmla="*/ 123825 w 1562100"/>
              <a:gd name="connsiteY75" fmla="*/ 668277 h 1215964"/>
              <a:gd name="connsiteX76" fmla="*/ 123825 w 1562100"/>
              <a:gd name="connsiteY76" fmla="*/ 703995 h 1215964"/>
              <a:gd name="connsiteX77" fmla="*/ 135731 w 1562100"/>
              <a:gd name="connsiteY77" fmla="*/ 734952 h 1215964"/>
              <a:gd name="connsiteX78" fmla="*/ 123825 w 1562100"/>
              <a:gd name="connsiteY78" fmla="*/ 775433 h 1215964"/>
              <a:gd name="connsiteX79" fmla="*/ 76200 w 1562100"/>
              <a:gd name="connsiteY79" fmla="*/ 770670 h 1215964"/>
              <a:gd name="connsiteX80" fmla="*/ 52388 w 1562100"/>
              <a:gd name="connsiteY80" fmla="*/ 715902 h 1215964"/>
              <a:gd name="connsiteX81" fmla="*/ 33338 w 1562100"/>
              <a:gd name="connsiteY81" fmla="*/ 708758 h 1215964"/>
              <a:gd name="connsiteX82" fmla="*/ 23813 w 1562100"/>
              <a:gd name="connsiteY82" fmla="*/ 746858 h 1215964"/>
              <a:gd name="connsiteX83" fmla="*/ 21431 w 1562100"/>
              <a:gd name="connsiteY83" fmla="*/ 756383 h 1215964"/>
              <a:gd name="connsiteX84" fmla="*/ 7144 w 1562100"/>
              <a:gd name="connsiteY84" fmla="*/ 773052 h 1215964"/>
              <a:gd name="connsiteX85" fmla="*/ 0 w 1562100"/>
              <a:gd name="connsiteY85" fmla="*/ 830202 h 1215964"/>
              <a:gd name="connsiteX86" fmla="*/ 23813 w 1562100"/>
              <a:gd name="connsiteY86" fmla="*/ 858777 h 1215964"/>
              <a:gd name="connsiteX87" fmla="*/ 16669 w 1562100"/>
              <a:gd name="connsiteY87" fmla="*/ 899258 h 1215964"/>
              <a:gd name="connsiteX88" fmla="*/ 35719 w 1562100"/>
              <a:gd name="connsiteY88" fmla="*/ 904020 h 1215964"/>
              <a:gd name="connsiteX89" fmla="*/ 69056 w 1562100"/>
              <a:gd name="connsiteY89" fmla="*/ 904020 h 1215964"/>
              <a:gd name="connsiteX90" fmla="*/ 85725 w 1562100"/>
              <a:gd name="connsiteY90" fmla="*/ 894495 h 1215964"/>
              <a:gd name="connsiteX91" fmla="*/ 135731 w 1562100"/>
              <a:gd name="connsiteY91" fmla="*/ 951645 h 1215964"/>
              <a:gd name="connsiteX92" fmla="*/ 123825 w 1562100"/>
              <a:gd name="connsiteY92" fmla="*/ 970695 h 1215964"/>
              <a:gd name="connsiteX93" fmla="*/ 133350 w 1562100"/>
              <a:gd name="connsiteY93" fmla="*/ 999270 h 1215964"/>
              <a:gd name="connsiteX94" fmla="*/ 164306 w 1562100"/>
              <a:gd name="connsiteY94" fmla="*/ 1018320 h 1215964"/>
              <a:gd name="connsiteX95" fmla="*/ 190500 w 1562100"/>
              <a:gd name="connsiteY95" fmla="*/ 1027845 h 1215964"/>
              <a:gd name="connsiteX96" fmla="*/ 216694 w 1562100"/>
              <a:gd name="connsiteY96" fmla="*/ 1034989 h 1215964"/>
              <a:gd name="connsiteX97" fmla="*/ 228600 w 1562100"/>
              <a:gd name="connsiteY97" fmla="*/ 1037370 h 1215964"/>
              <a:gd name="connsiteX98" fmla="*/ 240506 w 1562100"/>
              <a:gd name="connsiteY98" fmla="*/ 999270 h 1215964"/>
              <a:gd name="connsiteX99" fmla="*/ 269081 w 1562100"/>
              <a:gd name="connsiteY99" fmla="*/ 1004033 h 1215964"/>
              <a:gd name="connsiteX100" fmla="*/ 288131 w 1562100"/>
              <a:gd name="connsiteY100" fmla="*/ 992127 h 1215964"/>
              <a:gd name="connsiteX101" fmla="*/ 307181 w 1562100"/>
              <a:gd name="connsiteY101" fmla="*/ 1042133 h 1215964"/>
              <a:gd name="connsiteX102" fmla="*/ 330994 w 1562100"/>
              <a:gd name="connsiteY102" fmla="*/ 1056420 h 1215964"/>
              <a:gd name="connsiteX103" fmla="*/ 340519 w 1562100"/>
              <a:gd name="connsiteY103" fmla="*/ 1084995 h 1215964"/>
              <a:gd name="connsiteX104" fmla="*/ 357188 w 1562100"/>
              <a:gd name="connsiteY104" fmla="*/ 1094520 h 1215964"/>
              <a:gd name="connsiteX105" fmla="*/ 364331 w 1562100"/>
              <a:gd name="connsiteY105" fmla="*/ 1125477 h 1215964"/>
              <a:gd name="connsiteX106" fmla="*/ 335756 w 1562100"/>
              <a:gd name="connsiteY106" fmla="*/ 1151670 h 1215964"/>
              <a:gd name="connsiteX107" fmla="*/ 309563 w 1562100"/>
              <a:gd name="connsiteY107" fmla="*/ 1168339 h 1215964"/>
              <a:gd name="connsiteX108" fmla="*/ 297656 w 1562100"/>
              <a:gd name="connsiteY108" fmla="*/ 1192152 h 1215964"/>
              <a:gd name="connsiteX109" fmla="*/ 302419 w 1562100"/>
              <a:gd name="connsiteY109" fmla="*/ 1215964 h 1215964"/>
              <a:gd name="connsiteX110" fmla="*/ 342900 w 1562100"/>
              <a:gd name="connsiteY110" fmla="*/ 1215964 h 1215964"/>
              <a:gd name="connsiteX111" fmla="*/ 390525 w 1562100"/>
              <a:gd name="connsiteY111" fmla="*/ 1211202 h 1215964"/>
              <a:gd name="connsiteX112" fmla="*/ 428625 w 1562100"/>
              <a:gd name="connsiteY112" fmla="*/ 1201677 h 1215964"/>
              <a:gd name="connsiteX113" fmla="*/ 454819 w 1562100"/>
              <a:gd name="connsiteY113" fmla="*/ 1208820 h 1215964"/>
              <a:gd name="connsiteX114" fmla="*/ 473869 w 1562100"/>
              <a:gd name="connsiteY114" fmla="*/ 1187389 h 1215964"/>
              <a:gd name="connsiteX115" fmla="*/ 492919 w 1562100"/>
              <a:gd name="connsiteY115" fmla="*/ 1187389 h 1215964"/>
              <a:gd name="connsiteX116" fmla="*/ 507206 w 1562100"/>
              <a:gd name="connsiteY116" fmla="*/ 1156433 h 1215964"/>
              <a:gd name="connsiteX117" fmla="*/ 557213 w 1562100"/>
              <a:gd name="connsiteY117" fmla="*/ 1142145 h 1215964"/>
              <a:gd name="connsiteX118" fmla="*/ 583406 w 1562100"/>
              <a:gd name="connsiteY118" fmla="*/ 1123095 h 1215964"/>
              <a:gd name="connsiteX119" fmla="*/ 590550 w 1562100"/>
              <a:gd name="connsiteY119" fmla="*/ 1084995 h 1215964"/>
              <a:gd name="connsiteX120" fmla="*/ 607219 w 1562100"/>
              <a:gd name="connsiteY120" fmla="*/ 1058802 h 1215964"/>
              <a:gd name="connsiteX121" fmla="*/ 688181 w 1562100"/>
              <a:gd name="connsiteY121" fmla="*/ 1089758 h 1215964"/>
              <a:gd name="connsiteX0" fmla="*/ 688181 w 1562100"/>
              <a:gd name="connsiteY0" fmla="*/ 1089758 h 1215964"/>
              <a:gd name="connsiteX1" fmla="*/ 688181 w 1562100"/>
              <a:gd name="connsiteY1" fmla="*/ 1004033 h 1215964"/>
              <a:gd name="connsiteX2" fmla="*/ 692944 w 1562100"/>
              <a:gd name="connsiteY2" fmla="*/ 961170 h 1215964"/>
              <a:gd name="connsiteX3" fmla="*/ 692944 w 1562100"/>
              <a:gd name="connsiteY3" fmla="*/ 915927 h 1215964"/>
              <a:gd name="connsiteX4" fmla="*/ 676275 w 1562100"/>
              <a:gd name="connsiteY4" fmla="*/ 892114 h 1215964"/>
              <a:gd name="connsiteX5" fmla="*/ 690563 w 1562100"/>
              <a:gd name="connsiteY5" fmla="*/ 839727 h 1215964"/>
              <a:gd name="connsiteX6" fmla="*/ 685800 w 1562100"/>
              <a:gd name="connsiteY6" fmla="*/ 813533 h 1215964"/>
              <a:gd name="connsiteX7" fmla="*/ 697706 w 1562100"/>
              <a:gd name="connsiteY7" fmla="*/ 768289 h 1215964"/>
              <a:gd name="connsiteX8" fmla="*/ 714375 w 1562100"/>
              <a:gd name="connsiteY8" fmla="*/ 744477 h 1215964"/>
              <a:gd name="connsiteX9" fmla="*/ 721519 w 1562100"/>
              <a:gd name="connsiteY9" fmla="*/ 711139 h 1215964"/>
              <a:gd name="connsiteX10" fmla="*/ 735806 w 1562100"/>
              <a:gd name="connsiteY10" fmla="*/ 692089 h 1215964"/>
              <a:gd name="connsiteX11" fmla="*/ 792956 w 1562100"/>
              <a:gd name="connsiteY11" fmla="*/ 682564 h 1215964"/>
              <a:gd name="connsiteX12" fmla="*/ 838200 w 1562100"/>
              <a:gd name="connsiteY12" fmla="*/ 665895 h 1215964"/>
              <a:gd name="connsiteX13" fmla="*/ 876300 w 1562100"/>
              <a:gd name="connsiteY13" fmla="*/ 625414 h 1215964"/>
              <a:gd name="connsiteX14" fmla="*/ 923925 w 1562100"/>
              <a:gd name="connsiteY14" fmla="*/ 611127 h 1215964"/>
              <a:gd name="connsiteX15" fmla="*/ 995363 w 1562100"/>
              <a:gd name="connsiteY15" fmla="*/ 606364 h 1215964"/>
              <a:gd name="connsiteX16" fmla="*/ 1040606 w 1562100"/>
              <a:gd name="connsiteY16" fmla="*/ 596839 h 1215964"/>
              <a:gd name="connsiteX17" fmla="*/ 1119188 w 1562100"/>
              <a:gd name="connsiteY17" fmla="*/ 489683 h 1215964"/>
              <a:gd name="connsiteX18" fmla="*/ 1126331 w 1562100"/>
              <a:gd name="connsiteY18" fmla="*/ 456345 h 1215964"/>
              <a:gd name="connsiteX19" fmla="*/ 1152525 w 1562100"/>
              <a:gd name="connsiteY19" fmla="*/ 427770 h 1215964"/>
              <a:gd name="connsiteX20" fmla="*/ 1197769 w 1562100"/>
              <a:gd name="connsiteY20" fmla="*/ 418245 h 1215964"/>
              <a:gd name="connsiteX21" fmla="*/ 1290638 w 1562100"/>
              <a:gd name="connsiteY21" fmla="*/ 342045 h 1215964"/>
              <a:gd name="connsiteX22" fmla="*/ 1314450 w 1562100"/>
              <a:gd name="connsiteY22" fmla="*/ 339664 h 1215964"/>
              <a:gd name="connsiteX23" fmla="*/ 1409700 w 1562100"/>
              <a:gd name="connsiteY23" fmla="*/ 258702 h 1215964"/>
              <a:gd name="connsiteX24" fmla="*/ 1414463 w 1562100"/>
              <a:gd name="connsiteY24" fmla="*/ 239652 h 1215964"/>
              <a:gd name="connsiteX25" fmla="*/ 1507331 w 1562100"/>
              <a:gd name="connsiteY25" fmla="*/ 184883 h 1215964"/>
              <a:gd name="connsiteX26" fmla="*/ 1543050 w 1562100"/>
              <a:gd name="connsiteY26" fmla="*/ 139639 h 1215964"/>
              <a:gd name="connsiteX27" fmla="*/ 1562100 w 1562100"/>
              <a:gd name="connsiteY27" fmla="*/ 101539 h 1215964"/>
              <a:gd name="connsiteX28" fmla="*/ 1512094 w 1562100"/>
              <a:gd name="connsiteY28" fmla="*/ 120589 h 1215964"/>
              <a:gd name="connsiteX29" fmla="*/ 1478756 w 1562100"/>
              <a:gd name="connsiteY29" fmla="*/ 120589 h 1215964"/>
              <a:gd name="connsiteX30" fmla="*/ 1452563 w 1562100"/>
              <a:gd name="connsiteY30" fmla="*/ 158689 h 1215964"/>
              <a:gd name="connsiteX31" fmla="*/ 1421606 w 1562100"/>
              <a:gd name="connsiteY31" fmla="*/ 156308 h 1215964"/>
              <a:gd name="connsiteX32" fmla="*/ 1366838 w 1562100"/>
              <a:gd name="connsiteY32" fmla="*/ 125352 h 1215964"/>
              <a:gd name="connsiteX33" fmla="*/ 1323975 w 1562100"/>
              <a:gd name="connsiteY33" fmla="*/ 113445 h 1215964"/>
              <a:gd name="connsiteX34" fmla="*/ 1238250 w 1562100"/>
              <a:gd name="connsiteY34" fmla="*/ 149164 h 1215964"/>
              <a:gd name="connsiteX35" fmla="*/ 1223963 w 1562100"/>
              <a:gd name="connsiteY35" fmla="*/ 187264 h 1215964"/>
              <a:gd name="connsiteX36" fmla="*/ 1195388 w 1562100"/>
              <a:gd name="connsiteY36" fmla="*/ 244414 h 1215964"/>
              <a:gd name="connsiteX37" fmla="*/ 1109663 w 1562100"/>
              <a:gd name="connsiteY37" fmla="*/ 206314 h 1215964"/>
              <a:gd name="connsiteX38" fmla="*/ 1097756 w 1562100"/>
              <a:gd name="connsiteY38" fmla="*/ 249177 h 1215964"/>
              <a:gd name="connsiteX39" fmla="*/ 1083469 w 1562100"/>
              <a:gd name="connsiteY39" fmla="*/ 282514 h 1215964"/>
              <a:gd name="connsiteX40" fmla="*/ 959644 w 1562100"/>
              <a:gd name="connsiteY40" fmla="*/ 313470 h 1215964"/>
              <a:gd name="connsiteX41" fmla="*/ 945356 w 1562100"/>
              <a:gd name="connsiteY41" fmla="*/ 308708 h 1215964"/>
              <a:gd name="connsiteX42" fmla="*/ 926306 w 1562100"/>
              <a:gd name="connsiteY42" fmla="*/ 330139 h 1215964"/>
              <a:gd name="connsiteX43" fmla="*/ 890588 w 1562100"/>
              <a:gd name="connsiteY43" fmla="*/ 337283 h 1215964"/>
              <a:gd name="connsiteX44" fmla="*/ 854869 w 1562100"/>
              <a:gd name="connsiteY44" fmla="*/ 287277 h 1215964"/>
              <a:gd name="connsiteX45" fmla="*/ 835819 w 1562100"/>
              <a:gd name="connsiteY45" fmla="*/ 275370 h 1215964"/>
              <a:gd name="connsiteX46" fmla="*/ 826294 w 1562100"/>
              <a:gd name="connsiteY46" fmla="*/ 230127 h 1215964"/>
              <a:gd name="connsiteX47" fmla="*/ 792956 w 1562100"/>
              <a:gd name="connsiteY47" fmla="*/ 213458 h 1215964"/>
              <a:gd name="connsiteX48" fmla="*/ 759619 w 1562100"/>
              <a:gd name="connsiteY48" fmla="*/ 206314 h 1215964"/>
              <a:gd name="connsiteX49" fmla="*/ 740569 w 1562100"/>
              <a:gd name="connsiteY49" fmla="*/ 201552 h 1215964"/>
              <a:gd name="connsiteX50" fmla="*/ 728663 w 1562100"/>
              <a:gd name="connsiteY50" fmla="*/ 192027 h 1215964"/>
              <a:gd name="connsiteX51" fmla="*/ 735806 w 1562100"/>
              <a:gd name="connsiteY51" fmla="*/ 165833 h 1215964"/>
              <a:gd name="connsiteX52" fmla="*/ 742950 w 1562100"/>
              <a:gd name="connsiteY52" fmla="*/ 142020 h 1215964"/>
              <a:gd name="connsiteX53" fmla="*/ 700088 w 1562100"/>
              <a:gd name="connsiteY53" fmla="*/ 92014 h 1215964"/>
              <a:gd name="connsiteX54" fmla="*/ 447675 w 1562100"/>
              <a:gd name="connsiteY54" fmla="*/ 22958 h 1215964"/>
              <a:gd name="connsiteX55" fmla="*/ 376238 w 1562100"/>
              <a:gd name="connsiteY55" fmla="*/ 11052 h 1215964"/>
              <a:gd name="connsiteX56" fmla="*/ 314326 w 1562100"/>
              <a:gd name="connsiteY56" fmla="*/ 11051 h 1215964"/>
              <a:gd name="connsiteX57" fmla="*/ 328613 w 1562100"/>
              <a:gd name="connsiteY57" fmla="*/ 89633 h 1215964"/>
              <a:gd name="connsiteX58" fmla="*/ 292894 w 1562100"/>
              <a:gd name="connsiteY58" fmla="*/ 192027 h 1215964"/>
              <a:gd name="connsiteX59" fmla="*/ 264319 w 1562100"/>
              <a:gd name="connsiteY59" fmla="*/ 199170 h 1215964"/>
              <a:gd name="connsiteX60" fmla="*/ 261938 w 1562100"/>
              <a:gd name="connsiteY60" fmla="*/ 213458 h 1215964"/>
              <a:gd name="connsiteX61" fmla="*/ 261938 w 1562100"/>
              <a:gd name="connsiteY61" fmla="*/ 246795 h 1215964"/>
              <a:gd name="connsiteX62" fmla="*/ 228600 w 1562100"/>
              <a:gd name="connsiteY62" fmla="*/ 289658 h 1215964"/>
              <a:gd name="connsiteX63" fmla="*/ 271463 w 1562100"/>
              <a:gd name="connsiteY63" fmla="*/ 306327 h 1215964"/>
              <a:gd name="connsiteX64" fmla="*/ 278606 w 1562100"/>
              <a:gd name="connsiteY64" fmla="*/ 325377 h 1215964"/>
              <a:gd name="connsiteX65" fmla="*/ 257175 w 1562100"/>
              <a:gd name="connsiteY65" fmla="*/ 361095 h 1215964"/>
              <a:gd name="connsiteX66" fmla="*/ 221456 w 1562100"/>
              <a:gd name="connsiteY66" fmla="*/ 370620 h 1215964"/>
              <a:gd name="connsiteX67" fmla="*/ 221456 w 1562100"/>
              <a:gd name="connsiteY67" fmla="*/ 411102 h 1215964"/>
              <a:gd name="connsiteX68" fmla="*/ 254794 w 1562100"/>
              <a:gd name="connsiteY68" fmla="*/ 449202 h 1215964"/>
              <a:gd name="connsiteX69" fmla="*/ 226219 w 1562100"/>
              <a:gd name="connsiteY69" fmla="*/ 513495 h 1215964"/>
              <a:gd name="connsiteX70" fmla="*/ 180975 w 1562100"/>
              <a:gd name="connsiteY70" fmla="*/ 542070 h 1215964"/>
              <a:gd name="connsiteX71" fmla="*/ 183356 w 1562100"/>
              <a:gd name="connsiteY71" fmla="*/ 558739 h 1215964"/>
              <a:gd name="connsiteX72" fmla="*/ 204788 w 1562100"/>
              <a:gd name="connsiteY72" fmla="*/ 568264 h 1215964"/>
              <a:gd name="connsiteX73" fmla="*/ 219075 w 1562100"/>
              <a:gd name="connsiteY73" fmla="*/ 577789 h 1215964"/>
              <a:gd name="connsiteX74" fmla="*/ 223838 w 1562100"/>
              <a:gd name="connsiteY74" fmla="*/ 596839 h 1215964"/>
              <a:gd name="connsiteX75" fmla="*/ 195263 w 1562100"/>
              <a:gd name="connsiteY75" fmla="*/ 623033 h 1215964"/>
              <a:gd name="connsiteX76" fmla="*/ 123825 w 1562100"/>
              <a:gd name="connsiteY76" fmla="*/ 668277 h 1215964"/>
              <a:gd name="connsiteX77" fmla="*/ 123825 w 1562100"/>
              <a:gd name="connsiteY77" fmla="*/ 703995 h 1215964"/>
              <a:gd name="connsiteX78" fmla="*/ 135731 w 1562100"/>
              <a:gd name="connsiteY78" fmla="*/ 734952 h 1215964"/>
              <a:gd name="connsiteX79" fmla="*/ 123825 w 1562100"/>
              <a:gd name="connsiteY79" fmla="*/ 775433 h 1215964"/>
              <a:gd name="connsiteX80" fmla="*/ 76200 w 1562100"/>
              <a:gd name="connsiteY80" fmla="*/ 770670 h 1215964"/>
              <a:gd name="connsiteX81" fmla="*/ 52388 w 1562100"/>
              <a:gd name="connsiteY81" fmla="*/ 715902 h 1215964"/>
              <a:gd name="connsiteX82" fmla="*/ 33338 w 1562100"/>
              <a:gd name="connsiteY82" fmla="*/ 708758 h 1215964"/>
              <a:gd name="connsiteX83" fmla="*/ 23813 w 1562100"/>
              <a:gd name="connsiteY83" fmla="*/ 746858 h 1215964"/>
              <a:gd name="connsiteX84" fmla="*/ 21431 w 1562100"/>
              <a:gd name="connsiteY84" fmla="*/ 756383 h 1215964"/>
              <a:gd name="connsiteX85" fmla="*/ 7144 w 1562100"/>
              <a:gd name="connsiteY85" fmla="*/ 773052 h 1215964"/>
              <a:gd name="connsiteX86" fmla="*/ 0 w 1562100"/>
              <a:gd name="connsiteY86" fmla="*/ 830202 h 1215964"/>
              <a:gd name="connsiteX87" fmla="*/ 23813 w 1562100"/>
              <a:gd name="connsiteY87" fmla="*/ 858777 h 1215964"/>
              <a:gd name="connsiteX88" fmla="*/ 16669 w 1562100"/>
              <a:gd name="connsiteY88" fmla="*/ 899258 h 1215964"/>
              <a:gd name="connsiteX89" fmla="*/ 35719 w 1562100"/>
              <a:gd name="connsiteY89" fmla="*/ 904020 h 1215964"/>
              <a:gd name="connsiteX90" fmla="*/ 69056 w 1562100"/>
              <a:gd name="connsiteY90" fmla="*/ 904020 h 1215964"/>
              <a:gd name="connsiteX91" fmla="*/ 85725 w 1562100"/>
              <a:gd name="connsiteY91" fmla="*/ 894495 h 1215964"/>
              <a:gd name="connsiteX92" fmla="*/ 135731 w 1562100"/>
              <a:gd name="connsiteY92" fmla="*/ 951645 h 1215964"/>
              <a:gd name="connsiteX93" fmla="*/ 123825 w 1562100"/>
              <a:gd name="connsiteY93" fmla="*/ 970695 h 1215964"/>
              <a:gd name="connsiteX94" fmla="*/ 133350 w 1562100"/>
              <a:gd name="connsiteY94" fmla="*/ 999270 h 1215964"/>
              <a:gd name="connsiteX95" fmla="*/ 164306 w 1562100"/>
              <a:gd name="connsiteY95" fmla="*/ 1018320 h 1215964"/>
              <a:gd name="connsiteX96" fmla="*/ 190500 w 1562100"/>
              <a:gd name="connsiteY96" fmla="*/ 1027845 h 1215964"/>
              <a:gd name="connsiteX97" fmla="*/ 216694 w 1562100"/>
              <a:gd name="connsiteY97" fmla="*/ 1034989 h 1215964"/>
              <a:gd name="connsiteX98" fmla="*/ 228600 w 1562100"/>
              <a:gd name="connsiteY98" fmla="*/ 1037370 h 1215964"/>
              <a:gd name="connsiteX99" fmla="*/ 240506 w 1562100"/>
              <a:gd name="connsiteY99" fmla="*/ 999270 h 1215964"/>
              <a:gd name="connsiteX100" fmla="*/ 269081 w 1562100"/>
              <a:gd name="connsiteY100" fmla="*/ 1004033 h 1215964"/>
              <a:gd name="connsiteX101" fmla="*/ 288131 w 1562100"/>
              <a:gd name="connsiteY101" fmla="*/ 992127 h 1215964"/>
              <a:gd name="connsiteX102" fmla="*/ 307181 w 1562100"/>
              <a:gd name="connsiteY102" fmla="*/ 1042133 h 1215964"/>
              <a:gd name="connsiteX103" fmla="*/ 330994 w 1562100"/>
              <a:gd name="connsiteY103" fmla="*/ 1056420 h 1215964"/>
              <a:gd name="connsiteX104" fmla="*/ 340519 w 1562100"/>
              <a:gd name="connsiteY104" fmla="*/ 1084995 h 1215964"/>
              <a:gd name="connsiteX105" fmla="*/ 357188 w 1562100"/>
              <a:gd name="connsiteY105" fmla="*/ 1094520 h 1215964"/>
              <a:gd name="connsiteX106" fmla="*/ 364331 w 1562100"/>
              <a:gd name="connsiteY106" fmla="*/ 1125477 h 1215964"/>
              <a:gd name="connsiteX107" fmla="*/ 335756 w 1562100"/>
              <a:gd name="connsiteY107" fmla="*/ 1151670 h 1215964"/>
              <a:gd name="connsiteX108" fmla="*/ 309563 w 1562100"/>
              <a:gd name="connsiteY108" fmla="*/ 1168339 h 1215964"/>
              <a:gd name="connsiteX109" fmla="*/ 297656 w 1562100"/>
              <a:gd name="connsiteY109" fmla="*/ 1192152 h 1215964"/>
              <a:gd name="connsiteX110" fmla="*/ 302419 w 1562100"/>
              <a:gd name="connsiteY110" fmla="*/ 1215964 h 1215964"/>
              <a:gd name="connsiteX111" fmla="*/ 342900 w 1562100"/>
              <a:gd name="connsiteY111" fmla="*/ 1215964 h 1215964"/>
              <a:gd name="connsiteX112" fmla="*/ 390525 w 1562100"/>
              <a:gd name="connsiteY112" fmla="*/ 1211202 h 1215964"/>
              <a:gd name="connsiteX113" fmla="*/ 428625 w 1562100"/>
              <a:gd name="connsiteY113" fmla="*/ 1201677 h 1215964"/>
              <a:gd name="connsiteX114" fmla="*/ 454819 w 1562100"/>
              <a:gd name="connsiteY114" fmla="*/ 1208820 h 1215964"/>
              <a:gd name="connsiteX115" fmla="*/ 473869 w 1562100"/>
              <a:gd name="connsiteY115" fmla="*/ 1187389 h 1215964"/>
              <a:gd name="connsiteX116" fmla="*/ 492919 w 1562100"/>
              <a:gd name="connsiteY116" fmla="*/ 1187389 h 1215964"/>
              <a:gd name="connsiteX117" fmla="*/ 507206 w 1562100"/>
              <a:gd name="connsiteY117" fmla="*/ 1156433 h 1215964"/>
              <a:gd name="connsiteX118" fmla="*/ 557213 w 1562100"/>
              <a:gd name="connsiteY118" fmla="*/ 1142145 h 1215964"/>
              <a:gd name="connsiteX119" fmla="*/ 583406 w 1562100"/>
              <a:gd name="connsiteY119" fmla="*/ 1123095 h 1215964"/>
              <a:gd name="connsiteX120" fmla="*/ 590550 w 1562100"/>
              <a:gd name="connsiteY120" fmla="*/ 1084995 h 1215964"/>
              <a:gd name="connsiteX121" fmla="*/ 607219 w 1562100"/>
              <a:gd name="connsiteY121" fmla="*/ 1058802 h 1215964"/>
              <a:gd name="connsiteX122" fmla="*/ 688181 w 1562100"/>
              <a:gd name="connsiteY122" fmla="*/ 1089758 h 1215964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428625 w 1562100"/>
              <a:gd name="connsiteY54" fmla="*/ 0 h 1309687"/>
              <a:gd name="connsiteX55" fmla="*/ 376238 w 1562100"/>
              <a:gd name="connsiteY55" fmla="*/ 104775 h 1309687"/>
              <a:gd name="connsiteX56" fmla="*/ 314326 w 1562100"/>
              <a:gd name="connsiteY56" fmla="*/ 104774 h 1309687"/>
              <a:gd name="connsiteX57" fmla="*/ 328613 w 1562100"/>
              <a:gd name="connsiteY57" fmla="*/ 183356 h 1309687"/>
              <a:gd name="connsiteX58" fmla="*/ 292894 w 1562100"/>
              <a:gd name="connsiteY58" fmla="*/ 285750 h 1309687"/>
              <a:gd name="connsiteX59" fmla="*/ 264319 w 1562100"/>
              <a:gd name="connsiteY59" fmla="*/ 292893 h 1309687"/>
              <a:gd name="connsiteX60" fmla="*/ 261938 w 1562100"/>
              <a:gd name="connsiteY60" fmla="*/ 307181 h 1309687"/>
              <a:gd name="connsiteX61" fmla="*/ 261938 w 1562100"/>
              <a:gd name="connsiteY61" fmla="*/ 340518 h 1309687"/>
              <a:gd name="connsiteX62" fmla="*/ 228600 w 1562100"/>
              <a:gd name="connsiteY62" fmla="*/ 383381 h 1309687"/>
              <a:gd name="connsiteX63" fmla="*/ 271463 w 1562100"/>
              <a:gd name="connsiteY63" fmla="*/ 400050 h 1309687"/>
              <a:gd name="connsiteX64" fmla="*/ 278606 w 1562100"/>
              <a:gd name="connsiteY64" fmla="*/ 419100 h 1309687"/>
              <a:gd name="connsiteX65" fmla="*/ 257175 w 1562100"/>
              <a:gd name="connsiteY65" fmla="*/ 454818 h 1309687"/>
              <a:gd name="connsiteX66" fmla="*/ 221456 w 1562100"/>
              <a:gd name="connsiteY66" fmla="*/ 464343 h 1309687"/>
              <a:gd name="connsiteX67" fmla="*/ 221456 w 1562100"/>
              <a:gd name="connsiteY67" fmla="*/ 504825 h 1309687"/>
              <a:gd name="connsiteX68" fmla="*/ 254794 w 1562100"/>
              <a:gd name="connsiteY68" fmla="*/ 542925 h 1309687"/>
              <a:gd name="connsiteX69" fmla="*/ 226219 w 1562100"/>
              <a:gd name="connsiteY69" fmla="*/ 607218 h 1309687"/>
              <a:gd name="connsiteX70" fmla="*/ 180975 w 1562100"/>
              <a:gd name="connsiteY70" fmla="*/ 635793 h 1309687"/>
              <a:gd name="connsiteX71" fmla="*/ 183356 w 1562100"/>
              <a:gd name="connsiteY71" fmla="*/ 652462 h 1309687"/>
              <a:gd name="connsiteX72" fmla="*/ 204788 w 1562100"/>
              <a:gd name="connsiteY72" fmla="*/ 661987 h 1309687"/>
              <a:gd name="connsiteX73" fmla="*/ 219075 w 1562100"/>
              <a:gd name="connsiteY73" fmla="*/ 671512 h 1309687"/>
              <a:gd name="connsiteX74" fmla="*/ 223838 w 1562100"/>
              <a:gd name="connsiteY74" fmla="*/ 690562 h 1309687"/>
              <a:gd name="connsiteX75" fmla="*/ 195263 w 1562100"/>
              <a:gd name="connsiteY75" fmla="*/ 716756 h 1309687"/>
              <a:gd name="connsiteX76" fmla="*/ 123825 w 1562100"/>
              <a:gd name="connsiteY76" fmla="*/ 762000 h 1309687"/>
              <a:gd name="connsiteX77" fmla="*/ 123825 w 1562100"/>
              <a:gd name="connsiteY77" fmla="*/ 797718 h 1309687"/>
              <a:gd name="connsiteX78" fmla="*/ 135731 w 1562100"/>
              <a:gd name="connsiteY78" fmla="*/ 828675 h 1309687"/>
              <a:gd name="connsiteX79" fmla="*/ 123825 w 1562100"/>
              <a:gd name="connsiteY79" fmla="*/ 869156 h 1309687"/>
              <a:gd name="connsiteX80" fmla="*/ 76200 w 1562100"/>
              <a:gd name="connsiteY80" fmla="*/ 864393 h 1309687"/>
              <a:gd name="connsiteX81" fmla="*/ 52388 w 1562100"/>
              <a:gd name="connsiteY81" fmla="*/ 809625 h 1309687"/>
              <a:gd name="connsiteX82" fmla="*/ 33338 w 1562100"/>
              <a:gd name="connsiteY82" fmla="*/ 802481 h 1309687"/>
              <a:gd name="connsiteX83" fmla="*/ 23813 w 1562100"/>
              <a:gd name="connsiteY83" fmla="*/ 840581 h 1309687"/>
              <a:gd name="connsiteX84" fmla="*/ 21431 w 1562100"/>
              <a:gd name="connsiteY84" fmla="*/ 850106 h 1309687"/>
              <a:gd name="connsiteX85" fmla="*/ 7144 w 1562100"/>
              <a:gd name="connsiteY85" fmla="*/ 866775 h 1309687"/>
              <a:gd name="connsiteX86" fmla="*/ 0 w 1562100"/>
              <a:gd name="connsiteY86" fmla="*/ 923925 h 1309687"/>
              <a:gd name="connsiteX87" fmla="*/ 23813 w 1562100"/>
              <a:gd name="connsiteY87" fmla="*/ 952500 h 1309687"/>
              <a:gd name="connsiteX88" fmla="*/ 16669 w 1562100"/>
              <a:gd name="connsiteY88" fmla="*/ 992981 h 1309687"/>
              <a:gd name="connsiteX89" fmla="*/ 35719 w 1562100"/>
              <a:gd name="connsiteY89" fmla="*/ 997743 h 1309687"/>
              <a:gd name="connsiteX90" fmla="*/ 69056 w 1562100"/>
              <a:gd name="connsiteY90" fmla="*/ 997743 h 1309687"/>
              <a:gd name="connsiteX91" fmla="*/ 85725 w 1562100"/>
              <a:gd name="connsiteY91" fmla="*/ 988218 h 1309687"/>
              <a:gd name="connsiteX92" fmla="*/ 135731 w 1562100"/>
              <a:gd name="connsiteY92" fmla="*/ 1045368 h 1309687"/>
              <a:gd name="connsiteX93" fmla="*/ 123825 w 1562100"/>
              <a:gd name="connsiteY93" fmla="*/ 1064418 h 1309687"/>
              <a:gd name="connsiteX94" fmla="*/ 133350 w 1562100"/>
              <a:gd name="connsiteY94" fmla="*/ 1092993 h 1309687"/>
              <a:gd name="connsiteX95" fmla="*/ 164306 w 1562100"/>
              <a:gd name="connsiteY95" fmla="*/ 1112043 h 1309687"/>
              <a:gd name="connsiteX96" fmla="*/ 190500 w 1562100"/>
              <a:gd name="connsiteY96" fmla="*/ 1121568 h 1309687"/>
              <a:gd name="connsiteX97" fmla="*/ 216694 w 1562100"/>
              <a:gd name="connsiteY97" fmla="*/ 1128712 h 1309687"/>
              <a:gd name="connsiteX98" fmla="*/ 228600 w 1562100"/>
              <a:gd name="connsiteY98" fmla="*/ 1131093 h 1309687"/>
              <a:gd name="connsiteX99" fmla="*/ 240506 w 1562100"/>
              <a:gd name="connsiteY99" fmla="*/ 1092993 h 1309687"/>
              <a:gd name="connsiteX100" fmla="*/ 269081 w 1562100"/>
              <a:gd name="connsiteY100" fmla="*/ 1097756 h 1309687"/>
              <a:gd name="connsiteX101" fmla="*/ 288131 w 1562100"/>
              <a:gd name="connsiteY101" fmla="*/ 1085850 h 1309687"/>
              <a:gd name="connsiteX102" fmla="*/ 307181 w 1562100"/>
              <a:gd name="connsiteY102" fmla="*/ 1135856 h 1309687"/>
              <a:gd name="connsiteX103" fmla="*/ 330994 w 1562100"/>
              <a:gd name="connsiteY103" fmla="*/ 1150143 h 1309687"/>
              <a:gd name="connsiteX104" fmla="*/ 340519 w 1562100"/>
              <a:gd name="connsiteY104" fmla="*/ 1178718 h 1309687"/>
              <a:gd name="connsiteX105" fmla="*/ 357188 w 1562100"/>
              <a:gd name="connsiteY105" fmla="*/ 1188243 h 1309687"/>
              <a:gd name="connsiteX106" fmla="*/ 364331 w 1562100"/>
              <a:gd name="connsiteY106" fmla="*/ 1219200 h 1309687"/>
              <a:gd name="connsiteX107" fmla="*/ 335756 w 1562100"/>
              <a:gd name="connsiteY107" fmla="*/ 1245393 h 1309687"/>
              <a:gd name="connsiteX108" fmla="*/ 309563 w 1562100"/>
              <a:gd name="connsiteY108" fmla="*/ 1262062 h 1309687"/>
              <a:gd name="connsiteX109" fmla="*/ 297656 w 1562100"/>
              <a:gd name="connsiteY109" fmla="*/ 1285875 h 1309687"/>
              <a:gd name="connsiteX110" fmla="*/ 302419 w 1562100"/>
              <a:gd name="connsiteY110" fmla="*/ 1309687 h 1309687"/>
              <a:gd name="connsiteX111" fmla="*/ 342900 w 1562100"/>
              <a:gd name="connsiteY111" fmla="*/ 1309687 h 1309687"/>
              <a:gd name="connsiteX112" fmla="*/ 390525 w 1562100"/>
              <a:gd name="connsiteY112" fmla="*/ 1304925 h 1309687"/>
              <a:gd name="connsiteX113" fmla="*/ 428625 w 1562100"/>
              <a:gd name="connsiteY113" fmla="*/ 1295400 h 1309687"/>
              <a:gd name="connsiteX114" fmla="*/ 454819 w 1562100"/>
              <a:gd name="connsiteY114" fmla="*/ 1302543 h 1309687"/>
              <a:gd name="connsiteX115" fmla="*/ 473869 w 1562100"/>
              <a:gd name="connsiteY115" fmla="*/ 1281112 h 1309687"/>
              <a:gd name="connsiteX116" fmla="*/ 492919 w 1562100"/>
              <a:gd name="connsiteY116" fmla="*/ 1281112 h 1309687"/>
              <a:gd name="connsiteX117" fmla="*/ 507206 w 1562100"/>
              <a:gd name="connsiteY117" fmla="*/ 1250156 h 1309687"/>
              <a:gd name="connsiteX118" fmla="*/ 557213 w 1562100"/>
              <a:gd name="connsiteY118" fmla="*/ 1235868 h 1309687"/>
              <a:gd name="connsiteX119" fmla="*/ 583406 w 1562100"/>
              <a:gd name="connsiteY119" fmla="*/ 1216818 h 1309687"/>
              <a:gd name="connsiteX120" fmla="*/ 590550 w 1562100"/>
              <a:gd name="connsiteY120" fmla="*/ 1178718 h 1309687"/>
              <a:gd name="connsiteX121" fmla="*/ 607219 w 1562100"/>
              <a:gd name="connsiteY121" fmla="*/ 1152525 h 1309687"/>
              <a:gd name="connsiteX122" fmla="*/ 688181 w 1562100"/>
              <a:gd name="connsiteY122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461963 w 1562100"/>
              <a:gd name="connsiteY54" fmla="*/ 23813 h 1309687"/>
              <a:gd name="connsiteX55" fmla="*/ 428625 w 1562100"/>
              <a:gd name="connsiteY55" fmla="*/ 0 h 1309687"/>
              <a:gd name="connsiteX56" fmla="*/ 376238 w 1562100"/>
              <a:gd name="connsiteY56" fmla="*/ 104775 h 1309687"/>
              <a:gd name="connsiteX57" fmla="*/ 314326 w 1562100"/>
              <a:gd name="connsiteY57" fmla="*/ 104774 h 1309687"/>
              <a:gd name="connsiteX58" fmla="*/ 328613 w 1562100"/>
              <a:gd name="connsiteY58" fmla="*/ 183356 h 1309687"/>
              <a:gd name="connsiteX59" fmla="*/ 292894 w 1562100"/>
              <a:gd name="connsiteY59" fmla="*/ 285750 h 1309687"/>
              <a:gd name="connsiteX60" fmla="*/ 264319 w 1562100"/>
              <a:gd name="connsiteY60" fmla="*/ 292893 h 1309687"/>
              <a:gd name="connsiteX61" fmla="*/ 261938 w 1562100"/>
              <a:gd name="connsiteY61" fmla="*/ 307181 h 1309687"/>
              <a:gd name="connsiteX62" fmla="*/ 261938 w 1562100"/>
              <a:gd name="connsiteY62" fmla="*/ 340518 h 1309687"/>
              <a:gd name="connsiteX63" fmla="*/ 228600 w 1562100"/>
              <a:gd name="connsiteY63" fmla="*/ 383381 h 1309687"/>
              <a:gd name="connsiteX64" fmla="*/ 271463 w 1562100"/>
              <a:gd name="connsiteY64" fmla="*/ 400050 h 1309687"/>
              <a:gd name="connsiteX65" fmla="*/ 278606 w 1562100"/>
              <a:gd name="connsiteY65" fmla="*/ 419100 h 1309687"/>
              <a:gd name="connsiteX66" fmla="*/ 257175 w 1562100"/>
              <a:gd name="connsiteY66" fmla="*/ 454818 h 1309687"/>
              <a:gd name="connsiteX67" fmla="*/ 221456 w 1562100"/>
              <a:gd name="connsiteY67" fmla="*/ 464343 h 1309687"/>
              <a:gd name="connsiteX68" fmla="*/ 221456 w 1562100"/>
              <a:gd name="connsiteY68" fmla="*/ 504825 h 1309687"/>
              <a:gd name="connsiteX69" fmla="*/ 254794 w 1562100"/>
              <a:gd name="connsiteY69" fmla="*/ 542925 h 1309687"/>
              <a:gd name="connsiteX70" fmla="*/ 226219 w 1562100"/>
              <a:gd name="connsiteY70" fmla="*/ 607218 h 1309687"/>
              <a:gd name="connsiteX71" fmla="*/ 180975 w 1562100"/>
              <a:gd name="connsiteY71" fmla="*/ 635793 h 1309687"/>
              <a:gd name="connsiteX72" fmla="*/ 183356 w 1562100"/>
              <a:gd name="connsiteY72" fmla="*/ 652462 h 1309687"/>
              <a:gd name="connsiteX73" fmla="*/ 204788 w 1562100"/>
              <a:gd name="connsiteY73" fmla="*/ 661987 h 1309687"/>
              <a:gd name="connsiteX74" fmla="*/ 219075 w 1562100"/>
              <a:gd name="connsiteY74" fmla="*/ 671512 h 1309687"/>
              <a:gd name="connsiteX75" fmla="*/ 223838 w 1562100"/>
              <a:gd name="connsiteY75" fmla="*/ 690562 h 1309687"/>
              <a:gd name="connsiteX76" fmla="*/ 195263 w 1562100"/>
              <a:gd name="connsiteY76" fmla="*/ 716756 h 1309687"/>
              <a:gd name="connsiteX77" fmla="*/ 123825 w 1562100"/>
              <a:gd name="connsiteY77" fmla="*/ 762000 h 1309687"/>
              <a:gd name="connsiteX78" fmla="*/ 123825 w 1562100"/>
              <a:gd name="connsiteY78" fmla="*/ 797718 h 1309687"/>
              <a:gd name="connsiteX79" fmla="*/ 135731 w 1562100"/>
              <a:gd name="connsiteY79" fmla="*/ 828675 h 1309687"/>
              <a:gd name="connsiteX80" fmla="*/ 123825 w 1562100"/>
              <a:gd name="connsiteY80" fmla="*/ 869156 h 1309687"/>
              <a:gd name="connsiteX81" fmla="*/ 76200 w 1562100"/>
              <a:gd name="connsiteY81" fmla="*/ 864393 h 1309687"/>
              <a:gd name="connsiteX82" fmla="*/ 52388 w 1562100"/>
              <a:gd name="connsiteY82" fmla="*/ 809625 h 1309687"/>
              <a:gd name="connsiteX83" fmla="*/ 33338 w 1562100"/>
              <a:gd name="connsiteY83" fmla="*/ 802481 h 1309687"/>
              <a:gd name="connsiteX84" fmla="*/ 23813 w 1562100"/>
              <a:gd name="connsiteY84" fmla="*/ 840581 h 1309687"/>
              <a:gd name="connsiteX85" fmla="*/ 21431 w 1562100"/>
              <a:gd name="connsiteY85" fmla="*/ 850106 h 1309687"/>
              <a:gd name="connsiteX86" fmla="*/ 7144 w 1562100"/>
              <a:gd name="connsiteY86" fmla="*/ 866775 h 1309687"/>
              <a:gd name="connsiteX87" fmla="*/ 0 w 1562100"/>
              <a:gd name="connsiteY87" fmla="*/ 923925 h 1309687"/>
              <a:gd name="connsiteX88" fmla="*/ 23813 w 1562100"/>
              <a:gd name="connsiteY88" fmla="*/ 952500 h 1309687"/>
              <a:gd name="connsiteX89" fmla="*/ 16669 w 1562100"/>
              <a:gd name="connsiteY89" fmla="*/ 992981 h 1309687"/>
              <a:gd name="connsiteX90" fmla="*/ 35719 w 1562100"/>
              <a:gd name="connsiteY90" fmla="*/ 997743 h 1309687"/>
              <a:gd name="connsiteX91" fmla="*/ 69056 w 1562100"/>
              <a:gd name="connsiteY91" fmla="*/ 997743 h 1309687"/>
              <a:gd name="connsiteX92" fmla="*/ 85725 w 1562100"/>
              <a:gd name="connsiteY92" fmla="*/ 988218 h 1309687"/>
              <a:gd name="connsiteX93" fmla="*/ 135731 w 1562100"/>
              <a:gd name="connsiteY93" fmla="*/ 1045368 h 1309687"/>
              <a:gd name="connsiteX94" fmla="*/ 123825 w 1562100"/>
              <a:gd name="connsiteY94" fmla="*/ 1064418 h 1309687"/>
              <a:gd name="connsiteX95" fmla="*/ 133350 w 1562100"/>
              <a:gd name="connsiteY95" fmla="*/ 1092993 h 1309687"/>
              <a:gd name="connsiteX96" fmla="*/ 164306 w 1562100"/>
              <a:gd name="connsiteY96" fmla="*/ 1112043 h 1309687"/>
              <a:gd name="connsiteX97" fmla="*/ 190500 w 1562100"/>
              <a:gd name="connsiteY97" fmla="*/ 1121568 h 1309687"/>
              <a:gd name="connsiteX98" fmla="*/ 216694 w 1562100"/>
              <a:gd name="connsiteY98" fmla="*/ 1128712 h 1309687"/>
              <a:gd name="connsiteX99" fmla="*/ 228600 w 1562100"/>
              <a:gd name="connsiteY99" fmla="*/ 1131093 h 1309687"/>
              <a:gd name="connsiteX100" fmla="*/ 240506 w 1562100"/>
              <a:gd name="connsiteY100" fmla="*/ 1092993 h 1309687"/>
              <a:gd name="connsiteX101" fmla="*/ 269081 w 1562100"/>
              <a:gd name="connsiteY101" fmla="*/ 1097756 h 1309687"/>
              <a:gd name="connsiteX102" fmla="*/ 288131 w 1562100"/>
              <a:gd name="connsiteY102" fmla="*/ 1085850 h 1309687"/>
              <a:gd name="connsiteX103" fmla="*/ 307181 w 1562100"/>
              <a:gd name="connsiteY103" fmla="*/ 1135856 h 1309687"/>
              <a:gd name="connsiteX104" fmla="*/ 330994 w 1562100"/>
              <a:gd name="connsiteY104" fmla="*/ 1150143 h 1309687"/>
              <a:gd name="connsiteX105" fmla="*/ 340519 w 1562100"/>
              <a:gd name="connsiteY105" fmla="*/ 1178718 h 1309687"/>
              <a:gd name="connsiteX106" fmla="*/ 357188 w 1562100"/>
              <a:gd name="connsiteY106" fmla="*/ 1188243 h 1309687"/>
              <a:gd name="connsiteX107" fmla="*/ 364331 w 1562100"/>
              <a:gd name="connsiteY107" fmla="*/ 1219200 h 1309687"/>
              <a:gd name="connsiteX108" fmla="*/ 335756 w 1562100"/>
              <a:gd name="connsiteY108" fmla="*/ 1245393 h 1309687"/>
              <a:gd name="connsiteX109" fmla="*/ 309563 w 1562100"/>
              <a:gd name="connsiteY109" fmla="*/ 1262062 h 1309687"/>
              <a:gd name="connsiteX110" fmla="*/ 297656 w 1562100"/>
              <a:gd name="connsiteY110" fmla="*/ 1285875 h 1309687"/>
              <a:gd name="connsiteX111" fmla="*/ 302419 w 1562100"/>
              <a:gd name="connsiteY111" fmla="*/ 1309687 h 1309687"/>
              <a:gd name="connsiteX112" fmla="*/ 342900 w 1562100"/>
              <a:gd name="connsiteY112" fmla="*/ 1309687 h 1309687"/>
              <a:gd name="connsiteX113" fmla="*/ 390525 w 1562100"/>
              <a:gd name="connsiteY113" fmla="*/ 1304925 h 1309687"/>
              <a:gd name="connsiteX114" fmla="*/ 428625 w 1562100"/>
              <a:gd name="connsiteY114" fmla="*/ 1295400 h 1309687"/>
              <a:gd name="connsiteX115" fmla="*/ 454819 w 1562100"/>
              <a:gd name="connsiteY115" fmla="*/ 1302543 h 1309687"/>
              <a:gd name="connsiteX116" fmla="*/ 473869 w 1562100"/>
              <a:gd name="connsiteY116" fmla="*/ 1281112 h 1309687"/>
              <a:gd name="connsiteX117" fmla="*/ 492919 w 1562100"/>
              <a:gd name="connsiteY117" fmla="*/ 1281112 h 1309687"/>
              <a:gd name="connsiteX118" fmla="*/ 507206 w 1562100"/>
              <a:gd name="connsiteY118" fmla="*/ 1250156 h 1309687"/>
              <a:gd name="connsiteX119" fmla="*/ 557213 w 1562100"/>
              <a:gd name="connsiteY119" fmla="*/ 1235868 h 1309687"/>
              <a:gd name="connsiteX120" fmla="*/ 583406 w 1562100"/>
              <a:gd name="connsiteY120" fmla="*/ 1216818 h 1309687"/>
              <a:gd name="connsiteX121" fmla="*/ 590550 w 1562100"/>
              <a:gd name="connsiteY121" fmla="*/ 1178718 h 1309687"/>
              <a:gd name="connsiteX122" fmla="*/ 607219 w 1562100"/>
              <a:gd name="connsiteY122" fmla="*/ 1152525 h 1309687"/>
              <a:gd name="connsiteX123" fmla="*/ 688181 w 1562100"/>
              <a:gd name="connsiteY123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450056 w 1562100"/>
              <a:gd name="connsiteY54" fmla="*/ 2382 h 1309687"/>
              <a:gd name="connsiteX55" fmla="*/ 428625 w 1562100"/>
              <a:gd name="connsiteY55" fmla="*/ 0 h 1309687"/>
              <a:gd name="connsiteX56" fmla="*/ 376238 w 1562100"/>
              <a:gd name="connsiteY56" fmla="*/ 104775 h 1309687"/>
              <a:gd name="connsiteX57" fmla="*/ 314326 w 1562100"/>
              <a:gd name="connsiteY57" fmla="*/ 104774 h 1309687"/>
              <a:gd name="connsiteX58" fmla="*/ 328613 w 1562100"/>
              <a:gd name="connsiteY58" fmla="*/ 183356 h 1309687"/>
              <a:gd name="connsiteX59" fmla="*/ 292894 w 1562100"/>
              <a:gd name="connsiteY59" fmla="*/ 285750 h 1309687"/>
              <a:gd name="connsiteX60" fmla="*/ 264319 w 1562100"/>
              <a:gd name="connsiteY60" fmla="*/ 292893 h 1309687"/>
              <a:gd name="connsiteX61" fmla="*/ 261938 w 1562100"/>
              <a:gd name="connsiteY61" fmla="*/ 307181 h 1309687"/>
              <a:gd name="connsiteX62" fmla="*/ 261938 w 1562100"/>
              <a:gd name="connsiteY62" fmla="*/ 340518 h 1309687"/>
              <a:gd name="connsiteX63" fmla="*/ 228600 w 1562100"/>
              <a:gd name="connsiteY63" fmla="*/ 383381 h 1309687"/>
              <a:gd name="connsiteX64" fmla="*/ 271463 w 1562100"/>
              <a:gd name="connsiteY64" fmla="*/ 400050 h 1309687"/>
              <a:gd name="connsiteX65" fmla="*/ 278606 w 1562100"/>
              <a:gd name="connsiteY65" fmla="*/ 419100 h 1309687"/>
              <a:gd name="connsiteX66" fmla="*/ 257175 w 1562100"/>
              <a:gd name="connsiteY66" fmla="*/ 454818 h 1309687"/>
              <a:gd name="connsiteX67" fmla="*/ 221456 w 1562100"/>
              <a:gd name="connsiteY67" fmla="*/ 464343 h 1309687"/>
              <a:gd name="connsiteX68" fmla="*/ 221456 w 1562100"/>
              <a:gd name="connsiteY68" fmla="*/ 504825 h 1309687"/>
              <a:gd name="connsiteX69" fmla="*/ 254794 w 1562100"/>
              <a:gd name="connsiteY69" fmla="*/ 542925 h 1309687"/>
              <a:gd name="connsiteX70" fmla="*/ 226219 w 1562100"/>
              <a:gd name="connsiteY70" fmla="*/ 607218 h 1309687"/>
              <a:gd name="connsiteX71" fmla="*/ 180975 w 1562100"/>
              <a:gd name="connsiteY71" fmla="*/ 635793 h 1309687"/>
              <a:gd name="connsiteX72" fmla="*/ 183356 w 1562100"/>
              <a:gd name="connsiteY72" fmla="*/ 652462 h 1309687"/>
              <a:gd name="connsiteX73" fmla="*/ 204788 w 1562100"/>
              <a:gd name="connsiteY73" fmla="*/ 661987 h 1309687"/>
              <a:gd name="connsiteX74" fmla="*/ 219075 w 1562100"/>
              <a:gd name="connsiteY74" fmla="*/ 671512 h 1309687"/>
              <a:gd name="connsiteX75" fmla="*/ 223838 w 1562100"/>
              <a:gd name="connsiteY75" fmla="*/ 690562 h 1309687"/>
              <a:gd name="connsiteX76" fmla="*/ 195263 w 1562100"/>
              <a:gd name="connsiteY76" fmla="*/ 716756 h 1309687"/>
              <a:gd name="connsiteX77" fmla="*/ 123825 w 1562100"/>
              <a:gd name="connsiteY77" fmla="*/ 762000 h 1309687"/>
              <a:gd name="connsiteX78" fmla="*/ 123825 w 1562100"/>
              <a:gd name="connsiteY78" fmla="*/ 797718 h 1309687"/>
              <a:gd name="connsiteX79" fmla="*/ 135731 w 1562100"/>
              <a:gd name="connsiteY79" fmla="*/ 828675 h 1309687"/>
              <a:gd name="connsiteX80" fmla="*/ 123825 w 1562100"/>
              <a:gd name="connsiteY80" fmla="*/ 869156 h 1309687"/>
              <a:gd name="connsiteX81" fmla="*/ 76200 w 1562100"/>
              <a:gd name="connsiteY81" fmla="*/ 864393 h 1309687"/>
              <a:gd name="connsiteX82" fmla="*/ 52388 w 1562100"/>
              <a:gd name="connsiteY82" fmla="*/ 809625 h 1309687"/>
              <a:gd name="connsiteX83" fmla="*/ 33338 w 1562100"/>
              <a:gd name="connsiteY83" fmla="*/ 802481 h 1309687"/>
              <a:gd name="connsiteX84" fmla="*/ 23813 w 1562100"/>
              <a:gd name="connsiteY84" fmla="*/ 840581 h 1309687"/>
              <a:gd name="connsiteX85" fmla="*/ 21431 w 1562100"/>
              <a:gd name="connsiteY85" fmla="*/ 850106 h 1309687"/>
              <a:gd name="connsiteX86" fmla="*/ 7144 w 1562100"/>
              <a:gd name="connsiteY86" fmla="*/ 866775 h 1309687"/>
              <a:gd name="connsiteX87" fmla="*/ 0 w 1562100"/>
              <a:gd name="connsiteY87" fmla="*/ 923925 h 1309687"/>
              <a:gd name="connsiteX88" fmla="*/ 23813 w 1562100"/>
              <a:gd name="connsiteY88" fmla="*/ 952500 h 1309687"/>
              <a:gd name="connsiteX89" fmla="*/ 16669 w 1562100"/>
              <a:gd name="connsiteY89" fmla="*/ 992981 h 1309687"/>
              <a:gd name="connsiteX90" fmla="*/ 35719 w 1562100"/>
              <a:gd name="connsiteY90" fmla="*/ 997743 h 1309687"/>
              <a:gd name="connsiteX91" fmla="*/ 69056 w 1562100"/>
              <a:gd name="connsiteY91" fmla="*/ 997743 h 1309687"/>
              <a:gd name="connsiteX92" fmla="*/ 85725 w 1562100"/>
              <a:gd name="connsiteY92" fmla="*/ 988218 h 1309687"/>
              <a:gd name="connsiteX93" fmla="*/ 135731 w 1562100"/>
              <a:gd name="connsiteY93" fmla="*/ 1045368 h 1309687"/>
              <a:gd name="connsiteX94" fmla="*/ 123825 w 1562100"/>
              <a:gd name="connsiteY94" fmla="*/ 1064418 h 1309687"/>
              <a:gd name="connsiteX95" fmla="*/ 133350 w 1562100"/>
              <a:gd name="connsiteY95" fmla="*/ 1092993 h 1309687"/>
              <a:gd name="connsiteX96" fmla="*/ 164306 w 1562100"/>
              <a:gd name="connsiteY96" fmla="*/ 1112043 h 1309687"/>
              <a:gd name="connsiteX97" fmla="*/ 190500 w 1562100"/>
              <a:gd name="connsiteY97" fmla="*/ 1121568 h 1309687"/>
              <a:gd name="connsiteX98" fmla="*/ 216694 w 1562100"/>
              <a:gd name="connsiteY98" fmla="*/ 1128712 h 1309687"/>
              <a:gd name="connsiteX99" fmla="*/ 228600 w 1562100"/>
              <a:gd name="connsiteY99" fmla="*/ 1131093 h 1309687"/>
              <a:gd name="connsiteX100" fmla="*/ 240506 w 1562100"/>
              <a:gd name="connsiteY100" fmla="*/ 1092993 h 1309687"/>
              <a:gd name="connsiteX101" fmla="*/ 269081 w 1562100"/>
              <a:gd name="connsiteY101" fmla="*/ 1097756 h 1309687"/>
              <a:gd name="connsiteX102" fmla="*/ 288131 w 1562100"/>
              <a:gd name="connsiteY102" fmla="*/ 1085850 h 1309687"/>
              <a:gd name="connsiteX103" fmla="*/ 307181 w 1562100"/>
              <a:gd name="connsiteY103" fmla="*/ 1135856 h 1309687"/>
              <a:gd name="connsiteX104" fmla="*/ 330994 w 1562100"/>
              <a:gd name="connsiteY104" fmla="*/ 1150143 h 1309687"/>
              <a:gd name="connsiteX105" fmla="*/ 340519 w 1562100"/>
              <a:gd name="connsiteY105" fmla="*/ 1178718 h 1309687"/>
              <a:gd name="connsiteX106" fmla="*/ 357188 w 1562100"/>
              <a:gd name="connsiteY106" fmla="*/ 1188243 h 1309687"/>
              <a:gd name="connsiteX107" fmla="*/ 364331 w 1562100"/>
              <a:gd name="connsiteY107" fmla="*/ 1219200 h 1309687"/>
              <a:gd name="connsiteX108" fmla="*/ 335756 w 1562100"/>
              <a:gd name="connsiteY108" fmla="*/ 1245393 h 1309687"/>
              <a:gd name="connsiteX109" fmla="*/ 309563 w 1562100"/>
              <a:gd name="connsiteY109" fmla="*/ 1262062 h 1309687"/>
              <a:gd name="connsiteX110" fmla="*/ 297656 w 1562100"/>
              <a:gd name="connsiteY110" fmla="*/ 1285875 h 1309687"/>
              <a:gd name="connsiteX111" fmla="*/ 302419 w 1562100"/>
              <a:gd name="connsiteY111" fmla="*/ 1309687 h 1309687"/>
              <a:gd name="connsiteX112" fmla="*/ 342900 w 1562100"/>
              <a:gd name="connsiteY112" fmla="*/ 1309687 h 1309687"/>
              <a:gd name="connsiteX113" fmla="*/ 390525 w 1562100"/>
              <a:gd name="connsiteY113" fmla="*/ 1304925 h 1309687"/>
              <a:gd name="connsiteX114" fmla="*/ 428625 w 1562100"/>
              <a:gd name="connsiteY114" fmla="*/ 1295400 h 1309687"/>
              <a:gd name="connsiteX115" fmla="*/ 454819 w 1562100"/>
              <a:gd name="connsiteY115" fmla="*/ 1302543 h 1309687"/>
              <a:gd name="connsiteX116" fmla="*/ 473869 w 1562100"/>
              <a:gd name="connsiteY116" fmla="*/ 1281112 h 1309687"/>
              <a:gd name="connsiteX117" fmla="*/ 492919 w 1562100"/>
              <a:gd name="connsiteY117" fmla="*/ 1281112 h 1309687"/>
              <a:gd name="connsiteX118" fmla="*/ 507206 w 1562100"/>
              <a:gd name="connsiteY118" fmla="*/ 1250156 h 1309687"/>
              <a:gd name="connsiteX119" fmla="*/ 557213 w 1562100"/>
              <a:gd name="connsiteY119" fmla="*/ 1235868 h 1309687"/>
              <a:gd name="connsiteX120" fmla="*/ 583406 w 1562100"/>
              <a:gd name="connsiteY120" fmla="*/ 1216818 h 1309687"/>
              <a:gd name="connsiteX121" fmla="*/ 590550 w 1562100"/>
              <a:gd name="connsiteY121" fmla="*/ 1178718 h 1309687"/>
              <a:gd name="connsiteX122" fmla="*/ 607219 w 1562100"/>
              <a:gd name="connsiteY122" fmla="*/ 1152525 h 1309687"/>
              <a:gd name="connsiteX123" fmla="*/ 688181 w 1562100"/>
              <a:gd name="connsiteY123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450056 w 1562100"/>
              <a:gd name="connsiteY54" fmla="*/ 2382 h 1309687"/>
              <a:gd name="connsiteX55" fmla="*/ 428625 w 1562100"/>
              <a:gd name="connsiteY55" fmla="*/ 0 h 1309687"/>
              <a:gd name="connsiteX56" fmla="*/ 376238 w 1562100"/>
              <a:gd name="connsiteY56" fmla="*/ 104775 h 1309687"/>
              <a:gd name="connsiteX57" fmla="*/ 314326 w 1562100"/>
              <a:gd name="connsiteY57" fmla="*/ 104774 h 1309687"/>
              <a:gd name="connsiteX58" fmla="*/ 328613 w 1562100"/>
              <a:gd name="connsiteY58" fmla="*/ 183356 h 1309687"/>
              <a:gd name="connsiteX59" fmla="*/ 292894 w 1562100"/>
              <a:gd name="connsiteY59" fmla="*/ 285750 h 1309687"/>
              <a:gd name="connsiteX60" fmla="*/ 264319 w 1562100"/>
              <a:gd name="connsiteY60" fmla="*/ 292893 h 1309687"/>
              <a:gd name="connsiteX61" fmla="*/ 261938 w 1562100"/>
              <a:gd name="connsiteY61" fmla="*/ 307181 h 1309687"/>
              <a:gd name="connsiteX62" fmla="*/ 261938 w 1562100"/>
              <a:gd name="connsiteY62" fmla="*/ 340518 h 1309687"/>
              <a:gd name="connsiteX63" fmla="*/ 228600 w 1562100"/>
              <a:gd name="connsiteY63" fmla="*/ 383381 h 1309687"/>
              <a:gd name="connsiteX64" fmla="*/ 271463 w 1562100"/>
              <a:gd name="connsiteY64" fmla="*/ 400050 h 1309687"/>
              <a:gd name="connsiteX65" fmla="*/ 278606 w 1562100"/>
              <a:gd name="connsiteY65" fmla="*/ 419100 h 1309687"/>
              <a:gd name="connsiteX66" fmla="*/ 257175 w 1562100"/>
              <a:gd name="connsiteY66" fmla="*/ 454818 h 1309687"/>
              <a:gd name="connsiteX67" fmla="*/ 221456 w 1562100"/>
              <a:gd name="connsiteY67" fmla="*/ 464343 h 1309687"/>
              <a:gd name="connsiteX68" fmla="*/ 221456 w 1562100"/>
              <a:gd name="connsiteY68" fmla="*/ 504825 h 1309687"/>
              <a:gd name="connsiteX69" fmla="*/ 254794 w 1562100"/>
              <a:gd name="connsiteY69" fmla="*/ 542925 h 1309687"/>
              <a:gd name="connsiteX70" fmla="*/ 226219 w 1562100"/>
              <a:gd name="connsiteY70" fmla="*/ 607218 h 1309687"/>
              <a:gd name="connsiteX71" fmla="*/ 180975 w 1562100"/>
              <a:gd name="connsiteY71" fmla="*/ 635793 h 1309687"/>
              <a:gd name="connsiteX72" fmla="*/ 183356 w 1562100"/>
              <a:gd name="connsiteY72" fmla="*/ 652462 h 1309687"/>
              <a:gd name="connsiteX73" fmla="*/ 204788 w 1562100"/>
              <a:gd name="connsiteY73" fmla="*/ 661987 h 1309687"/>
              <a:gd name="connsiteX74" fmla="*/ 219075 w 1562100"/>
              <a:gd name="connsiteY74" fmla="*/ 671512 h 1309687"/>
              <a:gd name="connsiteX75" fmla="*/ 223838 w 1562100"/>
              <a:gd name="connsiteY75" fmla="*/ 690562 h 1309687"/>
              <a:gd name="connsiteX76" fmla="*/ 195263 w 1562100"/>
              <a:gd name="connsiteY76" fmla="*/ 716756 h 1309687"/>
              <a:gd name="connsiteX77" fmla="*/ 123825 w 1562100"/>
              <a:gd name="connsiteY77" fmla="*/ 762000 h 1309687"/>
              <a:gd name="connsiteX78" fmla="*/ 123825 w 1562100"/>
              <a:gd name="connsiteY78" fmla="*/ 797718 h 1309687"/>
              <a:gd name="connsiteX79" fmla="*/ 135731 w 1562100"/>
              <a:gd name="connsiteY79" fmla="*/ 828675 h 1309687"/>
              <a:gd name="connsiteX80" fmla="*/ 123825 w 1562100"/>
              <a:gd name="connsiteY80" fmla="*/ 869156 h 1309687"/>
              <a:gd name="connsiteX81" fmla="*/ 76200 w 1562100"/>
              <a:gd name="connsiteY81" fmla="*/ 864393 h 1309687"/>
              <a:gd name="connsiteX82" fmla="*/ 52388 w 1562100"/>
              <a:gd name="connsiteY82" fmla="*/ 809625 h 1309687"/>
              <a:gd name="connsiteX83" fmla="*/ 33338 w 1562100"/>
              <a:gd name="connsiteY83" fmla="*/ 802481 h 1309687"/>
              <a:gd name="connsiteX84" fmla="*/ 23813 w 1562100"/>
              <a:gd name="connsiteY84" fmla="*/ 840581 h 1309687"/>
              <a:gd name="connsiteX85" fmla="*/ 21431 w 1562100"/>
              <a:gd name="connsiteY85" fmla="*/ 850106 h 1309687"/>
              <a:gd name="connsiteX86" fmla="*/ 7144 w 1562100"/>
              <a:gd name="connsiteY86" fmla="*/ 866775 h 1309687"/>
              <a:gd name="connsiteX87" fmla="*/ 0 w 1562100"/>
              <a:gd name="connsiteY87" fmla="*/ 923925 h 1309687"/>
              <a:gd name="connsiteX88" fmla="*/ 23813 w 1562100"/>
              <a:gd name="connsiteY88" fmla="*/ 952500 h 1309687"/>
              <a:gd name="connsiteX89" fmla="*/ 16669 w 1562100"/>
              <a:gd name="connsiteY89" fmla="*/ 992981 h 1309687"/>
              <a:gd name="connsiteX90" fmla="*/ 35719 w 1562100"/>
              <a:gd name="connsiteY90" fmla="*/ 997743 h 1309687"/>
              <a:gd name="connsiteX91" fmla="*/ 69056 w 1562100"/>
              <a:gd name="connsiteY91" fmla="*/ 997743 h 1309687"/>
              <a:gd name="connsiteX92" fmla="*/ 85725 w 1562100"/>
              <a:gd name="connsiteY92" fmla="*/ 988218 h 1309687"/>
              <a:gd name="connsiteX93" fmla="*/ 135731 w 1562100"/>
              <a:gd name="connsiteY93" fmla="*/ 1045368 h 1309687"/>
              <a:gd name="connsiteX94" fmla="*/ 123825 w 1562100"/>
              <a:gd name="connsiteY94" fmla="*/ 1064418 h 1309687"/>
              <a:gd name="connsiteX95" fmla="*/ 133350 w 1562100"/>
              <a:gd name="connsiteY95" fmla="*/ 1092993 h 1309687"/>
              <a:gd name="connsiteX96" fmla="*/ 164306 w 1562100"/>
              <a:gd name="connsiteY96" fmla="*/ 1112043 h 1309687"/>
              <a:gd name="connsiteX97" fmla="*/ 190500 w 1562100"/>
              <a:gd name="connsiteY97" fmla="*/ 1121568 h 1309687"/>
              <a:gd name="connsiteX98" fmla="*/ 216694 w 1562100"/>
              <a:gd name="connsiteY98" fmla="*/ 1128712 h 1309687"/>
              <a:gd name="connsiteX99" fmla="*/ 228600 w 1562100"/>
              <a:gd name="connsiteY99" fmla="*/ 1131093 h 1309687"/>
              <a:gd name="connsiteX100" fmla="*/ 240506 w 1562100"/>
              <a:gd name="connsiteY100" fmla="*/ 1092993 h 1309687"/>
              <a:gd name="connsiteX101" fmla="*/ 269081 w 1562100"/>
              <a:gd name="connsiteY101" fmla="*/ 1097756 h 1309687"/>
              <a:gd name="connsiteX102" fmla="*/ 288131 w 1562100"/>
              <a:gd name="connsiteY102" fmla="*/ 1085850 h 1309687"/>
              <a:gd name="connsiteX103" fmla="*/ 307181 w 1562100"/>
              <a:gd name="connsiteY103" fmla="*/ 1135856 h 1309687"/>
              <a:gd name="connsiteX104" fmla="*/ 330994 w 1562100"/>
              <a:gd name="connsiteY104" fmla="*/ 1150143 h 1309687"/>
              <a:gd name="connsiteX105" fmla="*/ 340519 w 1562100"/>
              <a:gd name="connsiteY105" fmla="*/ 1178718 h 1309687"/>
              <a:gd name="connsiteX106" fmla="*/ 357188 w 1562100"/>
              <a:gd name="connsiteY106" fmla="*/ 1188243 h 1309687"/>
              <a:gd name="connsiteX107" fmla="*/ 364331 w 1562100"/>
              <a:gd name="connsiteY107" fmla="*/ 1219200 h 1309687"/>
              <a:gd name="connsiteX108" fmla="*/ 335756 w 1562100"/>
              <a:gd name="connsiteY108" fmla="*/ 1245393 h 1309687"/>
              <a:gd name="connsiteX109" fmla="*/ 309563 w 1562100"/>
              <a:gd name="connsiteY109" fmla="*/ 1262062 h 1309687"/>
              <a:gd name="connsiteX110" fmla="*/ 297656 w 1562100"/>
              <a:gd name="connsiteY110" fmla="*/ 1285875 h 1309687"/>
              <a:gd name="connsiteX111" fmla="*/ 302419 w 1562100"/>
              <a:gd name="connsiteY111" fmla="*/ 1309687 h 1309687"/>
              <a:gd name="connsiteX112" fmla="*/ 342900 w 1562100"/>
              <a:gd name="connsiteY112" fmla="*/ 1309687 h 1309687"/>
              <a:gd name="connsiteX113" fmla="*/ 390525 w 1562100"/>
              <a:gd name="connsiteY113" fmla="*/ 1304925 h 1309687"/>
              <a:gd name="connsiteX114" fmla="*/ 428625 w 1562100"/>
              <a:gd name="connsiteY114" fmla="*/ 1295400 h 1309687"/>
              <a:gd name="connsiteX115" fmla="*/ 454819 w 1562100"/>
              <a:gd name="connsiteY115" fmla="*/ 1302543 h 1309687"/>
              <a:gd name="connsiteX116" fmla="*/ 473869 w 1562100"/>
              <a:gd name="connsiteY116" fmla="*/ 1281112 h 1309687"/>
              <a:gd name="connsiteX117" fmla="*/ 492919 w 1562100"/>
              <a:gd name="connsiteY117" fmla="*/ 1281112 h 1309687"/>
              <a:gd name="connsiteX118" fmla="*/ 507206 w 1562100"/>
              <a:gd name="connsiteY118" fmla="*/ 1250156 h 1309687"/>
              <a:gd name="connsiteX119" fmla="*/ 557213 w 1562100"/>
              <a:gd name="connsiteY119" fmla="*/ 1235868 h 1309687"/>
              <a:gd name="connsiteX120" fmla="*/ 583406 w 1562100"/>
              <a:gd name="connsiteY120" fmla="*/ 1216818 h 1309687"/>
              <a:gd name="connsiteX121" fmla="*/ 590550 w 1562100"/>
              <a:gd name="connsiteY121" fmla="*/ 1178718 h 1309687"/>
              <a:gd name="connsiteX122" fmla="*/ 607219 w 1562100"/>
              <a:gd name="connsiteY122" fmla="*/ 1152525 h 1309687"/>
              <a:gd name="connsiteX123" fmla="*/ 688181 w 1562100"/>
              <a:gd name="connsiteY123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552450 w 1562100"/>
              <a:gd name="connsiteY54" fmla="*/ 78582 h 1309687"/>
              <a:gd name="connsiteX55" fmla="*/ 450056 w 1562100"/>
              <a:gd name="connsiteY55" fmla="*/ 2382 h 1309687"/>
              <a:gd name="connsiteX56" fmla="*/ 428625 w 1562100"/>
              <a:gd name="connsiteY56" fmla="*/ 0 h 1309687"/>
              <a:gd name="connsiteX57" fmla="*/ 376238 w 1562100"/>
              <a:gd name="connsiteY57" fmla="*/ 104775 h 1309687"/>
              <a:gd name="connsiteX58" fmla="*/ 314326 w 1562100"/>
              <a:gd name="connsiteY58" fmla="*/ 104774 h 1309687"/>
              <a:gd name="connsiteX59" fmla="*/ 328613 w 1562100"/>
              <a:gd name="connsiteY59" fmla="*/ 183356 h 1309687"/>
              <a:gd name="connsiteX60" fmla="*/ 292894 w 1562100"/>
              <a:gd name="connsiteY60" fmla="*/ 285750 h 1309687"/>
              <a:gd name="connsiteX61" fmla="*/ 264319 w 1562100"/>
              <a:gd name="connsiteY61" fmla="*/ 292893 h 1309687"/>
              <a:gd name="connsiteX62" fmla="*/ 261938 w 1562100"/>
              <a:gd name="connsiteY62" fmla="*/ 307181 h 1309687"/>
              <a:gd name="connsiteX63" fmla="*/ 261938 w 1562100"/>
              <a:gd name="connsiteY63" fmla="*/ 340518 h 1309687"/>
              <a:gd name="connsiteX64" fmla="*/ 228600 w 1562100"/>
              <a:gd name="connsiteY64" fmla="*/ 383381 h 1309687"/>
              <a:gd name="connsiteX65" fmla="*/ 271463 w 1562100"/>
              <a:gd name="connsiteY65" fmla="*/ 400050 h 1309687"/>
              <a:gd name="connsiteX66" fmla="*/ 278606 w 1562100"/>
              <a:gd name="connsiteY66" fmla="*/ 419100 h 1309687"/>
              <a:gd name="connsiteX67" fmla="*/ 257175 w 1562100"/>
              <a:gd name="connsiteY67" fmla="*/ 454818 h 1309687"/>
              <a:gd name="connsiteX68" fmla="*/ 221456 w 1562100"/>
              <a:gd name="connsiteY68" fmla="*/ 464343 h 1309687"/>
              <a:gd name="connsiteX69" fmla="*/ 221456 w 1562100"/>
              <a:gd name="connsiteY69" fmla="*/ 504825 h 1309687"/>
              <a:gd name="connsiteX70" fmla="*/ 254794 w 1562100"/>
              <a:gd name="connsiteY70" fmla="*/ 542925 h 1309687"/>
              <a:gd name="connsiteX71" fmla="*/ 226219 w 1562100"/>
              <a:gd name="connsiteY71" fmla="*/ 607218 h 1309687"/>
              <a:gd name="connsiteX72" fmla="*/ 180975 w 1562100"/>
              <a:gd name="connsiteY72" fmla="*/ 635793 h 1309687"/>
              <a:gd name="connsiteX73" fmla="*/ 183356 w 1562100"/>
              <a:gd name="connsiteY73" fmla="*/ 652462 h 1309687"/>
              <a:gd name="connsiteX74" fmla="*/ 204788 w 1562100"/>
              <a:gd name="connsiteY74" fmla="*/ 661987 h 1309687"/>
              <a:gd name="connsiteX75" fmla="*/ 219075 w 1562100"/>
              <a:gd name="connsiteY75" fmla="*/ 671512 h 1309687"/>
              <a:gd name="connsiteX76" fmla="*/ 223838 w 1562100"/>
              <a:gd name="connsiteY76" fmla="*/ 690562 h 1309687"/>
              <a:gd name="connsiteX77" fmla="*/ 195263 w 1562100"/>
              <a:gd name="connsiteY77" fmla="*/ 716756 h 1309687"/>
              <a:gd name="connsiteX78" fmla="*/ 123825 w 1562100"/>
              <a:gd name="connsiteY78" fmla="*/ 762000 h 1309687"/>
              <a:gd name="connsiteX79" fmla="*/ 123825 w 1562100"/>
              <a:gd name="connsiteY79" fmla="*/ 797718 h 1309687"/>
              <a:gd name="connsiteX80" fmla="*/ 135731 w 1562100"/>
              <a:gd name="connsiteY80" fmla="*/ 828675 h 1309687"/>
              <a:gd name="connsiteX81" fmla="*/ 123825 w 1562100"/>
              <a:gd name="connsiteY81" fmla="*/ 869156 h 1309687"/>
              <a:gd name="connsiteX82" fmla="*/ 76200 w 1562100"/>
              <a:gd name="connsiteY82" fmla="*/ 864393 h 1309687"/>
              <a:gd name="connsiteX83" fmla="*/ 52388 w 1562100"/>
              <a:gd name="connsiteY83" fmla="*/ 809625 h 1309687"/>
              <a:gd name="connsiteX84" fmla="*/ 33338 w 1562100"/>
              <a:gd name="connsiteY84" fmla="*/ 802481 h 1309687"/>
              <a:gd name="connsiteX85" fmla="*/ 23813 w 1562100"/>
              <a:gd name="connsiteY85" fmla="*/ 840581 h 1309687"/>
              <a:gd name="connsiteX86" fmla="*/ 21431 w 1562100"/>
              <a:gd name="connsiteY86" fmla="*/ 850106 h 1309687"/>
              <a:gd name="connsiteX87" fmla="*/ 7144 w 1562100"/>
              <a:gd name="connsiteY87" fmla="*/ 866775 h 1309687"/>
              <a:gd name="connsiteX88" fmla="*/ 0 w 1562100"/>
              <a:gd name="connsiteY88" fmla="*/ 923925 h 1309687"/>
              <a:gd name="connsiteX89" fmla="*/ 23813 w 1562100"/>
              <a:gd name="connsiteY89" fmla="*/ 952500 h 1309687"/>
              <a:gd name="connsiteX90" fmla="*/ 16669 w 1562100"/>
              <a:gd name="connsiteY90" fmla="*/ 992981 h 1309687"/>
              <a:gd name="connsiteX91" fmla="*/ 35719 w 1562100"/>
              <a:gd name="connsiteY91" fmla="*/ 997743 h 1309687"/>
              <a:gd name="connsiteX92" fmla="*/ 69056 w 1562100"/>
              <a:gd name="connsiteY92" fmla="*/ 997743 h 1309687"/>
              <a:gd name="connsiteX93" fmla="*/ 85725 w 1562100"/>
              <a:gd name="connsiteY93" fmla="*/ 988218 h 1309687"/>
              <a:gd name="connsiteX94" fmla="*/ 135731 w 1562100"/>
              <a:gd name="connsiteY94" fmla="*/ 1045368 h 1309687"/>
              <a:gd name="connsiteX95" fmla="*/ 123825 w 1562100"/>
              <a:gd name="connsiteY95" fmla="*/ 1064418 h 1309687"/>
              <a:gd name="connsiteX96" fmla="*/ 133350 w 1562100"/>
              <a:gd name="connsiteY96" fmla="*/ 1092993 h 1309687"/>
              <a:gd name="connsiteX97" fmla="*/ 164306 w 1562100"/>
              <a:gd name="connsiteY97" fmla="*/ 1112043 h 1309687"/>
              <a:gd name="connsiteX98" fmla="*/ 190500 w 1562100"/>
              <a:gd name="connsiteY98" fmla="*/ 1121568 h 1309687"/>
              <a:gd name="connsiteX99" fmla="*/ 216694 w 1562100"/>
              <a:gd name="connsiteY99" fmla="*/ 1128712 h 1309687"/>
              <a:gd name="connsiteX100" fmla="*/ 228600 w 1562100"/>
              <a:gd name="connsiteY100" fmla="*/ 1131093 h 1309687"/>
              <a:gd name="connsiteX101" fmla="*/ 240506 w 1562100"/>
              <a:gd name="connsiteY101" fmla="*/ 1092993 h 1309687"/>
              <a:gd name="connsiteX102" fmla="*/ 269081 w 1562100"/>
              <a:gd name="connsiteY102" fmla="*/ 1097756 h 1309687"/>
              <a:gd name="connsiteX103" fmla="*/ 288131 w 1562100"/>
              <a:gd name="connsiteY103" fmla="*/ 1085850 h 1309687"/>
              <a:gd name="connsiteX104" fmla="*/ 307181 w 1562100"/>
              <a:gd name="connsiteY104" fmla="*/ 1135856 h 1309687"/>
              <a:gd name="connsiteX105" fmla="*/ 330994 w 1562100"/>
              <a:gd name="connsiteY105" fmla="*/ 1150143 h 1309687"/>
              <a:gd name="connsiteX106" fmla="*/ 340519 w 1562100"/>
              <a:gd name="connsiteY106" fmla="*/ 1178718 h 1309687"/>
              <a:gd name="connsiteX107" fmla="*/ 357188 w 1562100"/>
              <a:gd name="connsiteY107" fmla="*/ 1188243 h 1309687"/>
              <a:gd name="connsiteX108" fmla="*/ 364331 w 1562100"/>
              <a:gd name="connsiteY108" fmla="*/ 1219200 h 1309687"/>
              <a:gd name="connsiteX109" fmla="*/ 335756 w 1562100"/>
              <a:gd name="connsiteY109" fmla="*/ 1245393 h 1309687"/>
              <a:gd name="connsiteX110" fmla="*/ 309563 w 1562100"/>
              <a:gd name="connsiteY110" fmla="*/ 1262062 h 1309687"/>
              <a:gd name="connsiteX111" fmla="*/ 297656 w 1562100"/>
              <a:gd name="connsiteY111" fmla="*/ 1285875 h 1309687"/>
              <a:gd name="connsiteX112" fmla="*/ 302419 w 1562100"/>
              <a:gd name="connsiteY112" fmla="*/ 1309687 h 1309687"/>
              <a:gd name="connsiteX113" fmla="*/ 342900 w 1562100"/>
              <a:gd name="connsiteY113" fmla="*/ 1309687 h 1309687"/>
              <a:gd name="connsiteX114" fmla="*/ 390525 w 1562100"/>
              <a:gd name="connsiteY114" fmla="*/ 1304925 h 1309687"/>
              <a:gd name="connsiteX115" fmla="*/ 428625 w 1562100"/>
              <a:gd name="connsiteY115" fmla="*/ 1295400 h 1309687"/>
              <a:gd name="connsiteX116" fmla="*/ 454819 w 1562100"/>
              <a:gd name="connsiteY116" fmla="*/ 1302543 h 1309687"/>
              <a:gd name="connsiteX117" fmla="*/ 473869 w 1562100"/>
              <a:gd name="connsiteY117" fmla="*/ 1281112 h 1309687"/>
              <a:gd name="connsiteX118" fmla="*/ 492919 w 1562100"/>
              <a:gd name="connsiteY118" fmla="*/ 1281112 h 1309687"/>
              <a:gd name="connsiteX119" fmla="*/ 507206 w 1562100"/>
              <a:gd name="connsiteY119" fmla="*/ 1250156 h 1309687"/>
              <a:gd name="connsiteX120" fmla="*/ 557213 w 1562100"/>
              <a:gd name="connsiteY120" fmla="*/ 1235868 h 1309687"/>
              <a:gd name="connsiteX121" fmla="*/ 583406 w 1562100"/>
              <a:gd name="connsiteY121" fmla="*/ 1216818 h 1309687"/>
              <a:gd name="connsiteX122" fmla="*/ 590550 w 1562100"/>
              <a:gd name="connsiteY122" fmla="*/ 1178718 h 1309687"/>
              <a:gd name="connsiteX123" fmla="*/ 607219 w 1562100"/>
              <a:gd name="connsiteY123" fmla="*/ 1152525 h 1309687"/>
              <a:gd name="connsiteX124" fmla="*/ 688181 w 1562100"/>
              <a:gd name="connsiteY124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497681 w 1562100"/>
              <a:gd name="connsiteY54" fmla="*/ 119063 h 1309687"/>
              <a:gd name="connsiteX55" fmla="*/ 450056 w 1562100"/>
              <a:gd name="connsiteY55" fmla="*/ 2382 h 1309687"/>
              <a:gd name="connsiteX56" fmla="*/ 428625 w 1562100"/>
              <a:gd name="connsiteY56" fmla="*/ 0 h 1309687"/>
              <a:gd name="connsiteX57" fmla="*/ 376238 w 1562100"/>
              <a:gd name="connsiteY57" fmla="*/ 104775 h 1309687"/>
              <a:gd name="connsiteX58" fmla="*/ 314326 w 1562100"/>
              <a:gd name="connsiteY58" fmla="*/ 104774 h 1309687"/>
              <a:gd name="connsiteX59" fmla="*/ 328613 w 1562100"/>
              <a:gd name="connsiteY59" fmla="*/ 183356 h 1309687"/>
              <a:gd name="connsiteX60" fmla="*/ 292894 w 1562100"/>
              <a:gd name="connsiteY60" fmla="*/ 285750 h 1309687"/>
              <a:gd name="connsiteX61" fmla="*/ 264319 w 1562100"/>
              <a:gd name="connsiteY61" fmla="*/ 292893 h 1309687"/>
              <a:gd name="connsiteX62" fmla="*/ 261938 w 1562100"/>
              <a:gd name="connsiteY62" fmla="*/ 307181 h 1309687"/>
              <a:gd name="connsiteX63" fmla="*/ 261938 w 1562100"/>
              <a:gd name="connsiteY63" fmla="*/ 340518 h 1309687"/>
              <a:gd name="connsiteX64" fmla="*/ 228600 w 1562100"/>
              <a:gd name="connsiteY64" fmla="*/ 383381 h 1309687"/>
              <a:gd name="connsiteX65" fmla="*/ 271463 w 1562100"/>
              <a:gd name="connsiteY65" fmla="*/ 400050 h 1309687"/>
              <a:gd name="connsiteX66" fmla="*/ 278606 w 1562100"/>
              <a:gd name="connsiteY66" fmla="*/ 419100 h 1309687"/>
              <a:gd name="connsiteX67" fmla="*/ 257175 w 1562100"/>
              <a:gd name="connsiteY67" fmla="*/ 454818 h 1309687"/>
              <a:gd name="connsiteX68" fmla="*/ 221456 w 1562100"/>
              <a:gd name="connsiteY68" fmla="*/ 464343 h 1309687"/>
              <a:gd name="connsiteX69" fmla="*/ 221456 w 1562100"/>
              <a:gd name="connsiteY69" fmla="*/ 504825 h 1309687"/>
              <a:gd name="connsiteX70" fmla="*/ 254794 w 1562100"/>
              <a:gd name="connsiteY70" fmla="*/ 542925 h 1309687"/>
              <a:gd name="connsiteX71" fmla="*/ 226219 w 1562100"/>
              <a:gd name="connsiteY71" fmla="*/ 607218 h 1309687"/>
              <a:gd name="connsiteX72" fmla="*/ 180975 w 1562100"/>
              <a:gd name="connsiteY72" fmla="*/ 635793 h 1309687"/>
              <a:gd name="connsiteX73" fmla="*/ 183356 w 1562100"/>
              <a:gd name="connsiteY73" fmla="*/ 652462 h 1309687"/>
              <a:gd name="connsiteX74" fmla="*/ 204788 w 1562100"/>
              <a:gd name="connsiteY74" fmla="*/ 661987 h 1309687"/>
              <a:gd name="connsiteX75" fmla="*/ 219075 w 1562100"/>
              <a:gd name="connsiteY75" fmla="*/ 671512 h 1309687"/>
              <a:gd name="connsiteX76" fmla="*/ 223838 w 1562100"/>
              <a:gd name="connsiteY76" fmla="*/ 690562 h 1309687"/>
              <a:gd name="connsiteX77" fmla="*/ 195263 w 1562100"/>
              <a:gd name="connsiteY77" fmla="*/ 716756 h 1309687"/>
              <a:gd name="connsiteX78" fmla="*/ 123825 w 1562100"/>
              <a:gd name="connsiteY78" fmla="*/ 762000 h 1309687"/>
              <a:gd name="connsiteX79" fmla="*/ 123825 w 1562100"/>
              <a:gd name="connsiteY79" fmla="*/ 797718 h 1309687"/>
              <a:gd name="connsiteX80" fmla="*/ 135731 w 1562100"/>
              <a:gd name="connsiteY80" fmla="*/ 828675 h 1309687"/>
              <a:gd name="connsiteX81" fmla="*/ 123825 w 1562100"/>
              <a:gd name="connsiteY81" fmla="*/ 869156 h 1309687"/>
              <a:gd name="connsiteX82" fmla="*/ 76200 w 1562100"/>
              <a:gd name="connsiteY82" fmla="*/ 864393 h 1309687"/>
              <a:gd name="connsiteX83" fmla="*/ 52388 w 1562100"/>
              <a:gd name="connsiteY83" fmla="*/ 809625 h 1309687"/>
              <a:gd name="connsiteX84" fmla="*/ 33338 w 1562100"/>
              <a:gd name="connsiteY84" fmla="*/ 802481 h 1309687"/>
              <a:gd name="connsiteX85" fmla="*/ 23813 w 1562100"/>
              <a:gd name="connsiteY85" fmla="*/ 840581 h 1309687"/>
              <a:gd name="connsiteX86" fmla="*/ 21431 w 1562100"/>
              <a:gd name="connsiteY86" fmla="*/ 850106 h 1309687"/>
              <a:gd name="connsiteX87" fmla="*/ 7144 w 1562100"/>
              <a:gd name="connsiteY87" fmla="*/ 866775 h 1309687"/>
              <a:gd name="connsiteX88" fmla="*/ 0 w 1562100"/>
              <a:gd name="connsiteY88" fmla="*/ 923925 h 1309687"/>
              <a:gd name="connsiteX89" fmla="*/ 23813 w 1562100"/>
              <a:gd name="connsiteY89" fmla="*/ 952500 h 1309687"/>
              <a:gd name="connsiteX90" fmla="*/ 16669 w 1562100"/>
              <a:gd name="connsiteY90" fmla="*/ 992981 h 1309687"/>
              <a:gd name="connsiteX91" fmla="*/ 35719 w 1562100"/>
              <a:gd name="connsiteY91" fmla="*/ 997743 h 1309687"/>
              <a:gd name="connsiteX92" fmla="*/ 69056 w 1562100"/>
              <a:gd name="connsiteY92" fmla="*/ 997743 h 1309687"/>
              <a:gd name="connsiteX93" fmla="*/ 85725 w 1562100"/>
              <a:gd name="connsiteY93" fmla="*/ 988218 h 1309687"/>
              <a:gd name="connsiteX94" fmla="*/ 135731 w 1562100"/>
              <a:gd name="connsiteY94" fmla="*/ 1045368 h 1309687"/>
              <a:gd name="connsiteX95" fmla="*/ 123825 w 1562100"/>
              <a:gd name="connsiteY95" fmla="*/ 1064418 h 1309687"/>
              <a:gd name="connsiteX96" fmla="*/ 133350 w 1562100"/>
              <a:gd name="connsiteY96" fmla="*/ 1092993 h 1309687"/>
              <a:gd name="connsiteX97" fmla="*/ 164306 w 1562100"/>
              <a:gd name="connsiteY97" fmla="*/ 1112043 h 1309687"/>
              <a:gd name="connsiteX98" fmla="*/ 190500 w 1562100"/>
              <a:gd name="connsiteY98" fmla="*/ 1121568 h 1309687"/>
              <a:gd name="connsiteX99" fmla="*/ 216694 w 1562100"/>
              <a:gd name="connsiteY99" fmla="*/ 1128712 h 1309687"/>
              <a:gd name="connsiteX100" fmla="*/ 228600 w 1562100"/>
              <a:gd name="connsiteY100" fmla="*/ 1131093 h 1309687"/>
              <a:gd name="connsiteX101" fmla="*/ 240506 w 1562100"/>
              <a:gd name="connsiteY101" fmla="*/ 1092993 h 1309687"/>
              <a:gd name="connsiteX102" fmla="*/ 269081 w 1562100"/>
              <a:gd name="connsiteY102" fmla="*/ 1097756 h 1309687"/>
              <a:gd name="connsiteX103" fmla="*/ 288131 w 1562100"/>
              <a:gd name="connsiteY103" fmla="*/ 1085850 h 1309687"/>
              <a:gd name="connsiteX104" fmla="*/ 307181 w 1562100"/>
              <a:gd name="connsiteY104" fmla="*/ 1135856 h 1309687"/>
              <a:gd name="connsiteX105" fmla="*/ 330994 w 1562100"/>
              <a:gd name="connsiteY105" fmla="*/ 1150143 h 1309687"/>
              <a:gd name="connsiteX106" fmla="*/ 340519 w 1562100"/>
              <a:gd name="connsiteY106" fmla="*/ 1178718 h 1309687"/>
              <a:gd name="connsiteX107" fmla="*/ 357188 w 1562100"/>
              <a:gd name="connsiteY107" fmla="*/ 1188243 h 1309687"/>
              <a:gd name="connsiteX108" fmla="*/ 364331 w 1562100"/>
              <a:gd name="connsiteY108" fmla="*/ 1219200 h 1309687"/>
              <a:gd name="connsiteX109" fmla="*/ 335756 w 1562100"/>
              <a:gd name="connsiteY109" fmla="*/ 1245393 h 1309687"/>
              <a:gd name="connsiteX110" fmla="*/ 309563 w 1562100"/>
              <a:gd name="connsiteY110" fmla="*/ 1262062 h 1309687"/>
              <a:gd name="connsiteX111" fmla="*/ 297656 w 1562100"/>
              <a:gd name="connsiteY111" fmla="*/ 1285875 h 1309687"/>
              <a:gd name="connsiteX112" fmla="*/ 302419 w 1562100"/>
              <a:gd name="connsiteY112" fmla="*/ 1309687 h 1309687"/>
              <a:gd name="connsiteX113" fmla="*/ 342900 w 1562100"/>
              <a:gd name="connsiteY113" fmla="*/ 1309687 h 1309687"/>
              <a:gd name="connsiteX114" fmla="*/ 390525 w 1562100"/>
              <a:gd name="connsiteY114" fmla="*/ 1304925 h 1309687"/>
              <a:gd name="connsiteX115" fmla="*/ 428625 w 1562100"/>
              <a:gd name="connsiteY115" fmla="*/ 1295400 h 1309687"/>
              <a:gd name="connsiteX116" fmla="*/ 454819 w 1562100"/>
              <a:gd name="connsiteY116" fmla="*/ 1302543 h 1309687"/>
              <a:gd name="connsiteX117" fmla="*/ 473869 w 1562100"/>
              <a:gd name="connsiteY117" fmla="*/ 1281112 h 1309687"/>
              <a:gd name="connsiteX118" fmla="*/ 492919 w 1562100"/>
              <a:gd name="connsiteY118" fmla="*/ 1281112 h 1309687"/>
              <a:gd name="connsiteX119" fmla="*/ 507206 w 1562100"/>
              <a:gd name="connsiteY119" fmla="*/ 1250156 h 1309687"/>
              <a:gd name="connsiteX120" fmla="*/ 557213 w 1562100"/>
              <a:gd name="connsiteY120" fmla="*/ 1235868 h 1309687"/>
              <a:gd name="connsiteX121" fmla="*/ 583406 w 1562100"/>
              <a:gd name="connsiteY121" fmla="*/ 1216818 h 1309687"/>
              <a:gd name="connsiteX122" fmla="*/ 590550 w 1562100"/>
              <a:gd name="connsiteY122" fmla="*/ 1178718 h 1309687"/>
              <a:gd name="connsiteX123" fmla="*/ 607219 w 1562100"/>
              <a:gd name="connsiteY123" fmla="*/ 1152525 h 1309687"/>
              <a:gd name="connsiteX124" fmla="*/ 688181 w 1562100"/>
              <a:gd name="connsiteY124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500062 w 1562100"/>
              <a:gd name="connsiteY54" fmla="*/ 66676 h 1309687"/>
              <a:gd name="connsiteX55" fmla="*/ 450056 w 1562100"/>
              <a:gd name="connsiteY55" fmla="*/ 2382 h 1309687"/>
              <a:gd name="connsiteX56" fmla="*/ 428625 w 1562100"/>
              <a:gd name="connsiteY56" fmla="*/ 0 h 1309687"/>
              <a:gd name="connsiteX57" fmla="*/ 376238 w 1562100"/>
              <a:gd name="connsiteY57" fmla="*/ 104775 h 1309687"/>
              <a:gd name="connsiteX58" fmla="*/ 314326 w 1562100"/>
              <a:gd name="connsiteY58" fmla="*/ 104774 h 1309687"/>
              <a:gd name="connsiteX59" fmla="*/ 328613 w 1562100"/>
              <a:gd name="connsiteY59" fmla="*/ 183356 h 1309687"/>
              <a:gd name="connsiteX60" fmla="*/ 292894 w 1562100"/>
              <a:gd name="connsiteY60" fmla="*/ 285750 h 1309687"/>
              <a:gd name="connsiteX61" fmla="*/ 264319 w 1562100"/>
              <a:gd name="connsiteY61" fmla="*/ 292893 h 1309687"/>
              <a:gd name="connsiteX62" fmla="*/ 261938 w 1562100"/>
              <a:gd name="connsiteY62" fmla="*/ 307181 h 1309687"/>
              <a:gd name="connsiteX63" fmla="*/ 261938 w 1562100"/>
              <a:gd name="connsiteY63" fmla="*/ 340518 h 1309687"/>
              <a:gd name="connsiteX64" fmla="*/ 228600 w 1562100"/>
              <a:gd name="connsiteY64" fmla="*/ 383381 h 1309687"/>
              <a:gd name="connsiteX65" fmla="*/ 271463 w 1562100"/>
              <a:gd name="connsiteY65" fmla="*/ 400050 h 1309687"/>
              <a:gd name="connsiteX66" fmla="*/ 278606 w 1562100"/>
              <a:gd name="connsiteY66" fmla="*/ 419100 h 1309687"/>
              <a:gd name="connsiteX67" fmla="*/ 257175 w 1562100"/>
              <a:gd name="connsiteY67" fmla="*/ 454818 h 1309687"/>
              <a:gd name="connsiteX68" fmla="*/ 221456 w 1562100"/>
              <a:gd name="connsiteY68" fmla="*/ 464343 h 1309687"/>
              <a:gd name="connsiteX69" fmla="*/ 221456 w 1562100"/>
              <a:gd name="connsiteY69" fmla="*/ 504825 h 1309687"/>
              <a:gd name="connsiteX70" fmla="*/ 254794 w 1562100"/>
              <a:gd name="connsiteY70" fmla="*/ 542925 h 1309687"/>
              <a:gd name="connsiteX71" fmla="*/ 226219 w 1562100"/>
              <a:gd name="connsiteY71" fmla="*/ 607218 h 1309687"/>
              <a:gd name="connsiteX72" fmla="*/ 180975 w 1562100"/>
              <a:gd name="connsiteY72" fmla="*/ 635793 h 1309687"/>
              <a:gd name="connsiteX73" fmla="*/ 183356 w 1562100"/>
              <a:gd name="connsiteY73" fmla="*/ 652462 h 1309687"/>
              <a:gd name="connsiteX74" fmla="*/ 204788 w 1562100"/>
              <a:gd name="connsiteY74" fmla="*/ 661987 h 1309687"/>
              <a:gd name="connsiteX75" fmla="*/ 219075 w 1562100"/>
              <a:gd name="connsiteY75" fmla="*/ 671512 h 1309687"/>
              <a:gd name="connsiteX76" fmla="*/ 223838 w 1562100"/>
              <a:gd name="connsiteY76" fmla="*/ 690562 h 1309687"/>
              <a:gd name="connsiteX77" fmla="*/ 195263 w 1562100"/>
              <a:gd name="connsiteY77" fmla="*/ 716756 h 1309687"/>
              <a:gd name="connsiteX78" fmla="*/ 123825 w 1562100"/>
              <a:gd name="connsiteY78" fmla="*/ 762000 h 1309687"/>
              <a:gd name="connsiteX79" fmla="*/ 123825 w 1562100"/>
              <a:gd name="connsiteY79" fmla="*/ 797718 h 1309687"/>
              <a:gd name="connsiteX80" fmla="*/ 135731 w 1562100"/>
              <a:gd name="connsiteY80" fmla="*/ 828675 h 1309687"/>
              <a:gd name="connsiteX81" fmla="*/ 123825 w 1562100"/>
              <a:gd name="connsiteY81" fmla="*/ 869156 h 1309687"/>
              <a:gd name="connsiteX82" fmla="*/ 76200 w 1562100"/>
              <a:gd name="connsiteY82" fmla="*/ 864393 h 1309687"/>
              <a:gd name="connsiteX83" fmla="*/ 52388 w 1562100"/>
              <a:gd name="connsiteY83" fmla="*/ 809625 h 1309687"/>
              <a:gd name="connsiteX84" fmla="*/ 33338 w 1562100"/>
              <a:gd name="connsiteY84" fmla="*/ 802481 h 1309687"/>
              <a:gd name="connsiteX85" fmla="*/ 23813 w 1562100"/>
              <a:gd name="connsiteY85" fmla="*/ 840581 h 1309687"/>
              <a:gd name="connsiteX86" fmla="*/ 21431 w 1562100"/>
              <a:gd name="connsiteY86" fmla="*/ 850106 h 1309687"/>
              <a:gd name="connsiteX87" fmla="*/ 7144 w 1562100"/>
              <a:gd name="connsiteY87" fmla="*/ 866775 h 1309687"/>
              <a:gd name="connsiteX88" fmla="*/ 0 w 1562100"/>
              <a:gd name="connsiteY88" fmla="*/ 923925 h 1309687"/>
              <a:gd name="connsiteX89" fmla="*/ 23813 w 1562100"/>
              <a:gd name="connsiteY89" fmla="*/ 952500 h 1309687"/>
              <a:gd name="connsiteX90" fmla="*/ 16669 w 1562100"/>
              <a:gd name="connsiteY90" fmla="*/ 992981 h 1309687"/>
              <a:gd name="connsiteX91" fmla="*/ 35719 w 1562100"/>
              <a:gd name="connsiteY91" fmla="*/ 997743 h 1309687"/>
              <a:gd name="connsiteX92" fmla="*/ 69056 w 1562100"/>
              <a:gd name="connsiteY92" fmla="*/ 997743 h 1309687"/>
              <a:gd name="connsiteX93" fmla="*/ 85725 w 1562100"/>
              <a:gd name="connsiteY93" fmla="*/ 988218 h 1309687"/>
              <a:gd name="connsiteX94" fmla="*/ 135731 w 1562100"/>
              <a:gd name="connsiteY94" fmla="*/ 1045368 h 1309687"/>
              <a:gd name="connsiteX95" fmla="*/ 123825 w 1562100"/>
              <a:gd name="connsiteY95" fmla="*/ 1064418 h 1309687"/>
              <a:gd name="connsiteX96" fmla="*/ 133350 w 1562100"/>
              <a:gd name="connsiteY96" fmla="*/ 1092993 h 1309687"/>
              <a:gd name="connsiteX97" fmla="*/ 164306 w 1562100"/>
              <a:gd name="connsiteY97" fmla="*/ 1112043 h 1309687"/>
              <a:gd name="connsiteX98" fmla="*/ 190500 w 1562100"/>
              <a:gd name="connsiteY98" fmla="*/ 1121568 h 1309687"/>
              <a:gd name="connsiteX99" fmla="*/ 216694 w 1562100"/>
              <a:gd name="connsiteY99" fmla="*/ 1128712 h 1309687"/>
              <a:gd name="connsiteX100" fmla="*/ 228600 w 1562100"/>
              <a:gd name="connsiteY100" fmla="*/ 1131093 h 1309687"/>
              <a:gd name="connsiteX101" fmla="*/ 240506 w 1562100"/>
              <a:gd name="connsiteY101" fmla="*/ 1092993 h 1309687"/>
              <a:gd name="connsiteX102" fmla="*/ 269081 w 1562100"/>
              <a:gd name="connsiteY102" fmla="*/ 1097756 h 1309687"/>
              <a:gd name="connsiteX103" fmla="*/ 288131 w 1562100"/>
              <a:gd name="connsiteY103" fmla="*/ 1085850 h 1309687"/>
              <a:gd name="connsiteX104" fmla="*/ 307181 w 1562100"/>
              <a:gd name="connsiteY104" fmla="*/ 1135856 h 1309687"/>
              <a:gd name="connsiteX105" fmla="*/ 330994 w 1562100"/>
              <a:gd name="connsiteY105" fmla="*/ 1150143 h 1309687"/>
              <a:gd name="connsiteX106" fmla="*/ 340519 w 1562100"/>
              <a:gd name="connsiteY106" fmla="*/ 1178718 h 1309687"/>
              <a:gd name="connsiteX107" fmla="*/ 357188 w 1562100"/>
              <a:gd name="connsiteY107" fmla="*/ 1188243 h 1309687"/>
              <a:gd name="connsiteX108" fmla="*/ 364331 w 1562100"/>
              <a:gd name="connsiteY108" fmla="*/ 1219200 h 1309687"/>
              <a:gd name="connsiteX109" fmla="*/ 335756 w 1562100"/>
              <a:gd name="connsiteY109" fmla="*/ 1245393 h 1309687"/>
              <a:gd name="connsiteX110" fmla="*/ 309563 w 1562100"/>
              <a:gd name="connsiteY110" fmla="*/ 1262062 h 1309687"/>
              <a:gd name="connsiteX111" fmla="*/ 297656 w 1562100"/>
              <a:gd name="connsiteY111" fmla="*/ 1285875 h 1309687"/>
              <a:gd name="connsiteX112" fmla="*/ 302419 w 1562100"/>
              <a:gd name="connsiteY112" fmla="*/ 1309687 h 1309687"/>
              <a:gd name="connsiteX113" fmla="*/ 342900 w 1562100"/>
              <a:gd name="connsiteY113" fmla="*/ 1309687 h 1309687"/>
              <a:gd name="connsiteX114" fmla="*/ 390525 w 1562100"/>
              <a:gd name="connsiteY114" fmla="*/ 1304925 h 1309687"/>
              <a:gd name="connsiteX115" fmla="*/ 428625 w 1562100"/>
              <a:gd name="connsiteY115" fmla="*/ 1295400 h 1309687"/>
              <a:gd name="connsiteX116" fmla="*/ 454819 w 1562100"/>
              <a:gd name="connsiteY116" fmla="*/ 1302543 h 1309687"/>
              <a:gd name="connsiteX117" fmla="*/ 473869 w 1562100"/>
              <a:gd name="connsiteY117" fmla="*/ 1281112 h 1309687"/>
              <a:gd name="connsiteX118" fmla="*/ 492919 w 1562100"/>
              <a:gd name="connsiteY118" fmla="*/ 1281112 h 1309687"/>
              <a:gd name="connsiteX119" fmla="*/ 507206 w 1562100"/>
              <a:gd name="connsiteY119" fmla="*/ 1250156 h 1309687"/>
              <a:gd name="connsiteX120" fmla="*/ 557213 w 1562100"/>
              <a:gd name="connsiteY120" fmla="*/ 1235868 h 1309687"/>
              <a:gd name="connsiteX121" fmla="*/ 583406 w 1562100"/>
              <a:gd name="connsiteY121" fmla="*/ 1216818 h 1309687"/>
              <a:gd name="connsiteX122" fmla="*/ 590550 w 1562100"/>
              <a:gd name="connsiteY122" fmla="*/ 1178718 h 1309687"/>
              <a:gd name="connsiteX123" fmla="*/ 607219 w 1562100"/>
              <a:gd name="connsiteY123" fmla="*/ 1152525 h 1309687"/>
              <a:gd name="connsiteX124" fmla="*/ 688181 w 1562100"/>
              <a:gd name="connsiteY124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02456 w 1562100"/>
              <a:gd name="connsiteY54" fmla="*/ 133351 h 1309687"/>
              <a:gd name="connsiteX55" fmla="*/ 500062 w 1562100"/>
              <a:gd name="connsiteY55" fmla="*/ 66676 h 1309687"/>
              <a:gd name="connsiteX56" fmla="*/ 450056 w 1562100"/>
              <a:gd name="connsiteY56" fmla="*/ 2382 h 1309687"/>
              <a:gd name="connsiteX57" fmla="*/ 428625 w 1562100"/>
              <a:gd name="connsiteY57" fmla="*/ 0 h 1309687"/>
              <a:gd name="connsiteX58" fmla="*/ 376238 w 1562100"/>
              <a:gd name="connsiteY58" fmla="*/ 104775 h 1309687"/>
              <a:gd name="connsiteX59" fmla="*/ 314326 w 1562100"/>
              <a:gd name="connsiteY59" fmla="*/ 104774 h 1309687"/>
              <a:gd name="connsiteX60" fmla="*/ 328613 w 1562100"/>
              <a:gd name="connsiteY60" fmla="*/ 183356 h 1309687"/>
              <a:gd name="connsiteX61" fmla="*/ 292894 w 1562100"/>
              <a:gd name="connsiteY61" fmla="*/ 285750 h 1309687"/>
              <a:gd name="connsiteX62" fmla="*/ 264319 w 1562100"/>
              <a:gd name="connsiteY62" fmla="*/ 292893 h 1309687"/>
              <a:gd name="connsiteX63" fmla="*/ 261938 w 1562100"/>
              <a:gd name="connsiteY63" fmla="*/ 307181 h 1309687"/>
              <a:gd name="connsiteX64" fmla="*/ 261938 w 1562100"/>
              <a:gd name="connsiteY64" fmla="*/ 340518 h 1309687"/>
              <a:gd name="connsiteX65" fmla="*/ 228600 w 1562100"/>
              <a:gd name="connsiteY65" fmla="*/ 383381 h 1309687"/>
              <a:gd name="connsiteX66" fmla="*/ 271463 w 1562100"/>
              <a:gd name="connsiteY66" fmla="*/ 400050 h 1309687"/>
              <a:gd name="connsiteX67" fmla="*/ 278606 w 1562100"/>
              <a:gd name="connsiteY67" fmla="*/ 419100 h 1309687"/>
              <a:gd name="connsiteX68" fmla="*/ 257175 w 1562100"/>
              <a:gd name="connsiteY68" fmla="*/ 454818 h 1309687"/>
              <a:gd name="connsiteX69" fmla="*/ 221456 w 1562100"/>
              <a:gd name="connsiteY69" fmla="*/ 464343 h 1309687"/>
              <a:gd name="connsiteX70" fmla="*/ 221456 w 1562100"/>
              <a:gd name="connsiteY70" fmla="*/ 504825 h 1309687"/>
              <a:gd name="connsiteX71" fmla="*/ 254794 w 1562100"/>
              <a:gd name="connsiteY71" fmla="*/ 542925 h 1309687"/>
              <a:gd name="connsiteX72" fmla="*/ 226219 w 1562100"/>
              <a:gd name="connsiteY72" fmla="*/ 607218 h 1309687"/>
              <a:gd name="connsiteX73" fmla="*/ 180975 w 1562100"/>
              <a:gd name="connsiteY73" fmla="*/ 635793 h 1309687"/>
              <a:gd name="connsiteX74" fmla="*/ 183356 w 1562100"/>
              <a:gd name="connsiteY74" fmla="*/ 652462 h 1309687"/>
              <a:gd name="connsiteX75" fmla="*/ 204788 w 1562100"/>
              <a:gd name="connsiteY75" fmla="*/ 661987 h 1309687"/>
              <a:gd name="connsiteX76" fmla="*/ 219075 w 1562100"/>
              <a:gd name="connsiteY76" fmla="*/ 671512 h 1309687"/>
              <a:gd name="connsiteX77" fmla="*/ 223838 w 1562100"/>
              <a:gd name="connsiteY77" fmla="*/ 690562 h 1309687"/>
              <a:gd name="connsiteX78" fmla="*/ 195263 w 1562100"/>
              <a:gd name="connsiteY78" fmla="*/ 716756 h 1309687"/>
              <a:gd name="connsiteX79" fmla="*/ 123825 w 1562100"/>
              <a:gd name="connsiteY79" fmla="*/ 762000 h 1309687"/>
              <a:gd name="connsiteX80" fmla="*/ 123825 w 1562100"/>
              <a:gd name="connsiteY80" fmla="*/ 797718 h 1309687"/>
              <a:gd name="connsiteX81" fmla="*/ 135731 w 1562100"/>
              <a:gd name="connsiteY81" fmla="*/ 828675 h 1309687"/>
              <a:gd name="connsiteX82" fmla="*/ 123825 w 1562100"/>
              <a:gd name="connsiteY82" fmla="*/ 869156 h 1309687"/>
              <a:gd name="connsiteX83" fmla="*/ 76200 w 1562100"/>
              <a:gd name="connsiteY83" fmla="*/ 864393 h 1309687"/>
              <a:gd name="connsiteX84" fmla="*/ 52388 w 1562100"/>
              <a:gd name="connsiteY84" fmla="*/ 809625 h 1309687"/>
              <a:gd name="connsiteX85" fmla="*/ 33338 w 1562100"/>
              <a:gd name="connsiteY85" fmla="*/ 802481 h 1309687"/>
              <a:gd name="connsiteX86" fmla="*/ 23813 w 1562100"/>
              <a:gd name="connsiteY86" fmla="*/ 840581 h 1309687"/>
              <a:gd name="connsiteX87" fmla="*/ 21431 w 1562100"/>
              <a:gd name="connsiteY87" fmla="*/ 850106 h 1309687"/>
              <a:gd name="connsiteX88" fmla="*/ 7144 w 1562100"/>
              <a:gd name="connsiteY88" fmla="*/ 866775 h 1309687"/>
              <a:gd name="connsiteX89" fmla="*/ 0 w 1562100"/>
              <a:gd name="connsiteY89" fmla="*/ 923925 h 1309687"/>
              <a:gd name="connsiteX90" fmla="*/ 23813 w 1562100"/>
              <a:gd name="connsiteY90" fmla="*/ 952500 h 1309687"/>
              <a:gd name="connsiteX91" fmla="*/ 16669 w 1562100"/>
              <a:gd name="connsiteY91" fmla="*/ 992981 h 1309687"/>
              <a:gd name="connsiteX92" fmla="*/ 35719 w 1562100"/>
              <a:gd name="connsiteY92" fmla="*/ 997743 h 1309687"/>
              <a:gd name="connsiteX93" fmla="*/ 69056 w 1562100"/>
              <a:gd name="connsiteY93" fmla="*/ 997743 h 1309687"/>
              <a:gd name="connsiteX94" fmla="*/ 85725 w 1562100"/>
              <a:gd name="connsiteY94" fmla="*/ 988218 h 1309687"/>
              <a:gd name="connsiteX95" fmla="*/ 135731 w 1562100"/>
              <a:gd name="connsiteY95" fmla="*/ 1045368 h 1309687"/>
              <a:gd name="connsiteX96" fmla="*/ 123825 w 1562100"/>
              <a:gd name="connsiteY96" fmla="*/ 1064418 h 1309687"/>
              <a:gd name="connsiteX97" fmla="*/ 133350 w 1562100"/>
              <a:gd name="connsiteY97" fmla="*/ 1092993 h 1309687"/>
              <a:gd name="connsiteX98" fmla="*/ 164306 w 1562100"/>
              <a:gd name="connsiteY98" fmla="*/ 1112043 h 1309687"/>
              <a:gd name="connsiteX99" fmla="*/ 190500 w 1562100"/>
              <a:gd name="connsiteY99" fmla="*/ 1121568 h 1309687"/>
              <a:gd name="connsiteX100" fmla="*/ 216694 w 1562100"/>
              <a:gd name="connsiteY100" fmla="*/ 1128712 h 1309687"/>
              <a:gd name="connsiteX101" fmla="*/ 228600 w 1562100"/>
              <a:gd name="connsiteY101" fmla="*/ 1131093 h 1309687"/>
              <a:gd name="connsiteX102" fmla="*/ 240506 w 1562100"/>
              <a:gd name="connsiteY102" fmla="*/ 1092993 h 1309687"/>
              <a:gd name="connsiteX103" fmla="*/ 269081 w 1562100"/>
              <a:gd name="connsiteY103" fmla="*/ 1097756 h 1309687"/>
              <a:gd name="connsiteX104" fmla="*/ 288131 w 1562100"/>
              <a:gd name="connsiteY104" fmla="*/ 1085850 h 1309687"/>
              <a:gd name="connsiteX105" fmla="*/ 307181 w 1562100"/>
              <a:gd name="connsiteY105" fmla="*/ 1135856 h 1309687"/>
              <a:gd name="connsiteX106" fmla="*/ 330994 w 1562100"/>
              <a:gd name="connsiteY106" fmla="*/ 1150143 h 1309687"/>
              <a:gd name="connsiteX107" fmla="*/ 340519 w 1562100"/>
              <a:gd name="connsiteY107" fmla="*/ 1178718 h 1309687"/>
              <a:gd name="connsiteX108" fmla="*/ 357188 w 1562100"/>
              <a:gd name="connsiteY108" fmla="*/ 1188243 h 1309687"/>
              <a:gd name="connsiteX109" fmla="*/ 364331 w 1562100"/>
              <a:gd name="connsiteY109" fmla="*/ 1219200 h 1309687"/>
              <a:gd name="connsiteX110" fmla="*/ 335756 w 1562100"/>
              <a:gd name="connsiteY110" fmla="*/ 1245393 h 1309687"/>
              <a:gd name="connsiteX111" fmla="*/ 309563 w 1562100"/>
              <a:gd name="connsiteY111" fmla="*/ 1262062 h 1309687"/>
              <a:gd name="connsiteX112" fmla="*/ 297656 w 1562100"/>
              <a:gd name="connsiteY112" fmla="*/ 1285875 h 1309687"/>
              <a:gd name="connsiteX113" fmla="*/ 302419 w 1562100"/>
              <a:gd name="connsiteY113" fmla="*/ 1309687 h 1309687"/>
              <a:gd name="connsiteX114" fmla="*/ 342900 w 1562100"/>
              <a:gd name="connsiteY114" fmla="*/ 1309687 h 1309687"/>
              <a:gd name="connsiteX115" fmla="*/ 390525 w 1562100"/>
              <a:gd name="connsiteY115" fmla="*/ 1304925 h 1309687"/>
              <a:gd name="connsiteX116" fmla="*/ 428625 w 1562100"/>
              <a:gd name="connsiteY116" fmla="*/ 1295400 h 1309687"/>
              <a:gd name="connsiteX117" fmla="*/ 454819 w 1562100"/>
              <a:gd name="connsiteY117" fmla="*/ 1302543 h 1309687"/>
              <a:gd name="connsiteX118" fmla="*/ 473869 w 1562100"/>
              <a:gd name="connsiteY118" fmla="*/ 1281112 h 1309687"/>
              <a:gd name="connsiteX119" fmla="*/ 492919 w 1562100"/>
              <a:gd name="connsiteY119" fmla="*/ 1281112 h 1309687"/>
              <a:gd name="connsiteX120" fmla="*/ 507206 w 1562100"/>
              <a:gd name="connsiteY120" fmla="*/ 1250156 h 1309687"/>
              <a:gd name="connsiteX121" fmla="*/ 557213 w 1562100"/>
              <a:gd name="connsiteY121" fmla="*/ 1235868 h 1309687"/>
              <a:gd name="connsiteX122" fmla="*/ 583406 w 1562100"/>
              <a:gd name="connsiteY122" fmla="*/ 1216818 h 1309687"/>
              <a:gd name="connsiteX123" fmla="*/ 590550 w 1562100"/>
              <a:gd name="connsiteY123" fmla="*/ 1178718 h 1309687"/>
              <a:gd name="connsiteX124" fmla="*/ 607219 w 1562100"/>
              <a:gd name="connsiteY124" fmla="*/ 1152525 h 1309687"/>
              <a:gd name="connsiteX125" fmla="*/ 688181 w 1562100"/>
              <a:gd name="connsiteY125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02456 w 1562100"/>
              <a:gd name="connsiteY54" fmla="*/ 133351 h 1309687"/>
              <a:gd name="connsiteX55" fmla="*/ 628650 w 1562100"/>
              <a:gd name="connsiteY55" fmla="*/ 88107 h 1309687"/>
              <a:gd name="connsiteX56" fmla="*/ 500062 w 1562100"/>
              <a:gd name="connsiteY56" fmla="*/ 66676 h 1309687"/>
              <a:gd name="connsiteX57" fmla="*/ 450056 w 1562100"/>
              <a:gd name="connsiteY57" fmla="*/ 2382 h 1309687"/>
              <a:gd name="connsiteX58" fmla="*/ 428625 w 1562100"/>
              <a:gd name="connsiteY58" fmla="*/ 0 h 1309687"/>
              <a:gd name="connsiteX59" fmla="*/ 376238 w 1562100"/>
              <a:gd name="connsiteY59" fmla="*/ 104775 h 1309687"/>
              <a:gd name="connsiteX60" fmla="*/ 314326 w 1562100"/>
              <a:gd name="connsiteY60" fmla="*/ 104774 h 1309687"/>
              <a:gd name="connsiteX61" fmla="*/ 328613 w 1562100"/>
              <a:gd name="connsiteY61" fmla="*/ 183356 h 1309687"/>
              <a:gd name="connsiteX62" fmla="*/ 292894 w 1562100"/>
              <a:gd name="connsiteY62" fmla="*/ 285750 h 1309687"/>
              <a:gd name="connsiteX63" fmla="*/ 264319 w 1562100"/>
              <a:gd name="connsiteY63" fmla="*/ 292893 h 1309687"/>
              <a:gd name="connsiteX64" fmla="*/ 261938 w 1562100"/>
              <a:gd name="connsiteY64" fmla="*/ 307181 h 1309687"/>
              <a:gd name="connsiteX65" fmla="*/ 261938 w 1562100"/>
              <a:gd name="connsiteY65" fmla="*/ 340518 h 1309687"/>
              <a:gd name="connsiteX66" fmla="*/ 228600 w 1562100"/>
              <a:gd name="connsiteY66" fmla="*/ 383381 h 1309687"/>
              <a:gd name="connsiteX67" fmla="*/ 271463 w 1562100"/>
              <a:gd name="connsiteY67" fmla="*/ 400050 h 1309687"/>
              <a:gd name="connsiteX68" fmla="*/ 278606 w 1562100"/>
              <a:gd name="connsiteY68" fmla="*/ 419100 h 1309687"/>
              <a:gd name="connsiteX69" fmla="*/ 257175 w 1562100"/>
              <a:gd name="connsiteY69" fmla="*/ 454818 h 1309687"/>
              <a:gd name="connsiteX70" fmla="*/ 221456 w 1562100"/>
              <a:gd name="connsiteY70" fmla="*/ 464343 h 1309687"/>
              <a:gd name="connsiteX71" fmla="*/ 221456 w 1562100"/>
              <a:gd name="connsiteY71" fmla="*/ 504825 h 1309687"/>
              <a:gd name="connsiteX72" fmla="*/ 254794 w 1562100"/>
              <a:gd name="connsiteY72" fmla="*/ 542925 h 1309687"/>
              <a:gd name="connsiteX73" fmla="*/ 226219 w 1562100"/>
              <a:gd name="connsiteY73" fmla="*/ 607218 h 1309687"/>
              <a:gd name="connsiteX74" fmla="*/ 180975 w 1562100"/>
              <a:gd name="connsiteY74" fmla="*/ 635793 h 1309687"/>
              <a:gd name="connsiteX75" fmla="*/ 183356 w 1562100"/>
              <a:gd name="connsiteY75" fmla="*/ 652462 h 1309687"/>
              <a:gd name="connsiteX76" fmla="*/ 204788 w 1562100"/>
              <a:gd name="connsiteY76" fmla="*/ 661987 h 1309687"/>
              <a:gd name="connsiteX77" fmla="*/ 219075 w 1562100"/>
              <a:gd name="connsiteY77" fmla="*/ 671512 h 1309687"/>
              <a:gd name="connsiteX78" fmla="*/ 223838 w 1562100"/>
              <a:gd name="connsiteY78" fmla="*/ 690562 h 1309687"/>
              <a:gd name="connsiteX79" fmla="*/ 195263 w 1562100"/>
              <a:gd name="connsiteY79" fmla="*/ 716756 h 1309687"/>
              <a:gd name="connsiteX80" fmla="*/ 123825 w 1562100"/>
              <a:gd name="connsiteY80" fmla="*/ 762000 h 1309687"/>
              <a:gd name="connsiteX81" fmla="*/ 123825 w 1562100"/>
              <a:gd name="connsiteY81" fmla="*/ 797718 h 1309687"/>
              <a:gd name="connsiteX82" fmla="*/ 135731 w 1562100"/>
              <a:gd name="connsiteY82" fmla="*/ 828675 h 1309687"/>
              <a:gd name="connsiteX83" fmla="*/ 123825 w 1562100"/>
              <a:gd name="connsiteY83" fmla="*/ 869156 h 1309687"/>
              <a:gd name="connsiteX84" fmla="*/ 76200 w 1562100"/>
              <a:gd name="connsiteY84" fmla="*/ 864393 h 1309687"/>
              <a:gd name="connsiteX85" fmla="*/ 52388 w 1562100"/>
              <a:gd name="connsiteY85" fmla="*/ 809625 h 1309687"/>
              <a:gd name="connsiteX86" fmla="*/ 33338 w 1562100"/>
              <a:gd name="connsiteY86" fmla="*/ 802481 h 1309687"/>
              <a:gd name="connsiteX87" fmla="*/ 23813 w 1562100"/>
              <a:gd name="connsiteY87" fmla="*/ 840581 h 1309687"/>
              <a:gd name="connsiteX88" fmla="*/ 21431 w 1562100"/>
              <a:gd name="connsiteY88" fmla="*/ 850106 h 1309687"/>
              <a:gd name="connsiteX89" fmla="*/ 7144 w 1562100"/>
              <a:gd name="connsiteY89" fmla="*/ 866775 h 1309687"/>
              <a:gd name="connsiteX90" fmla="*/ 0 w 1562100"/>
              <a:gd name="connsiteY90" fmla="*/ 923925 h 1309687"/>
              <a:gd name="connsiteX91" fmla="*/ 23813 w 1562100"/>
              <a:gd name="connsiteY91" fmla="*/ 952500 h 1309687"/>
              <a:gd name="connsiteX92" fmla="*/ 16669 w 1562100"/>
              <a:gd name="connsiteY92" fmla="*/ 992981 h 1309687"/>
              <a:gd name="connsiteX93" fmla="*/ 35719 w 1562100"/>
              <a:gd name="connsiteY93" fmla="*/ 997743 h 1309687"/>
              <a:gd name="connsiteX94" fmla="*/ 69056 w 1562100"/>
              <a:gd name="connsiteY94" fmla="*/ 997743 h 1309687"/>
              <a:gd name="connsiteX95" fmla="*/ 85725 w 1562100"/>
              <a:gd name="connsiteY95" fmla="*/ 988218 h 1309687"/>
              <a:gd name="connsiteX96" fmla="*/ 135731 w 1562100"/>
              <a:gd name="connsiteY96" fmla="*/ 1045368 h 1309687"/>
              <a:gd name="connsiteX97" fmla="*/ 123825 w 1562100"/>
              <a:gd name="connsiteY97" fmla="*/ 1064418 h 1309687"/>
              <a:gd name="connsiteX98" fmla="*/ 133350 w 1562100"/>
              <a:gd name="connsiteY98" fmla="*/ 1092993 h 1309687"/>
              <a:gd name="connsiteX99" fmla="*/ 164306 w 1562100"/>
              <a:gd name="connsiteY99" fmla="*/ 1112043 h 1309687"/>
              <a:gd name="connsiteX100" fmla="*/ 190500 w 1562100"/>
              <a:gd name="connsiteY100" fmla="*/ 1121568 h 1309687"/>
              <a:gd name="connsiteX101" fmla="*/ 216694 w 1562100"/>
              <a:gd name="connsiteY101" fmla="*/ 1128712 h 1309687"/>
              <a:gd name="connsiteX102" fmla="*/ 228600 w 1562100"/>
              <a:gd name="connsiteY102" fmla="*/ 1131093 h 1309687"/>
              <a:gd name="connsiteX103" fmla="*/ 240506 w 1562100"/>
              <a:gd name="connsiteY103" fmla="*/ 1092993 h 1309687"/>
              <a:gd name="connsiteX104" fmla="*/ 269081 w 1562100"/>
              <a:gd name="connsiteY104" fmla="*/ 1097756 h 1309687"/>
              <a:gd name="connsiteX105" fmla="*/ 288131 w 1562100"/>
              <a:gd name="connsiteY105" fmla="*/ 1085850 h 1309687"/>
              <a:gd name="connsiteX106" fmla="*/ 307181 w 1562100"/>
              <a:gd name="connsiteY106" fmla="*/ 1135856 h 1309687"/>
              <a:gd name="connsiteX107" fmla="*/ 330994 w 1562100"/>
              <a:gd name="connsiteY107" fmla="*/ 1150143 h 1309687"/>
              <a:gd name="connsiteX108" fmla="*/ 340519 w 1562100"/>
              <a:gd name="connsiteY108" fmla="*/ 1178718 h 1309687"/>
              <a:gd name="connsiteX109" fmla="*/ 357188 w 1562100"/>
              <a:gd name="connsiteY109" fmla="*/ 1188243 h 1309687"/>
              <a:gd name="connsiteX110" fmla="*/ 364331 w 1562100"/>
              <a:gd name="connsiteY110" fmla="*/ 1219200 h 1309687"/>
              <a:gd name="connsiteX111" fmla="*/ 335756 w 1562100"/>
              <a:gd name="connsiteY111" fmla="*/ 1245393 h 1309687"/>
              <a:gd name="connsiteX112" fmla="*/ 309563 w 1562100"/>
              <a:gd name="connsiteY112" fmla="*/ 1262062 h 1309687"/>
              <a:gd name="connsiteX113" fmla="*/ 297656 w 1562100"/>
              <a:gd name="connsiteY113" fmla="*/ 1285875 h 1309687"/>
              <a:gd name="connsiteX114" fmla="*/ 302419 w 1562100"/>
              <a:gd name="connsiteY114" fmla="*/ 1309687 h 1309687"/>
              <a:gd name="connsiteX115" fmla="*/ 342900 w 1562100"/>
              <a:gd name="connsiteY115" fmla="*/ 1309687 h 1309687"/>
              <a:gd name="connsiteX116" fmla="*/ 390525 w 1562100"/>
              <a:gd name="connsiteY116" fmla="*/ 1304925 h 1309687"/>
              <a:gd name="connsiteX117" fmla="*/ 428625 w 1562100"/>
              <a:gd name="connsiteY117" fmla="*/ 1295400 h 1309687"/>
              <a:gd name="connsiteX118" fmla="*/ 454819 w 1562100"/>
              <a:gd name="connsiteY118" fmla="*/ 1302543 h 1309687"/>
              <a:gd name="connsiteX119" fmla="*/ 473869 w 1562100"/>
              <a:gd name="connsiteY119" fmla="*/ 1281112 h 1309687"/>
              <a:gd name="connsiteX120" fmla="*/ 492919 w 1562100"/>
              <a:gd name="connsiteY120" fmla="*/ 1281112 h 1309687"/>
              <a:gd name="connsiteX121" fmla="*/ 507206 w 1562100"/>
              <a:gd name="connsiteY121" fmla="*/ 1250156 h 1309687"/>
              <a:gd name="connsiteX122" fmla="*/ 557213 w 1562100"/>
              <a:gd name="connsiteY122" fmla="*/ 1235868 h 1309687"/>
              <a:gd name="connsiteX123" fmla="*/ 583406 w 1562100"/>
              <a:gd name="connsiteY123" fmla="*/ 1216818 h 1309687"/>
              <a:gd name="connsiteX124" fmla="*/ 590550 w 1562100"/>
              <a:gd name="connsiteY124" fmla="*/ 1178718 h 1309687"/>
              <a:gd name="connsiteX125" fmla="*/ 607219 w 1562100"/>
              <a:gd name="connsiteY125" fmla="*/ 1152525 h 1309687"/>
              <a:gd name="connsiteX126" fmla="*/ 688181 w 1562100"/>
              <a:gd name="connsiteY126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57225 w 1562100"/>
              <a:gd name="connsiteY54" fmla="*/ 64294 h 1309687"/>
              <a:gd name="connsiteX55" fmla="*/ 628650 w 1562100"/>
              <a:gd name="connsiteY55" fmla="*/ 88107 h 1309687"/>
              <a:gd name="connsiteX56" fmla="*/ 500062 w 1562100"/>
              <a:gd name="connsiteY56" fmla="*/ 66676 h 1309687"/>
              <a:gd name="connsiteX57" fmla="*/ 450056 w 1562100"/>
              <a:gd name="connsiteY57" fmla="*/ 2382 h 1309687"/>
              <a:gd name="connsiteX58" fmla="*/ 428625 w 1562100"/>
              <a:gd name="connsiteY58" fmla="*/ 0 h 1309687"/>
              <a:gd name="connsiteX59" fmla="*/ 376238 w 1562100"/>
              <a:gd name="connsiteY59" fmla="*/ 104775 h 1309687"/>
              <a:gd name="connsiteX60" fmla="*/ 314326 w 1562100"/>
              <a:gd name="connsiteY60" fmla="*/ 104774 h 1309687"/>
              <a:gd name="connsiteX61" fmla="*/ 328613 w 1562100"/>
              <a:gd name="connsiteY61" fmla="*/ 183356 h 1309687"/>
              <a:gd name="connsiteX62" fmla="*/ 292894 w 1562100"/>
              <a:gd name="connsiteY62" fmla="*/ 285750 h 1309687"/>
              <a:gd name="connsiteX63" fmla="*/ 264319 w 1562100"/>
              <a:gd name="connsiteY63" fmla="*/ 292893 h 1309687"/>
              <a:gd name="connsiteX64" fmla="*/ 261938 w 1562100"/>
              <a:gd name="connsiteY64" fmla="*/ 307181 h 1309687"/>
              <a:gd name="connsiteX65" fmla="*/ 261938 w 1562100"/>
              <a:gd name="connsiteY65" fmla="*/ 340518 h 1309687"/>
              <a:gd name="connsiteX66" fmla="*/ 228600 w 1562100"/>
              <a:gd name="connsiteY66" fmla="*/ 383381 h 1309687"/>
              <a:gd name="connsiteX67" fmla="*/ 271463 w 1562100"/>
              <a:gd name="connsiteY67" fmla="*/ 400050 h 1309687"/>
              <a:gd name="connsiteX68" fmla="*/ 278606 w 1562100"/>
              <a:gd name="connsiteY68" fmla="*/ 419100 h 1309687"/>
              <a:gd name="connsiteX69" fmla="*/ 257175 w 1562100"/>
              <a:gd name="connsiteY69" fmla="*/ 454818 h 1309687"/>
              <a:gd name="connsiteX70" fmla="*/ 221456 w 1562100"/>
              <a:gd name="connsiteY70" fmla="*/ 464343 h 1309687"/>
              <a:gd name="connsiteX71" fmla="*/ 221456 w 1562100"/>
              <a:gd name="connsiteY71" fmla="*/ 504825 h 1309687"/>
              <a:gd name="connsiteX72" fmla="*/ 254794 w 1562100"/>
              <a:gd name="connsiteY72" fmla="*/ 542925 h 1309687"/>
              <a:gd name="connsiteX73" fmla="*/ 226219 w 1562100"/>
              <a:gd name="connsiteY73" fmla="*/ 607218 h 1309687"/>
              <a:gd name="connsiteX74" fmla="*/ 180975 w 1562100"/>
              <a:gd name="connsiteY74" fmla="*/ 635793 h 1309687"/>
              <a:gd name="connsiteX75" fmla="*/ 183356 w 1562100"/>
              <a:gd name="connsiteY75" fmla="*/ 652462 h 1309687"/>
              <a:gd name="connsiteX76" fmla="*/ 204788 w 1562100"/>
              <a:gd name="connsiteY76" fmla="*/ 661987 h 1309687"/>
              <a:gd name="connsiteX77" fmla="*/ 219075 w 1562100"/>
              <a:gd name="connsiteY77" fmla="*/ 671512 h 1309687"/>
              <a:gd name="connsiteX78" fmla="*/ 223838 w 1562100"/>
              <a:gd name="connsiteY78" fmla="*/ 690562 h 1309687"/>
              <a:gd name="connsiteX79" fmla="*/ 195263 w 1562100"/>
              <a:gd name="connsiteY79" fmla="*/ 716756 h 1309687"/>
              <a:gd name="connsiteX80" fmla="*/ 123825 w 1562100"/>
              <a:gd name="connsiteY80" fmla="*/ 762000 h 1309687"/>
              <a:gd name="connsiteX81" fmla="*/ 123825 w 1562100"/>
              <a:gd name="connsiteY81" fmla="*/ 797718 h 1309687"/>
              <a:gd name="connsiteX82" fmla="*/ 135731 w 1562100"/>
              <a:gd name="connsiteY82" fmla="*/ 828675 h 1309687"/>
              <a:gd name="connsiteX83" fmla="*/ 123825 w 1562100"/>
              <a:gd name="connsiteY83" fmla="*/ 869156 h 1309687"/>
              <a:gd name="connsiteX84" fmla="*/ 76200 w 1562100"/>
              <a:gd name="connsiteY84" fmla="*/ 864393 h 1309687"/>
              <a:gd name="connsiteX85" fmla="*/ 52388 w 1562100"/>
              <a:gd name="connsiteY85" fmla="*/ 809625 h 1309687"/>
              <a:gd name="connsiteX86" fmla="*/ 33338 w 1562100"/>
              <a:gd name="connsiteY86" fmla="*/ 802481 h 1309687"/>
              <a:gd name="connsiteX87" fmla="*/ 23813 w 1562100"/>
              <a:gd name="connsiteY87" fmla="*/ 840581 h 1309687"/>
              <a:gd name="connsiteX88" fmla="*/ 21431 w 1562100"/>
              <a:gd name="connsiteY88" fmla="*/ 850106 h 1309687"/>
              <a:gd name="connsiteX89" fmla="*/ 7144 w 1562100"/>
              <a:gd name="connsiteY89" fmla="*/ 866775 h 1309687"/>
              <a:gd name="connsiteX90" fmla="*/ 0 w 1562100"/>
              <a:gd name="connsiteY90" fmla="*/ 923925 h 1309687"/>
              <a:gd name="connsiteX91" fmla="*/ 23813 w 1562100"/>
              <a:gd name="connsiteY91" fmla="*/ 952500 h 1309687"/>
              <a:gd name="connsiteX92" fmla="*/ 16669 w 1562100"/>
              <a:gd name="connsiteY92" fmla="*/ 992981 h 1309687"/>
              <a:gd name="connsiteX93" fmla="*/ 35719 w 1562100"/>
              <a:gd name="connsiteY93" fmla="*/ 997743 h 1309687"/>
              <a:gd name="connsiteX94" fmla="*/ 69056 w 1562100"/>
              <a:gd name="connsiteY94" fmla="*/ 997743 h 1309687"/>
              <a:gd name="connsiteX95" fmla="*/ 85725 w 1562100"/>
              <a:gd name="connsiteY95" fmla="*/ 988218 h 1309687"/>
              <a:gd name="connsiteX96" fmla="*/ 135731 w 1562100"/>
              <a:gd name="connsiteY96" fmla="*/ 1045368 h 1309687"/>
              <a:gd name="connsiteX97" fmla="*/ 123825 w 1562100"/>
              <a:gd name="connsiteY97" fmla="*/ 1064418 h 1309687"/>
              <a:gd name="connsiteX98" fmla="*/ 133350 w 1562100"/>
              <a:gd name="connsiteY98" fmla="*/ 1092993 h 1309687"/>
              <a:gd name="connsiteX99" fmla="*/ 164306 w 1562100"/>
              <a:gd name="connsiteY99" fmla="*/ 1112043 h 1309687"/>
              <a:gd name="connsiteX100" fmla="*/ 190500 w 1562100"/>
              <a:gd name="connsiteY100" fmla="*/ 1121568 h 1309687"/>
              <a:gd name="connsiteX101" fmla="*/ 216694 w 1562100"/>
              <a:gd name="connsiteY101" fmla="*/ 1128712 h 1309687"/>
              <a:gd name="connsiteX102" fmla="*/ 228600 w 1562100"/>
              <a:gd name="connsiteY102" fmla="*/ 1131093 h 1309687"/>
              <a:gd name="connsiteX103" fmla="*/ 240506 w 1562100"/>
              <a:gd name="connsiteY103" fmla="*/ 1092993 h 1309687"/>
              <a:gd name="connsiteX104" fmla="*/ 269081 w 1562100"/>
              <a:gd name="connsiteY104" fmla="*/ 1097756 h 1309687"/>
              <a:gd name="connsiteX105" fmla="*/ 288131 w 1562100"/>
              <a:gd name="connsiteY105" fmla="*/ 1085850 h 1309687"/>
              <a:gd name="connsiteX106" fmla="*/ 307181 w 1562100"/>
              <a:gd name="connsiteY106" fmla="*/ 1135856 h 1309687"/>
              <a:gd name="connsiteX107" fmla="*/ 330994 w 1562100"/>
              <a:gd name="connsiteY107" fmla="*/ 1150143 h 1309687"/>
              <a:gd name="connsiteX108" fmla="*/ 340519 w 1562100"/>
              <a:gd name="connsiteY108" fmla="*/ 1178718 h 1309687"/>
              <a:gd name="connsiteX109" fmla="*/ 357188 w 1562100"/>
              <a:gd name="connsiteY109" fmla="*/ 1188243 h 1309687"/>
              <a:gd name="connsiteX110" fmla="*/ 364331 w 1562100"/>
              <a:gd name="connsiteY110" fmla="*/ 1219200 h 1309687"/>
              <a:gd name="connsiteX111" fmla="*/ 335756 w 1562100"/>
              <a:gd name="connsiteY111" fmla="*/ 1245393 h 1309687"/>
              <a:gd name="connsiteX112" fmla="*/ 309563 w 1562100"/>
              <a:gd name="connsiteY112" fmla="*/ 1262062 h 1309687"/>
              <a:gd name="connsiteX113" fmla="*/ 297656 w 1562100"/>
              <a:gd name="connsiteY113" fmla="*/ 1285875 h 1309687"/>
              <a:gd name="connsiteX114" fmla="*/ 302419 w 1562100"/>
              <a:gd name="connsiteY114" fmla="*/ 1309687 h 1309687"/>
              <a:gd name="connsiteX115" fmla="*/ 342900 w 1562100"/>
              <a:gd name="connsiteY115" fmla="*/ 1309687 h 1309687"/>
              <a:gd name="connsiteX116" fmla="*/ 390525 w 1562100"/>
              <a:gd name="connsiteY116" fmla="*/ 1304925 h 1309687"/>
              <a:gd name="connsiteX117" fmla="*/ 428625 w 1562100"/>
              <a:gd name="connsiteY117" fmla="*/ 1295400 h 1309687"/>
              <a:gd name="connsiteX118" fmla="*/ 454819 w 1562100"/>
              <a:gd name="connsiteY118" fmla="*/ 1302543 h 1309687"/>
              <a:gd name="connsiteX119" fmla="*/ 473869 w 1562100"/>
              <a:gd name="connsiteY119" fmla="*/ 1281112 h 1309687"/>
              <a:gd name="connsiteX120" fmla="*/ 492919 w 1562100"/>
              <a:gd name="connsiteY120" fmla="*/ 1281112 h 1309687"/>
              <a:gd name="connsiteX121" fmla="*/ 507206 w 1562100"/>
              <a:gd name="connsiteY121" fmla="*/ 1250156 h 1309687"/>
              <a:gd name="connsiteX122" fmla="*/ 557213 w 1562100"/>
              <a:gd name="connsiteY122" fmla="*/ 1235868 h 1309687"/>
              <a:gd name="connsiteX123" fmla="*/ 583406 w 1562100"/>
              <a:gd name="connsiteY123" fmla="*/ 1216818 h 1309687"/>
              <a:gd name="connsiteX124" fmla="*/ 590550 w 1562100"/>
              <a:gd name="connsiteY124" fmla="*/ 1178718 h 1309687"/>
              <a:gd name="connsiteX125" fmla="*/ 607219 w 1562100"/>
              <a:gd name="connsiteY125" fmla="*/ 1152525 h 1309687"/>
              <a:gd name="connsiteX126" fmla="*/ 688181 w 1562100"/>
              <a:gd name="connsiteY126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71513 w 1562100"/>
              <a:gd name="connsiteY54" fmla="*/ 92869 h 1309687"/>
              <a:gd name="connsiteX55" fmla="*/ 657225 w 1562100"/>
              <a:gd name="connsiteY55" fmla="*/ 64294 h 1309687"/>
              <a:gd name="connsiteX56" fmla="*/ 628650 w 1562100"/>
              <a:gd name="connsiteY56" fmla="*/ 88107 h 1309687"/>
              <a:gd name="connsiteX57" fmla="*/ 500062 w 1562100"/>
              <a:gd name="connsiteY57" fmla="*/ 66676 h 1309687"/>
              <a:gd name="connsiteX58" fmla="*/ 450056 w 1562100"/>
              <a:gd name="connsiteY58" fmla="*/ 2382 h 1309687"/>
              <a:gd name="connsiteX59" fmla="*/ 428625 w 1562100"/>
              <a:gd name="connsiteY59" fmla="*/ 0 h 1309687"/>
              <a:gd name="connsiteX60" fmla="*/ 376238 w 1562100"/>
              <a:gd name="connsiteY60" fmla="*/ 104775 h 1309687"/>
              <a:gd name="connsiteX61" fmla="*/ 314326 w 1562100"/>
              <a:gd name="connsiteY61" fmla="*/ 104774 h 1309687"/>
              <a:gd name="connsiteX62" fmla="*/ 328613 w 1562100"/>
              <a:gd name="connsiteY62" fmla="*/ 183356 h 1309687"/>
              <a:gd name="connsiteX63" fmla="*/ 292894 w 1562100"/>
              <a:gd name="connsiteY63" fmla="*/ 285750 h 1309687"/>
              <a:gd name="connsiteX64" fmla="*/ 264319 w 1562100"/>
              <a:gd name="connsiteY64" fmla="*/ 292893 h 1309687"/>
              <a:gd name="connsiteX65" fmla="*/ 261938 w 1562100"/>
              <a:gd name="connsiteY65" fmla="*/ 307181 h 1309687"/>
              <a:gd name="connsiteX66" fmla="*/ 261938 w 1562100"/>
              <a:gd name="connsiteY66" fmla="*/ 340518 h 1309687"/>
              <a:gd name="connsiteX67" fmla="*/ 228600 w 1562100"/>
              <a:gd name="connsiteY67" fmla="*/ 383381 h 1309687"/>
              <a:gd name="connsiteX68" fmla="*/ 271463 w 1562100"/>
              <a:gd name="connsiteY68" fmla="*/ 400050 h 1309687"/>
              <a:gd name="connsiteX69" fmla="*/ 278606 w 1562100"/>
              <a:gd name="connsiteY69" fmla="*/ 419100 h 1309687"/>
              <a:gd name="connsiteX70" fmla="*/ 257175 w 1562100"/>
              <a:gd name="connsiteY70" fmla="*/ 454818 h 1309687"/>
              <a:gd name="connsiteX71" fmla="*/ 221456 w 1562100"/>
              <a:gd name="connsiteY71" fmla="*/ 464343 h 1309687"/>
              <a:gd name="connsiteX72" fmla="*/ 221456 w 1562100"/>
              <a:gd name="connsiteY72" fmla="*/ 504825 h 1309687"/>
              <a:gd name="connsiteX73" fmla="*/ 254794 w 1562100"/>
              <a:gd name="connsiteY73" fmla="*/ 542925 h 1309687"/>
              <a:gd name="connsiteX74" fmla="*/ 226219 w 1562100"/>
              <a:gd name="connsiteY74" fmla="*/ 607218 h 1309687"/>
              <a:gd name="connsiteX75" fmla="*/ 180975 w 1562100"/>
              <a:gd name="connsiteY75" fmla="*/ 635793 h 1309687"/>
              <a:gd name="connsiteX76" fmla="*/ 183356 w 1562100"/>
              <a:gd name="connsiteY76" fmla="*/ 652462 h 1309687"/>
              <a:gd name="connsiteX77" fmla="*/ 204788 w 1562100"/>
              <a:gd name="connsiteY77" fmla="*/ 661987 h 1309687"/>
              <a:gd name="connsiteX78" fmla="*/ 219075 w 1562100"/>
              <a:gd name="connsiteY78" fmla="*/ 671512 h 1309687"/>
              <a:gd name="connsiteX79" fmla="*/ 223838 w 1562100"/>
              <a:gd name="connsiteY79" fmla="*/ 690562 h 1309687"/>
              <a:gd name="connsiteX80" fmla="*/ 195263 w 1562100"/>
              <a:gd name="connsiteY80" fmla="*/ 716756 h 1309687"/>
              <a:gd name="connsiteX81" fmla="*/ 123825 w 1562100"/>
              <a:gd name="connsiteY81" fmla="*/ 762000 h 1309687"/>
              <a:gd name="connsiteX82" fmla="*/ 123825 w 1562100"/>
              <a:gd name="connsiteY82" fmla="*/ 797718 h 1309687"/>
              <a:gd name="connsiteX83" fmla="*/ 135731 w 1562100"/>
              <a:gd name="connsiteY83" fmla="*/ 828675 h 1309687"/>
              <a:gd name="connsiteX84" fmla="*/ 123825 w 1562100"/>
              <a:gd name="connsiteY84" fmla="*/ 869156 h 1309687"/>
              <a:gd name="connsiteX85" fmla="*/ 76200 w 1562100"/>
              <a:gd name="connsiteY85" fmla="*/ 864393 h 1309687"/>
              <a:gd name="connsiteX86" fmla="*/ 52388 w 1562100"/>
              <a:gd name="connsiteY86" fmla="*/ 809625 h 1309687"/>
              <a:gd name="connsiteX87" fmla="*/ 33338 w 1562100"/>
              <a:gd name="connsiteY87" fmla="*/ 802481 h 1309687"/>
              <a:gd name="connsiteX88" fmla="*/ 23813 w 1562100"/>
              <a:gd name="connsiteY88" fmla="*/ 840581 h 1309687"/>
              <a:gd name="connsiteX89" fmla="*/ 21431 w 1562100"/>
              <a:gd name="connsiteY89" fmla="*/ 850106 h 1309687"/>
              <a:gd name="connsiteX90" fmla="*/ 7144 w 1562100"/>
              <a:gd name="connsiteY90" fmla="*/ 866775 h 1309687"/>
              <a:gd name="connsiteX91" fmla="*/ 0 w 1562100"/>
              <a:gd name="connsiteY91" fmla="*/ 923925 h 1309687"/>
              <a:gd name="connsiteX92" fmla="*/ 23813 w 1562100"/>
              <a:gd name="connsiteY92" fmla="*/ 952500 h 1309687"/>
              <a:gd name="connsiteX93" fmla="*/ 16669 w 1562100"/>
              <a:gd name="connsiteY93" fmla="*/ 992981 h 1309687"/>
              <a:gd name="connsiteX94" fmla="*/ 35719 w 1562100"/>
              <a:gd name="connsiteY94" fmla="*/ 997743 h 1309687"/>
              <a:gd name="connsiteX95" fmla="*/ 69056 w 1562100"/>
              <a:gd name="connsiteY95" fmla="*/ 997743 h 1309687"/>
              <a:gd name="connsiteX96" fmla="*/ 85725 w 1562100"/>
              <a:gd name="connsiteY96" fmla="*/ 988218 h 1309687"/>
              <a:gd name="connsiteX97" fmla="*/ 135731 w 1562100"/>
              <a:gd name="connsiteY97" fmla="*/ 1045368 h 1309687"/>
              <a:gd name="connsiteX98" fmla="*/ 123825 w 1562100"/>
              <a:gd name="connsiteY98" fmla="*/ 1064418 h 1309687"/>
              <a:gd name="connsiteX99" fmla="*/ 133350 w 1562100"/>
              <a:gd name="connsiteY99" fmla="*/ 1092993 h 1309687"/>
              <a:gd name="connsiteX100" fmla="*/ 164306 w 1562100"/>
              <a:gd name="connsiteY100" fmla="*/ 1112043 h 1309687"/>
              <a:gd name="connsiteX101" fmla="*/ 190500 w 1562100"/>
              <a:gd name="connsiteY101" fmla="*/ 1121568 h 1309687"/>
              <a:gd name="connsiteX102" fmla="*/ 216694 w 1562100"/>
              <a:gd name="connsiteY102" fmla="*/ 1128712 h 1309687"/>
              <a:gd name="connsiteX103" fmla="*/ 228600 w 1562100"/>
              <a:gd name="connsiteY103" fmla="*/ 1131093 h 1309687"/>
              <a:gd name="connsiteX104" fmla="*/ 240506 w 1562100"/>
              <a:gd name="connsiteY104" fmla="*/ 1092993 h 1309687"/>
              <a:gd name="connsiteX105" fmla="*/ 269081 w 1562100"/>
              <a:gd name="connsiteY105" fmla="*/ 1097756 h 1309687"/>
              <a:gd name="connsiteX106" fmla="*/ 288131 w 1562100"/>
              <a:gd name="connsiteY106" fmla="*/ 1085850 h 1309687"/>
              <a:gd name="connsiteX107" fmla="*/ 307181 w 1562100"/>
              <a:gd name="connsiteY107" fmla="*/ 1135856 h 1309687"/>
              <a:gd name="connsiteX108" fmla="*/ 330994 w 1562100"/>
              <a:gd name="connsiteY108" fmla="*/ 1150143 h 1309687"/>
              <a:gd name="connsiteX109" fmla="*/ 340519 w 1562100"/>
              <a:gd name="connsiteY109" fmla="*/ 1178718 h 1309687"/>
              <a:gd name="connsiteX110" fmla="*/ 357188 w 1562100"/>
              <a:gd name="connsiteY110" fmla="*/ 1188243 h 1309687"/>
              <a:gd name="connsiteX111" fmla="*/ 364331 w 1562100"/>
              <a:gd name="connsiteY111" fmla="*/ 1219200 h 1309687"/>
              <a:gd name="connsiteX112" fmla="*/ 335756 w 1562100"/>
              <a:gd name="connsiteY112" fmla="*/ 1245393 h 1309687"/>
              <a:gd name="connsiteX113" fmla="*/ 309563 w 1562100"/>
              <a:gd name="connsiteY113" fmla="*/ 1262062 h 1309687"/>
              <a:gd name="connsiteX114" fmla="*/ 297656 w 1562100"/>
              <a:gd name="connsiteY114" fmla="*/ 1285875 h 1309687"/>
              <a:gd name="connsiteX115" fmla="*/ 302419 w 1562100"/>
              <a:gd name="connsiteY115" fmla="*/ 1309687 h 1309687"/>
              <a:gd name="connsiteX116" fmla="*/ 342900 w 1562100"/>
              <a:gd name="connsiteY116" fmla="*/ 1309687 h 1309687"/>
              <a:gd name="connsiteX117" fmla="*/ 390525 w 1562100"/>
              <a:gd name="connsiteY117" fmla="*/ 1304925 h 1309687"/>
              <a:gd name="connsiteX118" fmla="*/ 428625 w 1562100"/>
              <a:gd name="connsiteY118" fmla="*/ 1295400 h 1309687"/>
              <a:gd name="connsiteX119" fmla="*/ 454819 w 1562100"/>
              <a:gd name="connsiteY119" fmla="*/ 1302543 h 1309687"/>
              <a:gd name="connsiteX120" fmla="*/ 473869 w 1562100"/>
              <a:gd name="connsiteY120" fmla="*/ 1281112 h 1309687"/>
              <a:gd name="connsiteX121" fmla="*/ 492919 w 1562100"/>
              <a:gd name="connsiteY121" fmla="*/ 1281112 h 1309687"/>
              <a:gd name="connsiteX122" fmla="*/ 507206 w 1562100"/>
              <a:gd name="connsiteY122" fmla="*/ 1250156 h 1309687"/>
              <a:gd name="connsiteX123" fmla="*/ 557213 w 1562100"/>
              <a:gd name="connsiteY123" fmla="*/ 1235868 h 1309687"/>
              <a:gd name="connsiteX124" fmla="*/ 583406 w 1562100"/>
              <a:gd name="connsiteY124" fmla="*/ 1216818 h 1309687"/>
              <a:gd name="connsiteX125" fmla="*/ 590550 w 1562100"/>
              <a:gd name="connsiteY125" fmla="*/ 1178718 h 1309687"/>
              <a:gd name="connsiteX126" fmla="*/ 607219 w 1562100"/>
              <a:gd name="connsiteY126" fmla="*/ 1152525 h 1309687"/>
              <a:gd name="connsiteX127" fmla="*/ 688181 w 1562100"/>
              <a:gd name="connsiteY127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704851 w 1562100"/>
              <a:gd name="connsiteY54" fmla="*/ 92869 h 1309687"/>
              <a:gd name="connsiteX55" fmla="*/ 657225 w 1562100"/>
              <a:gd name="connsiteY55" fmla="*/ 64294 h 1309687"/>
              <a:gd name="connsiteX56" fmla="*/ 628650 w 1562100"/>
              <a:gd name="connsiteY56" fmla="*/ 88107 h 1309687"/>
              <a:gd name="connsiteX57" fmla="*/ 500062 w 1562100"/>
              <a:gd name="connsiteY57" fmla="*/ 66676 h 1309687"/>
              <a:gd name="connsiteX58" fmla="*/ 450056 w 1562100"/>
              <a:gd name="connsiteY58" fmla="*/ 2382 h 1309687"/>
              <a:gd name="connsiteX59" fmla="*/ 428625 w 1562100"/>
              <a:gd name="connsiteY59" fmla="*/ 0 h 1309687"/>
              <a:gd name="connsiteX60" fmla="*/ 376238 w 1562100"/>
              <a:gd name="connsiteY60" fmla="*/ 104775 h 1309687"/>
              <a:gd name="connsiteX61" fmla="*/ 314326 w 1562100"/>
              <a:gd name="connsiteY61" fmla="*/ 104774 h 1309687"/>
              <a:gd name="connsiteX62" fmla="*/ 328613 w 1562100"/>
              <a:gd name="connsiteY62" fmla="*/ 183356 h 1309687"/>
              <a:gd name="connsiteX63" fmla="*/ 292894 w 1562100"/>
              <a:gd name="connsiteY63" fmla="*/ 285750 h 1309687"/>
              <a:gd name="connsiteX64" fmla="*/ 264319 w 1562100"/>
              <a:gd name="connsiteY64" fmla="*/ 292893 h 1309687"/>
              <a:gd name="connsiteX65" fmla="*/ 261938 w 1562100"/>
              <a:gd name="connsiteY65" fmla="*/ 307181 h 1309687"/>
              <a:gd name="connsiteX66" fmla="*/ 261938 w 1562100"/>
              <a:gd name="connsiteY66" fmla="*/ 340518 h 1309687"/>
              <a:gd name="connsiteX67" fmla="*/ 228600 w 1562100"/>
              <a:gd name="connsiteY67" fmla="*/ 383381 h 1309687"/>
              <a:gd name="connsiteX68" fmla="*/ 271463 w 1562100"/>
              <a:gd name="connsiteY68" fmla="*/ 400050 h 1309687"/>
              <a:gd name="connsiteX69" fmla="*/ 278606 w 1562100"/>
              <a:gd name="connsiteY69" fmla="*/ 419100 h 1309687"/>
              <a:gd name="connsiteX70" fmla="*/ 257175 w 1562100"/>
              <a:gd name="connsiteY70" fmla="*/ 454818 h 1309687"/>
              <a:gd name="connsiteX71" fmla="*/ 221456 w 1562100"/>
              <a:gd name="connsiteY71" fmla="*/ 464343 h 1309687"/>
              <a:gd name="connsiteX72" fmla="*/ 221456 w 1562100"/>
              <a:gd name="connsiteY72" fmla="*/ 504825 h 1309687"/>
              <a:gd name="connsiteX73" fmla="*/ 254794 w 1562100"/>
              <a:gd name="connsiteY73" fmla="*/ 542925 h 1309687"/>
              <a:gd name="connsiteX74" fmla="*/ 226219 w 1562100"/>
              <a:gd name="connsiteY74" fmla="*/ 607218 h 1309687"/>
              <a:gd name="connsiteX75" fmla="*/ 180975 w 1562100"/>
              <a:gd name="connsiteY75" fmla="*/ 635793 h 1309687"/>
              <a:gd name="connsiteX76" fmla="*/ 183356 w 1562100"/>
              <a:gd name="connsiteY76" fmla="*/ 652462 h 1309687"/>
              <a:gd name="connsiteX77" fmla="*/ 204788 w 1562100"/>
              <a:gd name="connsiteY77" fmla="*/ 661987 h 1309687"/>
              <a:gd name="connsiteX78" fmla="*/ 219075 w 1562100"/>
              <a:gd name="connsiteY78" fmla="*/ 671512 h 1309687"/>
              <a:gd name="connsiteX79" fmla="*/ 223838 w 1562100"/>
              <a:gd name="connsiteY79" fmla="*/ 690562 h 1309687"/>
              <a:gd name="connsiteX80" fmla="*/ 195263 w 1562100"/>
              <a:gd name="connsiteY80" fmla="*/ 716756 h 1309687"/>
              <a:gd name="connsiteX81" fmla="*/ 123825 w 1562100"/>
              <a:gd name="connsiteY81" fmla="*/ 762000 h 1309687"/>
              <a:gd name="connsiteX82" fmla="*/ 123825 w 1562100"/>
              <a:gd name="connsiteY82" fmla="*/ 797718 h 1309687"/>
              <a:gd name="connsiteX83" fmla="*/ 135731 w 1562100"/>
              <a:gd name="connsiteY83" fmla="*/ 828675 h 1309687"/>
              <a:gd name="connsiteX84" fmla="*/ 123825 w 1562100"/>
              <a:gd name="connsiteY84" fmla="*/ 869156 h 1309687"/>
              <a:gd name="connsiteX85" fmla="*/ 76200 w 1562100"/>
              <a:gd name="connsiteY85" fmla="*/ 864393 h 1309687"/>
              <a:gd name="connsiteX86" fmla="*/ 52388 w 1562100"/>
              <a:gd name="connsiteY86" fmla="*/ 809625 h 1309687"/>
              <a:gd name="connsiteX87" fmla="*/ 33338 w 1562100"/>
              <a:gd name="connsiteY87" fmla="*/ 802481 h 1309687"/>
              <a:gd name="connsiteX88" fmla="*/ 23813 w 1562100"/>
              <a:gd name="connsiteY88" fmla="*/ 840581 h 1309687"/>
              <a:gd name="connsiteX89" fmla="*/ 21431 w 1562100"/>
              <a:gd name="connsiteY89" fmla="*/ 850106 h 1309687"/>
              <a:gd name="connsiteX90" fmla="*/ 7144 w 1562100"/>
              <a:gd name="connsiteY90" fmla="*/ 866775 h 1309687"/>
              <a:gd name="connsiteX91" fmla="*/ 0 w 1562100"/>
              <a:gd name="connsiteY91" fmla="*/ 923925 h 1309687"/>
              <a:gd name="connsiteX92" fmla="*/ 23813 w 1562100"/>
              <a:gd name="connsiteY92" fmla="*/ 952500 h 1309687"/>
              <a:gd name="connsiteX93" fmla="*/ 16669 w 1562100"/>
              <a:gd name="connsiteY93" fmla="*/ 992981 h 1309687"/>
              <a:gd name="connsiteX94" fmla="*/ 35719 w 1562100"/>
              <a:gd name="connsiteY94" fmla="*/ 997743 h 1309687"/>
              <a:gd name="connsiteX95" fmla="*/ 69056 w 1562100"/>
              <a:gd name="connsiteY95" fmla="*/ 997743 h 1309687"/>
              <a:gd name="connsiteX96" fmla="*/ 85725 w 1562100"/>
              <a:gd name="connsiteY96" fmla="*/ 988218 h 1309687"/>
              <a:gd name="connsiteX97" fmla="*/ 135731 w 1562100"/>
              <a:gd name="connsiteY97" fmla="*/ 1045368 h 1309687"/>
              <a:gd name="connsiteX98" fmla="*/ 123825 w 1562100"/>
              <a:gd name="connsiteY98" fmla="*/ 1064418 h 1309687"/>
              <a:gd name="connsiteX99" fmla="*/ 133350 w 1562100"/>
              <a:gd name="connsiteY99" fmla="*/ 1092993 h 1309687"/>
              <a:gd name="connsiteX100" fmla="*/ 164306 w 1562100"/>
              <a:gd name="connsiteY100" fmla="*/ 1112043 h 1309687"/>
              <a:gd name="connsiteX101" fmla="*/ 190500 w 1562100"/>
              <a:gd name="connsiteY101" fmla="*/ 1121568 h 1309687"/>
              <a:gd name="connsiteX102" fmla="*/ 216694 w 1562100"/>
              <a:gd name="connsiteY102" fmla="*/ 1128712 h 1309687"/>
              <a:gd name="connsiteX103" fmla="*/ 228600 w 1562100"/>
              <a:gd name="connsiteY103" fmla="*/ 1131093 h 1309687"/>
              <a:gd name="connsiteX104" fmla="*/ 240506 w 1562100"/>
              <a:gd name="connsiteY104" fmla="*/ 1092993 h 1309687"/>
              <a:gd name="connsiteX105" fmla="*/ 269081 w 1562100"/>
              <a:gd name="connsiteY105" fmla="*/ 1097756 h 1309687"/>
              <a:gd name="connsiteX106" fmla="*/ 288131 w 1562100"/>
              <a:gd name="connsiteY106" fmla="*/ 1085850 h 1309687"/>
              <a:gd name="connsiteX107" fmla="*/ 307181 w 1562100"/>
              <a:gd name="connsiteY107" fmla="*/ 1135856 h 1309687"/>
              <a:gd name="connsiteX108" fmla="*/ 330994 w 1562100"/>
              <a:gd name="connsiteY108" fmla="*/ 1150143 h 1309687"/>
              <a:gd name="connsiteX109" fmla="*/ 340519 w 1562100"/>
              <a:gd name="connsiteY109" fmla="*/ 1178718 h 1309687"/>
              <a:gd name="connsiteX110" fmla="*/ 357188 w 1562100"/>
              <a:gd name="connsiteY110" fmla="*/ 1188243 h 1309687"/>
              <a:gd name="connsiteX111" fmla="*/ 364331 w 1562100"/>
              <a:gd name="connsiteY111" fmla="*/ 1219200 h 1309687"/>
              <a:gd name="connsiteX112" fmla="*/ 335756 w 1562100"/>
              <a:gd name="connsiteY112" fmla="*/ 1245393 h 1309687"/>
              <a:gd name="connsiteX113" fmla="*/ 309563 w 1562100"/>
              <a:gd name="connsiteY113" fmla="*/ 1262062 h 1309687"/>
              <a:gd name="connsiteX114" fmla="*/ 297656 w 1562100"/>
              <a:gd name="connsiteY114" fmla="*/ 1285875 h 1309687"/>
              <a:gd name="connsiteX115" fmla="*/ 302419 w 1562100"/>
              <a:gd name="connsiteY115" fmla="*/ 1309687 h 1309687"/>
              <a:gd name="connsiteX116" fmla="*/ 342900 w 1562100"/>
              <a:gd name="connsiteY116" fmla="*/ 1309687 h 1309687"/>
              <a:gd name="connsiteX117" fmla="*/ 390525 w 1562100"/>
              <a:gd name="connsiteY117" fmla="*/ 1304925 h 1309687"/>
              <a:gd name="connsiteX118" fmla="*/ 428625 w 1562100"/>
              <a:gd name="connsiteY118" fmla="*/ 1295400 h 1309687"/>
              <a:gd name="connsiteX119" fmla="*/ 454819 w 1562100"/>
              <a:gd name="connsiteY119" fmla="*/ 1302543 h 1309687"/>
              <a:gd name="connsiteX120" fmla="*/ 473869 w 1562100"/>
              <a:gd name="connsiteY120" fmla="*/ 1281112 h 1309687"/>
              <a:gd name="connsiteX121" fmla="*/ 492919 w 1562100"/>
              <a:gd name="connsiteY121" fmla="*/ 1281112 h 1309687"/>
              <a:gd name="connsiteX122" fmla="*/ 507206 w 1562100"/>
              <a:gd name="connsiteY122" fmla="*/ 1250156 h 1309687"/>
              <a:gd name="connsiteX123" fmla="*/ 557213 w 1562100"/>
              <a:gd name="connsiteY123" fmla="*/ 1235868 h 1309687"/>
              <a:gd name="connsiteX124" fmla="*/ 583406 w 1562100"/>
              <a:gd name="connsiteY124" fmla="*/ 1216818 h 1309687"/>
              <a:gd name="connsiteX125" fmla="*/ 590550 w 1562100"/>
              <a:gd name="connsiteY125" fmla="*/ 1178718 h 1309687"/>
              <a:gd name="connsiteX126" fmla="*/ 607219 w 1562100"/>
              <a:gd name="connsiteY126" fmla="*/ 1152525 h 1309687"/>
              <a:gd name="connsiteX127" fmla="*/ 688181 w 1562100"/>
              <a:gd name="connsiteY127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702469 w 1562100"/>
              <a:gd name="connsiteY54" fmla="*/ 152401 h 1309687"/>
              <a:gd name="connsiteX55" fmla="*/ 704851 w 1562100"/>
              <a:gd name="connsiteY55" fmla="*/ 92869 h 1309687"/>
              <a:gd name="connsiteX56" fmla="*/ 657225 w 1562100"/>
              <a:gd name="connsiteY56" fmla="*/ 64294 h 1309687"/>
              <a:gd name="connsiteX57" fmla="*/ 628650 w 1562100"/>
              <a:gd name="connsiteY57" fmla="*/ 88107 h 1309687"/>
              <a:gd name="connsiteX58" fmla="*/ 500062 w 1562100"/>
              <a:gd name="connsiteY58" fmla="*/ 66676 h 1309687"/>
              <a:gd name="connsiteX59" fmla="*/ 450056 w 1562100"/>
              <a:gd name="connsiteY59" fmla="*/ 2382 h 1309687"/>
              <a:gd name="connsiteX60" fmla="*/ 428625 w 1562100"/>
              <a:gd name="connsiteY60" fmla="*/ 0 h 1309687"/>
              <a:gd name="connsiteX61" fmla="*/ 376238 w 1562100"/>
              <a:gd name="connsiteY61" fmla="*/ 104775 h 1309687"/>
              <a:gd name="connsiteX62" fmla="*/ 314326 w 1562100"/>
              <a:gd name="connsiteY62" fmla="*/ 104774 h 1309687"/>
              <a:gd name="connsiteX63" fmla="*/ 328613 w 1562100"/>
              <a:gd name="connsiteY63" fmla="*/ 183356 h 1309687"/>
              <a:gd name="connsiteX64" fmla="*/ 292894 w 1562100"/>
              <a:gd name="connsiteY64" fmla="*/ 285750 h 1309687"/>
              <a:gd name="connsiteX65" fmla="*/ 264319 w 1562100"/>
              <a:gd name="connsiteY65" fmla="*/ 292893 h 1309687"/>
              <a:gd name="connsiteX66" fmla="*/ 261938 w 1562100"/>
              <a:gd name="connsiteY66" fmla="*/ 307181 h 1309687"/>
              <a:gd name="connsiteX67" fmla="*/ 261938 w 1562100"/>
              <a:gd name="connsiteY67" fmla="*/ 340518 h 1309687"/>
              <a:gd name="connsiteX68" fmla="*/ 228600 w 1562100"/>
              <a:gd name="connsiteY68" fmla="*/ 383381 h 1309687"/>
              <a:gd name="connsiteX69" fmla="*/ 271463 w 1562100"/>
              <a:gd name="connsiteY69" fmla="*/ 400050 h 1309687"/>
              <a:gd name="connsiteX70" fmla="*/ 278606 w 1562100"/>
              <a:gd name="connsiteY70" fmla="*/ 419100 h 1309687"/>
              <a:gd name="connsiteX71" fmla="*/ 257175 w 1562100"/>
              <a:gd name="connsiteY71" fmla="*/ 454818 h 1309687"/>
              <a:gd name="connsiteX72" fmla="*/ 221456 w 1562100"/>
              <a:gd name="connsiteY72" fmla="*/ 464343 h 1309687"/>
              <a:gd name="connsiteX73" fmla="*/ 221456 w 1562100"/>
              <a:gd name="connsiteY73" fmla="*/ 504825 h 1309687"/>
              <a:gd name="connsiteX74" fmla="*/ 254794 w 1562100"/>
              <a:gd name="connsiteY74" fmla="*/ 542925 h 1309687"/>
              <a:gd name="connsiteX75" fmla="*/ 226219 w 1562100"/>
              <a:gd name="connsiteY75" fmla="*/ 607218 h 1309687"/>
              <a:gd name="connsiteX76" fmla="*/ 180975 w 1562100"/>
              <a:gd name="connsiteY76" fmla="*/ 635793 h 1309687"/>
              <a:gd name="connsiteX77" fmla="*/ 183356 w 1562100"/>
              <a:gd name="connsiteY77" fmla="*/ 652462 h 1309687"/>
              <a:gd name="connsiteX78" fmla="*/ 204788 w 1562100"/>
              <a:gd name="connsiteY78" fmla="*/ 661987 h 1309687"/>
              <a:gd name="connsiteX79" fmla="*/ 219075 w 1562100"/>
              <a:gd name="connsiteY79" fmla="*/ 671512 h 1309687"/>
              <a:gd name="connsiteX80" fmla="*/ 223838 w 1562100"/>
              <a:gd name="connsiteY80" fmla="*/ 690562 h 1309687"/>
              <a:gd name="connsiteX81" fmla="*/ 195263 w 1562100"/>
              <a:gd name="connsiteY81" fmla="*/ 716756 h 1309687"/>
              <a:gd name="connsiteX82" fmla="*/ 123825 w 1562100"/>
              <a:gd name="connsiteY82" fmla="*/ 762000 h 1309687"/>
              <a:gd name="connsiteX83" fmla="*/ 123825 w 1562100"/>
              <a:gd name="connsiteY83" fmla="*/ 797718 h 1309687"/>
              <a:gd name="connsiteX84" fmla="*/ 135731 w 1562100"/>
              <a:gd name="connsiteY84" fmla="*/ 828675 h 1309687"/>
              <a:gd name="connsiteX85" fmla="*/ 123825 w 1562100"/>
              <a:gd name="connsiteY85" fmla="*/ 869156 h 1309687"/>
              <a:gd name="connsiteX86" fmla="*/ 76200 w 1562100"/>
              <a:gd name="connsiteY86" fmla="*/ 864393 h 1309687"/>
              <a:gd name="connsiteX87" fmla="*/ 52388 w 1562100"/>
              <a:gd name="connsiteY87" fmla="*/ 809625 h 1309687"/>
              <a:gd name="connsiteX88" fmla="*/ 33338 w 1562100"/>
              <a:gd name="connsiteY88" fmla="*/ 802481 h 1309687"/>
              <a:gd name="connsiteX89" fmla="*/ 23813 w 1562100"/>
              <a:gd name="connsiteY89" fmla="*/ 840581 h 1309687"/>
              <a:gd name="connsiteX90" fmla="*/ 21431 w 1562100"/>
              <a:gd name="connsiteY90" fmla="*/ 850106 h 1309687"/>
              <a:gd name="connsiteX91" fmla="*/ 7144 w 1562100"/>
              <a:gd name="connsiteY91" fmla="*/ 866775 h 1309687"/>
              <a:gd name="connsiteX92" fmla="*/ 0 w 1562100"/>
              <a:gd name="connsiteY92" fmla="*/ 923925 h 1309687"/>
              <a:gd name="connsiteX93" fmla="*/ 23813 w 1562100"/>
              <a:gd name="connsiteY93" fmla="*/ 952500 h 1309687"/>
              <a:gd name="connsiteX94" fmla="*/ 16669 w 1562100"/>
              <a:gd name="connsiteY94" fmla="*/ 992981 h 1309687"/>
              <a:gd name="connsiteX95" fmla="*/ 35719 w 1562100"/>
              <a:gd name="connsiteY95" fmla="*/ 997743 h 1309687"/>
              <a:gd name="connsiteX96" fmla="*/ 69056 w 1562100"/>
              <a:gd name="connsiteY96" fmla="*/ 997743 h 1309687"/>
              <a:gd name="connsiteX97" fmla="*/ 85725 w 1562100"/>
              <a:gd name="connsiteY97" fmla="*/ 988218 h 1309687"/>
              <a:gd name="connsiteX98" fmla="*/ 135731 w 1562100"/>
              <a:gd name="connsiteY98" fmla="*/ 1045368 h 1309687"/>
              <a:gd name="connsiteX99" fmla="*/ 123825 w 1562100"/>
              <a:gd name="connsiteY99" fmla="*/ 1064418 h 1309687"/>
              <a:gd name="connsiteX100" fmla="*/ 133350 w 1562100"/>
              <a:gd name="connsiteY100" fmla="*/ 1092993 h 1309687"/>
              <a:gd name="connsiteX101" fmla="*/ 164306 w 1562100"/>
              <a:gd name="connsiteY101" fmla="*/ 1112043 h 1309687"/>
              <a:gd name="connsiteX102" fmla="*/ 190500 w 1562100"/>
              <a:gd name="connsiteY102" fmla="*/ 1121568 h 1309687"/>
              <a:gd name="connsiteX103" fmla="*/ 216694 w 1562100"/>
              <a:gd name="connsiteY103" fmla="*/ 1128712 h 1309687"/>
              <a:gd name="connsiteX104" fmla="*/ 228600 w 1562100"/>
              <a:gd name="connsiteY104" fmla="*/ 1131093 h 1309687"/>
              <a:gd name="connsiteX105" fmla="*/ 240506 w 1562100"/>
              <a:gd name="connsiteY105" fmla="*/ 1092993 h 1309687"/>
              <a:gd name="connsiteX106" fmla="*/ 269081 w 1562100"/>
              <a:gd name="connsiteY106" fmla="*/ 1097756 h 1309687"/>
              <a:gd name="connsiteX107" fmla="*/ 288131 w 1562100"/>
              <a:gd name="connsiteY107" fmla="*/ 1085850 h 1309687"/>
              <a:gd name="connsiteX108" fmla="*/ 307181 w 1562100"/>
              <a:gd name="connsiteY108" fmla="*/ 1135856 h 1309687"/>
              <a:gd name="connsiteX109" fmla="*/ 330994 w 1562100"/>
              <a:gd name="connsiteY109" fmla="*/ 1150143 h 1309687"/>
              <a:gd name="connsiteX110" fmla="*/ 340519 w 1562100"/>
              <a:gd name="connsiteY110" fmla="*/ 1178718 h 1309687"/>
              <a:gd name="connsiteX111" fmla="*/ 357188 w 1562100"/>
              <a:gd name="connsiteY111" fmla="*/ 1188243 h 1309687"/>
              <a:gd name="connsiteX112" fmla="*/ 364331 w 1562100"/>
              <a:gd name="connsiteY112" fmla="*/ 1219200 h 1309687"/>
              <a:gd name="connsiteX113" fmla="*/ 335756 w 1562100"/>
              <a:gd name="connsiteY113" fmla="*/ 1245393 h 1309687"/>
              <a:gd name="connsiteX114" fmla="*/ 309563 w 1562100"/>
              <a:gd name="connsiteY114" fmla="*/ 1262062 h 1309687"/>
              <a:gd name="connsiteX115" fmla="*/ 297656 w 1562100"/>
              <a:gd name="connsiteY115" fmla="*/ 1285875 h 1309687"/>
              <a:gd name="connsiteX116" fmla="*/ 302419 w 1562100"/>
              <a:gd name="connsiteY116" fmla="*/ 1309687 h 1309687"/>
              <a:gd name="connsiteX117" fmla="*/ 342900 w 1562100"/>
              <a:gd name="connsiteY117" fmla="*/ 1309687 h 1309687"/>
              <a:gd name="connsiteX118" fmla="*/ 390525 w 1562100"/>
              <a:gd name="connsiteY118" fmla="*/ 1304925 h 1309687"/>
              <a:gd name="connsiteX119" fmla="*/ 428625 w 1562100"/>
              <a:gd name="connsiteY119" fmla="*/ 1295400 h 1309687"/>
              <a:gd name="connsiteX120" fmla="*/ 454819 w 1562100"/>
              <a:gd name="connsiteY120" fmla="*/ 1302543 h 1309687"/>
              <a:gd name="connsiteX121" fmla="*/ 473869 w 1562100"/>
              <a:gd name="connsiteY121" fmla="*/ 1281112 h 1309687"/>
              <a:gd name="connsiteX122" fmla="*/ 492919 w 1562100"/>
              <a:gd name="connsiteY122" fmla="*/ 1281112 h 1309687"/>
              <a:gd name="connsiteX123" fmla="*/ 507206 w 1562100"/>
              <a:gd name="connsiteY123" fmla="*/ 1250156 h 1309687"/>
              <a:gd name="connsiteX124" fmla="*/ 557213 w 1562100"/>
              <a:gd name="connsiteY124" fmla="*/ 1235868 h 1309687"/>
              <a:gd name="connsiteX125" fmla="*/ 583406 w 1562100"/>
              <a:gd name="connsiteY125" fmla="*/ 1216818 h 1309687"/>
              <a:gd name="connsiteX126" fmla="*/ 590550 w 1562100"/>
              <a:gd name="connsiteY126" fmla="*/ 1178718 h 1309687"/>
              <a:gd name="connsiteX127" fmla="*/ 607219 w 1562100"/>
              <a:gd name="connsiteY127" fmla="*/ 1152525 h 1309687"/>
              <a:gd name="connsiteX128" fmla="*/ 688181 w 1562100"/>
              <a:gd name="connsiteY128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702469 w 1562100"/>
              <a:gd name="connsiteY54" fmla="*/ 152401 h 1309687"/>
              <a:gd name="connsiteX55" fmla="*/ 704851 w 1562100"/>
              <a:gd name="connsiteY55" fmla="*/ 92869 h 1309687"/>
              <a:gd name="connsiteX56" fmla="*/ 657225 w 1562100"/>
              <a:gd name="connsiteY56" fmla="*/ 64294 h 1309687"/>
              <a:gd name="connsiteX57" fmla="*/ 628650 w 1562100"/>
              <a:gd name="connsiteY57" fmla="*/ 88107 h 1309687"/>
              <a:gd name="connsiteX58" fmla="*/ 500062 w 1562100"/>
              <a:gd name="connsiteY58" fmla="*/ 66676 h 1309687"/>
              <a:gd name="connsiteX59" fmla="*/ 450056 w 1562100"/>
              <a:gd name="connsiteY59" fmla="*/ 2382 h 1309687"/>
              <a:gd name="connsiteX60" fmla="*/ 428625 w 1562100"/>
              <a:gd name="connsiteY60" fmla="*/ 0 h 1309687"/>
              <a:gd name="connsiteX61" fmla="*/ 376238 w 1562100"/>
              <a:gd name="connsiteY61" fmla="*/ 104775 h 1309687"/>
              <a:gd name="connsiteX62" fmla="*/ 314326 w 1562100"/>
              <a:gd name="connsiteY62" fmla="*/ 104774 h 1309687"/>
              <a:gd name="connsiteX63" fmla="*/ 328613 w 1562100"/>
              <a:gd name="connsiteY63" fmla="*/ 183356 h 1309687"/>
              <a:gd name="connsiteX64" fmla="*/ 292894 w 1562100"/>
              <a:gd name="connsiteY64" fmla="*/ 285750 h 1309687"/>
              <a:gd name="connsiteX65" fmla="*/ 264319 w 1562100"/>
              <a:gd name="connsiteY65" fmla="*/ 292893 h 1309687"/>
              <a:gd name="connsiteX66" fmla="*/ 261938 w 1562100"/>
              <a:gd name="connsiteY66" fmla="*/ 307181 h 1309687"/>
              <a:gd name="connsiteX67" fmla="*/ 261938 w 1562100"/>
              <a:gd name="connsiteY67" fmla="*/ 340518 h 1309687"/>
              <a:gd name="connsiteX68" fmla="*/ 228600 w 1562100"/>
              <a:gd name="connsiteY68" fmla="*/ 383381 h 1309687"/>
              <a:gd name="connsiteX69" fmla="*/ 271463 w 1562100"/>
              <a:gd name="connsiteY69" fmla="*/ 400050 h 1309687"/>
              <a:gd name="connsiteX70" fmla="*/ 278606 w 1562100"/>
              <a:gd name="connsiteY70" fmla="*/ 419100 h 1309687"/>
              <a:gd name="connsiteX71" fmla="*/ 257175 w 1562100"/>
              <a:gd name="connsiteY71" fmla="*/ 454818 h 1309687"/>
              <a:gd name="connsiteX72" fmla="*/ 221456 w 1562100"/>
              <a:gd name="connsiteY72" fmla="*/ 464343 h 1309687"/>
              <a:gd name="connsiteX73" fmla="*/ 221456 w 1562100"/>
              <a:gd name="connsiteY73" fmla="*/ 504825 h 1309687"/>
              <a:gd name="connsiteX74" fmla="*/ 254794 w 1562100"/>
              <a:gd name="connsiteY74" fmla="*/ 542925 h 1309687"/>
              <a:gd name="connsiteX75" fmla="*/ 226219 w 1562100"/>
              <a:gd name="connsiteY75" fmla="*/ 607218 h 1309687"/>
              <a:gd name="connsiteX76" fmla="*/ 180975 w 1562100"/>
              <a:gd name="connsiteY76" fmla="*/ 635793 h 1309687"/>
              <a:gd name="connsiteX77" fmla="*/ 183356 w 1562100"/>
              <a:gd name="connsiteY77" fmla="*/ 652462 h 1309687"/>
              <a:gd name="connsiteX78" fmla="*/ 204788 w 1562100"/>
              <a:gd name="connsiteY78" fmla="*/ 661987 h 1309687"/>
              <a:gd name="connsiteX79" fmla="*/ 219075 w 1562100"/>
              <a:gd name="connsiteY79" fmla="*/ 671512 h 1309687"/>
              <a:gd name="connsiteX80" fmla="*/ 223838 w 1562100"/>
              <a:gd name="connsiteY80" fmla="*/ 690562 h 1309687"/>
              <a:gd name="connsiteX81" fmla="*/ 195263 w 1562100"/>
              <a:gd name="connsiteY81" fmla="*/ 716756 h 1309687"/>
              <a:gd name="connsiteX82" fmla="*/ 123825 w 1562100"/>
              <a:gd name="connsiteY82" fmla="*/ 762000 h 1309687"/>
              <a:gd name="connsiteX83" fmla="*/ 123825 w 1562100"/>
              <a:gd name="connsiteY83" fmla="*/ 797718 h 1309687"/>
              <a:gd name="connsiteX84" fmla="*/ 135731 w 1562100"/>
              <a:gd name="connsiteY84" fmla="*/ 828675 h 1309687"/>
              <a:gd name="connsiteX85" fmla="*/ 123825 w 1562100"/>
              <a:gd name="connsiteY85" fmla="*/ 869156 h 1309687"/>
              <a:gd name="connsiteX86" fmla="*/ 76200 w 1562100"/>
              <a:gd name="connsiteY86" fmla="*/ 864393 h 1309687"/>
              <a:gd name="connsiteX87" fmla="*/ 52388 w 1562100"/>
              <a:gd name="connsiteY87" fmla="*/ 809625 h 1309687"/>
              <a:gd name="connsiteX88" fmla="*/ 33338 w 1562100"/>
              <a:gd name="connsiteY88" fmla="*/ 802481 h 1309687"/>
              <a:gd name="connsiteX89" fmla="*/ 23813 w 1562100"/>
              <a:gd name="connsiteY89" fmla="*/ 840581 h 1309687"/>
              <a:gd name="connsiteX90" fmla="*/ 21431 w 1562100"/>
              <a:gd name="connsiteY90" fmla="*/ 850106 h 1309687"/>
              <a:gd name="connsiteX91" fmla="*/ 7144 w 1562100"/>
              <a:gd name="connsiteY91" fmla="*/ 866775 h 1309687"/>
              <a:gd name="connsiteX92" fmla="*/ 0 w 1562100"/>
              <a:gd name="connsiteY92" fmla="*/ 923925 h 1309687"/>
              <a:gd name="connsiteX93" fmla="*/ 23813 w 1562100"/>
              <a:gd name="connsiteY93" fmla="*/ 952500 h 1309687"/>
              <a:gd name="connsiteX94" fmla="*/ 16669 w 1562100"/>
              <a:gd name="connsiteY94" fmla="*/ 992981 h 1309687"/>
              <a:gd name="connsiteX95" fmla="*/ 35719 w 1562100"/>
              <a:gd name="connsiteY95" fmla="*/ 997743 h 1309687"/>
              <a:gd name="connsiteX96" fmla="*/ 69056 w 1562100"/>
              <a:gd name="connsiteY96" fmla="*/ 997743 h 1309687"/>
              <a:gd name="connsiteX97" fmla="*/ 85725 w 1562100"/>
              <a:gd name="connsiteY97" fmla="*/ 988218 h 1309687"/>
              <a:gd name="connsiteX98" fmla="*/ 135731 w 1562100"/>
              <a:gd name="connsiteY98" fmla="*/ 1045368 h 1309687"/>
              <a:gd name="connsiteX99" fmla="*/ 123825 w 1562100"/>
              <a:gd name="connsiteY99" fmla="*/ 1064418 h 1309687"/>
              <a:gd name="connsiteX100" fmla="*/ 133350 w 1562100"/>
              <a:gd name="connsiteY100" fmla="*/ 1092993 h 1309687"/>
              <a:gd name="connsiteX101" fmla="*/ 164306 w 1562100"/>
              <a:gd name="connsiteY101" fmla="*/ 1112043 h 1309687"/>
              <a:gd name="connsiteX102" fmla="*/ 190500 w 1562100"/>
              <a:gd name="connsiteY102" fmla="*/ 1121568 h 1309687"/>
              <a:gd name="connsiteX103" fmla="*/ 216694 w 1562100"/>
              <a:gd name="connsiteY103" fmla="*/ 1128712 h 1309687"/>
              <a:gd name="connsiteX104" fmla="*/ 228600 w 1562100"/>
              <a:gd name="connsiteY104" fmla="*/ 1131093 h 1309687"/>
              <a:gd name="connsiteX105" fmla="*/ 240506 w 1562100"/>
              <a:gd name="connsiteY105" fmla="*/ 1092993 h 1309687"/>
              <a:gd name="connsiteX106" fmla="*/ 269081 w 1562100"/>
              <a:gd name="connsiteY106" fmla="*/ 1097756 h 1309687"/>
              <a:gd name="connsiteX107" fmla="*/ 288131 w 1562100"/>
              <a:gd name="connsiteY107" fmla="*/ 1085850 h 1309687"/>
              <a:gd name="connsiteX108" fmla="*/ 307181 w 1562100"/>
              <a:gd name="connsiteY108" fmla="*/ 1135856 h 1309687"/>
              <a:gd name="connsiteX109" fmla="*/ 330994 w 1562100"/>
              <a:gd name="connsiteY109" fmla="*/ 1150143 h 1309687"/>
              <a:gd name="connsiteX110" fmla="*/ 340519 w 1562100"/>
              <a:gd name="connsiteY110" fmla="*/ 1178718 h 1309687"/>
              <a:gd name="connsiteX111" fmla="*/ 357188 w 1562100"/>
              <a:gd name="connsiteY111" fmla="*/ 1188243 h 1309687"/>
              <a:gd name="connsiteX112" fmla="*/ 364331 w 1562100"/>
              <a:gd name="connsiteY112" fmla="*/ 1219200 h 1309687"/>
              <a:gd name="connsiteX113" fmla="*/ 335756 w 1562100"/>
              <a:gd name="connsiteY113" fmla="*/ 1245393 h 1309687"/>
              <a:gd name="connsiteX114" fmla="*/ 309563 w 1562100"/>
              <a:gd name="connsiteY114" fmla="*/ 1262062 h 1309687"/>
              <a:gd name="connsiteX115" fmla="*/ 297656 w 1562100"/>
              <a:gd name="connsiteY115" fmla="*/ 1285875 h 1309687"/>
              <a:gd name="connsiteX116" fmla="*/ 302419 w 1562100"/>
              <a:gd name="connsiteY116" fmla="*/ 1309687 h 1309687"/>
              <a:gd name="connsiteX117" fmla="*/ 342900 w 1562100"/>
              <a:gd name="connsiteY117" fmla="*/ 1309687 h 1309687"/>
              <a:gd name="connsiteX118" fmla="*/ 390525 w 1562100"/>
              <a:gd name="connsiteY118" fmla="*/ 1304925 h 1309687"/>
              <a:gd name="connsiteX119" fmla="*/ 428625 w 1562100"/>
              <a:gd name="connsiteY119" fmla="*/ 1295400 h 1309687"/>
              <a:gd name="connsiteX120" fmla="*/ 454819 w 1562100"/>
              <a:gd name="connsiteY120" fmla="*/ 1302543 h 1309687"/>
              <a:gd name="connsiteX121" fmla="*/ 473869 w 1562100"/>
              <a:gd name="connsiteY121" fmla="*/ 1281112 h 1309687"/>
              <a:gd name="connsiteX122" fmla="*/ 492919 w 1562100"/>
              <a:gd name="connsiteY122" fmla="*/ 1281112 h 1309687"/>
              <a:gd name="connsiteX123" fmla="*/ 507206 w 1562100"/>
              <a:gd name="connsiteY123" fmla="*/ 1250156 h 1309687"/>
              <a:gd name="connsiteX124" fmla="*/ 557213 w 1562100"/>
              <a:gd name="connsiteY124" fmla="*/ 1235868 h 1309687"/>
              <a:gd name="connsiteX125" fmla="*/ 583406 w 1562100"/>
              <a:gd name="connsiteY125" fmla="*/ 1216818 h 1309687"/>
              <a:gd name="connsiteX126" fmla="*/ 590550 w 1562100"/>
              <a:gd name="connsiteY126" fmla="*/ 1178718 h 1309687"/>
              <a:gd name="connsiteX127" fmla="*/ 607219 w 1562100"/>
              <a:gd name="connsiteY127" fmla="*/ 1152525 h 1309687"/>
              <a:gd name="connsiteX128" fmla="*/ 688181 w 1562100"/>
              <a:gd name="connsiteY128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81038 w 1562100"/>
              <a:gd name="connsiteY54" fmla="*/ 157164 h 1309687"/>
              <a:gd name="connsiteX55" fmla="*/ 704851 w 1562100"/>
              <a:gd name="connsiteY55" fmla="*/ 92869 h 1309687"/>
              <a:gd name="connsiteX56" fmla="*/ 657225 w 1562100"/>
              <a:gd name="connsiteY56" fmla="*/ 64294 h 1309687"/>
              <a:gd name="connsiteX57" fmla="*/ 628650 w 1562100"/>
              <a:gd name="connsiteY57" fmla="*/ 88107 h 1309687"/>
              <a:gd name="connsiteX58" fmla="*/ 500062 w 1562100"/>
              <a:gd name="connsiteY58" fmla="*/ 66676 h 1309687"/>
              <a:gd name="connsiteX59" fmla="*/ 450056 w 1562100"/>
              <a:gd name="connsiteY59" fmla="*/ 2382 h 1309687"/>
              <a:gd name="connsiteX60" fmla="*/ 428625 w 1562100"/>
              <a:gd name="connsiteY60" fmla="*/ 0 h 1309687"/>
              <a:gd name="connsiteX61" fmla="*/ 376238 w 1562100"/>
              <a:gd name="connsiteY61" fmla="*/ 104775 h 1309687"/>
              <a:gd name="connsiteX62" fmla="*/ 314326 w 1562100"/>
              <a:gd name="connsiteY62" fmla="*/ 104774 h 1309687"/>
              <a:gd name="connsiteX63" fmla="*/ 328613 w 1562100"/>
              <a:gd name="connsiteY63" fmla="*/ 183356 h 1309687"/>
              <a:gd name="connsiteX64" fmla="*/ 292894 w 1562100"/>
              <a:gd name="connsiteY64" fmla="*/ 285750 h 1309687"/>
              <a:gd name="connsiteX65" fmla="*/ 264319 w 1562100"/>
              <a:gd name="connsiteY65" fmla="*/ 292893 h 1309687"/>
              <a:gd name="connsiteX66" fmla="*/ 261938 w 1562100"/>
              <a:gd name="connsiteY66" fmla="*/ 307181 h 1309687"/>
              <a:gd name="connsiteX67" fmla="*/ 261938 w 1562100"/>
              <a:gd name="connsiteY67" fmla="*/ 340518 h 1309687"/>
              <a:gd name="connsiteX68" fmla="*/ 228600 w 1562100"/>
              <a:gd name="connsiteY68" fmla="*/ 383381 h 1309687"/>
              <a:gd name="connsiteX69" fmla="*/ 271463 w 1562100"/>
              <a:gd name="connsiteY69" fmla="*/ 400050 h 1309687"/>
              <a:gd name="connsiteX70" fmla="*/ 278606 w 1562100"/>
              <a:gd name="connsiteY70" fmla="*/ 419100 h 1309687"/>
              <a:gd name="connsiteX71" fmla="*/ 257175 w 1562100"/>
              <a:gd name="connsiteY71" fmla="*/ 454818 h 1309687"/>
              <a:gd name="connsiteX72" fmla="*/ 221456 w 1562100"/>
              <a:gd name="connsiteY72" fmla="*/ 464343 h 1309687"/>
              <a:gd name="connsiteX73" fmla="*/ 221456 w 1562100"/>
              <a:gd name="connsiteY73" fmla="*/ 504825 h 1309687"/>
              <a:gd name="connsiteX74" fmla="*/ 254794 w 1562100"/>
              <a:gd name="connsiteY74" fmla="*/ 542925 h 1309687"/>
              <a:gd name="connsiteX75" fmla="*/ 226219 w 1562100"/>
              <a:gd name="connsiteY75" fmla="*/ 607218 h 1309687"/>
              <a:gd name="connsiteX76" fmla="*/ 180975 w 1562100"/>
              <a:gd name="connsiteY76" fmla="*/ 635793 h 1309687"/>
              <a:gd name="connsiteX77" fmla="*/ 183356 w 1562100"/>
              <a:gd name="connsiteY77" fmla="*/ 652462 h 1309687"/>
              <a:gd name="connsiteX78" fmla="*/ 204788 w 1562100"/>
              <a:gd name="connsiteY78" fmla="*/ 661987 h 1309687"/>
              <a:gd name="connsiteX79" fmla="*/ 219075 w 1562100"/>
              <a:gd name="connsiteY79" fmla="*/ 671512 h 1309687"/>
              <a:gd name="connsiteX80" fmla="*/ 223838 w 1562100"/>
              <a:gd name="connsiteY80" fmla="*/ 690562 h 1309687"/>
              <a:gd name="connsiteX81" fmla="*/ 195263 w 1562100"/>
              <a:gd name="connsiteY81" fmla="*/ 716756 h 1309687"/>
              <a:gd name="connsiteX82" fmla="*/ 123825 w 1562100"/>
              <a:gd name="connsiteY82" fmla="*/ 762000 h 1309687"/>
              <a:gd name="connsiteX83" fmla="*/ 123825 w 1562100"/>
              <a:gd name="connsiteY83" fmla="*/ 797718 h 1309687"/>
              <a:gd name="connsiteX84" fmla="*/ 135731 w 1562100"/>
              <a:gd name="connsiteY84" fmla="*/ 828675 h 1309687"/>
              <a:gd name="connsiteX85" fmla="*/ 123825 w 1562100"/>
              <a:gd name="connsiteY85" fmla="*/ 869156 h 1309687"/>
              <a:gd name="connsiteX86" fmla="*/ 76200 w 1562100"/>
              <a:gd name="connsiteY86" fmla="*/ 864393 h 1309687"/>
              <a:gd name="connsiteX87" fmla="*/ 52388 w 1562100"/>
              <a:gd name="connsiteY87" fmla="*/ 809625 h 1309687"/>
              <a:gd name="connsiteX88" fmla="*/ 33338 w 1562100"/>
              <a:gd name="connsiteY88" fmla="*/ 802481 h 1309687"/>
              <a:gd name="connsiteX89" fmla="*/ 23813 w 1562100"/>
              <a:gd name="connsiteY89" fmla="*/ 840581 h 1309687"/>
              <a:gd name="connsiteX90" fmla="*/ 21431 w 1562100"/>
              <a:gd name="connsiteY90" fmla="*/ 850106 h 1309687"/>
              <a:gd name="connsiteX91" fmla="*/ 7144 w 1562100"/>
              <a:gd name="connsiteY91" fmla="*/ 866775 h 1309687"/>
              <a:gd name="connsiteX92" fmla="*/ 0 w 1562100"/>
              <a:gd name="connsiteY92" fmla="*/ 923925 h 1309687"/>
              <a:gd name="connsiteX93" fmla="*/ 23813 w 1562100"/>
              <a:gd name="connsiteY93" fmla="*/ 952500 h 1309687"/>
              <a:gd name="connsiteX94" fmla="*/ 16669 w 1562100"/>
              <a:gd name="connsiteY94" fmla="*/ 992981 h 1309687"/>
              <a:gd name="connsiteX95" fmla="*/ 35719 w 1562100"/>
              <a:gd name="connsiteY95" fmla="*/ 997743 h 1309687"/>
              <a:gd name="connsiteX96" fmla="*/ 69056 w 1562100"/>
              <a:gd name="connsiteY96" fmla="*/ 997743 h 1309687"/>
              <a:gd name="connsiteX97" fmla="*/ 85725 w 1562100"/>
              <a:gd name="connsiteY97" fmla="*/ 988218 h 1309687"/>
              <a:gd name="connsiteX98" fmla="*/ 135731 w 1562100"/>
              <a:gd name="connsiteY98" fmla="*/ 1045368 h 1309687"/>
              <a:gd name="connsiteX99" fmla="*/ 123825 w 1562100"/>
              <a:gd name="connsiteY99" fmla="*/ 1064418 h 1309687"/>
              <a:gd name="connsiteX100" fmla="*/ 133350 w 1562100"/>
              <a:gd name="connsiteY100" fmla="*/ 1092993 h 1309687"/>
              <a:gd name="connsiteX101" fmla="*/ 164306 w 1562100"/>
              <a:gd name="connsiteY101" fmla="*/ 1112043 h 1309687"/>
              <a:gd name="connsiteX102" fmla="*/ 190500 w 1562100"/>
              <a:gd name="connsiteY102" fmla="*/ 1121568 h 1309687"/>
              <a:gd name="connsiteX103" fmla="*/ 216694 w 1562100"/>
              <a:gd name="connsiteY103" fmla="*/ 1128712 h 1309687"/>
              <a:gd name="connsiteX104" fmla="*/ 228600 w 1562100"/>
              <a:gd name="connsiteY104" fmla="*/ 1131093 h 1309687"/>
              <a:gd name="connsiteX105" fmla="*/ 240506 w 1562100"/>
              <a:gd name="connsiteY105" fmla="*/ 1092993 h 1309687"/>
              <a:gd name="connsiteX106" fmla="*/ 269081 w 1562100"/>
              <a:gd name="connsiteY106" fmla="*/ 1097756 h 1309687"/>
              <a:gd name="connsiteX107" fmla="*/ 288131 w 1562100"/>
              <a:gd name="connsiteY107" fmla="*/ 1085850 h 1309687"/>
              <a:gd name="connsiteX108" fmla="*/ 307181 w 1562100"/>
              <a:gd name="connsiteY108" fmla="*/ 1135856 h 1309687"/>
              <a:gd name="connsiteX109" fmla="*/ 330994 w 1562100"/>
              <a:gd name="connsiteY109" fmla="*/ 1150143 h 1309687"/>
              <a:gd name="connsiteX110" fmla="*/ 340519 w 1562100"/>
              <a:gd name="connsiteY110" fmla="*/ 1178718 h 1309687"/>
              <a:gd name="connsiteX111" fmla="*/ 357188 w 1562100"/>
              <a:gd name="connsiteY111" fmla="*/ 1188243 h 1309687"/>
              <a:gd name="connsiteX112" fmla="*/ 364331 w 1562100"/>
              <a:gd name="connsiteY112" fmla="*/ 1219200 h 1309687"/>
              <a:gd name="connsiteX113" fmla="*/ 335756 w 1562100"/>
              <a:gd name="connsiteY113" fmla="*/ 1245393 h 1309687"/>
              <a:gd name="connsiteX114" fmla="*/ 309563 w 1562100"/>
              <a:gd name="connsiteY114" fmla="*/ 1262062 h 1309687"/>
              <a:gd name="connsiteX115" fmla="*/ 297656 w 1562100"/>
              <a:gd name="connsiteY115" fmla="*/ 1285875 h 1309687"/>
              <a:gd name="connsiteX116" fmla="*/ 302419 w 1562100"/>
              <a:gd name="connsiteY116" fmla="*/ 1309687 h 1309687"/>
              <a:gd name="connsiteX117" fmla="*/ 342900 w 1562100"/>
              <a:gd name="connsiteY117" fmla="*/ 1309687 h 1309687"/>
              <a:gd name="connsiteX118" fmla="*/ 390525 w 1562100"/>
              <a:gd name="connsiteY118" fmla="*/ 1304925 h 1309687"/>
              <a:gd name="connsiteX119" fmla="*/ 428625 w 1562100"/>
              <a:gd name="connsiteY119" fmla="*/ 1295400 h 1309687"/>
              <a:gd name="connsiteX120" fmla="*/ 454819 w 1562100"/>
              <a:gd name="connsiteY120" fmla="*/ 1302543 h 1309687"/>
              <a:gd name="connsiteX121" fmla="*/ 473869 w 1562100"/>
              <a:gd name="connsiteY121" fmla="*/ 1281112 h 1309687"/>
              <a:gd name="connsiteX122" fmla="*/ 492919 w 1562100"/>
              <a:gd name="connsiteY122" fmla="*/ 1281112 h 1309687"/>
              <a:gd name="connsiteX123" fmla="*/ 507206 w 1562100"/>
              <a:gd name="connsiteY123" fmla="*/ 1250156 h 1309687"/>
              <a:gd name="connsiteX124" fmla="*/ 557213 w 1562100"/>
              <a:gd name="connsiteY124" fmla="*/ 1235868 h 1309687"/>
              <a:gd name="connsiteX125" fmla="*/ 583406 w 1562100"/>
              <a:gd name="connsiteY125" fmla="*/ 1216818 h 1309687"/>
              <a:gd name="connsiteX126" fmla="*/ 590550 w 1562100"/>
              <a:gd name="connsiteY126" fmla="*/ 1178718 h 1309687"/>
              <a:gd name="connsiteX127" fmla="*/ 607219 w 1562100"/>
              <a:gd name="connsiteY127" fmla="*/ 1152525 h 1309687"/>
              <a:gd name="connsiteX128" fmla="*/ 688181 w 1562100"/>
              <a:gd name="connsiteY128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81038 w 1562100"/>
              <a:gd name="connsiteY54" fmla="*/ 157164 h 1309687"/>
              <a:gd name="connsiteX55" fmla="*/ 704851 w 1562100"/>
              <a:gd name="connsiteY55" fmla="*/ 92869 h 1309687"/>
              <a:gd name="connsiteX56" fmla="*/ 657225 w 1562100"/>
              <a:gd name="connsiteY56" fmla="*/ 64294 h 1309687"/>
              <a:gd name="connsiteX57" fmla="*/ 628650 w 1562100"/>
              <a:gd name="connsiteY57" fmla="*/ 88107 h 1309687"/>
              <a:gd name="connsiteX58" fmla="*/ 500062 w 1562100"/>
              <a:gd name="connsiteY58" fmla="*/ 66676 h 1309687"/>
              <a:gd name="connsiteX59" fmla="*/ 450056 w 1562100"/>
              <a:gd name="connsiteY59" fmla="*/ 2382 h 1309687"/>
              <a:gd name="connsiteX60" fmla="*/ 428625 w 1562100"/>
              <a:gd name="connsiteY60" fmla="*/ 0 h 1309687"/>
              <a:gd name="connsiteX61" fmla="*/ 376238 w 1562100"/>
              <a:gd name="connsiteY61" fmla="*/ 104775 h 1309687"/>
              <a:gd name="connsiteX62" fmla="*/ 314326 w 1562100"/>
              <a:gd name="connsiteY62" fmla="*/ 104774 h 1309687"/>
              <a:gd name="connsiteX63" fmla="*/ 328613 w 1562100"/>
              <a:gd name="connsiteY63" fmla="*/ 183356 h 1309687"/>
              <a:gd name="connsiteX64" fmla="*/ 292894 w 1562100"/>
              <a:gd name="connsiteY64" fmla="*/ 285750 h 1309687"/>
              <a:gd name="connsiteX65" fmla="*/ 264319 w 1562100"/>
              <a:gd name="connsiteY65" fmla="*/ 292893 h 1309687"/>
              <a:gd name="connsiteX66" fmla="*/ 261938 w 1562100"/>
              <a:gd name="connsiteY66" fmla="*/ 307181 h 1309687"/>
              <a:gd name="connsiteX67" fmla="*/ 261938 w 1562100"/>
              <a:gd name="connsiteY67" fmla="*/ 340518 h 1309687"/>
              <a:gd name="connsiteX68" fmla="*/ 228600 w 1562100"/>
              <a:gd name="connsiteY68" fmla="*/ 383381 h 1309687"/>
              <a:gd name="connsiteX69" fmla="*/ 271463 w 1562100"/>
              <a:gd name="connsiteY69" fmla="*/ 400050 h 1309687"/>
              <a:gd name="connsiteX70" fmla="*/ 278606 w 1562100"/>
              <a:gd name="connsiteY70" fmla="*/ 419100 h 1309687"/>
              <a:gd name="connsiteX71" fmla="*/ 257175 w 1562100"/>
              <a:gd name="connsiteY71" fmla="*/ 454818 h 1309687"/>
              <a:gd name="connsiteX72" fmla="*/ 221456 w 1562100"/>
              <a:gd name="connsiteY72" fmla="*/ 464343 h 1309687"/>
              <a:gd name="connsiteX73" fmla="*/ 221456 w 1562100"/>
              <a:gd name="connsiteY73" fmla="*/ 504825 h 1309687"/>
              <a:gd name="connsiteX74" fmla="*/ 254794 w 1562100"/>
              <a:gd name="connsiteY74" fmla="*/ 542925 h 1309687"/>
              <a:gd name="connsiteX75" fmla="*/ 226219 w 1562100"/>
              <a:gd name="connsiteY75" fmla="*/ 607218 h 1309687"/>
              <a:gd name="connsiteX76" fmla="*/ 180975 w 1562100"/>
              <a:gd name="connsiteY76" fmla="*/ 635793 h 1309687"/>
              <a:gd name="connsiteX77" fmla="*/ 183356 w 1562100"/>
              <a:gd name="connsiteY77" fmla="*/ 652462 h 1309687"/>
              <a:gd name="connsiteX78" fmla="*/ 204788 w 1562100"/>
              <a:gd name="connsiteY78" fmla="*/ 661987 h 1309687"/>
              <a:gd name="connsiteX79" fmla="*/ 219075 w 1562100"/>
              <a:gd name="connsiteY79" fmla="*/ 671512 h 1309687"/>
              <a:gd name="connsiteX80" fmla="*/ 223838 w 1562100"/>
              <a:gd name="connsiteY80" fmla="*/ 690562 h 1309687"/>
              <a:gd name="connsiteX81" fmla="*/ 195263 w 1562100"/>
              <a:gd name="connsiteY81" fmla="*/ 716756 h 1309687"/>
              <a:gd name="connsiteX82" fmla="*/ 123825 w 1562100"/>
              <a:gd name="connsiteY82" fmla="*/ 762000 h 1309687"/>
              <a:gd name="connsiteX83" fmla="*/ 123825 w 1562100"/>
              <a:gd name="connsiteY83" fmla="*/ 797718 h 1309687"/>
              <a:gd name="connsiteX84" fmla="*/ 135731 w 1562100"/>
              <a:gd name="connsiteY84" fmla="*/ 828675 h 1309687"/>
              <a:gd name="connsiteX85" fmla="*/ 123825 w 1562100"/>
              <a:gd name="connsiteY85" fmla="*/ 869156 h 1309687"/>
              <a:gd name="connsiteX86" fmla="*/ 76200 w 1562100"/>
              <a:gd name="connsiteY86" fmla="*/ 864393 h 1309687"/>
              <a:gd name="connsiteX87" fmla="*/ 52388 w 1562100"/>
              <a:gd name="connsiteY87" fmla="*/ 809625 h 1309687"/>
              <a:gd name="connsiteX88" fmla="*/ 33338 w 1562100"/>
              <a:gd name="connsiteY88" fmla="*/ 802481 h 1309687"/>
              <a:gd name="connsiteX89" fmla="*/ 23813 w 1562100"/>
              <a:gd name="connsiteY89" fmla="*/ 840581 h 1309687"/>
              <a:gd name="connsiteX90" fmla="*/ 21431 w 1562100"/>
              <a:gd name="connsiteY90" fmla="*/ 850106 h 1309687"/>
              <a:gd name="connsiteX91" fmla="*/ 7144 w 1562100"/>
              <a:gd name="connsiteY91" fmla="*/ 866775 h 1309687"/>
              <a:gd name="connsiteX92" fmla="*/ 0 w 1562100"/>
              <a:gd name="connsiteY92" fmla="*/ 923925 h 1309687"/>
              <a:gd name="connsiteX93" fmla="*/ 23813 w 1562100"/>
              <a:gd name="connsiteY93" fmla="*/ 952500 h 1309687"/>
              <a:gd name="connsiteX94" fmla="*/ 16669 w 1562100"/>
              <a:gd name="connsiteY94" fmla="*/ 992981 h 1309687"/>
              <a:gd name="connsiteX95" fmla="*/ 35719 w 1562100"/>
              <a:gd name="connsiteY95" fmla="*/ 997743 h 1309687"/>
              <a:gd name="connsiteX96" fmla="*/ 69056 w 1562100"/>
              <a:gd name="connsiteY96" fmla="*/ 997743 h 1309687"/>
              <a:gd name="connsiteX97" fmla="*/ 85725 w 1562100"/>
              <a:gd name="connsiteY97" fmla="*/ 988218 h 1309687"/>
              <a:gd name="connsiteX98" fmla="*/ 135731 w 1562100"/>
              <a:gd name="connsiteY98" fmla="*/ 1045368 h 1309687"/>
              <a:gd name="connsiteX99" fmla="*/ 123825 w 1562100"/>
              <a:gd name="connsiteY99" fmla="*/ 1064418 h 1309687"/>
              <a:gd name="connsiteX100" fmla="*/ 133350 w 1562100"/>
              <a:gd name="connsiteY100" fmla="*/ 1092993 h 1309687"/>
              <a:gd name="connsiteX101" fmla="*/ 164306 w 1562100"/>
              <a:gd name="connsiteY101" fmla="*/ 1112043 h 1309687"/>
              <a:gd name="connsiteX102" fmla="*/ 190500 w 1562100"/>
              <a:gd name="connsiteY102" fmla="*/ 1121568 h 1309687"/>
              <a:gd name="connsiteX103" fmla="*/ 216694 w 1562100"/>
              <a:gd name="connsiteY103" fmla="*/ 1128712 h 1309687"/>
              <a:gd name="connsiteX104" fmla="*/ 228600 w 1562100"/>
              <a:gd name="connsiteY104" fmla="*/ 1131093 h 1309687"/>
              <a:gd name="connsiteX105" fmla="*/ 240506 w 1562100"/>
              <a:gd name="connsiteY105" fmla="*/ 1092993 h 1309687"/>
              <a:gd name="connsiteX106" fmla="*/ 269081 w 1562100"/>
              <a:gd name="connsiteY106" fmla="*/ 1097756 h 1309687"/>
              <a:gd name="connsiteX107" fmla="*/ 288131 w 1562100"/>
              <a:gd name="connsiteY107" fmla="*/ 1085850 h 1309687"/>
              <a:gd name="connsiteX108" fmla="*/ 307181 w 1562100"/>
              <a:gd name="connsiteY108" fmla="*/ 1135856 h 1309687"/>
              <a:gd name="connsiteX109" fmla="*/ 330994 w 1562100"/>
              <a:gd name="connsiteY109" fmla="*/ 1150143 h 1309687"/>
              <a:gd name="connsiteX110" fmla="*/ 340519 w 1562100"/>
              <a:gd name="connsiteY110" fmla="*/ 1178718 h 1309687"/>
              <a:gd name="connsiteX111" fmla="*/ 357188 w 1562100"/>
              <a:gd name="connsiteY111" fmla="*/ 1188243 h 1309687"/>
              <a:gd name="connsiteX112" fmla="*/ 364331 w 1562100"/>
              <a:gd name="connsiteY112" fmla="*/ 1219200 h 1309687"/>
              <a:gd name="connsiteX113" fmla="*/ 335756 w 1562100"/>
              <a:gd name="connsiteY113" fmla="*/ 1245393 h 1309687"/>
              <a:gd name="connsiteX114" fmla="*/ 309563 w 1562100"/>
              <a:gd name="connsiteY114" fmla="*/ 1262062 h 1309687"/>
              <a:gd name="connsiteX115" fmla="*/ 297656 w 1562100"/>
              <a:gd name="connsiteY115" fmla="*/ 1285875 h 1309687"/>
              <a:gd name="connsiteX116" fmla="*/ 302419 w 1562100"/>
              <a:gd name="connsiteY116" fmla="*/ 1309687 h 1309687"/>
              <a:gd name="connsiteX117" fmla="*/ 342900 w 1562100"/>
              <a:gd name="connsiteY117" fmla="*/ 1309687 h 1309687"/>
              <a:gd name="connsiteX118" fmla="*/ 390525 w 1562100"/>
              <a:gd name="connsiteY118" fmla="*/ 1304925 h 1309687"/>
              <a:gd name="connsiteX119" fmla="*/ 428625 w 1562100"/>
              <a:gd name="connsiteY119" fmla="*/ 1295400 h 1309687"/>
              <a:gd name="connsiteX120" fmla="*/ 454819 w 1562100"/>
              <a:gd name="connsiteY120" fmla="*/ 1302543 h 1309687"/>
              <a:gd name="connsiteX121" fmla="*/ 473869 w 1562100"/>
              <a:gd name="connsiteY121" fmla="*/ 1281112 h 1309687"/>
              <a:gd name="connsiteX122" fmla="*/ 492919 w 1562100"/>
              <a:gd name="connsiteY122" fmla="*/ 1281112 h 1309687"/>
              <a:gd name="connsiteX123" fmla="*/ 507206 w 1562100"/>
              <a:gd name="connsiteY123" fmla="*/ 1250156 h 1309687"/>
              <a:gd name="connsiteX124" fmla="*/ 557213 w 1562100"/>
              <a:gd name="connsiteY124" fmla="*/ 1235868 h 1309687"/>
              <a:gd name="connsiteX125" fmla="*/ 583406 w 1562100"/>
              <a:gd name="connsiteY125" fmla="*/ 1216818 h 1309687"/>
              <a:gd name="connsiteX126" fmla="*/ 590550 w 1562100"/>
              <a:gd name="connsiteY126" fmla="*/ 1178718 h 1309687"/>
              <a:gd name="connsiteX127" fmla="*/ 607219 w 1562100"/>
              <a:gd name="connsiteY127" fmla="*/ 1152525 h 1309687"/>
              <a:gd name="connsiteX128" fmla="*/ 688181 w 1562100"/>
              <a:gd name="connsiteY128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692944 w 1562100"/>
              <a:gd name="connsiteY54" fmla="*/ 157164 h 1309687"/>
              <a:gd name="connsiteX55" fmla="*/ 704851 w 1562100"/>
              <a:gd name="connsiteY55" fmla="*/ 92869 h 1309687"/>
              <a:gd name="connsiteX56" fmla="*/ 657225 w 1562100"/>
              <a:gd name="connsiteY56" fmla="*/ 64294 h 1309687"/>
              <a:gd name="connsiteX57" fmla="*/ 628650 w 1562100"/>
              <a:gd name="connsiteY57" fmla="*/ 88107 h 1309687"/>
              <a:gd name="connsiteX58" fmla="*/ 500062 w 1562100"/>
              <a:gd name="connsiteY58" fmla="*/ 66676 h 1309687"/>
              <a:gd name="connsiteX59" fmla="*/ 450056 w 1562100"/>
              <a:gd name="connsiteY59" fmla="*/ 2382 h 1309687"/>
              <a:gd name="connsiteX60" fmla="*/ 428625 w 1562100"/>
              <a:gd name="connsiteY60" fmla="*/ 0 h 1309687"/>
              <a:gd name="connsiteX61" fmla="*/ 376238 w 1562100"/>
              <a:gd name="connsiteY61" fmla="*/ 104775 h 1309687"/>
              <a:gd name="connsiteX62" fmla="*/ 314326 w 1562100"/>
              <a:gd name="connsiteY62" fmla="*/ 104774 h 1309687"/>
              <a:gd name="connsiteX63" fmla="*/ 328613 w 1562100"/>
              <a:gd name="connsiteY63" fmla="*/ 183356 h 1309687"/>
              <a:gd name="connsiteX64" fmla="*/ 292894 w 1562100"/>
              <a:gd name="connsiteY64" fmla="*/ 285750 h 1309687"/>
              <a:gd name="connsiteX65" fmla="*/ 264319 w 1562100"/>
              <a:gd name="connsiteY65" fmla="*/ 292893 h 1309687"/>
              <a:gd name="connsiteX66" fmla="*/ 261938 w 1562100"/>
              <a:gd name="connsiteY66" fmla="*/ 307181 h 1309687"/>
              <a:gd name="connsiteX67" fmla="*/ 261938 w 1562100"/>
              <a:gd name="connsiteY67" fmla="*/ 340518 h 1309687"/>
              <a:gd name="connsiteX68" fmla="*/ 228600 w 1562100"/>
              <a:gd name="connsiteY68" fmla="*/ 383381 h 1309687"/>
              <a:gd name="connsiteX69" fmla="*/ 271463 w 1562100"/>
              <a:gd name="connsiteY69" fmla="*/ 400050 h 1309687"/>
              <a:gd name="connsiteX70" fmla="*/ 278606 w 1562100"/>
              <a:gd name="connsiteY70" fmla="*/ 419100 h 1309687"/>
              <a:gd name="connsiteX71" fmla="*/ 257175 w 1562100"/>
              <a:gd name="connsiteY71" fmla="*/ 454818 h 1309687"/>
              <a:gd name="connsiteX72" fmla="*/ 221456 w 1562100"/>
              <a:gd name="connsiteY72" fmla="*/ 464343 h 1309687"/>
              <a:gd name="connsiteX73" fmla="*/ 221456 w 1562100"/>
              <a:gd name="connsiteY73" fmla="*/ 504825 h 1309687"/>
              <a:gd name="connsiteX74" fmla="*/ 254794 w 1562100"/>
              <a:gd name="connsiteY74" fmla="*/ 542925 h 1309687"/>
              <a:gd name="connsiteX75" fmla="*/ 226219 w 1562100"/>
              <a:gd name="connsiteY75" fmla="*/ 607218 h 1309687"/>
              <a:gd name="connsiteX76" fmla="*/ 180975 w 1562100"/>
              <a:gd name="connsiteY76" fmla="*/ 635793 h 1309687"/>
              <a:gd name="connsiteX77" fmla="*/ 183356 w 1562100"/>
              <a:gd name="connsiteY77" fmla="*/ 652462 h 1309687"/>
              <a:gd name="connsiteX78" fmla="*/ 204788 w 1562100"/>
              <a:gd name="connsiteY78" fmla="*/ 661987 h 1309687"/>
              <a:gd name="connsiteX79" fmla="*/ 219075 w 1562100"/>
              <a:gd name="connsiteY79" fmla="*/ 671512 h 1309687"/>
              <a:gd name="connsiteX80" fmla="*/ 223838 w 1562100"/>
              <a:gd name="connsiteY80" fmla="*/ 690562 h 1309687"/>
              <a:gd name="connsiteX81" fmla="*/ 195263 w 1562100"/>
              <a:gd name="connsiteY81" fmla="*/ 716756 h 1309687"/>
              <a:gd name="connsiteX82" fmla="*/ 123825 w 1562100"/>
              <a:gd name="connsiteY82" fmla="*/ 762000 h 1309687"/>
              <a:gd name="connsiteX83" fmla="*/ 123825 w 1562100"/>
              <a:gd name="connsiteY83" fmla="*/ 797718 h 1309687"/>
              <a:gd name="connsiteX84" fmla="*/ 135731 w 1562100"/>
              <a:gd name="connsiteY84" fmla="*/ 828675 h 1309687"/>
              <a:gd name="connsiteX85" fmla="*/ 123825 w 1562100"/>
              <a:gd name="connsiteY85" fmla="*/ 869156 h 1309687"/>
              <a:gd name="connsiteX86" fmla="*/ 76200 w 1562100"/>
              <a:gd name="connsiteY86" fmla="*/ 864393 h 1309687"/>
              <a:gd name="connsiteX87" fmla="*/ 52388 w 1562100"/>
              <a:gd name="connsiteY87" fmla="*/ 809625 h 1309687"/>
              <a:gd name="connsiteX88" fmla="*/ 33338 w 1562100"/>
              <a:gd name="connsiteY88" fmla="*/ 802481 h 1309687"/>
              <a:gd name="connsiteX89" fmla="*/ 23813 w 1562100"/>
              <a:gd name="connsiteY89" fmla="*/ 840581 h 1309687"/>
              <a:gd name="connsiteX90" fmla="*/ 21431 w 1562100"/>
              <a:gd name="connsiteY90" fmla="*/ 850106 h 1309687"/>
              <a:gd name="connsiteX91" fmla="*/ 7144 w 1562100"/>
              <a:gd name="connsiteY91" fmla="*/ 866775 h 1309687"/>
              <a:gd name="connsiteX92" fmla="*/ 0 w 1562100"/>
              <a:gd name="connsiteY92" fmla="*/ 923925 h 1309687"/>
              <a:gd name="connsiteX93" fmla="*/ 23813 w 1562100"/>
              <a:gd name="connsiteY93" fmla="*/ 952500 h 1309687"/>
              <a:gd name="connsiteX94" fmla="*/ 16669 w 1562100"/>
              <a:gd name="connsiteY94" fmla="*/ 992981 h 1309687"/>
              <a:gd name="connsiteX95" fmla="*/ 35719 w 1562100"/>
              <a:gd name="connsiteY95" fmla="*/ 997743 h 1309687"/>
              <a:gd name="connsiteX96" fmla="*/ 69056 w 1562100"/>
              <a:gd name="connsiteY96" fmla="*/ 997743 h 1309687"/>
              <a:gd name="connsiteX97" fmla="*/ 85725 w 1562100"/>
              <a:gd name="connsiteY97" fmla="*/ 988218 h 1309687"/>
              <a:gd name="connsiteX98" fmla="*/ 135731 w 1562100"/>
              <a:gd name="connsiteY98" fmla="*/ 1045368 h 1309687"/>
              <a:gd name="connsiteX99" fmla="*/ 123825 w 1562100"/>
              <a:gd name="connsiteY99" fmla="*/ 1064418 h 1309687"/>
              <a:gd name="connsiteX100" fmla="*/ 133350 w 1562100"/>
              <a:gd name="connsiteY100" fmla="*/ 1092993 h 1309687"/>
              <a:gd name="connsiteX101" fmla="*/ 164306 w 1562100"/>
              <a:gd name="connsiteY101" fmla="*/ 1112043 h 1309687"/>
              <a:gd name="connsiteX102" fmla="*/ 190500 w 1562100"/>
              <a:gd name="connsiteY102" fmla="*/ 1121568 h 1309687"/>
              <a:gd name="connsiteX103" fmla="*/ 216694 w 1562100"/>
              <a:gd name="connsiteY103" fmla="*/ 1128712 h 1309687"/>
              <a:gd name="connsiteX104" fmla="*/ 228600 w 1562100"/>
              <a:gd name="connsiteY104" fmla="*/ 1131093 h 1309687"/>
              <a:gd name="connsiteX105" fmla="*/ 240506 w 1562100"/>
              <a:gd name="connsiteY105" fmla="*/ 1092993 h 1309687"/>
              <a:gd name="connsiteX106" fmla="*/ 269081 w 1562100"/>
              <a:gd name="connsiteY106" fmla="*/ 1097756 h 1309687"/>
              <a:gd name="connsiteX107" fmla="*/ 288131 w 1562100"/>
              <a:gd name="connsiteY107" fmla="*/ 1085850 h 1309687"/>
              <a:gd name="connsiteX108" fmla="*/ 307181 w 1562100"/>
              <a:gd name="connsiteY108" fmla="*/ 1135856 h 1309687"/>
              <a:gd name="connsiteX109" fmla="*/ 330994 w 1562100"/>
              <a:gd name="connsiteY109" fmla="*/ 1150143 h 1309687"/>
              <a:gd name="connsiteX110" fmla="*/ 340519 w 1562100"/>
              <a:gd name="connsiteY110" fmla="*/ 1178718 h 1309687"/>
              <a:gd name="connsiteX111" fmla="*/ 357188 w 1562100"/>
              <a:gd name="connsiteY111" fmla="*/ 1188243 h 1309687"/>
              <a:gd name="connsiteX112" fmla="*/ 364331 w 1562100"/>
              <a:gd name="connsiteY112" fmla="*/ 1219200 h 1309687"/>
              <a:gd name="connsiteX113" fmla="*/ 335756 w 1562100"/>
              <a:gd name="connsiteY113" fmla="*/ 1245393 h 1309687"/>
              <a:gd name="connsiteX114" fmla="*/ 309563 w 1562100"/>
              <a:gd name="connsiteY114" fmla="*/ 1262062 h 1309687"/>
              <a:gd name="connsiteX115" fmla="*/ 297656 w 1562100"/>
              <a:gd name="connsiteY115" fmla="*/ 1285875 h 1309687"/>
              <a:gd name="connsiteX116" fmla="*/ 302419 w 1562100"/>
              <a:gd name="connsiteY116" fmla="*/ 1309687 h 1309687"/>
              <a:gd name="connsiteX117" fmla="*/ 342900 w 1562100"/>
              <a:gd name="connsiteY117" fmla="*/ 1309687 h 1309687"/>
              <a:gd name="connsiteX118" fmla="*/ 390525 w 1562100"/>
              <a:gd name="connsiteY118" fmla="*/ 1304925 h 1309687"/>
              <a:gd name="connsiteX119" fmla="*/ 428625 w 1562100"/>
              <a:gd name="connsiteY119" fmla="*/ 1295400 h 1309687"/>
              <a:gd name="connsiteX120" fmla="*/ 454819 w 1562100"/>
              <a:gd name="connsiteY120" fmla="*/ 1302543 h 1309687"/>
              <a:gd name="connsiteX121" fmla="*/ 473869 w 1562100"/>
              <a:gd name="connsiteY121" fmla="*/ 1281112 h 1309687"/>
              <a:gd name="connsiteX122" fmla="*/ 492919 w 1562100"/>
              <a:gd name="connsiteY122" fmla="*/ 1281112 h 1309687"/>
              <a:gd name="connsiteX123" fmla="*/ 507206 w 1562100"/>
              <a:gd name="connsiteY123" fmla="*/ 1250156 h 1309687"/>
              <a:gd name="connsiteX124" fmla="*/ 557213 w 1562100"/>
              <a:gd name="connsiteY124" fmla="*/ 1235868 h 1309687"/>
              <a:gd name="connsiteX125" fmla="*/ 583406 w 1562100"/>
              <a:gd name="connsiteY125" fmla="*/ 1216818 h 1309687"/>
              <a:gd name="connsiteX126" fmla="*/ 590550 w 1562100"/>
              <a:gd name="connsiteY126" fmla="*/ 1178718 h 1309687"/>
              <a:gd name="connsiteX127" fmla="*/ 607219 w 1562100"/>
              <a:gd name="connsiteY127" fmla="*/ 1152525 h 1309687"/>
              <a:gd name="connsiteX128" fmla="*/ 688181 w 1562100"/>
              <a:gd name="connsiteY128" fmla="*/ 1183481 h 1309687"/>
              <a:gd name="connsiteX0" fmla="*/ 688181 w 1562100"/>
              <a:gd name="connsiteY0" fmla="*/ 1183481 h 1309687"/>
              <a:gd name="connsiteX1" fmla="*/ 688181 w 1562100"/>
              <a:gd name="connsiteY1" fmla="*/ 1097756 h 1309687"/>
              <a:gd name="connsiteX2" fmla="*/ 692944 w 1562100"/>
              <a:gd name="connsiteY2" fmla="*/ 1054893 h 1309687"/>
              <a:gd name="connsiteX3" fmla="*/ 692944 w 1562100"/>
              <a:gd name="connsiteY3" fmla="*/ 1009650 h 1309687"/>
              <a:gd name="connsiteX4" fmla="*/ 676275 w 1562100"/>
              <a:gd name="connsiteY4" fmla="*/ 985837 h 1309687"/>
              <a:gd name="connsiteX5" fmla="*/ 690563 w 1562100"/>
              <a:gd name="connsiteY5" fmla="*/ 933450 h 1309687"/>
              <a:gd name="connsiteX6" fmla="*/ 685800 w 1562100"/>
              <a:gd name="connsiteY6" fmla="*/ 907256 h 1309687"/>
              <a:gd name="connsiteX7" fmla="*/ 697706 w 1562100"/>
              <a:gd name="connsiteY7" fmla="*/ 862012 h 1309687"/>
              <a:gd name="connsiteX8" fmla="*/ 714375 w 1562100"/>
              <a:gd name="connsiteY8" fmla="*/ 838200 h 1309687"/>
              <a:gd name="connsiteX9" fmla="*/ 721519 w 1562100"/>
              <a:gd name="connsiteY9" fmla="*/ 804862 h 1309687"/>
              <a:gd name="connsiteX10" fmla="*/ 735806 w 1562100"/>
              <a:gd name="connsiteY10" fmla="*/ 785812 h 1309687"/>
              <a:gd name="connsiteX11" fmla="*/ 792956 w 1562100"/>
              <a:gd name="connsiteY11" fmla="*/ 776287 h 1309687"/>
              <a:gd name="connsiteX12" fmla="*/ 838200 w 1562100"/>
              <a:gd name="connsiteY12" fmla="*/ 759618 h 1309687"/>
              <a:gd name="connsiteX13" fmla="*/ 876300 w 1562100"/>
              <a:gd name="connsiteY13" fmla="*/ 719137 h 1309687"/>
              <a:gd name="connsiteX14" fmla="*/ 923925 w 1562100"/>
              <a:gd name="connsiteY14" fmla="*/ 704850 h 1309687"/>
              <a:gd name="connsiteX15" fmla="*/ 995363 w 1562100"/>
              <a:gd name="connsiteY15" fmla="*/ 700087 h 1309687"/>
              <a:gd name="connsiteX16" fmla="*/ 1040606 w 1562100"/>
              <a:gd name="connsiteY16" fmla="*/ 690562 h 1309687"/>
              <a:gd name="connsiteX17" fmla="*/ 1119188 w 1562100"/>
              <a:gd name="connsiteY17" fmla="*/ 583406 h 1309687"/>
              <a:gd name="connsiteX18" fmla="*/ 1126331 w 1562100"/>
              <a:gd name="connsiteY18" fmla="*/ 550068 h 1309687"/>
              <a:gd name="connsiteX19" fmla="*/ 1152525 w 1562100"/>
              <a:gd name="connsiteY19" fmla="*/ 521493 h 1309687"/>
              <a:gd name="connsiteX20" fmla="*/ 1197769 w 1562100"/>
              <a:gd name="connsiteY20" fmla="*/ 511968 h 1309687"/>
              <a:gd name="connsiteX21" fmla="*/ 1290638 w 1562100"/>
              <a:gd name="connsiteY21" fmla="*/ 435768 h 1309687"/>
              <a:gd name="connsiteX22" fmla="*/ 1314450 w 1562100"/>
              <a:gd name="connsiteY22" fmla="*/ 433387 h 1309687"/>
              <a:gd name="connsiteX23" fmla="*/ 1409700 w 1562100"/>
              <a:gd name="connsiteY23" fmla="*/ 352425 h 1309687"/>
              <a:gd name="connsiteX24" fmla="*/ 1414463 w 1562100"/>
              <a:gd name="connsiteY24" fmla="*/ 333375 h 1309687"/>
              <a:gd name="connsiteX25" fmla="*/ 1507331 w 1562100"/>
              <a:gd name="connsiteY25" fmla="*/ 278606 h 1309687"/>
              <a:gd name="connsiteX26" fmla="*/ 1543050 w 1562100"/>
              <a:gd name="connsiteY26" fmla="*/ 233362 h 1309687"/>
              <a:gd name="connsiteX27" fmla="*/ 1562100 w 1562100"/>
              <a:gd name="connsiteY27" fmla="*/ 195262 h 1309687"/>
              <a:gd name="connsiteX28" fmla="*/ 1512094 w 1562100"/>
              <a:gd name="connsiteY28" fmla="*/ 214312 h 1309687"/>
              <a:gd name="connsiteX29" fmla="*/ 1478756 w 1562100"/>
              <a:gd name="connsiteY29" fmla="*/ 214312 h 1309687"/>
              <a:gd name="connsiteX30" fmla="*/ 1452563 w 1562100"/>
              <a:gd name="connsiteY30" fmla="*/ 252412 h 1309687"/>
              <a:gd name="connsiteX31" fmla="*/ 1421606 w 1562100"/>
              <a:gd name="connsiteY31" fmla="*/ 250031 h 1309687"/>
              <a:gd name="connsiteX32" fmla="*/ 1366838 w 1562100"/>
              <a:gd name="connsiteY32" fmla="*/ 219075 h 1309687"/>
              <a:gd name="connsiteX33" fmla="*/ 1323975 w 1562100"/>
              <a:gd name="connsiteY33" fmla="*/ 207168 h 1309687"/>
              <a:gd name="connsiteX34" fmla="*/ 1238250 w 1562100"/>
              <a:gd name="connsiteY34" fmla="*/ 242887 h 1309687"/>
              <a:gd name="connsiteX35" fmla="*/ 1223963 w 1562100"/>
              <a:gd name="connsiteY35" fmla="*/ 280987 h 1309687"/>
              <a:gd name="connsiteX36" fmla="*/ 1195388 w 1562100"/>
              <a:gd name="connsiteY36" fmla="*/ 338137 h 1309687"/>
              <a:gd name="connsiteX37" fmla="*/ 1109663 w 1562100"/>
              <a:gd name="connsiteY37" fmla="*/ 300037 h 1309687"/>
              <a:gd name="connsiteX38" fmla="*/ 1097756 w 1562100"/>
              <a:gd name="connsiteY38" fmla="*/ 342900 h 1309687"/>
              <a:gd name="connsiteX39" fmla="*/ 1083469 w 1562100"/>
              <a:gd name="connsiteY39" fmla="*/ 376237 h 1309687"/>
              <a:gd name="connsiteX40" fmla="*/ 959644 w 1562100"/>
              <a:gd name="connsiteY40" fmla="*/ 407193 h 1309687"/>
              <a:gd name="connsiteX41" fmla="*/ 945356 w 1562100"/>
              <a:gd name="connsiteY41" fmla="*/ 402431 h 1309687"/>
              <a:gd name="connsiteX42" fmla="*/ 926306 w 1562100"/>
              <a:gd name="connsiteY42" fmla="*/ 423862 h 1309687"/>
              <a:gd name="connsiteX43" fmla="*/ 890588 w 1562100"/>
              <a:gd name="connsiteY43" fmla="*/ 431006 h 1309687"/>
              <a:gd name="connsiteX44" fmla="*/ 854869 w 1562100"/>
              <a:gd name="connsiteY44" fmla="*/ 381000 h 1309687"/>
              <a:gd name="connsiteX45" fmla="*/ 835819 w 1562100"/>
              <a:gd name="connsiteY45" fmla="*/ 369093 h 1309687"/>
              <a:gd name="connsiteX46" fmla="*/ 826294 w 1562100"/>
              <a:gd name="connsiteY46" fmla="*/ 323850 h 1309687"/>
              <a:gd name="connsiteX47" fmla="*/ 792956 w 1562100"/>
              <a:gd name="connsiteY47" fmla="*/ 307181 h 1309687"/>
              <a:gd name="connsiteX48" fmla="*/ 759619 w 1562100"/>
              <a:gd name="connsiteY48" fmla="*/ 300037 h 1309687"/>
              <a:gd name="connsiteX49" fmla="*/ 740569 w 1562100"/>
              <a:gd name="connsiteY49" fmla="*/ 295275 h 1309687"/>
              <a:gd name="connsiteX50" fmla="*/ 728663 w 1562100"/>
              <a:gd name="connsiteY50" fmla="*/ 285750 h 1309687"/>
              <a:gd name="connsiteX51" fmla="*/ 735806 w 1562100"/>
              <a:gd name="connsiteY51" fmla="*/ 259556 h 1309687"/>
              <a:gd name="connsiteX52" fmla="*/ 742950 w 1562100"/>
              <a:gd name="connsiteY52" fmla="*/ 235743 h 1309687"/>
              <a:gd name="connsiteX53" fmla="*/ 700088 w 1562100"/>
              <a:gd name="connsiteY53" fmla="*/ 185737 h 1309687"/>
              <a:gd name="connsiteX54" fmla="*/ 704851 w 1562100"/>
              <a:gd name="connsiteY54" fmla="*/ 92869 h 1309687"/>
              <a:gd name="connsiteX55" fmla="*/ 657225 w 1562100"/>
              <a:gd name="connsiteY55" fmla="*/ 64294 h 1309687"/>
              <a:gd name="connsiteX56" fmla="*/ 628650 w 1562100"/>
              <a:gd name="connsiteY56" fmla="*/ 88107 h 1309687"/>
              <a:gd name="connsiteX57" fmla="*/ 500062 w 1562100"/>
              <a:gd name="connsiteY57" fmla="*/ 66676 h 1309687"/>
              <a:gd name="connsiteX58" fmla="*/ 450056 w 1562100"/>
              <a:gd name="connsiteY58" fmla="*/ 2382 h 1309687"/>
              <a:gd name="connsiteX59" fmla="*/ 428625 w 1562100"/>
              <a:gd name="connsiteY59" fmla="*/ 0 h 1309687"/>
              <a:gd name="connsiteX60" fmla="*/ 376238 w 1562100"/>
              <a:gd name="connsiteY60" fmla="*/ 104775 h 1309687"/>
              <a:gd name="connsiteX61" fmla="*/ 314326 w 1562100"/>
              <a:gd name="connsiteY61" fmla="*/ 104774 h 1309687"/>
              <a:gd name="connsiteX62" fmla="*/ 328613 w 1562100"/>
              <a:gd name="connsiteY62" fmla="*/ 183356 h 1309687"/>
              <a:gd name="connsiteX63" fmla="*/ 292894 w 1562100"/>
              <a:gd name="connsiteY63" fmla="*/ 285750 h 1309687"/>
              <a:gd name="connsiteX64" fmla="*/ 264319 w 1562100"/>
              <a:gd name="connsiteY64" fmla="*/ 292893 h 1309687"/>
              <a:gd name="connsiteX65" fmla="*/ 261938 w 1562100"/>
              <a:gd name="connsiteY65" fmla="*/ 307181 h 1309687"/>
              <a:gd name="connsiteX66" fmla="*/ 261938 w 1562100"/>
              <a:gd name="connsiteY66" fmla="*/ 340518 h 1309687"/>
              <a:gd name="connsiteX67" fmla="*/ 228600 w 1562100"/>
              <a:gd name="connsiteY67" fmla="*/ 383381 h 1309687"/>
              <a:gd name="connsiteX68" fmla="*/ 271463 w 1562100"/>
              <a:gd name="connsiteY68" fmla="*/ 400050 h 1309687"/>
              <a:gd name="connsiteX69" fmla="*/ 278606 w 1562100"/>
              <a:gd name="connsiteY69" fmla="*/ 419100 h 1309687"/>
              <a:gd name="connsiteX70" fmla="*/ 257175 w 1562100"/>
              <a:gd name="connsiteY70" fmla="*/ 454818 h 1309687"/>
              <a:gd name="connsiteX71" fmla="*/ 221456 w 1562100"/>
              <a:gd name="connsiteY71" fmla="*/ 464343 h 1309687"/>
              <a:gd name="connsiteX72" fmla="*/ 221456 w 1562100"/>
              <a:gd name="connsiteY72" fmla="*/ 504825 h 1309687"/>
              <a:gd name="connsiteX73" fmla="*/ 254794 w 1562100"/>
              <a:gd name="connsiteY73" fmla="*/ 542925 h 1309687"/>
              <a:gd name="connsiteX74" fmla="*/ 226219 w 1562100"/>
              <a:gd name="connsiteY74" fmla="*/ 607218 h 1309687"/>
              <a:gd name="connsiteX75" fmla="*/ 180975 w 1562100"/>
              <a:gd name="connsiteY75" fmla="*/ 635793 h 1309687"/>
              <a:gd name="connsiteX76" fmla="*/ 183356 w 1562100"/>
              <a:gd name="connsiteY76" fmla="*/ 652462 h 1309687"/>
              <a:gd name="connsiteX77" fmla="*/ 204788 w 1562100"/>
              <a:gd name="connsiteY77" fmla="*/ 661987 h 1309687"/>
              <a:gd name="connsiteX78" fmla="*/ 219075 w 1562100"/>
              <a:gd name="connsiteY78" fmla="*/ 671512 h 1309687"/>
              <a:gd name="connsiteX79" fmla="*/ 223838 w 1562100"/>
              <a:gd name="connsiteY79" fmla="*/ 690562 h 1309687"/>
              <a:gd name="connsiteX80" fmla="*/ 195263 w 1562100"/>
              <a:gd name="connsiteY80" fmla="*/ 716756 h 1309687"/>
              <a:gd name="connsiteX81" fmla="*/ 123825 w 1562100"/>
              <a:gd name="connsiteY81" fmla="*/ 762000 h 1309687"/>
              <a:gd name="connsiteX82" fmla="*/ 123825 w 1562100"/>
              <a:gd name="connsiteY82" fmla="*/ 797718 h 1309687"/>
              <a:gd name="connsiteX83" fmla="*/ 135731 w 1562100"/>
              <a:gd name="connsiteY83" fmla="*/ 828675 h 1309687"/>
              <a:gd name="connsiteX84" fmla="*/ 123825 w 1562100"/>
              <a:gd name="connsiteY84" fmla="*/ 869156 h 1309687"/>
              <a:gd name="connsiteX85" fmla="*/ 76200 w 1562100"/>
              <a:gd name="connsiteY85" fmla="*/ 864393 h 1309687"/>
              <a:gd name="connsiteX86" fmla="*/ 52388 w 1562100"/>
              <a:gd name="connsiteY86" fmla="*/ 809625 h 1309687"/>
              <a:gd name="connsiteX87" fmla="*/ 33338 w 1562100"/>
              <a:gd name="connsiteY87" fmla="*/ 802481 h 1309687"/>
              <a:gd name="connsiteX88" fmla="*/ 23813 w 1562100"/>
              <a:gd name="connsiteY88" fmla="*/ 840581 h 1309687"/>
              <a:gd name="connsiteX89" fmla="*/ 21431 w 1562100"/>
              <a:gd name="connsiteY89" fmla="*/ 850106 h 1309687"/>
              <a:gd name="connsiteX90" fmla="*/ 7144 w 1562100"/>
              <a:gd name="connsiteY90" fmla="*/ 866775 h 1309687"/>
              <a:gd name="connsiteX91" fmla="*/ 0 w 1562100"/>
              <a:gd name="connsiteY91" fmla="*/ 923925 h 1309687"/>
              <a:gd name="connsiteX92" fmla="*/ 23813 w 1562100"/>
              <a:gd name="connsiteY92" fmla="*/ 952500 h 1309687"/>
              <a:gd name="connsiteX93" fmla="*/ 16669 w 1562100"/>
              <a:gd name="connsiteY93" fmla="*/ 992981 h 1309687"/>
              <a:gd name="connsiteX94" fmla="*/ 35719 w 1562100"/>
              <a:gd name="connsiteY94" fmla="*/ 997743 h 1309687"/>
              <a:gd name="connsiteX95" fmla="*/ 69056 w 1562100"/>
              <a:gd name="connsiteY95" fmla="*/ 997743 h 1309687"/>
              <a:gd name="connsiteX96" fmla="*/ 85725 w 1562100"/>
              <a:gd name="connsiteY96" fmla="*/ 988218 h 1309687"/>
              <a:gd name="connsiteX97" fmla="*/ 135731 w 1562100"/>
              <a:gd name="connsiteY97" fmla="*/ 1045368 h 1309687"/>
              <a:gd name="connsiteX98" fmla="*/ 123825 w 1562100"/>
              <a:gd name="connsiteY98" fmla="*/ 1064418 h 1309687"/>
              <a:gd name="connsiteX99" fmla="*/ 133350 w 1562100"/>
              <a:gd name="connsiteY99" fmla="*/ 1092993 h 1309687"/>
              <a:gd name="connsiteX100" fmla="*/ 164306 w 1562100"/>
              <a:gd name="connsiteY100" fmla="*/ 1112043 h 1309687"/>
              <a:gd name="connsiteX101" fmla="*/ 190500 w 1562100"/>
              <a:gd name="connsiteY101" fmla="*/ 1121568 h 1309687"/>
              <a:gd name="connsiteX102" fmla="*/ 216694 w 1562100"/>
              <a:gd name="connsiteY102" fmla="*/ 1128712 h 1309687"/>
              <a:gd name="connsiteX103" fmla="*/ 228600 w 1562100"/>
              <a:gd name="connsiteY103" fmla="*/ 1131093 h 1309687"/>
              <a:gd name="connsiteX104" fmla="*/ 240506 w 1562100"/>
              <a:gd name="connsiteY104" fmla="*/ 1092993 h 1309687"/>
              <a:gd name="connsiteX105" fmla="*/ 269081 w 1562100"/>
              <a:gd name="connsiteY105" fmla="*/ 1097756 h 1309687"/>
              <a:gd name="connsiteX106" fmla="*/ 288131 w 1562100"/>
              <a:gd name="connsiteY106" fmla="*/ 1085850 h 1309687"/>
              <a:gd name="connsiteX107" fmla="*/ 307181 w 1562100"/>
              <a:gd name="connsiteY107" fmla="*/ 1135856 h 1309687"/>
              <a:gd name="connsiteX108" fmla="*/ 330994 w 1562100"/>
              <a:gd name="connsiteY108" fmla="*/ 1150143 h 1309687"/>
              <a:gd name="connsiteX109" fmla="*/ 340519 w 1562100"/>
              <a:gd name="connsiteY109" fmla="*/ 1178718 h 1309687"/>
              <a:gd name="connsiteX110" fmla="*/ 357188 w 1562100"/>
              <a:gd name="connsiteY110" fmla="*/ 1188243 h 1309687"/>
              <a:gd name="connsiteX111" fmla="*/ 364331 w 1562100"/>
              <a:gd name="connsiteY111" fmla="*/ 1219200 h 1309687"/>
              <a:gd name="connsiteX112" fmla="*/ 335756 w 1562100"/>
              <a:gd name="connsiteY112" fmla="*/ 1245393 h 1309687"/>
              <a:gd name="connsiteX113" fmla="*/ 309563 w 1562100"/>
              <a:gd name="connsiteY113" fmla="*/ 1262062 h 1309687"/>
              <a:gd name="connsiteX114" fmla="*/ 297656 w 1562100"/>
              <a:gd name="connsiteY114" fmla="*/ 1285875 h 1309687"/>
              <a:gd name="connsiteX115" fmla="*/ 302419 w 1562100"/>
              <a:gd name="connsiteY115" fmla="*/ 1309687 h 1309687"/>
              <a:gd name="connsiteX116" fmla="*/ 342900 w 1562100"/>
              <a:gd name="connsiteY116" fmla="*/ 1309687 h 1309687"/>
              <a:gd name="connsiteX117" fmla="*/ 390525 w 1562100"/>
              <a:gd name="connsiteY117" fmla="*/ 1304925 h 1309687"/>
              <a:gd name="connsiteX118" fmla="*/ 428625 w 1562100"/>
              <a:gd name="connsiteY118" fmla="*/ 1295400 h 1309687"/>
              <a:gd name="connsiteX119" fmla="*/ 454819 w 1562100"/>
              <a:gd name="connsiteY119" fmla="*/ 1302543 h 1309687"/>
              <a:gd name="connsiteX120" fmla="*/ 473869 w 1562100"/>
              <a:gd name="connsiteY120" fmla="*/ 1281112 h 1309687"/>
              <a:gd name="connsiteX121" fmla="*/ 492919 w 1562100"/>
              <a:gd name="connsiteY121" fmla="*/ 1281112 h 1309687"/>
              <a:gd name="connsiteX122" fmla="*/ 507206 w 1562100"/>
              <a:gd name="connsiteY122" fmla="*/ 1250156 h 1309687"/>
              <a:gd name="connsiteX123" fmla="*/ 557213 w 1562100"/>
              <a:gd name="connsiteY123" fmla="*/ 1235868 h 1309687"/>
              <a:gd name="connsiteX124" fmla="*/ 583406 w 1562100"/>
              <a:gd name="connsiteY124" fmla="*/ 1216818 h 1309687"/>
              <a:gd name="connsiteX125" fmla="*/ 590550 w 1562100"/>
              <a:gd name="connsiteY125" fmla="*/ 1178718 h 1309687"/>
              <a:gd name="connsiteX126" fmla="*/ 607219 w 1562100"/>
              <a:gd name="connsiteY126" fmla="*/ 1152525 h 1309687"/>
              <a:gd name="connsiteX127" fmla="*/ 688181 w 1562100"/>
              <a:gd name="connsiteY127" fmla="*/ 1183481 h 1309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1562100" h="1309687">
                <a:moveTo>
                  <a:pt x="688181" y="1183481"/>
                </a:moveTo>
                <a:lnTo>
                  <a:pt x="688181" y="1097756"/>
                </a:lnTo>
                <a:lnTo>
                  <a:pt x="692944" y="1054893"/>
                </a:lnTo>
                <a:lnTo>
                  <a:pt x="692944" y="1009650"/>
                </a:lnTo>
                <a:lnTo>
                  <a:pt x="676275" y="985837"/>
                </a:lnTo>
                <a:lnTo>
                  <a:pt x="690563" y="933450"/>
                </a:lnTo>
                <a:lnTo>
                  <a:pt x="685800" y="907256"/>
                </a:lnTo>
                <a:lnTo>
                  <a:pt x="697706" y="862012"/>
                </a:lnTo>
                <a:lnTo>
                  <a:pt x="714375" y="838200"/>
                </a:lnTo>
                <a:lnTo>
                  <a:pt x="721519" y="804862"/>
                </a:lnTo>
                <a:lnTo>
                  <a:pt x="735806" y="785812"/>
                </a:lnTo>
                <a:lnTo>
                  <a:pt x="792956" y="776287"/>
                </a:lnTo>
                <a:lnTo>
                  <a:pt x="838200" y="759618"/>
                </a:lnTo>
                <a:lnTo>
                  <a:pt x="876300" y="719137"/>
                </a:lnTo>
                <a:lnTo>
                  <a:pt x="923925" y="704850"/>
                </a:lnTo>
                <a:lnTo>
                  <a:pt x="995363" y="700087"/>
                </a:lnTo>
                <a:lnTo>
                  <a:pt x="1040606" y="690562"/>
                </a:lnTo>
                <a:lnTo>
                  <a:pt x="1119188" y="583406"/>
                </a:lnTo>
                <a:lnTo>
                  <a:pt x="1126331" y="550068"/>
                </a:lnTo>
                <a:lnTo>
                  <a:pt x="1152525" y="521493"/>
                </a:lnTo>
                <a:lnTo>
                  <a:pt x="1197769" y="511968"/>
                </a:lnTo>
                <a:lnTo>
                  <a:pt x="1290638" y="435768"/>
                </a:lnTo>
                <a:lnTo>
                  <a:pt x="1314450" y="433387"/>
                </a:lnTo>
                <a:lnTo>
                  <a:pt x="1409700" y="352425"/>
                </a:lnTo>
                <a:lnTo>
                  <a:pt x="1414463" y="333375"/>
                </a:lnTo>
                <a:lnTo>
                  <a:pt x="1507331" y="278606"/>
                </a:lnTo>
                <a:lnTo>
                  <a:pt x="1543050" y="233362"/>
                </a:lnTo>
                <a:lnTo>
                  <a:pt x="1562100" y="195262"/>
                </a:lnTo>
                <a:lnTo>
                  <a:pt x="1512094" y="214312"/>
                </a:lnTo>
                <a:lnTo>
                  <a:pt x="1478756" y="214312"/>
                </a:lnTo>
                <a:lnTo>
                  <a:pt x="1452563" y="252412"/>
                </a:lnTo>
                <a:lnTo>
                  <a:pt x="1421606" y="250031"/>
                </a:lnTo>
                <a:lnTo>
                  <a:pt x="1366838" y="219075"/>
                </a:lnTo>
                <a:lnTo>
                  <a:pt x="1323975" y="207168"/>
                </a:lnTo>
                <a:lnTo>
                  <a:pt x="1238250" y="242887"/>
                </a:lnTo>
                <a:lnTo>
                  <a:pt x="1223963" y="280987"/>
                </a:lnTo>
                <a:lnTo>
                  <a:pt x="1195388" y="338137"/>
                </a:lnTo>
                <a:lnTo>
                  <a:pt x="1109663" y="300037"/>
                </a:lnTo>
                <a:lnTo>
                  <a:pt x="1097756" y="342900"/>
                </a:lnTo>
                <a:lnTo>
                  <a:pt x="1083469" y="376237"/>
                </a:lnTo>
                <a:lnTo>
                  <a:pt x="959644" y="407193"/>
                </a:lnTo>
                <a:lnTo>
                  <a:pt x="945356" y="402431"/>
                </a:lnTo>
                <a:lnTo>
                  <a:pt x="926306" y="423862"/>
                </a:lnTo>
                <a:lnTo>
                  <a:pt x="890588" y="431006"/>
                </a:lnTo>
                <a:lnTo>
                  <a:pt x="854869" y="381000"/>
                </a:lnTo>
                <a:lnTo>
                  <a:pt x="835819" y="369093"/>
                </a:lnTo>
                <a:lnTo>
                  <a:pt x="826294" y="323850"/>
                </a:lnTo>
                <a:lnTo>
                  <a:pt x="792956" y="307181"/>
                </a:lnTo>
                <a:lnTo>
                  <a:pt x="759619" y="300037"/>
                </a:lnTo>
                <a:lnTo>
                  <a:pt x="740569" y="295275"/>
                </a:lnTo>
                <a:lnTo>
                  <a:pt x="728663" y="285750"/>
                </a:lnTo>
                <a:lnTo>
                  <a:pt x="735806" y="259556"/>
                </a:lnTo>
                <a:lnTo>
                  <a:pt x="742950" y="235743"/>
                </a:lnTo>
                <a:lnTo>
                  <a:pt x="700088" y="185737"/>
                </a:lnTo>
                <a:cubicBezTo>
                  <a:pt x="693738" y="161925"/>
                  <a:pt x="711995" y="113109"/>
                  <a:pt x="704851" y="92869"/>
                </a:cubicBezTo>
                <a:lnTo>
                  <a:pt x="657225" y="64294"/>
                </a:lnTo>
                <a:cubicBezTo>
                  <a:pt x="653256" y="63500"/>
                  <a:pt x="632619" y="88901"/>
                  <a:pt x="628650" y="88107"/>
                </a:cubicBezTo>
                <a:lnTo>
                  <a:pt x="500062" y="66676"/>
                </a:lnTo>
                <a:lnTo>
                  <a:pt x="450056" y="2382"/>
                </a:lnTo>
                <a:lnTo>
                  <a:pt x="428625" y="0"/>
                </a:lnTo>
                <a:lnTo>
                  <a:pt x="376238" y="104775"/>
                </a:lnTo>
                <a:cubicBezTo>
                  <a:pt x="361951" y="76994"/>
                  <a:pt x="340519" y="111124"/>
                  <a:pt x="314326" y="104774"/>
                </a:cubicBezTo>
                <a:lnTo>
                  <a:pt x="328613" y="183356"/>
                </a:lnTo>
                <a:lnTo>
                  <a:pt x="292894" y="285750"/>
                </a:lnTo>
                <a:lnTo>
                  <a:pt x="264319" y="292893"/>
                </a:lnTo>
                <a:lnTo>
                  <a:pt x="261938" y="307181"/>
                </a:lnTo>
                <a:lnTo>
                  <a:pt x="261938" y="340518"/>
                </a:lnTo>
                <a:lnTo>
                  <a:pt x="228600" y="383381"/>
                </a:lnTo>
                <a:lnTo>
                  <a:pt x="271463" y="400050"/>
                </a:lnTo>
                <a:lnTo>
                  <a:pt x="278606" y="419100"/>
                </a:lnTo>
                <a:lnTo>
                  <a:pt x="257175" y="454818"/>
                </a:lnTo>
                <a:lnTo>
                  <a:pt x="221456" y="464343"/>
                </a:lnTo>
                <a:lnTo>
                  <a:pt x="221456" y="504825"/>
                </a:lnTo>
                <a:lnTo>
                  <a:pt x="254794" y="542925"/>
                </a:lnTo>
                <a:lnTo>
                  <a:pt x="226219" y="607218"/>
                </a:lnTo>
                <a:lnTo>
                  <a:pt x="180975" y="635793"/>
                </a:lnTo>
                <a:lnTo>
                  <a:pt x="183356" y="652462"/>
                </a:lnTo>
                <a:lnTo>
                  <a:pt x="204788" y="661987"/>
                </a:lnTo>
                <a:lnTo>
                  <a:pt x="219075" y="671512"/>
                </a:lnTo>
                <a:lnTo>
                  <a:pt x="223838" y="690562"/>
                </a:lnTo>
                <a:lnTo>
                  <a:pt x="195263" y="716756"/>
                </a:lnTo>
                <a:lnTo>
                  <a:pt x="123825" y="762000"/>
                </a:lnTo>
                <a:lnTo>
                  <a:pt x="123825" y="797718"/>
                </a:lnTo>
                <a:lnTo>
                  <a:pt x="135731" y="828675"/>
                </a:lnTo>
                <a:lnTo>
                  <a:pt x="123825" y="869156"/>
                </a:lnTo>
                <a:lnTo>
                  <a:pt x="76200" y="864393"/>
                </a:lnTo>
                <a:lnTo>
                  <a:pt x="52388" y="809625"/>
                </a:lnTo>
                <a:lnTo>
                  <a:pt x="33338" y="802481"/>
                </a:lnTo>
                <a:lnTo>
                  <a:pt x="23813" y="840581"/>
                </a:lnTo>
                <a:lnTo>
                  <a:pt x="21431" y="850106"/>
                </a:lnTo>
                <a:lnTo>
                  <a:pt x="7144" y="866775"/>
                </a:lnTo>
                <a:lnTo>
                  <a:pt x="0" y="923925"/>
                </a:lnTo>
                <a:lnTo>
                  <a:pt x="23813" y="952500"/>
                </a:lnTo>
                <a:lnTo>
                  <a:pt x="16669" y="992981"/>
                </a:lnTo>
                <a:lnTo>
                  <a:pt x="35719" y="997743"/>
                </a:lnTo>
                <a:lnTo>
                  <a:pt x="69056" y="997743"/>
                </a:lnTo>
                <a:lnTo>
                  <a:pt x="85725" y="988218"/>
                </a:lnTo>
                <a:lnTo>
                  <a:pt x="135731" y="1045368"/>
                </a:lnTo>
                <a:lnTo>
                  <a:pt x="123825" y="1064418"/>
                </a:lnTo>
                <a:lnTo>
                  <a:pt x="133350" y="1092993"/>
                </a:lnTo>
                <a:lnTo>
                  <a:pt x="164306" y="1112043"/>
                </a:lnTo>
                <a:lnTo>
                  <a:pt x="190500" y="1121568"/>
                </a:lnTo>
                <a:lnTo>
                  <a:pt x="216694" y="1128712"/>
                </a:lnTo>
                <a:lnTo>
                  <a:pt x="228600" y="1131093"/>
                </a:lnTo>
                <a:lnTo>
                  <a:pt x="240506" y="1092993"/>
                </a:lnTo>
                <a:lnTo>
                  <a:pt x="269081" y="1097756"/>
                </a:lnTo>
                <a:lnTo>
                  <a:pt x="288131" y="1085850"/>
                </a:lnTo>
                <a:lnTo>
                  <a:pt x="307181" y="1135856"/>
                </a:lnTo>
                <a:lnTo>
                  <a:pt x="330994" y="1150143"/>
                </a:lnTo>
                <a:lnTo>
                  <a:pt x="340519" y="1178718"/>
                </a:lnTo>
                <a:lnTo>
                  <a:pt x="357188" y="1188243"/>
                </a:lnTo>
                <a:lnTo>
                  <a:pt x="364331" y="1219200"/>
                </a:lnTo>
                <a:lnTo>
                  <a:pt x="335756" y="1245393"/>
                </a:lnTo>
                <a:lnTo>
                  <a:pt x="309563" y="1262062"/>
                </a:lnTo>
                <a:lnTo>
                  <a:pt x="297656" y="1285875"/>
                </a:lnTo>
                <a:lnTo>
                  <a:pt x="302419" y="1309687"/>
                </a:lnTo>
                <a:lnTo>
                  <a:pt x="342900" y="1309687"/>
                </a:lnTo>
                <a:lnTo>
                  <a:pt x="390525" y="1304925"/>
                </a:lnTo>
                <a:lnTo>
                  <a:pt x="428625" y="1295400"/>
                </a:lnTo>
                <a:lnTo>
                  <a:pt x="454819" y="1302543"/>
                </a:lnTo>
                <a:lnTo>
                  <a:pt x="473869" y="1281112"/>
                </a:lnTo>
                <a:lnTo>
                  <a:pt x="492919" y="1281112"/>
                </a:lnTo>
                <a:lnTo>
                  <a:pt x="507206" y="1250156"/>
                </a:lnTo>
                <a:lnTo>
                  <a:pt x="557213" y="1235868"/>
                </a:lnTo>
                <a:lnTo>
                  <a:pt x="583406" y="1216818"/>
                </a:lnTo>
                <a:lnTo>
                  <a:pt x="590550" y="1178718"/>
                </a:lnTo>
                <a:lnTo>
                  <a:pt x="607219" y="1152525"/>
                </a:lnTo>
                <a:lnTo>
                  <a:pt x="688181" y="1183481"/>
                </a:lnTo>
                <a:close/>
              </a:path>
            </a:pathLst>
          </a:custGeom>
          <a:solidFill>
            <a:srgbClr val="00FFFF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2752731" y="3132671"/>
            <a:ext cx="771525" cy="1195917"/>
          </a:xfrm>
          <a:custGeom>
            <a:avLst/>
            <a:gdLst>
              <a:gd name="connsiteX0" fmla="*/ 202407 w 771525"/>
              <a:gd name="connsiteY0" fmla="*/ 1131094 h 1135856"/>
              <a:gd name="connsiteX1" fmla="*/ 221457 w 771525"/>
              <a:gd name="connsiteY1" fmla="*/ 1064419 h 1135856"/>
              <a:gd name="connsiteX2" fmla="*/ 238125 w 771525"/>
              <a:gd name="connsiteY2" fmla="*/ 1042987 h 1135856"/>
              <a:gd name="connsiteX3" fmla="*/ 247650 w 771525"/>
              <a:gd name="connsiteY3" fmla="*/ 1012031 h 1135856"/>
              <a:gd name="connsiteX4" fmla="*/ 283369 w 771525"/>
              <a:gd name="connsiteY4" fmla="*/ 985837 h 1135856"/>
              <a:gd name="connsiteX5" fmla="*/ 319088 w 771525"/>
              <a:gd name="connsiteY5" fmla="*/ 962025 h 1135856"/>
              <a:gd name="connsiteX6" fmla="*/ 350044 w 771525"/>
              <a:gd name="connsiteY6" fmla="*/ 928687 h 1135856"/>
              <a:gd name="connsiteX7" fmla="*/ 354807 w 771525"/>
              <a:gd name="connsiteY7" fmla="*/ 900112 h 1135856"/>
              <a:gd name="connsiteX8" fmla="*/ 321469 w 771525"/>
              <a:gd name="connsiteY8" fmla="*/ 854869 h 1135856"/>
              <a:gd name="connsiteX9" fmla="*/ 323850 w 771525"/>
              <a:gd name="connsiteY9" fmla="*/ 785812 h 1135856"/>
              <a:gd name="connsiteX10" fmla="*/ 280988 w 771525"/>
              <a:gd name="connsiteY10" fmla="*/ 735806 h 1135856"/>
              <a:gd name="connsiteX11" fmla="*/ 288132 w 771525"/>
              <a:gd name="connsiteY11" fmla="*/ 697706 h 1135856"/>
              <a:gd name="connsiteX12" fmla="*/ 316707 w 771525"/>
              <a:gd name="connsiteY12" fmla="*/ 681037 h 1135856"/>
              <a:gd name="connsiteX13" fmla="*/ 330994 w 771525"/>
              <a:gd name="connsiteY13" fmla="*/ 707231 h 1135856"/>
              <a:gd name="connsiteX14" fmla="*/ 354807 w 771525"/>
              <a:gd name="connsiteY14" fmla="*/ 726281 h 1135856"/>
              <a:gd name="connsiteX15" fmla="*/ 369094 w 771525"/>
              <a:gd name="connsiteY15" fmla="*/ 745331 h 1135856"/>
              <a:gd name="connsiteX16" fmla="*/ 378619 w 771525"/>
              <a:gd name="connsiteY16" fmla="*/ 781050 h 1135856"/>
              <a:gd name="connsiteX17" fmla="*/ 395288 w 771525"/>
              <a:gd name="connsiteY17" fmla="*/ 797719 h 1135856"/>
              <a:gd name="connsiteX18" fmla="*/ 409575 w 771525"/>
              <a:gd name="connsiteY18" fmla="*/ 792956 h 1135856"/>
              <a:gd name="connsiteX19" fmla="*/ 426244 w 771525"/>
              <a:gd name="connsiteY19" fmla="*/ 785812 h 1135856"/>
              <a:gd name="connsiteX20" fmla="*/ 423863 w 771525"/>
              <a:gd name="connsiteY20" fmla="*/ 676275 h 1135856"/>
              <a:gd name="connsiteX21" fmla="*/ 409575 w 771525"/>
              <a:gd name="connsiteY21" fmla="*/ 640556 h 1135856"/>
              <a:gd name="connsiteX22" fmla="*/ 411957 w 771525"/>
              <a:gd name="connsiteY22" fmla="*/ 614362 h 1135856"/>
              <a:gd name="connsiteX23" fmla="*/ 426244 w 771525"/>
              <a:gd name="connsiteY23" fmla="*/ 566737 h 1135856"/>
              <a:gd name="connsiteX24" fmla="*/ 473869 w 771525"/>
              <a:gd name="connsiteY24" fmla="*/ 566737 h 1135856"/>
              <a:gd name="connsiteX25" fmla="*/ 488157 w 771525"/>
              <a:gd name="connsiteY25" fmla="*/ 552450 h 1135856"/>
              <a:gd name="connsiteX26" fmla="*/ 509588 w 771525"/>
              <a:gd name="connsiteY26" fmla="*/ 502444 h 1135856"/>
              <a:gd name="connsiteX27" fmla="*/ 604838 w 771525"/>
              <a:gd name="connsiteY27" fmla="*/ 457200 h 1135856"/>
              <a:gd name="connsiteX28" fmla="*/ 628650 w 771525"/>
              <a:gd name="connsiteY28" fmla="*/ 447675 h 1135856"/>
              <a:gd name="connsiteX29" fmla="*/ 638175 w 771525"/>
              <a:gd name="connsiteY29" fmla="*/ 402431 h 1135856"/>
              <a:gd name="connsiteX30" fmla="*/ 638175 w 771525"/>
              <a:gd name="connsiteY30" fmla="*/ 361950 h 1135856"/>
              <a:gd name="connsiteX31" fmla="*/ 640557 w 771525"/>
              <a:gd name="connsiteY31" fmla="*/ 340519 h 1135856"/>
              <a:gd name="connsiteX32" fmla="*/ 652463 w 771525"/>
              <a:gd name="connsiteY32" fmla="*/ 333375 h 1135856"/>
              <a:gd name="connsiteX33" fmla="*/ 742950 w 771525"/>
              <a:gd name="connsiteY33" fmla="*/ 297656 h 1135856"/>
              <a:gd name="connsiteX34" fmla="*/ 766763 w 771525"/>
              <a:gd name="connsiteY34" fmla="*/ 280987 h 1135856"/>
              <a:gd name="connsiteX35" fmla="*/ 754857 w 771525"/>
              <a:gd name="connsiteY35" fmla="*/ 252412 h 1135856"/>
              <a:gd name="connsiteX36" fmla="*/ 742950 w 771525"/>
              <a:gd name="connsiteY36" fmla="*/ 221456 h 1135856"/>
              <a:gd name="connsiteX37" fmla="*/ 771525 w 771525"/>
              <a:gd name="connsiteY37" fmla="*/ 192881 h 1135856"/>
              <a:gd name="connsiteX38" fmla="*/ 752475 w 771525"/>
              <a:gd name="connsiteY38" fmla="*/ 161925 h 1135856"/>
              <a:gd name="connsiteX39" fmla="*/ 752475 w 771525"/>
              <a:gd name="connsiteY39" fmla="*/ 119062 h 1135856"/>
              <a:gd name="connsiteX40" fmla="*/ 719138 w 771525"/>
              <a:gd name="connsiteY40" fmla="*/ 85725 h 1135856"/>
              <a:gd name="connsiteX41" fmla="*/ 671513 w 771525"/>
              <a:gd name="connsiteY41" fmla="*/ 52387 h 1135856"/>
              <a:gd name="connsiteX42" fmla="*/ 645319 w 771525"/>
              <a:gd name="connsiteY42" fmla="*/ 35719 h 1135856"/>
              <a:gd name="connsiteX43" fmla="*/ 642938 w 771525"/>
              <a:gd name="connsiteY43" fmla="*/ 4762 h 1135856"/>
              <a:gd name="connsiteX44" fmla="*/ 609600 w 771525"/>
              <a:gd name="connsiteY44" fmla="*/ 0 h 1135856"/>
              <a:gd name="connsiteX45" fmla="*/ 583407 w 771525"/>
              <a:gd name="connsiteY45" fmla="*/ 23812 h 1135856"/>
              <a:gd name="connsiteX46" fmla="*/ 564357 w 771525"/>
              <a:gd name="connsiteY46" fmla="*/ 19050 h 1135856"/>
              <a:gd name="connsiteX47" fmla="*/ 554832 w 771525"/>
              <a:gd name="connsiteY47" fmla="*/ 42862 h 1135856"/>
              <a:gd name="connsiteX48" fmla="*/ 509588 w 771525"/>
              <a:gd name="connsiteY48" fmla="*/ 76200 h 1135856"/>
              <a:gd name="connsiteX49" fmla="*/ 407194 w 771525"/>
              <a:gd name="connsiteY49" fmla="*/ 114300 h 1135856"/>
              <a:gd name="connsiteX50" fmla="*/ 381000 w 771525"/>
              <a:gd name="connsiteY50" fmla="*/ 152400 h 1135856"/>
              <a:gd name="connsiteX51" fmla="*/ 340519 w 771525"/>
              <a:gd name="connsiteY51" fmla="*/ 140494 h 1135856"/>
              <a:gd name="connsiteX52" fmla="*/ 245269 w 771525"/>
              <a:gd name="connsiteY52" fmla="*/ 145256 h 1135856"/>
              <a:gd name="connsiteX53" fmla="*/ 250032 w 771525"/>
              <a:gd name="connsiteY53" fmla="*/ 154781 h 1135856"/>
              <a:gd name="connsiteX54" fmla="*/ 309563 w 771525"/>
              <a:gd name="connsiteY54" fmla="*/ 204787 h 1135856"/>
              <a:gd name="connsiteX55" fmla="*/ 211932 w 771525"/>
              <a:gd name="connsiteY55" fmla="*/ 328612 h 1135856"/>
              <a:gd name="connsiteX56" fmla="*/ 173832 w 771525"/>
              <a:gd name="connsiteY56" fmla="*/ 319087 h 1135856"/>
              <a:gd name="connsiteX57" fmla="*/ 80963 w 771525"/>
              <a:gd name="connsiteY57" fmla="*/ 452437 h 1135856"/>
              <a:gd name="connsiteX58" fmla="*/ 97632 w 771525"/>
              <a:gd name="connsiteY58" fmla="*/ 464344 h 1135856"/>
              <a:gd name="connsiteX59" fmla="*/ 114300 w 771525"/>
              <a:gd name="connsiteY59" fmla="*/ 504825 h 1135856"/>
              <a:gd name="connsiteX60" fmla="*/ 92869 w 771525"/>
              <a:gd name="connsiteY60" fmla="*/ 566737 h 1135856"/>
              <a:gd name="connsiteX61" fmla="*/ 102394 w 771525"/>
              <a:gd name="connsiteY61" fmla="*/ 640556 h 1135856"/>
              <a:gd name="connsiteX62" fmla="*/ 73819 w 771525"/>
              <a:gd name="connsiteY62" fmla="*/ 678656 h 1135856"/>
              <a:gd name="connsiteX63" fmla="*/ 73819 w 771525"/>
              <a:gd name="connsiteY63" fmla="*/ 704850 h 1135856"/>
              <a:gd name="connsiteX64" fmla="*/ 61913 w 771525"/>
              <a:gd name="connsiteY64" fmla="*/ 733425 h 1135856"/>
              <a:gd name="connsiteX65" fmla="*/ 88107 w 771525"/>
              <a:gd name="connsiteY65" fmla="*/ 762000 h 1135856"/>
              <a:gd name="connsiteX66" fmla="*/ 135732 w 771525"/>
              <a:gd name="connsiteY66" fmla="*/ 850106 h 1135856"/>
              <a:gd name="connsiteX67" fmla="*/ 69057 w 771525"/>
              <a:gd name="connsiteY67" fmla="*/ 876300 h 1135856"/>
              <a:gd name="connsiteX68" fmla="*/ 45244 w 771525"/>
              <a:gd name="connsiteY68" fmla="*/ 928687 h 1135856"/>
              <a:gd name="connsiteX69" fmla="*/ 33338 w 771525"/>
              <a:gd name="connsiteY69" fmla="*/ 983456 h 1135856"/>
              <a:gd name="connsiteX70" fmla="*/ 2382 w 771525"/>
              <a:gd name="connsiteY70" fmla="*/ 973931 h 1135856"/>
              <a:gd name="connsiteX71" fmla="*/ 0 w 771525"/>
              <a:gd name="connsiteY71" fmla="*/ 1021556 h 1135856"/>
              <a:gd name="connsiteX72" fmla="*/ 16669 w 771525"/>
              <a:gd name="connsiteY72" fmla="*/ 1031081 h 1135856"/>
              <a:gd name="connsiteX73" fmla="*/ 57150 w 771525"/>
              <a:gd name="connsiteY73" fmla="*/ 1040606 h 1135856"/>
              <a:gd name="connsiteX74" fmla="*/ 85725 w 771525"/>
              <a:gd name="connsiteY74" fmla="*/ 1054894 h 1135856"/>
              <a:gd name="connsiteX75" fmla="*/ 102394 w 771525"/>
              <a:gd name="connsiteY75" fmla="*/ 1109662 h 1135856"/>
              <a:gd name="connsiteX76" fmla="*/ 130969 w 771525"/>
              <a:gd name="connsiteY76" fmla="*/ 1135856 h 1135856"/>
              <a:gd name="connsiteX77" fmla="*/ 202407 w 771525"/>
              <a:gd name="connsiteY77" fmla="*/ 1131094 h 1135856"/>
              <a:gd name="connsiteX0" fmla="*/ 202407 w 771525"/>
              <a:gd name="connsiteY0" fmla="*/ 1131094 h 1135856"/>
              <a:gd name="connsiteX1" fmla="*/ 221457 w 771525"/>
              <a:gd name="connsiteY1" fmla="*/ 1064419 h 1135856"/>
              <a:gd name="connsiteX2" fmla="*/ 238125 w 771525"/>
              <a:gd name="connsiteY2" fmla="*/ 1042987 h 1135856"/>
              <a:gd name="connsiteX3" fmla="*/ 247650 w 771525"/>
              <a:gd name="connsiteY3" fmla="*/ 1012031 h 1135856"/>
              <a:gd name="connsiteX4" fmla="*/ 283369 w 771525"/>
              <a:gd name="connsiteY4" fmla="*/ 985837 h 1135856"/>
              <a:gd name="connsiteX5" fmla="*/ 319088 w 771525"/>
              <a:gd name="connsiteY5" fmla="*/ 962025 h 1135856"/>
              <a:gd name="connsiteX6" fmla="*/ 350044 w 771525"/>
              <a:gd name="connsiteY6" fmla="*/ 928687 h 1135856"/>
              <a:gd name="connsiteX7" fmla="*/ 354807 w 771525"/>
              <a:gd name="connsiteY7" fmla="*/ 900112 h 1135856"/>
              <a:gd name="connsiteX8" fmla="*/ 321469 w 771525"/>
              <a:gd name="connsiteY8" fmla="*/ 854869 h 1135856"/>
              <a:gd name="connsiteX9" fmla="*/ 323850 w 771525"/>
              <a:gd name="connsiteY9" fmla="*/ 785812 h 1135856"/>
              <a:gd name="connsiteX10" fmla="*/ 280988 w 771525"/>
              <a:gd name="connsiteY10" fmla="*/ 735806 h 1135856"/>
              <a:gd name="connsiteX11" fmla="*/ 288132 w 771525"/>
              <a:gd name="connsiteY11" fmla="*/ 697706 h 1135856"/>
              <a:gd name="connsiteX12" fmla="*/ 316707 w 771525"/>
              <a:gd name="connsiteY12" fmla="*/ 681037 h 1135856"/>
              <a:gd name="connsiteX13" fmla="*/ 330994 w 771525"/>
              <a:gd name="connsiteY13" fmla="*/ 707231 h 1135856"/>
              <a:gd name="connsiteX14" fmla="*/ 354807 w 771525"/>
              <a:gd name="connsiteY14" fmla="*/ 726281 h 1135856"/>
              <a:gd name="connsiteX15" fmla="*/ 369094 w 771525"/>
              <a:gd name="connsiteY15" fmla="*/ 745331 h 1135856"/>
              <a:gd name="connsiteX16" fmla="*/ 378619 w 771525"/>
              <a:gd name="connsiteY16" fmla="*/ 781050 h 1135856"/>
              <a:gd name="connsiteX17" fmla="*/ 395288 w 771525"/>
              <a:gd name="connsiteY17" fmla="*/ 797719 h 1135856"/>
              <a:gd name="connsiteX18" fmla="*/ 409575 w 771525"/>
              <a:gd name="connsiteY18" fmla="*/ 792956 h 1135856"/>
              <a:gd name="connsiteX19" fmla="*/ 426244 w 771525"/>
              <a:gd name="connsiteY19" fmla="*/ 785812 h 1135856"/>
              <a:gd name="connsiteX20" fmla="*/ 423863 w 771525"/>
              <a:gd name="connsiteY20" fmla="*/ 676275 h 1135856"/>
              <a:gd name="connsiteX21" fmla="*/ 409575 w 771525"/>
              <a:gd name="connsiteY21" fmla="*/ 640556 h 1135856"/>
              <a:gd name="connsiteX22" fmla="*/ 411957 w 771525"/>
              <a:gd name="connsiteY22" fmla="*/ 614362 h 1135856"/>
              <a:gd name="connsiteX23" fmla="*/ 426244 w 771525"/>
              <a:gd name="connsiteY23" fmla="*/ 566737 h 1135856"/>
              <a:gd name="connsiteX24" fmla="*/ 473869 w 771525"/>
              <a:gd name="connsiteY24" fmla="*/ 566737 h 1135856"/>
              <a:gd name="connsiteX25" fmla="*/ 488157 w 771525"/>
              <a:gd name="connsiteY25" fmla="*/ 552450 h 1135856"/>
              <a:gd name="connsiteX26" fmla="*/ 509588 w 771525"/>
              <a:gd name="connsiteY26" fmla="*/ 502444 h 1135856"/>
              <a:gd name="connsiteX27" fmla="*/ 604838 w 771525"/>
              <a:gd name="connsiteY27" fmla="*/ 457200 h 1135856"/>
              <a:gd name="connsiteX28" fmla="*/ 628650 w 771525"/>
              <a:gd name="connsiteY28" fmla="*/ 447675 h 1135856"/>
              <a:gd name="connsiteX29" fmla="*/ 638175 w 771525"/>
              <a:gd name="connsiteY29" fmla="*/ 402431 h 1135856"/>
              <a:gd name="connsiteX30" fmla="*/ 638175 w 771525"/>
              <a:gd name="connsiteY30" fmla="*/ 361950 h 1135856"/>
              <a:gd name="connsiteX31" fmla="*/ 640557 w 771525"/>
              <a:gd name="connsiteY31" fmla="*/ 340519 h 1135856"/>
              <a:gd name="connsiteX32" fmla="*/ 652463 w 771525"/>
              <a:gd name="connsiteY32" fmla="*/ 333375 h 1135856"/>
              <a:gd name="connsiteX33" fmla="*/ 742950 w 771525"/>
              <a:gd name="connsiteY33" fmla="*/ 297656 h 1135856"/>
              <a:gd name="connsiteX34" fmla="*/ 766763 w 771525"/>
              <a:gd name="connsiteY34" fmla="*/ 280987 h 1135856"/>
              <a:gd name="connsiteX35" fmla="*/ 754857 w 771525"/>
              <a:gd name="connsiteY35" fmla="*/ 252412 h 1135856"/>
              <a:gd name="connsiteX36" fmla="*/ 742950 w 771525"/>
              <a:gd name="connsiteY36" fmla="*/ 221456 h 1135856"/>
              <a:gd name="connsiteX37" fmla="*/ 771525 w 771525"/>
              <a:gd name="connsiteY37" fmla="*/ 192881 h 1135856"/>
              <a:gd name="connsiteX38" fmla="*/ 752475 w 771525"/>
              <a:gd name="connsiteY38" fmla="*/ 161925 h 1135856"/>
              <a:gd name="connsiteX39" fmla="*/ 752475 w 771525"/>
              <a:gd name="connsiteY39" fmla="*/ 119062 h 1135856"/>
              <a:gd name="connsiteX40" fmla="*/ 719138 w 771525"/>
              <a:gd name="connsiteY40" fmla="*/ 85725 h 1135856"/>
              <a:gd name="connsiteX41" fmla="*/ 671513 w 771525"/>
              <a:gd name="connsiteY41" fmla="*/ 52387 h 1135856"/>
              <a:gd name="connsiteX42" fmla="*/ 645319 w 771525"/>
              <a:gd name="connsiteY42" fmla="*/ 35719 h 1135856"/>
              <a:gd name="connsiteX43" fmla="*/ 642938 w 771525"/>
              <a:gd name="connsiteY43" fmla="*/ 4762 h 1135856"/>
              <a:gd name="connsiteX44" fmla="*/ 609600 w 771525"/>
              <a:gd name="connsiteY44" fmla="*/ 0 h 1135856"/>
              <a:gd name="connsiteX45" fmla="*/ 583407 w 771525"/>
              <a:gd name="connsiteY45" fmla="*/ 23812 h 1135856"/>
              <a:gd name="connsiteX46" fmla="*/ 564357 w 771525"/>
              <a:gd name="connsiteY46" fmla="*/ 19050 h 1135856"/>
              <a:gd name="connsiteX47" fmla="*/ 554832 w 771525"/>
              <a:gd name="connsiteY47" fmla="*/ 42862 h 1135856"/>
              <a:gd name="connsiteX48" fmla="*/ 509588 w 771525"/>
              <a:gd name="connsiteY48" fmla="*/ 76200 h 1135856"/>
              <a:gd name="connsiteX49" fmla="*/ 407194 w 771525"/>
              <a:gd name="connsiteY49" fmla="*/ 114300 h 1135856"/>
              <a:gd name="connsiteX50" fmla="*/ 381000 w 771525"/>
              <a:gd name="connsiteY50" fmla="*/ 152400 h 1135856"/>
              <a:gd name="connsiteX51" fmla="*/ 340519 w 771525"/>
              <a:gd name="connsiteY51" fmla="*/ 140494 h 1135856"/>
              <a:gd name="connsiteX52" fmla="*/ 245269 w 771525"/>
              <a:gd name="connsiteY52" fmla="*/ 145256 h 1135856"/>
              <a:gd name="connsiteX53" fmla="*/ 250032 w 771525"/>
              <a:gd name="connsiteY53" fmla="*/ 154781 h 1135856"/>
              <a:gd name="connsiteX54" fmla="*/ 309563 w 771525"/>
              <a:gd name="connsiteY54" fmla="*/ 204787 h 1135856"/>
              <a:gd name="connsiteX55" fmla="*/ 211932 w 771525"/>
              <a:gd name="connsiteY55" fmla="*/ 328612 h 1135856"/>
              <a:gd name="connsiteX56" fmla="*/ 173832 w 771525"/>
              <a:gd name="connsiteY56" fmla="*/ 319087 h 1135856"/>
              <a:gd name="connsiteX57" fmla="*/ 80963 w 771525"/>
              <a:gd name="connsiteY57" fmla="*/ 452437 h 1135856"/>
              <a:gd name="connsiteX58" fmla="*/ 97632 w 771525"/>
              <a:gd name="connsiteY58" fmla="*/ 464344 h 1135856"/>
              <a:gd name="connsiteX59" fmla="*/ 114300 w 771525"/>
              <a:gd name="connsiteY59" fmla="*/ 504825 h 1135856"/>
              <a:gd name="connsiteX60" fmla="*/ 92869 w 771525"/>
              <a:gd name="connsiteY60" fmla="*/ 566737 h 1135856"/>
              <a:gd name="connsiteX61" fmla="*/ 102394 w 771525"/>
              <a:gd name="connsiteY61" fmla="*/ 640556 h 1135856"/>
              <a:gd name="connsiteX62" fmla="*/ 73819 w 771525"/>
              <a:gd name="connsiteY62" fmla="*/ 678656 h 1135856"/>
              <a:gd name="connsiteX63" fmla="*/ 73819 w 771525"/>
              <a:gd name="connsiteY63" fmla="*/ 704850 h 1135856"/>
              <a:gd name="connsiteX64" fmla="*/ 61913 w 771525"/>
              <a:gd name="connsiteY64" fmla="*/ 733425 h 1135856"/>
              <a:gd name="connsiteX65" fmla="*/ 88107 w 771525"/>
              <a:gd name="connsiteY65" fmla="*/ 762000 h 1135856"/>
              <a:gd name="connsiteX66" fmla="*/ 135732 w 771525"/>
              <a:gd name="connsiteY66" fmla="*/ 850106 h 1135856"/>
              <a:gd name="connsiteX67" fmla="*/ 69057 w 771525"/>
              <a:gd name="connsiteY67" fmla="*/ 876300 h 1135856"/>
              <a:gd name="connsiteX68" fmla="*/ 45244 w 771525"/>
              <a:gd name="connsiteY68" fmla="*/ 928687 h 1135856"/>
              <a:gd name="connsiteX69" fmla="*/ 33338 w 771525"/>
              <a:gd name="connsiteY69" fmla="*/ 983456 h 1135856"/>
              <a:gd name="connsiteX70" fmla="*/ 2382 w 771525"/>
              <a:gd name="connsiteY70" fmla="*/ 973931 h 1135856"/>
              <a:gd name="connsiteX71" fmla="*/ 0 w 771525"/>
              <a:gd name="connsiteY71" fmla="*/ 1021556 h 1135856"/>
              <a:gd name="connsiteX72" fmla="*/ 16669 w 771525"/>
              <a:gd name="connsiteY72" fmla="*/ 1031081 h 1135856"/>
              <a:gd name="connsiteX73" fmla="*/ 57150 w 771525"/>
              <a:gd name="connsiteY73" fmla="*/ 1040606 h 1135856"/>
              <a:gd name="connsiteX74" fmla="*/ 85725 w 771525"/>
              <a:gd name="connsiteY74" fmla="*/ 1054894 h 1135856"/>
              <a:gd name="connsiteX75" fmla="*/ 102394 w 771525"/>
              <a:gd name="connsiteY75" fmla="*/ 1109662 h 1135856"/>
              <a:gd name="connsiteX76" fmla="*/ 130969 w 771525"/>
              <a:gd name="connsiteY76" fmla="*/ 1135856 h 1135856"/>
              <a:gd name="connsiteX77" fmla="*/ 157163 w 771525"/>
              <a:gd name="connsiteY77" fmla="*/ 1135856 h 1135856"/>
              <a:gd name="connsiteX78" fmla="*/ 202407 w 771525"/>
              <a:gd name="connsiteY78" fmla="*/ 1131094 h 1135856"/>
              <a:gd name="connsiteX0" fmla="*/ 202407 w 771525"/>
              <a:gd name="connsiteY0" fmla="*/ 1131094 h 1164431"/>
              <a:gd name="connsiteX1" fmla="*/ 221457 w 771525"/>
              <a:gd name="connsiteY1" fmla="*/ 1064419 h 1164431"/>
              <a:gd name="connsiteX2" fmla="*/ 238125 w 771525"/>
              <a:gd name="connsiteY2" fmla="*/ 1042987 h 1164431"/>
              <a:gd name="connsiteX3" fmla="*/ 247650 w 771525"/>
              <a:gd name="connsiteY3" fmla="*/ 1012031 h 1164431"/>
              <a:gd name="connsiteX4" fmla="*/ 283369 w 771525"/>
              <a:gd name="connsiteY4" fmla="*/ 985837 h 1164431"/>
              <a:gd name="connsiteX5" fmla="*/ 319088 w 771525"/>
              <a:gd name="connsiteY5" fmla="*/ 962025 h 1164431"/>
              <a:gd name="connsiteX6" fmla="*/ 350044 w 771525"/>
              <a:gd name="connsiteY6" fmla="*/ 928687 h 1164431"/>
              <a:gd name="connsiteX7" fmla="*/ 354807 w 771525"/>
              <a:gd name="connsiteY7" fmla="*/ 900112 h 1164431"/>
              <a:gd name="connsiteX8" fmla="*/ 321469 w 771525"/>
              <a:gd name="connsiteY8" fmla="*/ 854869 h 1164431"/>
              <a:gd name="connsiteX9" fmla="*/ 323850 w 771525"/>
              <a:gd name="connsiteY9" fmla="*/ 785812 h 1164431"/>
              <a:gd name="connsiteX10" fmla="*/ 280988 w 771525"/>
              <a:gd name="connsiteY10" fmla="*/ 735806 h 1164431"/>
              <a:gd name="connsiteX11" fmla="*/ 288132 w 771525"/>
              <a:gd name="connsiteY11" fmla="*/ 697706 h 1164431"/>
              <a:gd name="connsiteX12" fmla="*/ 316707 w 771525"/>
              <a:gd name="connsiteY12" fmla="*/ 681037 h 1164431"/>
              <a:gd name="connsiteX13" fmla="*/ 330994 w 771525"/>
              <a:gd name="connsiteY13" fmla="*/ 707231 h 1164431"/>
              <a:gd name="connsiteX14" fmla="*/ 354807 w 771525"/>
              <a:gd name="connsiteY14" fmla="*/ 726281 h 1164431"/>
              <a:gd name="connsiteX15" fmla="*/ 369094 w 771525"/>
              <a:gd name="connsiteY15" fmla="*/ 745331 h 1164431"/>
              <a:gd name="connsiteX16" fmla="*/ 378619 w 771525"/>
              <a:gd name="connsiteY16" fmla="*/ 781050 h 1164431"/>
              <a:gd name="connsiteX17" fmla="*/ 395288 w 771525"/>
              <a:gd name="connsiteY17" fmla="*/ 797719 h 1164431"/>
              <a:gd name="connsiteX18" fmla="*/ 409575 w 771525"/>
              <a:gd name="connsiteY18" fmla="*/ 792956 h 1164431"/>
              <a:gd name="connsiteX19" fmla="*/ 426244 w 771525"/>
              <a:gd name="connsiteY19" fmla="*/ 785812 h 1164431"/>
              <a:gd name="connsiteX20" fmla="*/ 423863 w 771525"/>
              <a:gd name="connsiteY20" fmla="*/ 676275 h 1164431"/>
              <a:gd name="connsiteX21" fmla="*/ 409575 w 771525"/>
              <a:gd name="connsiteY21" fmla="*/ 640556 h 1164431"/>
              <a:gd name="connsiteX22" fmla="*/ 411957 w 771525"/>
              <a:gd name="connsiteY22" fmla="*/ 614362 h 1164431"/>
              <a:gd name="connsiteX23" fmla="*/ 426244 w 771525"/>
              <a:gd name="connsiteY23" fmla="*/ 566737 h 1164431"/>
              <a:gd name="connsiteX24" fmla="*/ 473869 w 771525"/>
              <a:gd name="connsiteY24" fmla="*/ 566737 h 1164431"/>
              <a:gd name="connsiteX25" fmla="*/ 488157 w 771525"/>
              <a:gd name="connsiteY25" fmla="*/ 552450 h 1164431"/>
              <a:gd name="connsiteX26" fmla="*/ 509588 w 771525"/>
              <a:gd name="connsiteY26" fmla="*/ 502444 h 1164431"/>
              <a:gd name="connsiteX27" fmla="*/ 604838 w 771525"/>
              <a:gd name="connsiteY27" fmla="*/ 457200 h 1164431"/>
              <a:gd name="connsiteX28" fmla="*/ 628650 w 771525"/>
              <a:gd name="connsiteY28" fmla="*/ 447675 h 1164431"/>
              <a:gd name="connsiteX29" fmla="*/ 638175 w 771525"/>
              <a:gd name="connsiteY29" fmla="*/ 402431 h 1164431"/>
              <a:gd name="connsiteX30" fmla="*/ 638175 w 771525"/>
              <a:gd name="connsiteY30" fmla="*/ 361950 h 1164431"/>
              <a:gd name="connsiteX31" fmla="*/ 640557 w 771525"/>
              <a:gd name="connsiteY31" fmla="*/ 340519 h 1164431"/>
              <a:gd name="connsiteX32" fmla="*/ 652463 w 771525"/>
              <a:gd name="connsiteY32" fmla="*/ 333375 h 1164431"/>
              <a:gd name="connsiteX33" fmla="*/ 742950 w 771525"/>
              <a:gd name="connsiteY33" fmla="*/ 297656 h 1164431"/>
              <a:gd name="connsiteX34" fmla="*/ 766763 w 771525"/>
              <a:gd name="connsiteY34" fmla="*/ 280987 h 1164431"/>
              <a:gd name="connsiteX35" fmla="*/ 754857 w 771525"/>
              <a:gd name="connsiteY35" fmla="*/ 252412 h 1164431"/>
              <a:gd name="connsiteX36" fmla="*/ 742950 w 771525"/>
              <a:gd name="connsiteY36" fmla="*/ 221456 h 1164431"/>
              <a:gd name="connsiteX37" fmla="*/ 771525 w 771525"/>
              <a:gd name="connsiteY37" fmla="*/ 192881 h 1164431"/>
              <a:gd name="connsiteX38" fmla="*/ 752475 w 771525"/>
              <a:gd name="connsiteY38" fmla="*/ 161925 h 1164431"/>
              <a:gd name="connsiteX39" fmla="*/ 752475 w 771525"/>
              <a:gd name="connsiteY39" fmla="*/ 119062 h 1164431"/>
              <a:gd name="connsiteX40" fmla="*/ 719138 w 771525"/>
              <a:gd name="connsiteY40" fmla="*/ 85725 h 1164431"/>
              <a:gd name="connsiteX41" fmla="*/ 671513 w 771525"/>
              <a:gd name="connsiteY41" fmla="*/ 52387 h 1164431"/>
              <a:gd name="connsiteX42" fmla="*/ 645319 w 771525"/>
              <a:gd name="connsiteY42" fmla="*/ 35719 h 1164431"/>
              <a:gd name="connsiteX43" fmla="*/ 642938 w 771525"/>
              <a:gd name="connsiteY43" fmla="*/ 4762 h 1164431"/>
              <a:gd name="connsiteX44" fmla="*/ 609600 w 771525"/>
              <a:gd name="connsiteY44" fmla="*/ 0 h 1164431"/>
              <a:gd name="connsiteX45" fmla="*/ 583407 w 771525"/>
              <a:gd name="connsiteY45" fmla="*/ 23812 h 1164431"/>
              <a:gd name="connsiteX46" fmla="*/ 564357 w 771525"/>
              <a:gd name="connsiteY46" fmla="*/ 19050 h 1164431"/>
              <a:gd name="connsiteX47" fmla="*/ 554832 w 771525"/>
              <a:gd name="connsiteY47" fmla="*/ 42862 h 1164431"/>
              <a:gd name="connsiteX48" fmla="*/ 509588 w 771525"/>
              <a:gd name="connsiteY48" fmla="*/ 76200 h 1164431"/>
              <a:gd name="connsiteX49" fmla="*/ 407194 w 771525"/>
              <a:gd name="connsiteY49" fmla="*/ 114300 h 1164431"/>
              <a:gd name="connsiteX50" fmla="*/ 381000 w 771525"/>
              <a:gd name="connsiteY50" fmla="*/ 152400 h 1164431"/>
              <a:gd name="connsiteX51" fmla="*/ 340519 w 771525"/>
              <a:gd name="connsiteY51" fmla="*/ 140494 h 1164431"/>
              <a:gd name="connsiteX52" fmla="*/ 245269 w 771525"/>
              <a:gd name="connsiteY52" fmla="*/ 145256 h 1164431"/>
              <a:gd name="connsiteX53" fmla="*/ 250032 w 771525"/>
              <a:gd name="connsiteY53" fmla="*/ 154781 h 1164431"/>
              <a:gd name="connsiteX54" fmla="*/ 309563 w 771525"/>
              <a:gd name="connsiteY54" fmla="*/ 204787 h 1164431"/>
              <a:gd name="connsiteX55" fmla="*/ 211932 w 771525"/>
              <a:gd name="connsiteY55" fmla="*/ 328612 h 1164431"/>
              <a:gd name="connsiteX56" fmla="*/ 173832 w 771525"/>
              <a:gd name="connsiteY56" fmla="*/ 319087 h 1164431"/>
              <a:gd name="connsiteX57" fmla="*/ 80963 w 771525"/>
              <a:gd name="connsiteY57" fmla="*/ 452437 h 1164431"/>
              <a:gd name="connsiteX58" fmla="*/ 97632 w 771525"/>
              <a:gd name="connsiteY58" fmla="*/ 464344 h 1164431"/>
              <a:gd name="connsiteX59" fmla="*/ 114300 w 771525"/>
              <a:gd name="connsiteY59" fmla="*/ 504825 h 1164431"/>
              <a:gd name="connsiteX60" fmla="*/ 92869 w 771525"/>
              <a:gd name="connsiteY60" fmla="*/ 566737 h 1164431"/>
              <a:gd name="connsiteX61" fmla="*/ 102394 w 771525"/>
              <a:gd name="connsiteY61" fmla="*/ 640556 h 1164431"/>
              <a:gd name="connsiteX62" fmla="*/ 73819 w 771525"/>
              <a:gd name="connsiteY62" fmla="*/ 678656 h 1164431"/>
              <a:gd name="connsiteX63" fmla="*/ 73819 w 771525"/>
              <a:gd name="connsiteY63" fmla="*/ 704850 h 1164431"/>
              <a:gd name="connsiteX64" fmla="*/ 61913 w 771525"/>
              <a:gd name="connsiteY64" fmla="*/ 733425 h 1164431"/>
              <a:gd name="connsiteX65" fmla="*/ 88107 w 771525"/>
              <a:gd name="connsiteY65" fmla="*/ 762000 h 1164431"/>
              <a:gd name="connsiteX66" fmla="*/ 135732 w 771525"/>
              <a:gd name="connsiteY66" fmla="*/ 850106 h 1164431"/>
              <a:gd name="connsiteX67" fmla="*/ 69057 w 771525"/>
              <a:gd name="connsiteY67" fmla="*/ 876300 h 1164431"/>
              <a:gd name="connsiteX68" fmla="*/ 45244 w 771525"/>
              <a:gd name="connsiteY68" fmla="*/ 928687 h 1164431"/>
              <a:gd name="connsiteX69" fmla="*/ 33338 w 771525"/>
              <a:gd name="connsiteY69" fmla="*/ 983456 h 1164431"/>
              <a:gd name="connsiteX70" fmla="*/ 2382 w 771525"/>
              <a:gd name="connsiteY70" fmla="*/ 973931 h 1164431"/>
              <a:gd name="connsiteX71" fmla="*/ 0 w 771525"/>
              <a:gd name="connsiteY71" fmla="*/ 1021556 h 1164431"/>
              <a:gd name="connsiteX72" fmla="*/ 16669 w 771525"/>
              <a:gd name="connsiteY72" fmla="*/ 1031081 h 1164431"/>
              <a:gd name="connsiteX73" fmla="*/ 57150 w 771525"/>
              <a:gd name="connsiteY73" fmla="*/ 1040606 h 1164431"/>
              <a:gd name="connsiteX74" fmla="*/ 85725 w 771525"/>
              <a:gd name="connsiteY74" fmla="*/ 1054894 h 1164431"/>
              <a:gd name="connsiteX75" fmla="*/ 102394 w 771525"/>
              <a:gd name="connsiteY75" fmla="*/ 1109662 h 1164431"/>
              <a:gd name="connsiteX76" fmla="*/ 130969 w 771525"/>
              <a:gd name="connsiteY76" fmla="*/ 1135856 h 1164431"/>
              <a:gd name="connsiteX77" fmla="*/ 157163 w 771525"/>
              <a:gd name="connsiteY77" fmla="*/ 1164431 h 1164431"/>
              <a:gd name="connsiteX78" fmla="*/ 202407 w 771525"/>
              <a:gd name="connsiteY78" fmla="*/ 1131094 h 1164431"/>
              <a:gd name="connsiteX0" fmla="*/ 202407 w 771525"/>
              <a:gd name="connsiteY0" fmla="*/ 1131094 h 1164431"/>
              <a:gd name="connsiteX1" fmla="*/ 221457 w 771525"/>
              <a:gd name="connsiteY1" fmla="*/ 1064419 h 1164431"/>
              <a:gd name="connsiteX2" fmla="*/ 238125 w 771525"/>
              <a:gd name="connsiteY2" fmla="*/ 1042987 h 1164431"/>
              <a:gd name="connsiteX3" fmla="*/ 247650 w 771525"/>
              <a:gd name="connsiteY3" fmla="*/ 1012031 h 1164431"/>
              <a:gd name="connsiteX4" fmla="*/ 283369 w 771525"/>
              <a:gd name="connsiteY4" fmla="*/ 985837 h 1164431"/>
              <a:gd name="connsiteX5" fmla="*/ 319088 w 771525"/>
              <a:gd name="connsiteY5" fmla="*/ 962025 h 1164431"/>
              <a:gd name="connsiteX6" fmla="*/ 350044 w 771525"/>
              <a:gd name="connsiteY6" fmla="*/ 928687 h 1164431"/>
              <a:gd name="connsiteX7" fmla="*/ 354807 w 771525"/>
              <a:gd name="connsiteY7" fmla="*/ 900112 h 1164431"/>
              <a:gd name="connsiteX8" fmla="*/ 321469 w 771525"/>
              <a:gd name="connsiteY8" fmla="*/ 854869 h 1164431"/>
              <a:gd name="connsiteX9" fmla="*/ 323850 w 771525"/>
              <a:gd name="connsiteY9" fmla="*/ 785812 h 1164431"/>
              <a:gd name="connsiteX10" fmla="*/ 280988 w 771525"/>
              <a:gd name="connsiteY10" fmla="*/ 735806 h 1164431"/>
              <a:gd name="connsiteX11" fmla="*/ 288132 w 771525"/>
              <a:gd name="connsiteY11" fmla="*/ 697706 h 1164431"/>
              <a:gd name="connsiteX12" fmla="*/ 316707 w 771525"/>
              <a:gd name="connsiteY12" fmla="*/ 681037 h 1164431"/>
              <a:gd name="connsiteX13" fmla="*/ 330994 w 771525"/>
              <a:gd name="connsiteY13" fmla="*/ 707231 h 1164431"/>
              <a:gd name="connsiteX14" fmla="*/ 354807 w 771525"/>
              <a:gd name="connsiteY14" fmla="*/ 726281 h 1164431"/>
              <a:gd name="connsiteX15" fmla="*/ 369094 w 771525"/>
              <a:gd name="connsiteY15" fmla="*/ 745331 h 1164431"/>
              <a:gd name="connsiteX16" fmla="*/ 378619 w 771525"/>
              <a:gd name="connsiteY16" fmla="*/ 781050 h 1164431"/>
              <a:gd name="connsiteX17" fmla="*/ 395288 w 771525"/>
              <a:gd name="connsiteY17" fmla="*/ 797719 h 1164431"/>
              <a:gd name="connsiteX18" fmla="*/ 409575 w 771525"/>
              <a:gd name="connsiteY18" fmla="*/ 792956 h 1164431"/>
              <a:gd name="connsiteX19" fmla="*/ 426244 w 771525"/>
              <a:gd name="connsiteY19" fmla="*/ 785812 h 1164431"/>
              <a:gd name="connsiteX20" fmla="*/ 423863 w 771525"/>
              <a:gd name="connsiteY20" fmla="*/ 676275 h 1164431"/>
              <a:gd name="connsiteX21" fmla="*/ 409575 w 771525"/>
              <a:gd name="connsiteY21" fmla="*/ 640556 h 1164431"/>
              <a:gd name="connsiteX22" fmla="*/ 411957 w 771525"/>
              <a:gd name="connsiteY22" fmla="*/ 614362 h 1164431"/>
              <a:gd name="connsiteX23" fmla="*/ 426244 w 771525"/>
              <a:gd name="connsiteY23" fmla="*/ 566737 h 1164431"/>
              <a:gd name="connsiteX24" fmla="*/ 473869 w 771525"/>
              <a:gd name="connsiteY24" fmla="*/ 566737 h 1164431"/>
              <a:gd name="connsiteX25" fmla="*/ 488157 w 771525"/>
              <a:gd name="connsiteY25" fmla="*/ 552450 h 1164431"/>
              <a:gd name="connsiteX26" fmla="*/ 509588 w 771525"/>
              <a:gd name="connsiteY26" fmla="*/ 502444 h 1164431"/>
              <a:gd name="connsiteX27" fmla="*/ 604838 w 771525"/>
              <a:gd name="connsiteY27" fmla="*/ 457200 h 1164431"/>
              <a:gd name="connsiteX28" fmla="*/ 628650 w 771525"/>
              <a:gd name="connsiteY28" fmla="*/ 447675 h 1164431"/>
              <a:gd name="connsiteX29" fmla="*/ 638175 w 771525"/>
              <a:gd name="connsiteY29" fmla="*/ 402431 h 1164431"/>
              <a:gd name="connsiteX30" fmla="*/ 638175 w 771525"/>
              <a:gd name="connsiteY30" fmla="*/ 361950 h 1164431"/>
              <a:gd name="connsiteX31" fmla="*/ 640557 w 771525"/>
              <a:gd name="connsiteY31" fmla="*/ 340519 h 1164431"/>
              <a:gd name="connsiteX32" fmla="*/ 652463 w 771525"/>
              <a:gd name="connsiteY32" fmla="*/ 333375 h 1164431"/>
              <a:gd name="connsiteX33" fmla="*/ 742950 w 771525"/>
              <a:gd name="connsiteY33" fmla="*/ 297656 h 1164431"/>
              <a:gd name="connsiteX34" fmla="*/ 766763 w 771525"/>
              <a:gd name="connsiteY34" fmla="*/ 280987 h 1164431"/>
              <a:gd name="connsiteX35" fmla="*/ 754857 w 771525"/>
              <a:gd name="connsiteY35" fmla="*/ 252412 h 1164431"/>
              <a:gd name="connsiteX36" fmla="*/ 742950 w 771525"/>
              <a:gd name="connsiteY36" fmla="*/ 221456 h 1164431"/>
              <a:gd name="connsiteX37" fmla="*/ 771525 w 771525"/>
              <a:gd name="connsiteY37" fmla="*/ 192881 h 1164431"/>
              <a:gd name="connsiteX38" fmla="*/ 752475 w 771525"/>
              <a:gd name="connsiteY38" fmla="*/ 161925 h 1164431"/>
              <a:gd name="connsiteX39" fmla="*/ 752475 w 771525"/>
              <a:gd name="connsiteY39" fmla="*/ 119062 h 1164431"/>
              <a:gd name="connsiteX40" fmla="*/ 719138 w 771525"/>
              <a:gd name="connsiteY40" fmla="*/ 85725 h 1164431"/>
              <a:gd name="connsiteX41" fmla="*/ 671513 w 771525"/>
              <a:gd name="connsiteY41" fmla="*/ 52387 h 1164431"/>
              <a:gd name="connsiteX42" fmla="*/ 645319 w 771525"/>
              <a:gd name="connsiteY42" fmla="*/ 35719 h 1164431"/>
              <a:gd name="connsiteX43" fmla="*/ 642938 w 771525"/>
              <a:gd name="connsiteY43" fmla="*/ 4762 h 1164431"/>
              <a:gd name="connsiteX44" fmla="*/ 609600 w 771525"/>
              <a:gd name="connsiteY44" fmla="*/ 0 h 1164431"/>
              <a:gd name="connsiteX45" fmla="*/ 583407 w 771525"/>
              <a:gd name="connsiteY45" fmla="*/ 23812 h 1164431"/>
              <a:gd name="connsiteX46" fmla="*/ 564357 w 771525"/>
              <a:gd name="connsiteY46" fmla="*/ 19050 h 1164431"/>
              <a:gd name="connsiteX47" fmla="*/ 554832 w 771525"/>
              <a:gd name="connsiteY47" fmla="*/ 42862 h 1164431"/>
              <a:gd name="connsiteX48" fmla="*/ 509588 w 771525"/>
              <a:gd name="connsiteY48" fmla="*/ 76200 h 1164431"/>
              <a:gd name="connsiteX49" fmla="*/ 407194 w 771525"/>
              <a:gd name="connsiteY49" fmla="*/ 114300 h 1164431"/>
              <a:gd name="connsiteX50" fmla="*/ 381000 w 771525"/>
              <a:gd name="connsiteY50" fmla="*/ 152400 h 1164431"/>
              <a:gd name="connsiteX51" fmla="*/ 340519 w 771525"/>
              <a:gd name="connsiteY51" fmla="*/ 140494 h 1164431"/>
              <a:gd name="connsiteX52" fmla="*/ 245269 w 771525"/>
              <a:gd name="connsiteY52" fmla="*/ 145256 h 1164431"/>
              <a:gd name="connsiteX53" fmla="*/ 250032 w 771525"/>
              <a:gd name="connsiteY53" fmla="*/ 154781 h 1164431"/>
              <a:gd name="connsiteX54" fmla="*/ 309563 w 771525"/>
              <a:gd name="connsiteY54" fmla="*/ 204787 h 1164431"/>
              <a:gd name="connsiteX55" fmla="*/ 211932 w 771525"/>
              <a:gd name="connsiteY55" fmla="*/ 328612 h 1164431"/>
              <a:gd name="connsiteX56" fmla="*/ 173832 w 771525"/>
              <a:gd name="connsiteY56" fmla="*/ 319087 h 1164431"/>
              <a:gd name="connsiteX57" fmla="*/ 80963 w 771525"/>
              <a:gd name="connsiteY57" fmla="*/ 452437 h 1164431"/>
              <a:gd name="connsiteX58" fmla="*/ 97632 w 771525"/>
              <a:gd name="connsiteY58" fmla="*/ 464344 h 1164431"/>
              <a:gd name="connsiteX59" fmla="*/ 114300 w 771525"/>
              <a:gd name="connsiteY59" fmla="*/ 504825 h 1164431"/>
              <a:gd name="connsiteX60" fmla="*/ 92869 w 771525"/>
              <a:gd name="connsiteY60" fmla="*/ 566737 h 1164431"/>
              <a:gd name="connsiteX61" fmla="*/ 102394 w 771525"/>
              <a:gd name="connsiteY61" fmla="*/ 640556 h 1164431"/>
              <a:gd name="connsiteX62" fmla="*/ 73819 w 771525"/>
              <a:gd name="connsiteY62" fmla="*/ 678656 h 1164431"/>
              <a:gd name="connsiteX63" fmla="*/ 73819 w 771525"/>
              <a:gd name="connsiteY63" fmla="*/ 704850 h 1164431"/>
              <a:gd name="connsiteX64" fmla="*/ 61913 w 771525"/>
              <a:gd name="connsiteY64" fmla="*/ 733425 h 1164431"/>
              <a:gd name="connsiteX65" fmla="*/ 88107 w 771525"/>
              <a:gd name="connsiteY65" fmla="*/ 762000 h 1164431"/>
              <a:gd name="connsiteX66" fmla="*/ 135732 w 771525"/>
              <a:gd name="connsiteY66" fmla="*/ 850106 h 1164431"/>
              <a:gd name="connsiteX67" fmla="*/ 69057 w 771525"/>
              <a:gd name="connsiteY67" fmla="*/ 876300 h 1164431"/>
              <a:gd name="connsiteX68" fmla="*/ 45244 w 771525"/>
              <a:gd name="connsiteY68" fmla="*/ 928687 h 1164431"/>
              <a:gd name="connsiteX69" fmla="*/ 33338 w 771525"/>
              <a:gd name="connsiteY69" fmla="*/ 983456 h 1164431"/>
              <a:gd name="connsiteX70" fmla="*/ 2382 w 771525"/>
              <a:gd name="connsiteY70" fmla="*/ 973931 h 1164431"/>
              <a:gd name="connsiteX71" fmla="*/ 0 w 771525"/>
              <a:gd name="connsiteY71" fmla="*/ 1021556 h 1164431"/>
              <a:gd name="connsiteX72" fmla="*/ 16669 w 771525"/>
              <a:gd name="connsiteY72" fmla="*/ 1031081 h 1164431"/>
              <a:gd name="connsiteX73" fmla="*/ 57150 w 771525"/>
              <a:gd name="connsiteY73" fmla="*/ 1040606 h 1164431"/>
              <a:gd name="connsiteX74" fmla="*/ 85725 w 771525"/>
              <a:gd name="connsiteY74" fmla="*/ 1054894 h 1164431"/>
              <a:gd name="connsiteX75" fmla="*/ 102394 w 771525"/>
              <a:gd name="connsiteY75" fmla="*/ 1109662 h 1164431"/>
              <a:gd name="connsiteX76" fmla="*/ 130969 w 771525"/>
              <a:gd name="connsiteY76" fmla="*/ 1135856 h 1164431"/>
              <a:gd name="connsiteX77" fmla="*/ 157163 w 771525"/>
              <a:gd name="connsiteY77" fmla="*/ 1164431 h 1164431"/>
              <a:gd name="connsiteX78" fmla="*/ 185738 w 771525"/>
              <a:gd name="connsiteY78" fmla="*/ 1140619 h 1164431"/>
              <a:gd name="connsiteX79" fmla="*/ 202407 w 771525"/>
              <a:gd name="connsiteY79" fmla="*/ 1131094 h 1164431"/>
              <a:gd name="connsiteX0" fmla="*/ 202407 w 771525"/>
              <a:gd name="connsiteY0" fmla="*/ 1131094 h 1164431"/>
              <a:gd name="connsiteX1" fmla="*/ 221457 w 771525"/>
              <a:gd name="connsiteY1" fmla="*/ 1064419 h 1164431"/>
              <a:gd name="connsiteX2" fmla="*/ 238125 w 771525"/>
              <a:gd name="connsiteY2" fmla="*/ 1042987 h 1164431"/>
              <a:gd name="connsiteX3" fmla="*/ 247650 w 771525"/>
              <a:gd name="connsiteY3" fmla="*/ 1012031 h 1164431"/>
              <a:gd name="connsiteX4" fmla="*/ 283369 w 771525"/>
              <a:gd name="connsiteY4" fmla="*/ 985837 h 1164431"/>
              <a:gd name="connsiteX5" fmla="*/ 319088 w 771525"/>
              <a:gd name="connsiteY5" fmla="*/ 962025 h 1164431"/>
              <a:gd name="connsiteX6" fmla="*/ 350044 w 771525"/>
              <a:gd name="connsiteY6" fmla="*/ 928687 h 1164431"/>
              <a:gd name="connsiteX7" fmla="*/ 354807 w 771525"/>
              <a:gd name="connsiteY7" fmla="*/ 900112 h 1164431"/>
              <a:gd name="connsiteX8" fmla="*/ 321469 w 771525"/>
              <a:gd name="connsiteY8" fmla="*/ 854869 h 1164431"/>
              <a:gd name="connsiteX9" fmla="*/ 323850 w 771525"/>
              <a:gd name="connsiteY9" fmla="*/ 785812 h 1164431"/>
              <a:gd name="connsiteX10" fmla="*/ 280988 w 771525"/>
              <a:gd name="connsiteY10" fmla="*/ 735806 h 1164431"/>
              <a:gd name="connsiteX11" fmla="*/ 288132 w 771525"/>
              <a:gd name="connsiteY11" fmla="*/ 697706 h 1164431"/>
              <a:gd name="connsiteX12" fmla="*/ 316707 w 771525"/>
              <a:gd name="connsiteY12" fmla="*/ 681037 h 1164431"/>
              <a:gd name="connsiteX13" fmla="*/ 330994 w 771525"/>
              <a:gd name="connsiteY13" fmla="*/ 707231 h 1164431"/>
              <a:gd name="connsiteX14" fmla="*/ 354807 w 771525"/>
              <a:gd name="connsiteY14" fmla="*/ 726281 h 1164431"/>
              <a:gd name="connsiteX15" fmla="*/ 369094 w 771525"/>
              <a:gd name="connsiteY15" fmla="*/ 745331 h 1164431"/>
              <a:gd name="connsiteX16" fmla="*/ 378619 w 771525"/>
              <a:gd name="connsiteY16" fmla="*/ 781050 h 1164431"/>
              <a:gd name="connsiteX17" fmla="*/ 395288 w 771525"/>
              <a:gd name="connsiteY17" fmla="*/ 797719 h 1164431"/>
              <a:gd name="connsiteX18" fmla="*/ 409575 w 771525"/>
              <a:gd name="connsiteY18" fmla="*/ 792956 h 1164431"/>
              <a:gd name="connsiteX19" fmla="*/ 426244 w 771525"/>
              <a:gd name="connsiteY19" fmla="*/ 785812 h 1164431"/>
              <a:gd name="connsiteX20" fmla="*/ 423863 w 771525"/>
              <a:gd name="connsiteY20" fmla="*/ 676275 h 1164431"/>
              <a:gd name="connsiteX21" fmla="*/ 409575 w 771525"/>
              <a:gd name="connsiteY21" fmla="*/ 640556 h 1164431"/>
              <a:gd name="connsiteX22" fmla="*/ 411957 w 771525"/>
              <a:gd name="connsiteY22" fmla="*/ 614362 h 1164431"/>
              <a:gd name="connsiteX23" fmla="*/ 426244 w 771525"/>
              <a:gd name="connsiteY23" fmla="*/ 566737 h 1164431"/>
              <a:gd name="connsiteX24" fmla="*/ 473869 w 771525"/>
              <a:gd name="connsiteY24" fmla="*/ 566737 h 1164431"/>
              <a:gd name="connsiteX25" fmla="*/ 488157 w 771525"/>
              <a:gd name="connsiteY25" fmla="*/ 552450 h 1164431"/>
              <a:gd name="connsiteX26" fmla="*/ 509588 w 771525"/>
              <a:gd name="connsiteY26" fmla="*/ 502444 h 1164431"/>
              <a:gd name="connsiteX27" fmla="*/ 604838 w 771525"/>
              <a:gd name="connsiteY27" fmla="*/ 457200 h 1164431"/>
              <a:gd name="connsiteX28" fmla="*/ 628650 w 771525"/>
              <a:gd name="connsiteY28" fmla="*/ 447675 h 1164431"/>
              <a:gd name="connsiteX29" fmla="*/ 638175 w 771525"/>
              <a:gd name="connsiteY29" fmla="*/ 402431 h 1164431"/>
              <a:gd name="connsiteX30" fmla="*/ 638175 w 771525"/>
              <a:gd name="connsiteY30" fmla="*/ 361950 h 1164431"/>
              <a:gd name="connsiteX31" fmla="*/ 640557 w 771525"/>
              <a:gd name="connsiteY31" fmla="*/ 340519 h 1164431"/>
              <a:gd name="connsiteX32" fmla="*/ 652463 w 771525"/>
              <a:gd name="connsiteY32" fmla="*/ 333375 h 1164431"/>
              <a:gd name="connsiteX33" fmla="*/ 742950 w 771525"/>
              <a:gd name="connsiteY33" fmla="*/ 297656 h 1164431"/>
              <a:gd name="connsiteX34" fmla="*/ 766763 w 771525"/>
              <a:gd name="connsiteY34" fmla="*/ 280987 h 1164431"/>
              <a:gd name="connsiteX35" fmla="*/ 754857 w 771525"/>
              <a:gd name="connsiteY35" fmla="*/ 252412 h 1164431"/>
              <a:gd name="connsiteX36" fmla="*/ 742950 w 771525"/>
              <a:gd name="connsiteY36" fmla="*/ 221456 h 1164431"/>
              <a:gd name="connsiteX37" fmla="*/ 771525 w 771525"/>
              <a:gd name="connsiteY37" fmla="*/ 192881 h 1164431"/>
              <a:gd name="connsiteX38" fmla="*/ 752475 w 771525"/>
              <a:gd name="connsiteY38" fmla="*/ 161925 h 1164431"/>
              <a:gd name="connsiteX39" fmla="*/ 752475 w 771525"/>
              <a:gd name="connsiteY39" fmla="*/ 119062 h 1164431"/>
              <a:gd name="connsiteX40" fmla="*/ 719138 w 771525"/>
              <a:gd name="connsiteY40" fmla="*/ 85725 h 1164431"/>
              <a:gd name="connsiteX41" fmla="*/ 671513 w 771525"/>
              <a:gd name="connsiteY41" fmla="*/ 52387 h 1164431"/>
              <a:gd name="connsiteX42" fmla="*/ 645319 w 771525"/>
              <a:gd name="connsiteY42" fmla="*/ 35719 h 1164431"/>
              <a:gd name="connsiteX43" fmla="*/ 642938 w 771525"/>
              <a:gd name="connsiteY43" fmla="*/ 4762 h 1164431"/>
              <a:gd name="connsiteX44" fmla="*/ 609600 w 771525"/>
              <a:gd name="connsiteY44" fmla="*/ 0 h 1164431"/>
              <a:gd name="connsiteX45" fmla="*/ 583407 w 771525"/>
              <a:gd name="connsiteY45" fmla="*/ 23812 h 1164431"/>
              <a:gd name="connsiteX46" fmla="*/ 564357 w 771525"/>
              <a:gd name="connsiteY46" fmla="*/ 19050 h 1164431"/>
              <a:gd name="connsiteX47" fmla="*/ 554832 w 771525"/>
              <a:gd name="connsiteY47" fmla="*/ 42862 h 1164431"/>
              <a:gd name="connsiteX48" fmla="*/ 509588 w 771525"/>
              <a:gd name="connsiteY48" fmla="*/ 76200 h 1164431"/>
              <a:gd name="connsiteX49" fmla="*/ 407194 w 771525"/>
              <a:gd name="connsiteY49" fmla="*/ 114300 h 1164431"/>
              <a:gd name="connsiteX50" fmla="*/ 381000 w 771525"/>
              <a:gd name="connsiteY50" fmla="*/ 152400 h 1164431"/>
              <a:gd name="connsiteX51" fmla="*/ 340519 w 771525"/>
              <a:gd name="connsiteY51" fmla="*/ 140494 h 1164431"/>
              <a:gd name="connsiteX52" fmla="*/ 245269 w 771525"/>
              <a:gd name="connsiteY52" fmla="*/ 145256 h 1164431"/>
              <a:gd name="connsiteX53" fmla="*/ 250032 w 771525"/>
              <a:gd name="connsiteY53" fmla="*/ 154781 h 1164431"/>
              <a:gd name="connsiteX54" fmla="*/ 309563 w 771525"/>
              <a:gd name="connsiteY54" fmla="*/ 204787 h 1164431"/>
              <a:gd name="connsiteX55" fmla="*/ 211932 w 771525"/>
              <a:gd name="connsiteY55" fmla="*/ 328612 h 1164431"/>
              <a:gd name="connsiteX56" fmla="*/ 173832 w 771525"/>
              <a:gd name="connsiteY56" fmla="*/ 319087 h 1164431"/>
              <a:gd name="connsiteX57" fmla="*/ 80963 w 771525"/>
              <a:gd name="connsiteY57" fmla="*/ 452437 h 1164431"/>
              <a:gd name="connsiteX58" fmla="*/ 97632 w 771525"/>
              <a:gd name="connsiteY58" fmla="*/ 464344 h 1164431"/>
              <a:gd name="connsiteX59" fmla="*/ 114300 w 771525"/>
              <a:gd name="connsiteY59" fmla="*/ 504825 h 1164431"/>
              <a:gd name="connsiteX60" fmla="*/ 92869 w 771525"/>
              <a:gd name="connsiteY60" fmla="*/ 566737 h 1164431"/>
              <a:gd name="connsiteX61" fmla="*/ 102394 w 771525"/>
              <a:gd name="connsiteY61" fmla="*/ 640556 h 1164431"/>
              <a:gd name="connsiteX62" fmla="*/ 73819 w 771525"/>
              <a:gd name="connsiteY62" fmla="*/ 678656 h 1164431"/>
              <a:gd name="connsiteX63" fmla="*/ 73819 w 771525"/>
              <a:gd name="connsiteY63" fmla="*/ 704850 h 1164431"/>
              <a:gd name="connsiteX64" fmla="*/ 61913 w 771525"/>
              <a:gd name="connsiteY64" fmla="*/ 733425 h 1164431"/>
              <a:gd name="connsiteX65" fmla="*/ 88107 w 771525"/>
              <a:gd name="connsiteY65" fmla="*/ 762000 h 1164431"/>
              <a:gd name="connsiteX66" fmla="*/ 135732 w 771525"/>
              <a:gd name="connsiteY66" fmla="*/ 850106 h 1164431"/>
              <a:gd name="connsiteX67" fmla="*/ 69057 w 771525"/>
              <a:gd name="connsiteY67" fmla="*/ 876300 h 1164431"/>
              <a:gd name="connsiteX68" fmla="*/ 45244 w 771525"/>
              <a:gd name="connsiteY68" fmla="*/ 928687 h 1164431"/>
              <a:gd name="connsiteX69" fmla="*/ 33338 w 771525"/>
              <a:gd name="connsiteY69" fmla="*/ 983456 h 1164431"/>
              <a:gd name="connsiteX70" fmla="*/ 2382 w 771525"/>
              <a:gd name="connsiteY70" fmla="*/ 973931 h 1164431"/>
              <a:gd name="connsiteX71" fmla="*/ 0 w 771525"/>
              <a:gd name="connsiteY71" fmla="*/ 1021556 h 1164431"/>
              <a:gd name="connsiteX72" fmla="*/ 16669 w 771525"/>
              <a:gd name="connsiteY72" fmla="*/ 1031081 h 1164431"/>
              <a:gd name="connsiteX73" fmla="*/ 57150 w 771525"/>
              <a:gd name="connsiteY73" fmla="*/ 1040606 h 1164431"/>
              <a:gd name="connsiteX74" fmla="*/ 85725 w 771525"/>
              <a:gd name="connsiteY74" fmla="*/ 1054894 h 1164431"/>
              <a:gd name="connsiteX75" fmla="*/ 102394 w 771525"/>
              <a:gd name="connsiteY75" fmla="*/ 1109662 h 1164431"/>
              <a:gd name="connsiteX76" fmla="*/ 130969 w 771525"/>
              <a:gd name="connsiteY76" fmla="*/ 1135856 h 1164431"/>
              <a:gd name="connsiteX77" fmla="*/ 157163 w 771525"/>
              <a:gd name="connsiteY77" fmla="*/ 1164431 h 1164431"/>
              <a:gd name="connsiteX78" fmla="*/ 192882 w 771525"/>
              <a:gd name="connsiteY78" fmla="*/ 1157288 h 1164431"/>
              <a:gd name="connsiteX79" fmla="*/ 202407 w 771525"/>
              <a:gd name="connsiteY79" fmla="*/ 1131094 h 1164431"/>
              <a:gd name="connsiteX0" fmla="*/ 202407 w 771525"/>
              <a:gd name="connsiteY0" fmla="*/ 1164432 h 1197769"/>
              <a:gd name="connsiteX1" fmla="*/ 221457 w 771525"/>
              <a:gd name="connsiteY1" fmla="*/ 1097757 h 1197769"/>
              <a:gd name="connsiteX2" fmla="*/ 238125 w 771525"/>
              <a:gd name="connsiteY2" fmla="*/ 1076325 h 1197769"/>
              <a:gd name="connsiteX3" fmla="*/ 247650 w 771525"/>
              <a:gd name="connsiteY3" fmla="*/ 1045369 h 1197769"/>
              <a:gd name="connsiteX4" fmla="*/ 283369 w 771525"/>
              <a:gd name="connsiteY4" fmla="*/ 1019175 h 1197769"/>
              <a:gd name="connsiteX5" fmla="*/ 319088 w 771525"/>
              <a:gd name="connsiteY5" fmla="*/ 995363 h 1197769"/>
              <a:gd name="connsiteX6" fmla="*/ 350044 w 771525"/>
              <a:gd name="connsiteY6" fmla="*/ 962025 h 1197769"/>
              <a:gd name="connsiteX7" fmla="*/ 354807 w 771525"/>
              <a:gd name="connsiteY7" fmla="*/ 933450 h 1197769"/>
              <a:gd name="connsiteX8" fmla="*/ 321469 w 771525"/>
              <a:gd name="connsiteY8" fmla="*/ 888207 h 1197769"/>
              <a:gd name="connsiteX9" fmla="*/ 323850 w 771525"/>
              <a:gd name="connsiteY9" fmla="*/ 819150 h 1197769"/>
              <a:gd name="connsiteX10" fmla="*/ 280988 w 771525"/>
              <a:gd name="connsiteY10" fmla="*/ 769144 h 1197769"/>
              <a:gd name="connsiteX11" fmla="*/ 288132 w 771525"/>
              <a:gd name="connsiteY11" fmla="*/ 731044 h 1197769"/>
              <a:gd name="connsiteX12" fmla="*/ 316707 w 771525"/>
              <a:gd name="connsiteY12" fmla="*/ 714375 h 1197769"/>
              <a:gd name="connsiteX13" fmla="*/ 330994 w 771525"/>
              <a:gd name="connsiteY13" fmla="*/ 740569 h 1197769"/>
              <a:gd name="connsiteX14" fmla="*/ 354807 w 771525"/>
              <a:gd name="connsiteY14" fmla="*/ 759619 h 1197769"/>
              <a:gd name="connsiteX15" fmla="*/ 369094 w 771525"/>
              <a:gd name="connsiteY15" fmla="*/ 778669 h 1197769"/>
              <a:gd name="connsiteX16" fmla="*/ 378619 w 771525"/>
              <a:gd name="connsiteY16" fmla="*/ 814388 h 1197769"/>
              <a:gd name="connsiteX17" fmla="*/ 395288 w 771525"/>
              <a:gd name="connsiteY17" fmla="*/ 831057 h 1197769"/>
              <a:gd name="connsiteX18" fmla="*/ 409575 w 771525"/>
              <a:gd name="connsiteY18" fmla="*/ 826294 h 1197769"/>
              <a:gd name="connsiteX19" fmla="*/ 426244 w 771525"/>
              <a:gd name="connsiteY19" fmla="*/ 819150 h 1197769"/>
              <a:gd name="connsiteX20" fmla="*/ 423863 w 771525"/>
              <a:gd name="connsiteY20" fmla="*/ 709613 h 1197769"/>
              <a:gd name="connsiteX21" fmla="*/ 409575 w 771525"/>
              <a:gd name="connsiteY21" fmla="*/ 673894 h 1197769"/>
              <a:gd name="connsiteX22" fmla="*/ 411957 w 771525"/>
              <a:gd name="connsiteY22" fmla="*/ 647700 h 1197769"/>
              <a:gd name="connsiteX23" fmla="*/ 426244 w 771525"/>
              <a:gd name="connsiteY23" fmla="*/ 600075 h 1197769"/>
              <a:gd name="connsiteX24" fmla="*/ 473869 w 771525"/>
              <a:gd name="connsiteY24" fmla="*/ 600075 h 1197769"/>
              <a:gd name="connsiteX25" fmla="*/ 488157 w 771525"/>
              <a:gd name="connsiteY25" fmla="*/ 585788 h 1197769"/>
              <a:gd name="connsiteX26" fmla="*/ 509588 w 771525"/>
              <a:gd name="connsiteY26" fmla="*/ 535782 h 1197769"/>
              <a:gd name="connsiteX27" fmla="*/ 604838 w 771525"/>
              <a:gd name="connsiteY27" fmla="*/ 490538 h 1197769"/>
              <a:gd name="connsiteX28" fmla="*/ 628650 w 771525"/>
              <a:gd name="connsiteY28" fmla="*/ 481013 h 1197769"/>
              <a:gd name="connsiteX29" fmla="*/ 638175 w 771525"/>
              <a:gd name="connsiteY29" fmla="*/ 435769 h 1197769"/>
              <a:gd name="connsiteX30" fmla="*/ 638175 w 771525"/>
              <a:gd name="connsiteY30" fmla="*/ 395288 h 1197769"/>
              <a:gd name="connsiteX31" fmla="*/ 640557 w 771525"/>
              <a:gd name="connsiteY31" fmla="*/ 373857 h 1197769"/>
              <a:gd name="connsiteX32" fmla="*/ 652463 w 771525"/>
              <a:gd name="connsiteY32" fmla="*/ 366713 h 1197769"/>
              <a:gd name="connsiteX33" fmla="*/ 742950 w 771525"/>
              <a:gd name="connsiteY33" fmla="*/ 330994 h 1197769"/>
              <a:gd name="connsiteX34" fmla="*/ 766763 w 771525"/>
              <a:gd name="connsiteY34" fmla="*/ 314325 h 1197769"/>
              <a:gd name="connsiteX35" fmla="*/ 754857 w 771525"/>
              <a:gd name="connsiteY35" fmla="*/ 285750 h 1197769"/>
              <a:gd name="connsiteX36" fmla="*/ 742950 w 771525"/>
              <a:gd name="connsiteY36" fmla="*/ 254794 h 1197769"/>
              <a:gd name="connsiteX37" fmla="*/ 771525 w 771525"/>
              <a:gd name="connsiteY37" fmla="*/ 226219 h 1197769"/>
              <a:gd name="connsiteX38" fmla="*/ 752475 w 771525"/>
              <a:gd name="connsiteY38" fmla="*/ 195263 h 1197769"/>
              <a:gd name="connsiteX39" fmla="*/ 752475 w 771525"/>
              <a:gd name="connsiteY39" fmla="*/ 152400 h 1197769"/>
              <a:gd name="connsiteX40" fmla="*/ 719138 w 771525"/>
              <a:gd name="connsiteY40" fmla="*/ 119063 h 1197769"/>
              <a:gd name="connsiteX41" fmla="*/ 671513 w 771525"/>
              <a:gd name="connsiteY41" fmla="*/ 85725 h 1197769"/>
              <a:gd name="connsiteX42" fmla="*/ 645319 w 771525"/>
              <a:gd name="connsiteY42" fmla="*/ 69057 h 1197769"/>
              <a:gd name="connsiteX43" fmla="*/ 642938 w 771525"/>
              <a:gd name="connsiteY43" fmla="*/ 0 h 1197769"/>
              <a:gd name="connsiteX44" fmla="*/ 609600 w 771525"/>
              <a:gd name="connsiteY44" fmla="*/ 33338 h 1197769"/>
              <a:gd name="connsiteX45" fmla="*/ 583407 w 771525"/>
              <a:gd name="connsiteY45" fmla="*/ 57150 h 1197769"/>
              <a:gd name="connsiteX46" fmla="*/ 564357 w 771525"/>
              <a:gd name="connsiteY46" fmla="*/ 52388 h 1197769"/>
              <a:gd name="connsiteX47" fmla="*/ 554832 w 771525"/>
              <a:gd name="connsiteY47" fmla="*/ 76200 h 1197769"/>
              <a:gd name="connsiteX48" fmla="*/ 509588 w 771525"/>
              <a:gd name="connsiteY48" fmla="*/ 109538 h 1197769"/>
              <a:gd name="connsiteX49" fmla="*/ 407194 w 771525"/>
              <a:gd name="connsiteY49" fmla="*/ 147638 h 1197769"/>
              <a:gd name="connsiteX50" fmla="*/ 381000 w 771525"/>
              <a:gd name="connsiteY50" fmla="*/ 185738 h 1197769"/>
              <a:gd name="connsiteX51" fmla="*/ 340519 w 771525"/>
              <a:gd name="connsiteY51" fmla="*/ 173832 h 1197769"/>
              <a:gd name="connsiteX52" fmla="*/ 245269 w 771525"/>
              <a:gd name="connsiteY52" fmla="*/ 178594 h 1197769"/>
              <a:gd name="connsiteX53" fmla="*/ 250032 w 771525"/>
              <a:gd name="connsiteY53" fmla="*/ 188119 h 1197769"/>
              <a:gd name="connsiteX54" fmla="*/ 309563 w 771525"/>
              <a:gd name="connsiteY54" fmla="*/ 238125 h 1197769"/>
              <a:gd name="connsiteX55" fmla="*/ 211932 w 771525"/>
              <a:gd name="connsiteY55" fmla="*/ 361950 h 1197769"/>
              <a:gd name="connsiteX56" fmla="*/ 173832 w 771525"/>
              <a:gd name="connsiteY56" fmla="*/ 352425 h 1197769"/>
              <a:gd name="connsiteX57" fmla="*/ 80963 w 771525"/>
              <a:gd name="connsiteY57" fmla="*/ 485775 h 1197769"/>
              <a:gd name="connsiteX58" fmla="*/ 97632 w 771525"/>
              <a:gd name="connsiteY58" fmla="*/ 497682 h 1197769"/>
              <a:gd name="connsiteX59" fmla="*/ 114300 w 771525"/>
              <a:gd name="connsiteY59" fmla="*/ 538163 h 1197769"/>
              <a:gd name="connsiteX60" fmla="*/ 92869 w 771525"/>
              <a:gd name="connsiteY60" fmla="*/ 600075 h 1197769"/>
              <a:gd name="connsiteX61" fmla="*/ 102394 w 771525"/>
              <a:gd name="connsiteY61" fmla="*/ 673894 h 1197769"/>
              <a:gd name="connsiteX62" fmla="*/ 73819 w 771525"/>
              <a:gd name="connsiteY62" fmla="*/ 711994 h 1197769"/>
              <a:gd name="connsiteX63" fmla="*/ 73819 w 771525"/>
              <a:gd name="connsiteY63" fmla="*/ 738188 h 1197769"/>
              <a:gd name="connsiteX64" fmla="*/ 61913 w 771525"/>
              <a:gd name="connsiteY64" fmla="*/ 766763 h 1197769"/>
              <a:gd name="connsiteX65" fmla="*/ 88107 w 771525"/>
              <a:gd name="connsiteY65" fmla="*/ 795338 h 1197769"/>
              <a:gd name="connsiteX66" fmla="*/ 135732 w 771525"/>
              <a:gd name="connsiteY66" fmla="*/ 883444 h 1197769"/>
              <a:gd name="connsiteX67" fmla="*/ 69057 w 771525"/>
              <a:gd name="connsiteY67" fmla="*/ 909638 h 1197769"/>
              <a:gd name="connsiteX68" fmla="*/ 45244 w 771525"/>
              <a:gd name="connsiteY68" fmla="*/ 962025 h 1197769"/>
              <a:gd name="connsiteX69" fmla="*/ 33338 w 771525"/>
              <a:gd name="connsiteY69" fmla="*/ 1016794 h 1197769"/>
              <a:gd name="connsiteX70" fmla="*/ 2382 w 771525"/>
              <a:gd name="connsiteY70" fmla="*/ 1007269 h 1197769"/>
              <a:gd name="connsiteX71" fmla="*/ 0 w 771525"/>
              <a:gd name="connsiteY71" fmla="*/ 1054894 h 1197769"/>
              <a:gd name="connsiteX72" fmla="*/ 16669 w 771525"/>
              <a:gd name="connsiteY72" fmla="*/ 1064419 h 1197769"/>
              <a:gd name="connsiteX73" fmla="*/ 57150 w 771525"/>
              <a:gd name="connsiteY73" fmla="*/ 1073944 h 1197769"/>
              <a:gd name="connsiteX74" fmla="*/ 85725 w 771525"/>
              <a:gd name="connsiteY74" fmla="*/ 1088232 h 1197769"/>
              <a:gd name="connsiteX75" fmla="*/ 102394 w 771525"/>
              <a:gd name="connsiteY75" fmla="*/ 1143000 h 1197769"/>
              <a:gd name="connsiteX76" fmla="*/ 130969 w 771525"/>
              <a:gd name="connsiteY76" fmla="*/ 1169194 h 1197769"/>
              <a:gd name="connsiteX77" fmla="*/ 157163 w 771525"/>
              <a:gd name="connsiteY77" fmla="*/ 1197769 h 1197769"/>
              <a:gd name="connsiteX78" fmla="*/ 192882 w 771525"/>
              <a:gd name="connsiteY78" fmla="*/ 1190626 h 1197769"/>
              <a:gd name="connsiteX79" fmla="*/ 202407 w 771525"/>
              <a:gd name="connsiteY79" fmla="*/ 1164432 h 1197769"/>
              <a:gd name="connsiteX0" fmla="*/ 202407 w 771525"/>
              <a:gd name="connsiteY0" fmla="*/ 1164432 h 1197769"/>
              <a:gd name="connsiteX1" fmla="*/ 221457 w 771525"/>
              <a:gd name="connsiteY1" fmla="*/ 1097757 h 1197769"/>
              <a:gd name="connsiteX2" fmla="*/ 238125 w 771525"/>
              <a:gd name="connsiteY2" fmla="*/ 1076325 h 1197769"/>
              <a:gd name="connsiteX3" fmla="*/ 247650 w 771525"/>
              <a:gd name="connsiteY3" fmla="*/ 1045369 h 1197769"/>
              <a:gd name="connsiteX4" fmla="*/ 283369 w 771525"/>
              <a:gd name="connsiteY4" fmla="*/ 1019175 h 1197769"/>
              <a:gd name="connsiteX5" fmla="*/ 319088 w 771525"/>
              <a:gd name="connsiteY5" fmla="*/ 995363 h 1197769"/>
              <a:gd name="connsiteX6" fmla="*/ 350044 w 771525"/>
              <a:gd name="connsiteY6" fmla="*/ 962025 h 1197769"/>
              <a:gd name="connsiteX7" fmla="*/ 354807 w 771525"/>
              <a:gd name="connsiteY7" fmla="*/ 933450 h 1197769"/>
              <a:gd name="connsiteX8" fmla="*/ 321469 w 771525"/>
              <a:gd name="connsiteY8" fmla="*/ 888207 h 1197769"/>
              <a:gd name="connsiteX9" fmla="*/ 323850 w 771525"/>
              <a:gd name="connsiteY9" fmla="*/ 819150 h 1197769"/>
              <a:gd name="connsiteX10" fmla="*/ 280988 w 771525"/>
              <a:gd name="connsiteY10" fmla="*/ 769144 h 1197769"/>
              <a:gd name="connsiteX11" fmla="*/ 288132 w 771525"/>
              <a:gd name="connsiteY11" fmla="*/ 731044 h 1197769"/>
              <a:gd name="connsiteX12" fmla="*/ 316707 w 771525"/>
              <a:gd name="connsiteY12" fmla="*/ 714375 h 1197769"/>
              <a:gd name="connsiteX13" fmla="*/ 330994 w 771525"/>
              <a:gd name="connsiteY13" fmla="*/ 740569 h 1197769"/>
              <a:gd name="connsiteX14" fmla="*/ 354807 w 771525"/>
              <a:gd name="connsiteY14" fmla="*/ 759619 h 1197769"/>
              <a:gd name="connsiteX15" fmla="*/ 369094 w 771525"/>
              <a:gd name="connsiteY15" fmla="*/ 778669 h 1197769"/>
              <a:gd name="connsiteX16" fmla="*/ 378619 w 771525"/>
              <a:gd name="connsiteY16" fmla="*/ 814388 h 1197769"/>
              <a:gd name="connsiteX17" fmla="*/ 395288 w 771525"/>
              <a:gd name="connsiteY17" fmla="*/ 831057 h 1197769"/>
              <a:gd name="connsiteX18" fmla="*/ 409575 w 771525"/>
              <a:gd name="connsiteY18" fmla="*/ 826294 h 1197769"/>
              <a:gd name="connsiteX19" fmla="*/ 426244 w 771525"/>
              <a:gd name="connsiteY19" fmla="*/ 819150 h 1197769"/>
              <a:gd name="connsiteX20" fmla="*/ 423863 w 771525"/>
              <a:gd name="connsiteY20" fmla="*/ 709613 h 1197769"/>
              <a:gd name="connsiteX21" fmla="*/ 409575 w 771525"/>
              <a:gd name="connsiteY21" fmla="*/ 673894 h 1197769"/>
              <a:gd name="connsiteX22" fmla="*/ 411957 w 771525"/>
              <a:gd name="connsiteY22" fmla="*/ 647700 h 1197769"/>
              <a:gd name="connsiteX23" fmla="*/ 426244 w 771525"/>
              <a:gd name="connsiteY23" fmla="*/ 600075 h 1197769"/>
              <a:gd name="connsiteX24" fmla="*/ 473869 w 771525"/>
              <a:gd name="connsiteY24" fmla="*/ 600075 h 1197769"/>
              <a:gd name="connsiteX25" fmla="*/ 488157 w 771525"/>
              <a:gd name="connsiteY25" fmla="*/ 585788 h 1197769"/>
              <a:gd name="connsiteX26" fmla="*/ 509588 w 771525"/>
              <a:gd name="connsiteY26" fmla="*/ 535782 h 1197769"/>
              <a:gd name="connsiteX27" fmla="*/ 604838 w 771525"/>
              <a:gd name="connsiteY27" fmla="*/ 490538 h 1197769"/>
              <a:gd name="connsiteX28" fmla="*/ 628650 w 771525"/>
              <a:gd name="connsiteY28" fmla="*/ 481013 h 1197769"/>
              <a:gd name="connsiteX29" fmla="*/ 638175 w 771525"/>
              <a:gd name="connsiteY29" fmla="*/ 435769 h 1197769"/>
              <a:gd name="connsiteX30" fmla="*/ 638175 w 771525"/>
              <a:gd name="connsiteY30" fmla="*/ 395288 h 1197769"/>
              <a:gd name="connsiteX31" fmla="*/ 640557 w 771525"/>
              <a:gd name="connsiteY31" fmla="*/ 373857 h 1197769"/>
              <a:gd name="connsiteX32" fmla="*/ 652463 w 771525"/>
              <a:gd name="connsiteY32" fmla="*/ 366713 h 1197769"/>
              <a:gd name="connsiteX33" fmla="*/ 742950 w 771525"/>
              <a:gd name="connsiteY33" fmla="*/ 330994 h 1197769"/>
              <a:gd name="connsiteX34" fmla="*/ 766763 w 771525"/>
              <a:gd name="connsiteY34" fmla="*/ 314325 h 1197769"/>
              <a:gd name="connsiteX35" fmla="*/ 754857 w 771525"/>
              <a:gd name="connsiteY35" fmla="*/ 285750 h 1197769"/>
              <a:gd name="connsiteX36" fmla="*/ 742950 w 771525"/>
              <a:gd name="connsiteY36" fmla="*/ 254794 h 1197769"/>
              <a:gd name="connsiteX37" fmla="*/ 771525 w 771525"/>
              <a:gd name="connsiteY37" fmla="*/ 226219 h 1197769"/>
              <a:gd name="connsiteX38" fmla="*/ 752475 w 771525"/>
              <a:gd name="connsiteY38" fmla="*/ 195263 h 1197769"/>
              <a:gd name="connsiteX39" fmla="*/ 752475 w 771525"/>
              <a:gd name="connsiteY39" fmla="*/ 152400 h 1197769"/>
              <a:gd name="connsiteX40" fmla="*/ 719138 w 771525"/>
              <a:gd name="connsiteY40" fmla="*/ 119063 h 1197769"/>
              <a:gd name="connsiteX41" fmla="*/ 695325 w 771525"/>
              <a:gd name="connsiteY41" fmla="*/ 97632 h 1197769"/>
              <a:gd name="connsiteX42" fmla="*/ 671513 w 771525"/>
              <a:gd name="connsiteY42" fmla="*/ 85725 h 1197769"/>
              <a:gd name="connsiteX43" fmla="*/ 645319 w 771525"/>
              <a:gd name="connsiteY43" fmla="*/ 69057 h 1197769"/>
              <a:gd name="connsiteX44" fmla="*/ 642938 w 771525"/>
              <a:gd name="connsiteY44" fmla="*/ 0 h 1197769"/>
              <a:gd name="connsiteX45" fmla="*/ 609600 w 771525"/>
              <a:gd name="connsiteY45" fmla="*/ 33338 h 1197769"/>
              <a:gd name="connsiteX46" fmla="*/ 583407 w 771525"/>
              <a:gd name="connsiteY46" fmla="*/ 57150 h 1197769"/>
              <a:gd name="connsiteX47" fmla="*/ 564357 w 771525"/>
              <a:gd name="connsiteY47" fmla="*/ 52388 h 1197769"/>
              <a:gd name="connsiteX48" fmla="*/ 554832 w 771525"/>
              <a:gd name="connsiteY48" fmla="*/ 76200 h 1197769"/>
              <a:gd name="connsiteX49" fmla="*/ 509588 w 771525"/>
              <a:gd name="connsiteY49" fmla="*/ 109538 h 1197769"/>
              <a:gd name="connsiteX50" fmla="*/ 407194 w 771525"/>
              <a:gd name="connsiteY50" fmla="*/ 147638 h 1197769"/>
              <a:gd name="connsiteX51" fmla="*/ 381000 w 771525"/>
              <a:gd name="connsiteY51" fmla="*/ 185738 h 1197769"/>
              <a:gd name="connsiteX52" fmla="*/ 340519 w 771525"/>
              <a:gd name="connsiteY52" fmla="*/ 173832 h 1197769"/>
              <a:gd name="connsiteX53" fmla="*/ 245269 w 771525"/>
              <a:gd name="connsiteY53" fmla="*/ 178594 h 1197769"/>
              <a:gd name="connsiteX54" fmla="*/ 250032 w 771525"/>
              <a:gd name="connsiteY54" fmla="*/ 188119 h 1197769"/>
              <a:gd name="connsiteX55" fmla="*/ 309563 w 771525"/>
              <a:gd name="connsiteY55" fmla="*/ 238125 h 1197769"/>
              <a:gd name="connsiteX56" fmla="*/ 211932 w 771525"/>
              <a:gd name="connsiteY56" fmla="*/ 361950 h 1197769"/>
              <a:gd name="connsiteX57" fmla="*/ 173832 w 771525"/>
              <a:gd name="connsiteY57" fmla="*/ 352425 h 1197769"/>
              <a:gd name="connsiteX58" fmla="*/ 80963 w 771525"/>
              <a:gd name="connsiteY58" fmla="*/ 485775 h 1197769"/>
              <a:gd name="connsiteX59" fmla="*/ 97632 w 771525"/>
              <a:gd name="connsiteY59" fmla="*/ 497682 h 1197769"/>
              <a:gd name="connsiteX60" fmla="*/ 114300 w 771525"/>
              <a:gd name="connsiteY60" fmla="*/ 538163 h 1197769"/>
              <a:gd name="connsiteX61" fmla="*/ 92869 w 771525"/>
              <a:gd name="connsiteY61" fmla="*/ 600075 h 1197769"/>
              <a:gd name="connsiteX62" fmla="*/ 102394 w 771525"/>
              <a:gd name="connsiteY62" fmla="*/ 673894 h 1197769"/>
              <a:gd name="connsiteX63" fmla="*/ 73819 w 771525"/>
              <a:gd name="connsiteY63" fmla="*/ 711994 h 1197769"/>
              <a:gd name="connsiteX64" fmla="*/ 73819 w 771525"/>
              <a:gd name="connsiteY64" fmla="*/ 738188 h 1197769"/>
              <a:gd name="connsiteX65" fmla="*/ 61913 w 771525"/>
              <a:gd name="connsiteY65" fmla="*/ 766763 h 1197769"/>
              <a:gd name="connsiteX66" fmla="*/ 88107 w 771525"/>
              <a:gd name="connsiteY66" fmla="*/ 795338 h 1197769"/>
              <a:gd name="connsiteX67" fmla="*/ 135732 w 771525"/>
              <a:gd name="connsiteY67" fmla="*/ 883444 h 1197769"/>
              <a:gd name="connsiteX68" fmla="*/ 69057 w 771525"/>
              <a:gd name="connsiteY68" fmla="*/ 909638 h 1197769"/>
              <a:gd name="connsiteX69" fmla="*/ 45244 w 771525"/>
              <a:gd name="connsiteY69" fmla="*/ 962025 h 1197769"/>
              <a:gd name="connsiteX70" fmla="*/ 33338 w 771525"/>
              <a:gd name="connsiteY70" fmla="*/ 1016794 h 1197769"/>
              <a:gd name="connsiteX71" fmla="*/ 2382 w 771525"/>
              <a:gd name="connsiteY71" fmla="*/ 1007269 h 1197769"/>
              <a:gd name="connsiteX72" fmla="*/ 0 w 771525"/>
              <a:gd name="connsiteY72" fmla="*/ 1054894 h 1197769"/>
              <a:gd name="connsiteX73" fmla="*/ 16669 w 771525"/>
              <a:gd name="connsiteY73" fmla="*/ 1064419 h 1197769"/>
              <a:gd name="connsiteX74" fmla="*/ 57150 w 771525"/>
              <a:gd name="connsiteY74" fmla="*/ 1073944 h 1197769"/>
              <a:gd name="connsiteX75" fmla="*/ 85725 w 771525"/>
              <a:gd name="connsiteY75" fmla="*/ 1088232 h 1197769"/>
              <a:gd name="connsiteX76" fmla="*/ 102394 w 771525"/>
              <a:gd name="connsiteY76" fmla="*/ 1143000 h 1197769"/>
              <a:gd name="connsiteX77" fmla="*/ 130969 w 771525"/>
              <a:gd name="connsiteY77" fmla="*/ 1169194 h 1197769"/>
              <a:gd name="connsiteX78" fmla="*/ 157163 w 771525"/>
              <a:gd name="connsiteY78" fmla="*/ 1197769 h 1197769"/>
              <a:gd name="connsiteX79" fmla="*/ 192882 w 771525"/>
              <a:gd name="connsiteY79" fmla="*/ 1190626 h 1197769"/>
              <a:gd name="connsiteX80" fmla="*/ 202407 w 771525"/>
              <a:gd name="connsiteY80" fmla="*/ 1164432 h 1197769"/>
              <a:gd name="connsiteX0" fmla="*/ 202407 w 771525"/>
              <a:gd name="connsiteY0" fmla="*/ 1164432 h 1197769"/>
              <a:gd name="connsiteX1" fmla="*/ 221457 w 771525"/>
              <a:gd name="connsiteY1" fmla="*/ 1097757 h 1197769"/>
              <a:gd name="connsiteX2" fmla="*/ 238125 w 771525"/>
              <a:gd name="connsiteY2" fmla="*/ 1076325 h 1197769"/>
              <a:gd name="connsiteX3" fmla="*/ 247650 w 771525"/>
              <a:gd name="connsiteY3" fmla="*/ 1045369 h 1197769"/>
              <a:gd name="connsiteX4" fmla="*/ 283369 w 771525"/>
              <a:gd name="connsiteY4" fmla="*/ 1019175 h 1197769"/>
              <a:gd name="connsiteX5" fmla="*/ 319088 w 771525"/>
              <a:gd name="connsiteY5" fmla="*/ 995363 h 1197769"/>
              <a:gd name="connsiteX6" fmla="*/ 350044 w 771525"/>
              <a:gd name="connsiteY6" fmla="*/ 962025 h 1197769"/>
              <a:gd name="connsiteX7" fmla="*/ 354807 w 771525"/>
              <a:gd name="connsiteY7" fmla="*/ 933450 h 1197769"/>
              <a:gd name="connsiteX8" fmla="*/ 321469 w 771525"/>
              <a:gd name="connsiteY8" fmla="*/ 888207 h 1197769"/>
              <a:gd name="connsiteX9" fmla="*/ 323850 w 771525"/>
              <a:gd name="connsiteY9" fmla="*/ 819150 h 1197769"/>
              <a:gd name="connsiteX10" fmla="*/ 280988 w 771525"/>
              <a:gd name="connsiteY10" fmla="*/ 769144 h 1197769"/>
              <a:gd name="connsiteX11" fmla="*/ 288132 w 771525"/>
              <a:gd name="connsiteY11" fmla="*/ 731044 h 1197769"/>
              <a:gd name="connsiteX12" fmla="*/ 316707 w 771525"/>
              <a:gd name="connsiteY12" fmla="*/ 714375 h 1197769"/>
              <a:gd name="connsiteX13" fmla="*/ 330994 w 771525"/>
              <a:gd name="connsiteY13" fmla="*/ 740569 h 1197769"/>
              <a:gd name="connsiteX14" fmla="*/ 354807 w 771525"/>
              <a:gd name="connsiteY14" fmla="*/ 759619 h 1197769"/>
              <a:gd name="connsiteX15" fmla="*/ 369094 w 771525"/>
              <a:gd name="connsiteY15" fmla="*/ 778669 h 1197769"/>
              <a:gd name="connsiteX16" fmla="*/ 378619 w 771525"/>
              <a:gd name="connsiteY16" fmla="*/ 814388 h 1197769"/>
              <a:gd name="connsiteX17" fmla="*/ 395288 w 771525"/>
              <a:gd name="connsiteY17" fmla="*/ 831057 h 1197769"/>
              <a:gd name="connsiteX18" fmla="*/ 409575 w 771525"/>
              <a:gd name="connsiteY18" fmla="*/ 826294 h 1197769"/>
              <a:gd name="connsiteX19" fmla="*/ 426244 w 771525"/>
              <a:gd name="connsiteY19" fmla="*/ 819150 h 1197769"/>
              <a:gd name="connsiteX20" fmla="*/ 423863 w 771525"/>
              <a:gd name="connsiteY20" fmla="*/ 709613 h 1197769"/>
              <a:gd name="connsiteX21" fmla="*/ 409575 w 771525"/>
              <a:gd name="connsiteY21" fmla="*/ 673894 h 1197769"/>
              <a:gd name="connsiteX22" fmla="*/ 411957 w 771525"/>
              <a:gd name="connsiteY22" fmla="*/ 647700 h 1197769"/>
              <a:gd name="connsiteX23" fmla="*/ 426244 w 771525"/>
              <a:gd name="connsiteY23" fmla="*/ 600075 h 1197769"/>
              <a:gd name="connsiteX24" fmla="*/ 473869 w 771525"/>
              <a:gd name="connsiteY24" fmla="*/ 600075 h 1197769"/>
              <a:gd name="connsiteX25" fmla="*/ 488157 w 771525"/>
              <a:gd name="connsiteY25" fmla="*/ 585788 h 1197769"/>
              <a:gd name="connsiteX26" fmla="*/ 509588 w 771525"/>
              <a:gd name="connsiteY26" fmla="*/ 535782 h 1197769"/>
              <a:gd name="connsiteX27" fmla="*/ 604838 w 771525"/>
              <a:gd name="connsiteY27" fmla="*/ 490538 h 1197769"/>
              <a:gd name="connsiteX28" fmla="*/ 628650 w 771525"/>
              <a:gd name="connsiteY28" fmla="*/ 481013 h 1197769"/>
              <a:gd name="connsiteX29" fmla="*/ 638175 w 771525"/>
              <a:gd name="connsiteY29" fmla="*/ 435769 h 1197769"/>
              <a:gd name="connsiteX30" fmla="*/ 638175 w 771525"/>
              <a:gd name="connsiteY30" fmla="*/ 395288 h 1197769"/>
              <a:gd name="connsiteX31" fmla="*/ 640557 w 771525"/>
              <a:gd name="connsiteY31" fmla="*/ 373857 h 1197769"/>
              <a:gd name="connsiteX32" fmla="*/ 652463 w 771525"/>
              <a:gd name="connsiteY32" fmla="*/ 366713 h 1197769"/>
              <a:gd name="connsiteX33" fmla="*/ 742950 w 771525"/>
              <a:gd name="connsiteY33" fmla="*/ 330994 h 1197769"/>
              <a:gd name="connsiteX34" fmla="*/ 766763 w 771525"/>
              <a:gd name="connsiteY34" fmla="*/ 314325 h 1197769"/>
              <a:gd name="connsiteX35" fmla="*/ 754857 w 771525"/>
              <a:gd name="connsiteY35" fmla="*/ 285750 h 1197769"/>
              <a:gd name="connsiteX36" fmla="*/ 742950 w 771525"/>
              <a:gd name="connsiteY36" fmla="*/ 254794 h 1197769"/>
              <a:gd name="connsiteX37" fmla="*/ 771525 w 771525"/>
              <a:gd name="connsiteY37" fmla="*/ 226219 h 1197769"/>
              <a:gd name="connsiteX38" fmla="*/ 752475 w 771525"/>
              <a:gd name="connsiteY38" fmla="*/ 195263 h 1197769"/>
              <a:gd name="connsiteX39" fmla="*/ 752475 w 771525"/>
              <a:gd name="connsiteY39" fmla="*/ 152400 h 1197769"/>
              <a:gd name="connsiteX40" fmla="*/ 719138 w 771525"/>
              <a:gd name="connsiteY40" fmla="*/ 119063 h 1197769"/>
              <a:gd name="connsiteX41" fmla="*/ 707231 w 771525"/>
              <a:gd name="connsiteY41" fmla="*/ 92870 h 1197769"/>
              <a:gd name="connsiteX42" fmla="*/ 671513 w 771525"/>
              <a:gd name="connsiteY42" fmla="*/ 85725 h 1197769"/>
              <a:gd name="connsiteX43" fmla="*/ 645319 w 771525"/>
              <a:gd name="connsiteY43" fmla="*/ 69057 h 1197769"/>
              <a:gd name="connsiteX44" fmla="*/ 642938 w 771525"/>
              <a:gd name="connsiteY44" fmla="*/ 0 h 1197769"/>
              <a:gd name="connsiteX45" fmla="*/ 609600 w 771525"/>
              <a:gd name="connsiteY45" fmla="*/ 33338 h 1197769"/>
              <a:gd name="connsiteX46" fmla="*/ 583407 w 771525"/>
              <a:gd name="connsiteY46" fmla="*/ 57150 h 1197769"/>
              <a:gd name="connsiteX47" fmla="*/ 564357 w 771525"/>
              <a:gd name="connsiteY47" fmla="*/ 52388 h 1197769"/>
              <a:gd name="connsiteX48" fmla="*/ 554832 w 771525"/>
              <a:gd name="connsiteY48" fmla="*/ 76200 h 1197769"/>
              <a:gd name="connsiteX49" fmla="*/ 509588 w 771525"/>
              <a:gd name="connsiteY49" fmla="*/ 109538 h 1197769"/>
              <a:gd name="connsiteX50" fmla="*/ 407194 w 771525"/>
              <a:gd name="connsiteY50" fmla="*/ 147638 h 1197769"/>
              <a:gd name="connsiteX51" fmla="*/ 381000 w 771525"/>
              <a:gd name="connsiteY51" fmla="*/ 185738 h 1197769"/>
              <a:gd name="connsiteX52" fmla="*/ 340519 w 771525"/>
              <a:gd name="connsiteY52" fmla="*/ 173832 h 1197769"/>
              <a:gd name="connsiteX53" fmla="*/ 245269 w 771525"/>
              <a:gd name="connsiteY53" fmla="*/ 178594 h 1197769"/>
              <a:gd name="connsiteX54" fmla="*/ 250032 w 771525"/>
              <a:gd name="connsiteY54" fmla="*/ 188119 h 1197769"/>
              <a:gd name="connsiteX55" fmla="*/ 309563 w 771525"/>
              <a:gd name="connsiteY55" fmla="*/ 238125 h 1197769"/>
              <a:gd name="connsiteX56" fmla="*/ 211932 w 771525"/>
              <a:gd name="connsiteY56" fmla="*/ 361950 h 1197769"/>
              <a:gd name="connsiteX57" fmla="*/ 173832 w 771525"/>
              <a:gd name="connsiteY57" fmla="*/ 352425 h 1197769"/>
              <a:gd name="connsiteX58" fmla="*/ 80963 w 771525"/>
              <a:gd name="connsiteY58" fmla="*/ 485775 h 1197769"/>
              <a:gd name="connsiteX59" fmla="*/ 97632 w 771525"/>
              <a:gd name="connsiteY59" fmla="*/ 497682 h 1197769"/>
              <a:gd name="connsiteX60" fmla="*/ 114300 w 771525"/>
              <a:gd name="connsiteY60" fmla="*/ 538163 h 1197769"/>
              <a:gd name="connsiteX61" fmla="*/ 92869 w 771525"/>
              <a:gd name="connsiteY61" fmla="*/ 600075 h 1197769"/>
              <a:gd name="connsiteX62" fmla="*/ 102394 w 771525"/>
              <a:gd name="connsiteY62" fmla="*/ 673894 h 1197769"/>
              <a:gd name="connsiteX63" fmla="*/ 73819 w 771525"/>
              <a:gd name="connsiteY63" fmla="*/ 711994 h 1197769"/>
              <a:gd name="connsiteX64" fmla="*/ 73819 w 771525"/>
              <a:gd name="connsiteY64" fmla="*/ 738188 h 1197769"/>
              <a:gd name="connsiteX65" fmla="*/ 61913 w 771525"/>
              <a:gd name="connsiteY65" fmla="*/ 766763 h 1197769"/>
              <a:gd name="connsiteX66" fmla="*/ 88107 w 771525"/>
              <a:gd name="connsiteY66" fmla="*/ 795338 h 1197769"/>
              <a:gd name="connsiteX67" fmla="*/ 135732 w 771525"/>
              <a:gd name="connsiteY67" fmla="*/ 883444 h 1197769"/>
              <a:gd name="connsiteX68" fmla="*/ 69057 w 771525"/>
              <a:gd name="connsiteY68" fmla="*/ 909638 h 1197769"/>
              <a:gd name="connsiteX69" fmla="*/ 45244 w 771525"/>
              <a:gd name="connsiteY69" fmla="*/ 962025 h 1197769"/>
              <a:gd name="connsiteX70" fmla="*/ 33338 w 771525"/>
              <a:gd name="connsiteY70" fmla="*/ 1016794 h 1197769"/>
              <a:gd name="connsiteX71" fmla="*/ 2382 w 771525"/>
              <a:gd name="connsiteY71" fmla="*/ 1007269 h 1197769"/>
              <a:gd name="connsiteX72" fmla="*/ 0 w 771525"/>
              <a:gd name="connsiteY72" fmla="*/ 1054894 h 1197769"/>
              <a:gd name="connsiteX73" fmla="*/ 16669 w 771525"/>
              <a:gd name="connsiteY73" fmla="*/ 1064419 h 1197769"/>
              <a:gd name="connsiteX74" fmla="*/ 57150 w 771525"/>
              <a:gd name="connsiteY74" fmla="*/ 1073944 h 1197769"/>
              <a:gd name="connsiteX75" fmla="*/ 85725 w 771525"/>
              <a:gd name="connsiteY75" fmla="*/ 1088232 h 1197769"/>
              <a:gd name="connsiteX76" fmla="*/ 102394 w 771525"/>
              <a:gd name="connsiteY76" fmla="*/ 1143000 h 1197769"/>
              <a:gd name="connsiteX77" fmla="*/ 130969 w 771525"/>
              <a:gd name="connsiteY77" fmla="*/ 1169194 h 1197769"/>
              <a:gd name="connsiteX78" fmla="*/ 157163 w 771525"/>
              <a:gd name="connsiteY78" fmla="*/ 1197769 h 1197769"/>
              <a:gd name="connsiteX79" fmla="*/ 192882 w 771525"/>
              <a:gd name="connsiteY79" fmla="*/ 1190626 h 1197769"/>
              <a:gd name="connsiteX80" fmla="*/ 202407 w 771525"/>
              <a:gd name="connsiteY80" fmla="*/ 1164432 h 1197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771525" h="1197769">
                <a:moveTo>
                  <a:pt x="202407" y="1164432"/>
                </a:moveTo>
                <a:lnTo>
                  <a:pt x="221457" y="1097757"/>
                </a:lnTo>
                <a:lnTo>
                  <a:pt x="238125" y="1076325"/>
                </a:lnTo>
                <a:lnTo>
                  <a:pt x="247650" y="1045369"/>
                </a:lnTo>
                <a:lnTo>
                  <a:pt x="283369" y="1019175"/>
                </a:lnTo>
                <a:lnTo>
                  <a:pt x="319088" y="995363"/>
                </a:lnTo>
                <a:lnTo>
                  <a:pt x="350044" y="962025"/>
                </a:lnTo>
                <a:lnTo>
                  <a:pt x="354807" y="933450"/>
                </a:lnTo>
                <a:lnTo>
                  <a:pt x="321469" y="888207"/>
                </a:lnTo>
                <a:cubicBezTo>
                  <a:pt x="322263" y="865188"/>
                  <a:pt x="323056" y="842169"/>
                  <a:pt x="323850" y="819150"/>
                </a:cubicBezTo>
                <a:lnTo>
                  <a:pt x="280988" y="769144"/>
                </a:lnTo>
                <a:lnTo>
                  <a:pt x="288132" y="731044"/>
                </a:lnTo>
                <a:lnTo>
                  <a:pt x="316707" y="714375"/>
                </a:lnTo>
                <a:lnTo>
                  <a:pt x="330994" y="740569"/>
                </a:lnTo>
                <a:lnTo>
                  <a:pt x="354807" y="759619"/>
                </a:lnTo>
                <a:lnTo>
                  <a:pt x="369094" y="778669"/>
                </a:lnTo>
                <a:lnTo>
                  <a:pt x="378619" y="814388"/>
                </a:lnTo>
                <a:lnTo>
                  <a:pt x="395288" y="831057"/>
                </a:lnTo>
                <a:lnTo>
                  <a:pt x="409575" y="826294"/>
                </a:lnTo>
                <a:lnTo>
                  <a:pt x="426244" y="819150"/>
                </a:lnTo>
                <a:cubicBezTo>
                  <a:pt x="425450" y="782638"/>
                  <a:pt x="424657" y="746125"/>
                  <a:pt x="423863" y="709613"/>
                </a:cubicBezTo>
                <a:lnTo>
                  <a:pt x="409575" y="673894"/>
                </a:lnTo>
                <a:lnTo>
                  <a:pt x="411957" y="647700"/>
                </a:lnTo>
                <a:lnTo>
                  <a:pt x="426244" y="600075"/>
                </a:lnTo>
                <a:lnTo>
                  <a:pt x="473869" y="600075"/>
                </a:lnTo>
                <a:lnTo>
                  <a:pt x="488157" y="585788"/>
                </a:lnTo>
                <a:lnTo>
                  <a:pt x="509588" y="535782"/>
                </a:lnTo>
                <a:lnTo>
                  <a:pt x="604838" y="490538"/>
                </a:lnTo>
                <a:lnTo>
                  <a:pt x="628650" y="481013"/>
                </a:lnTo>
                <a:lnTo>
                  <a:pt x="638175" y="435769"/>
                </a:lnTo>
                <a:lnTo>
                  <a:pt x="638175" y="395288"/>
                </a:lnTo>
                <a:lnTo>
                  <a:pt x="640557" y="373857"/>
                </a:lnTo>
                <a:lnTo>
                  <a:pt x="652463" y="366713"/>
                </a:lnTo>
                <a:lnTo>
                  <a:pt x="742950" y="330994"/>
                </a:lnTo>
                <a:lnTo>
                  <a:pt x="766763" y="314325"/>
                </a:lnTo>
                <a:lnTo>
                  <a:pt x="754857" y="285750"/>
                </a:lnTo>
                <a:lnTo>
                  <a:pt x="742950" y="254794"/>
                </a:lnTo>
                <a:lnTo>
                  <a:pt x="771525" y="226219"/>
                </a:lnTo>
                <a:lnTo>
                  <a:pt x="752475" y="195263"/>
                </a:lnTo>
                <a:lnTo>
                  <a:pt x="752475" y="152400"/>
                </a:lnTo>
                <a:lnTo>
                  <a:pt x="719138" y="119063"/>
                </a:lnTo>
                <a:lnTo>
                  <a:pt x="707231" y="92870"/>
                </a:lnTo>
                <a:lnTo>
                  <a:pt x="671513" y="85725"/>
                </a:lnTo>
                <a:lnTo>
                  <a:pt x="645319" y="69057"/>
                </a:lnTo>
                <a:cubicBezTo>
                  <a:pt x="644525" y="46038"/>
                  <a:pt x="643732" y="23019"/>
                  <a:pt x="642938" y="0"/>
                </a:cubicBezTo>
                <a:lnTo>
                  <a:pt x="609600" y="33338"/>
                </a:lnTo>
                <a:lnTo>
                  <a:pt x="583407" y="57150"/>
                </a:lnTo>
                <a:lnTo>
                  <a:pt x="564357" y="52388"/>
                </a:lnTo>
                <a:lnTo>
                  <a:pt x="554832" y="76200"/>
                </a:lnTo>
                <a:lnTo>
                  <a:pt x="509588" y="109538"/>
                </a:lnTo>
                <a:lnTo>
                  <a:pt x="407194" y="147638"/>
                </a:lnTo>
                <a:lnTo>
                  <a:pt x="381000" y="185738"/>
                </a:lnTo>
                <a:lnTo>
                  <a:pt x="340519" y="173832"/>
                </a:lnTo>
                <a:lnTo>
                  <a:pt x="245269" y="178594"/>
                </a:lnTo>
                <a:lnTo>
                  <a:pt x="250032" y="188119"/>
                </a:lnTo>
                <a:lnTo>
                  <a:pt x="309563" y="238125"/>
                </a:lnTo>
                <a:lnTo>
                  <a:pt x="211932" y="361950"/>
                </a:lnTo>
                <a:lnTo>
                  <a:pt x="173832" y="352425"/>
                </a:lnTo>
                <a:lnTo>
                  <a:pt x="80963" y="485775"/>
                </a:lnTo>
                <a:lnTo>
                  <a:pt x="97632" y="497682"/>
                </a:lnTo>
                <a:lnTo>
                  <a:pt x="114300" y="538163"/>
                </a:lnTo>
                <a:lnTo>
                  <a:pt x="92869" y="600075"/>
                </a:lnTo>
                <a:lnTo>
                  <a:pt x="102394" y="673894"/>
                </a:lnTo>
                <a:lnTo>
                  <a:pt x="73819" y="711994"/>
                </a:lnTo>
                <a:lnTo>
                  <a:pt x="73819" y="738188"/>
                </a:lnTo>
                <a:lnTo>
                  <a:pt x="61913" y="766763"/>
                </a:lnTo>
                <a:lnTo>
                  <a:pt x="88107" y="795338"/>
                </a:lnTo>
                <a:lnTo>
                  <a:pt x="135732" y="883444"/>
                </a:lnTo>
                <a:lnTo>
                  <a:pt x="69057" y="909638"/>
                </a:lnTo>
                <a:lnTo>
                  <a:pt x="45244" y="962025"/>
                </a:lnTo>
                <a:lnTo>
                  <a:pt x="33338" y="1016794"/>
                </a:lnTo>
                <a:lnTo>
                  <a:pt x="2382" y="1007269"/>
                </a:lnTo>
                <a:lnTo>
                  <a:pt x="0" y="1054894"/>
                </a:lnTo>
                <a:lnTo>
                  <a:pt x="16669" y="1064419"/>
                </a:lnTo>
                <a:lnTo>
                  <a:pt x="57150" y="1073944"/>
                </a:lnTo>
                <a:lnTo>
                  <a:pt x="85725" y="1088232"/>
                </a:lnTo>
                <a:lnTo>
                  <a:pt x="102394" y="1143000"/>
                </a:lnTo>
                <a:lnTo>
                  <a:pt x="130969" y="1169194"/>
                </a:lnTo>
                <a:lnTo>
                  <a:pt x="157163" y="1197769"/>
                </a:lnTo>
                <a:lnTo>
                  <a:pt x="192882" y="1190626"/>
                </a:lnTo>
                <a:lnTo>
                  <a:pt x="202407" y="1164432"/>
                </a:lnTo>
                <a:close/>
              </a:path>
            </a:pathLst>
          </a:custGeom>
          <a:solidFill>
            <a:srgbClr val="00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2954344" y="3441703"/>
            <a:ext cx="1138237" cy="861484"/>
          </a:xfrm>
          <a:custGeom>
            <a:avLst/>
            <a:gdLst>
              <a:gd name="connsiteX0" fmla="*/ 631031 w 1114425"/>
              <a:gd name="connsiteY0" fmla="*/ 650081 h 862012"/>
              <a:gd name="connsiteX1" fmla="*/ 678656 w 1114425"/>
              <a:gd name="connsiteY1" fmla="*/ 585787 h 862012"/>
              <a:gd name="connsiteX2" fmla="*/ 702468 w 1114425"/>
              <a:gd name="connsiteY2" fmla="*/ 573881 h 862012"/>
              <a:gd name="connsiteX3" fmla="*/ 733425 w 1114425"/>
              <a:gd name="connsiteY3" fmla="*/ 573881 h 862012"/>
              <a:gd name="connsiteX4" fmla="*/ 778668 w 1114425"/>
              <a:gd name="connsiteY4" fmla="*/ 554831 h 862012"/>
              <a:gd name="connsiteX5" fmla="*/ 833437 w 1114425"/>
              <a:gd name="connsiteY5" fmla="*/ 528637 h 862012"/>
              <a:gd name="connsiteX6" fmla="*/ 883443 w 1114425"/>
              <a:gd name="connsiteY6" fmla="*/ 495300 h 862012"/>
              <a:gd name="connsiteX7" fmla="*/ 900112 w 1114425"/>
              <a:gd name="connsiteY7" fmla="*/ 490537 h 862012"/>
              <a:gd name="connsiteX8" fmla="*/ 919162 w 1114425"/>
              <a:gd name="connsiteY8" fmla="*/ 485775 h 862012"/>
              <a:gd name="connsiteX9" fmla="*/ 916781 w 1114425"/>
              <a:gd name="connsiteY9" fmla="*/ 447675 h 862012"/>
              <a:gd name="connsiteX10" fmla="*/ 954881 w 1114425"/>
              <a:gd name="connsiteY10" fmla="*/ 428625 h 862012"/>
              <a:gd name="connsiteX11" fmla="*/ 985837 w 1114425"/>
              <a:gd name="connsiteY11" fmla="*/ 407194 h 862012"/>
              <a:gd name="connsiteX12" fmla="*/ 1000125 w 1114425"/>
              <a:gd name="connsiteY12" fmla="*/ 347662 h 862012"/>
              <a:gd name="connsiteX13" fmla="*/ 981075 w 1114425"/>
              <a:gd name="connsiteY13" fmla="*/ 316706 h 862012"/>
              <a:gd name="connsiteX14" fmla="*/ 997743 w 1114425"/>
              <a:gd name="connsiteY14" fmla="*/ 271462 h 862012"/>
              <a:gd name="connsiteX15" fmla="*/ 1033462 w 1114425"/>
              <a:gd name="connsiteY15" fmla="*/ 233362 h 862012"/>
              <a:gd name="connsiteX16" fmla="*/ 1097756 w 1114425"/>
              <a:gd name="connsiteY16" fmla="*/ 209550 h 862012"/>
              <a:gd name="connsiteX17" fmla="*/ 1114425 w 1114425"/>
              <a:gd name="connsiteY17" fmla="*/ 190500 h 862012"/>
              <a:gd name="connsiteX18" fmla="*/ 1100137 w 1114425"/>
              <a:gd name="connsiteY18" fmla="*/ 161925 h 862012"/>
              <a:gd name="connsiteX19" fmla="*/ 1052512 w 1114425"/>
              <a:gd name="connsiteY19" fmla="*/ 107156 h 862012"/>
              <a:gd name="connsiteX20" fmla="*/ 1009650 w 1114425"/>
              <a:gd name="connsiteY20" fmla="*/ 73819 h 862012"/>
              <a:gd name="connsiteX21" fmla="*/ 995362 w 1114425"/>
              <a:gd name="connsiteY21" fmla="*/ 47625 h 862012"/>
              <a:gd name="connsiteX22" fmla="*/ 983456 w 1114425"/>
              <a:gd name="connsiteY22" fmla="*/ 64294 h 862012"/>
              <a:gd name="connsiteX23" fmla="*/ 966787 w 1114425"/>
              <a:gd name="connsiteY23" fmla="*/ 69056 h 862012"/>
              <a:gd name="connsiteX24" fmla="*/ 935831 w 1114425"/>
              <a:gd name="connsiteY24" fmla="*/ 59531 h 862012"/>
              <a:gd name="connsiteX25" fmla="*/ 904875 w 1114425"/>
              <a:gd name="connsiteY25" fmla="*/ 23812 h 862012"/>
              <a:gd name="connsiteX26" fmla="*/ 888206 w 1114425"/>
              <a:gd name="connsiteY26" fmla="*/ 0 h 862012"/>
              <a:gd name="connsiteX27" fmla="*/ 869156 w 1114425"/>
              <a:gd name="connsiteY27" fmla="*/ 28575 h 862012"/>
              <a:gd name="connsiteX28" fmla="*/ 871537 w 1114425"/>
              <a:gd name="connsiteY28" fmla="*/ 69056 h 862012"/>
              <a:gd name="connsiteX29" fmla="*/ 847725 w 1114425"/>
              <a:gd name="connsiteY29" fmla="*/ 100012 h 862012"/>
              <a:gd name="connsiteX30" fmla="*/ 826293 w 1114425"/>
              <a:gd name="connsiteY30" fmla="*/ 97631 h 862012"/>
              <a:gd name="connsiteX31" fmla="*/ 800100 w 1114425"/>
              <a:gd name="connsiteY31" fmla="*/ 71437 h 862012"/>
              <a:gd name="connsiteX32" fmla="*/ 783431 w 1114425"/>
              <a:gd name="connsiteY32" fmla="*/ 57150 h 862012"/>
              <a:gd name="connsiteX33" fmla="*/ 764381 w 1114425"/>
              <a:gd name="connsiteY33" fmla="*/ 61912 h 862012"/>
              <a:gd name="connsiteX34" fmla="*/ 747712 w 1114425"/>
              <a:gd name="connsiteY34" fmla="*/ 92869 h 862012"/>
              <a:gd name="connsiteX35" fmla="*/ 742950 w 1114425"/>
              <a:gd name="connsiteY35" fmla="*/ 107156 h 862012"/>
              <a:gd name="connsiteX36" fmla="*/ 714375 w 1114425"/>
              <a:gd name="connsiteY36" fmla="*/ 107156 h 862012"/>
              <a:gd name="connsiteX37" fmla="*/ 700087 w 1114425"/>
              <a:gd name="connsiteY37" fmla="*/ 95250 h 862012"/>
              <a:gd name="connsiteX38" fmla="*/ 700087 w 1114425"/>
              <a:gd name="connsiteY38" fmla="*/ 66675 h 862012"/>
              <a:gd name="connsiteX39" fmla="*/ 704850 w 1114425"/>
              <a:gd name="connsiteY39" fmla="*/ 38100 h 862012"/>
              <a:gd name="connsiteX40" fmla="*/ 692943 w 1114425"/>
              <a:gd name="connsiteY40" fmla="*/ 23812 h 862012"/>
              <a:gd name="connsiteX41" fmla="*/ 669131 w 1114425"/>
              <a:gd name="connsiteY41" fmla="*/ 26194 h 862012"/>
              <a:gd name="connsiteX42" fmla="*/ 640556 w 1114425"/>
              <a:gd name="connsiteY42" fmla="*/ 19050 h 862012"/>
              <a:gd name="connsiteX43" fmla="*/ 604837 w 1114425"/>
              <a:gd name="connsiteY43" fmla="*/ 4762 h 862012"/>
              <a:gd name="connsiteX44" fmla="*/ 569118 w 1114425"/>
              <a:gd name="connsiteY44" fmla="*/ 4762 h 862012"/>
              <a:gd name="connsiteX45" fmla="*/ 557212 w 1114425"/>
              <a:gd name="connsiteY45" fmla="*/ 11906 h 862012"/>
              <a:gd name="connsiteX46" fmla="*/ 438150 w 1114425"/>
              <a:gd name="connsiteY46" fmla="*/ 69056 h 862012"/>
              <a:gd name="connsiteX47" fmla="*/ 421481 w 1114425"/>
              <a:gd name="connsiteY47" fmla="*/ 169069 h 862012"/>
              <a:gd name="connsiteX48" fmla="*/ 304800 w 1114425"/>
              <a:gd name="connsiteY48" fmla="*/ 228600 h 862012"/>
              <a:gd name="connsiteX49" fmla="*/ 276225 w 1114425"/>
              <a:gd name="connsiteY49" fmla="*/ 290512 h 862012"/>
              <a:gd name="connsiteX50" fmla="*/ 228600 w 1114425"/>
              <a:gd name="connsiteY50" fmla="*/ 285750 h 862012"/>
              <a:gd name="connsiteX51" fmla="*/ 211931 w 1114425"/>
              <a:gd name="connsiteY51" fmla="*/ 357187 h 862012"/>
              <a:gd name="connsiteX52" fmla="*/ 207168 w 1114425"/>
              <a:gd name="connsiteY52" fmla="*/ 369094 h 862012"/>
              <a:gd name="connsiteX53" fmla="*/ 223837 w 1114425"/>
              <a:gd name="connsiteY53" fmla="*/ 404812 h 862012"/>
              <a:gd name="connsiteX54" fmla="*/ 219075 w 1114425"/>
              <a:gd name="connsiteY54" fmla="*/ 511969 h 862012"/>
              <a:gd name="connsiteX55" fmla="*/ 195262 w 1114425"/>
              <a:gd name="connsiteY55" fmla="*/ 521494 h 862012"/>
              <a:gd name="connsiteX56" fmla="*/ 180975 w 1114425"/>
              <a:gd name="connsiteY56" fmla="*/ 502444 h 862012"/>
              <a:gd name="connsiteX57" fmla="*/ 161925 w 1114425"/>
              <a:gd name="connsiteY57" fmla="*/ 457200 h 862012"/>
              <a:gd name="connsiteX58" fmla="*/ 128587 w 1114425"/>
              <a:gd name="connsiteY58" fmla="*/ 433387 h 862012"/>
              <a:gd name="connsiteX59" fmla="*/ 116681 w 1114425"/>
              <a:gd name="connsiteY59" fmla="*/ 409575 h 862012"/>
              <a:gd name="connsiteX60" fmla="*/ 83343 w 1114425"/>
              <a:gd name="connsiteY60" fmla="*/ 421481 h 862012"/>
              <a:gd name="connsiteX61" fmla="*/ 78581 w 1114425"/>
              <a:gd name="connsiteY61" fmla="*/ 466725 h 862012"/>
              <a:gd name="connsiteX62" fmla="*/ 116681 w 1114425"/>
              <a:gd name="connsiteY62" fmla="*/ 514350 h 862012"/>
              <a:gd name="connsiteX63" fmla="*/ 123825 w 1114425"/>
              <a:gd name="connsiteY63" fmla="*/ 583406 h 862012"/>
              <a:gd name="connsiteX64" fmla="*/ 152400 w 1114425"/>
              <a:gd name="connsiteY64" fmla="*/ 631031 h 862012"/>
              <a:gd name="connsiteX65" fmla="*/ 142875 w 1114425"/>
              <a:gd name="connsiteY65" fmla="*/ 657225 h 862012"/>
              <a:gd name="connsiteX66" fmla="*/ 107156 w 1114425"/>
              <a:gd name="connsiteY66" fmla="*/ 697706 h 862012"/>
              <a:gd name="connsiteX67" fmla="*/ 42862 w 1114425"/>
              <a:gd name="connsiteY67" fmla="*/ 735806 h 862012"/>
              <a:gd name="connsiteX68" fmla="*/ 35718 w 1114425"/>
              <a:gd name="connsiteY68" fmla="*/ 769144 h 862012"/>
              <a:gd name="connsiteX69" fmla="*/ 19050 w 1114425"/>
              <a:gd name="connsiteY69" fmla="*/ 795337 h 862012"/>
              <a:gd name="connsiteX70" fmla="*/ 0 w 1114425"/>
              <a:gd name="connsiteY70" fmla="*/ 859631 h 862012"/>
              <a:gd name="connsiteX71" fmla="*/ 19050 w 1114425"/>
              <a:gd name="connsiteY71" fmla="*/ 862012 h 862012"/>
              <a:gd name="connsiteX72" fmla="*/ 154781 w 1114425"/>
              <a:gd name="connsiteY72" fmla="*/ 828675 h 862012"/>
              <a:gd name="connsiteX73" fmla="*/ 171450 w 1114425"/>
              <a:gd name="connsiteY73" fmla="*/ 757237 h 862012"/>
              <a:gd name="connsiteX74" fmla="*/ 259556 w 1114425"/>
              <a:gd name="connsiteY74" fmla="*/ 800100 h 862012"/>
              <a:gd name="connsiteX75" fmla="*/ 297656 w 1114425"/>
              <a:gd name="connsiteY75" fmla="*/ 700087 h 862012"/>
              <a:gd name="connsiteX76" fmla="*/ 385762 w 1114425"/>
              <a:gd name="connsiteY76" fmla="*/ 666750 h 862012"/>
              <a:gd name="connsiteX77" fmla="*/ 435768 w 1114425"/>
              <a:gd name="connsiteY77" fmla="*/ 681037 h 862012"/>
              <a:gd name="connsiteX78" fmla="*/ 473868 w 1114425"/>
              <a:gd name="connsiteY78" fmla="*/ 702469 h 862012"/>
              <a:gd name="connsiteX79" fmla="*/ 500062 w 1114425"/>
              <a:gd name="connsiteY79" fmla="*/ 707231 h 862012"/>
              <a:gd name="connsiteX80" fmla="*/ 516731 w 1114425"/>
              <a:gd name="connsiteY80" fmla="*/ 702469 h 862012"/>
              <a:gd name="connsiteX81" fmla="*/ 545306 w 1114425"/>
              <a:gd name="connsiteY81" fmla="*/ 671512 h 862012"/>
              <a:gd name="connsiteX82" fmla="*/ 576262 w 1114425"/>
              <a:gd name="connsiteY82" fmla="*/ 671512 h 862012"/>
              <a:gd name="connsiteX83" fmla="*/ 631031 w 1114425"/>
              <a:gd name="connsiteY83" fmla="*/ 650081 h 862012"/>
              <a:gd name="connsiteX0" fmla="*/ 631031 w 1138238"/>
              <a:gd name="connsiteY0" fmla="*/ 650081 h 862012"/>
              <a:gd name="connsiteX1" fmla="*/ 678656 w 1138238"/>
              <a:gd name="connsiteY1" fmla="*/ 585787 h 862012"/>
              <a:gd name="connsiteX2" fmla="*/ 702468 w 1138238"/>
              <a:gd name="connsiteY2" fmla="*/ 573881 h 862012"/>
              <a:gd name="connsiteX3" fmla="*/ 733425 w 1138238"/>
              <a:gd name="connsiteY3" fmla="*/ 573881 h 862012"/>
              <a:gd name="connsiteX4" fmla="*/ 778668 w 1138238"/>
              <a:gd name="connsiteY4" fmla="*/ 554831 h 862012"/>
              <a:gd name="connsiteX5" fmla="*/ 833437 w 1138238"/>
              <a:gd name="connsiteY5" fmla="*/ 528637 h 862012"/>
              <a:gd name="connsiteX6" fmla="*/ 883443 w 1138238"/>
              <a:gd name="connsiteY6" fmla="*/ 495300 h 862012"/>
              <a:gd name="connsiteX7" fmla="*/ 900112 w 1138238"/>
              <a:gd name="connsiteY7" fmla="*/ 490537 h 862012"/>
              <a:gd name="connsiteX8" fmla="*/ 919162 w 1138238"/>
              <a:gd name="connsiteY8" fmla="*/ 485775 h 862012"/>
              <a:gd name="connsiteX9" fmla="*/ 916781 w 1138238"/>
              <a:gd name="connsiteY9" fmla="*/ 447675 h 862012"/>
              <a:gd name="connsiteX10" fmla="*/ 954881 w 1138238"/>
              <a:gd name="connsiteY10" fmla="*/ 428625 h 862012"/>
              <a:gd name="connsiteX11" fmla="*/ 985837 w 1138238"/>
              <a:gd name="connsiteY11" fmla="*/ 407194 h 862012"/>
              <a:gd name="connsiteX12" fmla="*/ 1000125 w 1138238"/>
              <a:gd name="connsiteY12" fmla="*/ 347662 h 862012"/>
              <a:gd name="connsiteX13" fmla="*/ 981075 w 1138238"/>
              <a:gd name="connsiteY13" fmla="*/ 316706 h 862012"/>
              <a:gd name="connsiteX14" fmla="*/ 997743 w 1138238"/>
              <a:gd name="connsiteY14" fmla="*/ 271462 h 862012"/>
              <a:gd name="connsiteX15" fmla="*/ 1033462 w 1138238"/>
              <a:gd name="connsiteY15" fmla="*/ 233362 h 862012"/>
              <a:gd name="connsiteX16" fmla="*/ 1097756 w 1138238"/>
              <a:gd name="connsiteY16" fmla="*/ 209550 h 862012"/>
              <a:gd name="connsiteX17" fmla="*/ 1138238 w 1138238"/>
              <a:gd name="connsiteY17" fmla="*/ 185737 h 862012"/>
              <a:gd name="connsiteX18" fmla="*/ 1100137 w 1138238"/>
              <a:gd name="connsiteY18" fmla="*/ 161925 h 862012"/>
              <a:gd name="connsiteX19" fmla="*/ 1052512 w 1138238"/>
              <a:gd name="connsiteY19" fmla="*/ 107156 h 862012"/>
              <a:gd name="connsiteX20" fmla="*/ 1009650 w 1138238"/>
              <a:gd name="connsiteY20" fmla="*/ 73819 h 862012"/>
              <a:gd name="connsiteX21" fmla="*/ 995362 w 1138238"/>
              <a:gd name="connsiteY21" fmla="*/ 47625 h 862012"/>
              <a:gd name="connsiteX22" fmla="*/ 983456 w 1138238"/>
              <a:gd name="connsiteY22" fmla="*/ 64294 h 862012"/>
              <a:gd name="connsiteX23" fmla="*/ 966787 w 1138238"/>
              <a:gd name="connsiteY23" fmla="*/ 69056 h 862012"/>
              <a:gd name="connsiteX24" fmla="*/ 935831 w 1138238"/>
              <a:gd name="connsiteY24" fmla="*/ 59531 h 862012"/>
              <a:gd name="connsiteX25" fmla="*/ 904875 w 1138238"/>
              <a:gd name="connsiteY25" fmla="*/ 23812 h 862012"/>
              <a:gd name="connsiteX26" fmla="*/ 888206 w 1138238"/>
              <a:gd name="connsiteY26" fmla="*/ 0 h 862012"/>
              <a:gd name="connsiteX27" fmla="*/ 869156 w 1138238"/>
              <a:gd name="connsiteY27" fmla="*/ 28575 h 862012"/>
              <a:gd name="connsiteX28" fmla="*/ 871537 w 1138238"/>
              <a:gd name="connsiteY28" fmla="*/ 69056 h 862012"/>
              <a:gd name="connsiteX29" fmla="*/ 847725 w 1138238"/>
              <a:gd name="connsiteY29" fmla="*/ 100012 h 862012"/>
              <a:gd name="connsiteX30" fmla="*/ 826293 w 1138238"/>
              <a:gd name="connsiteY30" fmla="*/ 97631 h 862012"/>
              <a:gd name="connsiteX31" fmla="*/ 800100 w 1138238"/>
              <a:gd name="connsiteY31" fmla="*/ 71437 h 862012"/>
              <a:gd name="connsiteX32" fmla="*/ 783431 w 1138238"/>
              <a:gd name="connsiteY32" fmla="*/ 57150 h 862012"/>
              <a:gd name="connsiteX33" fmla="*/ 764381 w 1138238"/>
              <a:gd name="connsiteY33" fmla="*/ 61912 h 862012"/>
              <a:gd name="connsiteX34" fmla="*/ 747712 w 1138238"/>
              <a:gd name="connsiteY34" fmla="*/ 92869 h 862012"/>
              <a:gd name="connsiteX35" fmla="*/ 742950 w 1138238"/>
              <a:gd name="connsiteY35" fmla="*/ 107156 h 862012"/>
              <a:gd name="connsiteX36" fmla="*/ 714375 w 1138238"/>
              <a:gd name="connsiteY36" fmla="*/ 107156 h 862012"/>
              <a:gd name="connsiteX37" fmla="*/ 700087 w 1138238"/>
              <a:gd name="connsiteY37" fmla="*/ 95250 h 862012"/>
              <a:gd name="connsiteX38" fmla="*/ 700087 w 1138238"/>
              <a:gd name="connsiteY38" fmla="*/ 66675 h 862012"/>
              <a:gd name="connsiteX39" fmla="*/ 704850 w 1138238"/>
              <a:gd name="connsiteY39" fmla="*/ 38100 h 862012"/>
              <a:gd name="connsiteX40" fmla="*/ 692943 w 1138238"/>
              <a:gd name="connsiteY40" fmla="*/ 23812 h 862012"/>
              <a:gd name="connsiteX41" fmla="*/ 669131 w 1138238"/>
              <a:gd name="connsiteY41" fmla="*/ 26194 h 862012"/>
              <a:gd name="connsiteX42" fmla="*/ 640556 w 1138238"/>
              <a:gd name="connsiteY42" fmla="*/ 19050 h 862012"/>
              <a:gd name="connsiteX43" fmla="*/ 604837 w 1138238"/>
              <a:gd name="connsiteY43" fmla="*/ 4762 h 862012"/>
              <a:gd name="connsiteX44" fmla="*/ 569118 w 1138238"/>
              <a:gd name="connsiteY44" fmla="*/ 4762 h 862012"/>
              <a:gd name="connsiteX45" fmla="*/ 557212 w 1138238"/>
              <a:gd name="connsiteY45" fmla="*/ 11906 h 862012"/>
              <a:gd name="connsiteX46" fmla="*/ 438150 w 1138238"/>
              <a:gd name="connsiteY46" fmla="*/ 69056 h 862012"/>
              <a:gd name="connsiteX47" fmla="*/ 421481 w 1138238"/>
              <a:gd name="connsiteY47" fmla="*/ 169069 h 862012"/>
              <a:gd name="connsiteX48" fmla="*/ 304800 w 1138238"/>
              <a:gd name="connsiteY48" fmla="*/ 228600 h 862012"/>
              <a:gd name="connsiteX49" fmla="*/ 276225 w 1138238"/>
              <a:gd name="connsiteY49" fmla="*/ 290512 h 862012"/>
              <a:gd name="connsiteX50" fmla="*/ 228600 w 1138238"/>
              <a:gd name="connsiteY50" fmla="*/ 285750 h 862012"/>
              <a:gd name="connsiteX51" fmla="*/ 211931 w 1138238"/>
              <a:gd name="connsiteY51" fmla="*/ 357187 h 862012"/>
              <a:gd name="connsiteX52" fmla="*/ 207168 w 1138238"/>
              <a:gd name="connsiteY52" fmla="*/ 369094 h 862012"/>
              <a:gd name="connsiteX53" fmla="*/ 223837 w 1138238"/>
              <a:gd name="connsiteY53" fmla="*/ 404812 h 862012"/>
              <a:gd name="connsiteX54" fmla="*/ 219075 w 1138238"/>
              <a:gd name="connsiteY54" fmla="*/ 511969 h 862012"/>
              <a:gd name="connsiteX55" fmla="*/ 195262 w 1138238"/>
              <a:gd name="connsiteY55" fmla="*/ 521494 h 862012"/>
              <a:gd name="connsiteX56" fmla="*/ 180975 w 1138238"/>
              <a:gd name="connsiteY56" fmla="*/ 502444 h 862012"/>
              <a:gd name="connsiteX57" fmla="*/ 161925 w 1138238"/>
              <a:gd name="connsiteY57" fmla="*/ 457200 h 862012"/>
              <a:gd name="connsiteX58" fmla="*/ 128587 w 1138238"/>
              <a:gd name="connsiteY58" fmla="*/ 433387 h 862012"/>
              <a:gd name="connsiteX59" fmla="*/ 116681 w 1138238"/>
              <a:gd name="connsiteY59" fmla="*/ 409575 h 862012"/>
              <a:gd name="connsiteX60" fmla="*/ 83343 w 1138238"/>
              <a:gd name="connsiteY60" fmla="*/ 421481 h 862012"/>
              <a:gd name="connsiteX61" fmla="*/ 78581 w 1138238"/>
              <a:gd name="connsiteY61" fmla="*/ 466725 h 862012"/>
              <a:gd name="connsiteX62" fmla="*/ 116681 w 1138238"/>
              <a:gd name="connsiteY62" fmla="*/ 514350 h 862012"/>
              <a:gd name="connsiteX63" fmla="*/ 123825 w 1138238"/>
              <a:gd name="connsiteY63" fmla="*/ 583406 h 862012"/>
              <a:gd name="connsiteX64" fmla="*/ 152400 w 1138238"/>
              <a:gd name="connsiteY64" fmla="*/ 631031 h 862012"/>
              <a:gd name="connsiteX65" fmla="*/ 142875 w 1138238"/>
              <a:gd name="connsiteY65" fmla="*/ 657225 h 862012"/>
              <a:gd name="connsiteX66" fmla="*/ 107156 w 1138238"/>
              <a:gd name="connsiteY66" fmla="*/ 697706 h 862012"/>
              <a:gd name="connsiteX67" fmla="*/ 42862 w 1138238"/>
              <a:gd name="connsiteY67" fmla="*/ 735806 h 862012"/>
              <a:gd name="connsiteX68" fmla="*/ 35718 w 1138238"/>
              <a:gd name="connsiteY68" fmla="*/ 769144 h 862012"/>
              <a:gd name="connsiteX69" fmla="*/ 19050 w 1138238"/>
              <a:gd name="connsiteY69" fmla="*/ 795337 h 862012"/>
              <a:gd name="connsiteX70" fmla="*/ 0 w 1138238"/>
              <a:gd name="connsiteY70" fmla="*/ 859631 h 862012"/>
              <a:gd name="connsiteX71" fmla="*/ 19050 w 1138238"/>
              <a:gd name="connsiteY71" fmla="*/ 862012 h 862012"/>
              <a:gd name="connsiteX72" fmla="*/ 154781 w 1138238"/>
              <a:gd name="connsiteY72" fmla="*/ 828675 h 862012"/>
              <a:gd name="connsiteX73" fmla="*/ 171450 w 1138238"/>
              <a:gd name="connsiteY73" fmla="*/ 757237 h 862012"/>
              <a:gd name="connsiteX74" fmla="*/ 259556 w 1138238"/>
              <a:gd name="connsiteY74" fmla="*/ 800100 h 862012"/>
              <a:gd name="connsiteX75" fmla="*/ 297656 w 1138238"/>
              <a:gd name="connsiteY75" fmla="*/ 700087 h 862012"/>
              <a:gd name="connsiteX76" fmla="*/ 385762 w 1138238"/>
              <a:gd name="connsiteY76" fmla="*/ 666750 h 862012"/>
              <a:gd name="connsiteX77" fmla="*/ 435768 w 1138238"/>
              <a:gd name="connsiteY77" fmla="*/ 681037 h 862012"/>
              <a:gd name="connsiteX78" fmla="*/ 473868 w 1138238"/>
              <a:gd name="connsiteY78" fmla="*/ 702469 h 862012"/>
              <a:gd name="connsiteX79" fmla="*/ 500062 w 1138238"/>
              <a:gd name="connsiteY79" fmla="*/ 707231 h 862012"/>
              <a:gd name="connsiteX80" fmla="*/ 516731 w 1138238"/>
              <a:gd name="connsiteY80" fmla="*/ 702469 h 862012"/>
              <a:gd name="connsiteX81" fmla="*/ 545306 w 1138238"/>
              <a:gd name="connsiteY81" fmla="*/ 671512 h 862012"/>
              <a:gd name="connsiteX82" fmla="*/ 576262 w 1138238"/>
              <a:gd name="connsiteY82" fmla="*/ 671512 h 862012"/>
              <a:gd name="connsiteX83" fmla="*/ 631031 w 1138238"/>
              <a:gd name="connsiteY83" fmla="*/ 650081 h 862012"/>
              <a:gd name="connsiteX0" fmla="*/ 631031 w 1138238"/>
              <a:gd name="connsiteY0" fmla="*/ 650081 h 862012"/>
              <a:gd name="connsiteX1" fmla="*/ 678656 w 1138238"/>
              <a:gd name="connsiteY1" fmla="*/ 585787 h 862012"/>
              <a:gd name="connsiteX2" fmla="*/ 702468 w 1138238"/>
              <a:gd name="connsiteY2" fmla="*/ 573881 h 862012"/>
              <a:gd name="connsiteX3" fmla="*/ 733425 w 1138238"/>
              <a:gd name="connsiteY3" fmla="*/ 573881 h 862012"/>
              <a:gd name="connsiteX4" fmla="*/ 778668 w 1138238"/>
              <a:gd name="connsiteY4" fmla="*/ 554831 h 862012"/>
              <a:gd name="connsiteX5" fmla="*/ 833437 w 1138238"/>
              <a:gd name="connsiteY5" fmla="*/ 528637 h 862012"/>
              <a:gd name="connsiteX6" fmla="*/ 883443 w 1138238"/>
              <a:gd name="connsiteY6" fmla="*/ 495300 h 862012"/>
              <a:gd name="connsiteX7" fmla="*/ 900112 w 1138238"/>
              <a:gd name="connsiteY7" fmla="*/ 490537 h 862012"/>
              <a:gd name="connsiteX8" fmla="*/ 919162 w 1138238"/>
              <a:gd name="connsiteY8" fmla="*/ 485775 h 862012"/>
              <a:gd name="connsiteX9" fmla="*/ 916781 w 1138238"/>
              <a:gd name="connsiteY9" fmla="*/ 447675 h 862012"/>
              <a:gd name="connsiteX10" fmla="*/ 954881 w 1138238"/>
              <a:gd name="connsiteY10" fmla="*/ 428625 h 862012"/>
              <a:gd name="connsiteX11" fmla="*/ 985837 w 1138238"/>
              <a:gd name="connsiteY11" fmla="*/ 407194 h 862012"/>
              <a:gd name="connsiteX12" fmla="*/ 1000125 w 1138238"/>
              <a:gd name="connsiteY12" fmla="*/ 347662 h 862012"/>
              <a:gd name="connsiteX13" fmla="*/ 981075 w 1138238"/>
              <a:gd name="connsiteY13" fmla="*/ 316706 h 862012"/>
              <a:gd name="connsiteX14" fmla="*/ 997743 w 1138238"/>
              <a:gd name="connsiteY14" fmla="*/ 271462 h 862012"/>
              <a:gd name="connsiteX15" fmla="*/ 1033462 w 1138238"/>
              <a:gd name="connsiteY15" fmla="*/ 233362 h 862012"/>
              <a:gd name="connsiteX16" fmla="*/ 1097756 w 1138238"/>
              <a:gd name="connsiteY16" fmla="*/ 209550 h 862012"/>
              <a:gd name="connsiteX17" fmla="*/ 1138238 w 1138238"/>
              <a:gd name="connsiteY17" fmla="*/ 185737 h 862012"/>
              <a:gd name="connsiteX18" fmla="*/ 1107281 w 1138238"/>
              <a:gd name="connsiteY18" fmla="*/ 154781 h 862012"/>
              <a:gd name="connsiteX19" fmla="*/ 1052512 w 1138238"/>
              <a:gd name="connsiteY19" fmla="*/ 107156 h 862012"/>
              <a:gd name="connsiteX20" fmla="*/ 1009650 w 1138238"/>
              <a:gd name="connsiteY20" fmla="*/ 73819 h 862012"/>
              <a:gd name="connsiteX21" fmla="*/ 995362 w 1138238"/>
              <a:gd name="connsiteY21" fmla="*/ 47625 h 862012"/>
              <a:gd name="connsiteX22" fmla="*/ 983456 w 1138238"/>
              <a:gd name="connsiteY22" fmla="*/ 64294 h 862012"/>
              <a:gd name="connsiteX23" fmla="*/ 966787 w 1138238"/>
              <a:gd name="connsiteY23" fmla="*/ 69056 h 862012"/>
              <a:gd name="connsiteX24" fmla="*/ 935831 w 1138238"/>
              <a:gd name="connsiteY24" fmla="*/ 59531 h 862012"/>
              <a:gd name="connsiteX25" fmla="*/ 904875 w 1138238"/>
              <a:gd name="connsiteY25" fmla="*/ 23812 h 862012"/>
              <a:gd name="connsiteX26" fmla="*/ 888206 w 1138238"/>
              <a:gd name="connsiteY26" fmla="*/ 0 h 862012"/>
              <a:gd name="connsiteX27" fmla="*/ 869156 w 1138238"/>
              <a:gd name="connsiteY27" fmla="*/ 28575 h 862012"/>
              <a:gd name="connsiteX28" fmla="*/ 871537 w 1138238"/>
              <a:gd name="connsiteY28" fmla="*/ 69056 h 862012"/>
              <a:gd name="connsiteX29" fmla="*/ 847725 w 1138238"/>
              <a:gd name="connsiteY29" fmla="*/ 100012 h 862012"/>
              <a:gd name="connsiteX30" fmla="*/ 826293 w 1138238"/>
              <a:gd name="connsiteY30" fmla="*/ 97631 h 862012"/>
              <a:gd name="connsiteX31" fmla="*/ 800100 w 1138238"/>
              <a:gd name="connsiteY31" fmla="*/ 71437 h 862012"/>
              <a:gd name="connsiteX32" fmla="*/ 783431 w 1138238"/>
              <a:gd name="connsiteY32" fmla="*/ 57150 h 862012"/>
              <a:gd name="connsiteX33" fmla="*/ 764381 w 1138238"/>
              <a:gd name="connsiteY33" fmla="*/ 61912 h 862012"/>
              <a:gd name="connsiteX34" fmla="*/ 747712 w 1138238"/>
              <a:gd name="connsiteY34" fmla="*/ 92869 h 862012"/>
              <a:gd name="connsiteX35" fmla="*/ 742950 w 1138238"/>
              <a:gd name="connsiteY35" fmla="*/ 107156 h 862012"/>
              <a:gd name="connsiteX36" fmla="*/ 714375 w 1138238"/>
              <a:gd name="connsiteY36" fmla="*/ 107156 h 862012"/>
              <a:gd name="connsiteX37" fmla="*/ 700087 w 1138238"/>
              <a:gd name="connsiteY37" fmla="*/ 95250 h 862012"/>
              <a:gd name="connsiteX38" fmla="*/ 700087 w 1138238"/>
              <a:gd name="connsiteY38" fmla="*/ 66675 h 862012"/>
              <a:gd name="connsiteX39" fmla="*/ 704850 w 1138238"/>
              <a:gd name="connsiteY39" fmla="*/ 38100 h 862012"/>
              <a:gd name="connsiteX40" fmla="*/ 692943 w 1138238"/>
              <a:gd name="connsiteY40" fmla="*/ 23812 h 862012"/>
              <a:gd name="connsiteX41" fmla="*/ 669131 w 1138238"/>
              <a:gd name="connsiteY41" fmla="*/ 26194 h 862012"/>
              <a:gd name="connsiteX42" fmla="*/ 640556 w 1138238"/>
              <a:gd name="connsiteY42" fmla="*/ 19050 h 862012"/>
              <a:gd name="connsiteX43" fmla="*/ 604837 w 1138238"/>
              <a:gd name="connsiteY43" fmla="*/ 4762 h 862012"/>
              <a:gd name="connsiteX44" fmla="*/ 569118 w 1138238"/>
              <a:gd name="connsiteY44" fmla="*/ 4762 h 862012"/>
              <a:gd name="connsiteX45" fmla="*/ 557212 w 1138238"/>
              <a:gd name="connsiteY45" fmla="*/ 11906 h 862012"/>
              <a:gd name="connsiteX46" fmla="*/ 438150 w 1138238"/>
              <a:gd name="connsiteY46" fmla="*/ 69056 h 862012"/>
              <a:gd name="connsiteX47" fmla="*/ 421481 w 1138238"/>
              <a:gd name="connsiteY47" fmla="*/ 169069 h 862012"/>
              <a:gd name="connsiteX48" fmla="*/ 304800 w 1138238"/>
              <a:gd name="connsiteY48" fmla="*/ 228600 h 862012"/>
              <a:gd name="connsiteX49" fmla="*/ 276225 w 1138238"/>
              <a:gd name="connsiteY49" fmla="*/ 290512 h 862012"/>
              <a:gd name="connsiteX50" fmla="*/ 228600 w 1138238"/>
              <a:gd name="connsiteY50" fmla="*/ 285750 h 862012"/>
              <a:gd name="connsiteX51" fmla="*/ 211931 w 1138238"/>
              <a:gd name="connsiteY51" fmla="*/ 357187 h 862012"/>
              <a:gd name="connsiteX52" fmla="*/ 207168 w 1138238"/>
              <a:gd name="connsiteY52" fmla="*/ 369094 h 862012"/>
              <a:gd name="connsiteX53" fmla="*/ 223837 w 1138238"/>
              <a:gd name="connsiteY53" fmla="*/ 404812 h 862012"/>
              <a:gd name="connsiteX54" fmla="*/ 219075 w 1138238"/>
              <a:gd name="connsiteY54" fmla="*/ 511969 h 862012"/>
              <a:gd name="connsiteX55" fmla="*/ 195262 w 1138238"/>
              <a:gd name="connsiteY55" fmla="*/ 521494 h 862012"/>
              <a:gd name="connsiteX56" fmla="*/ 180975 w 1138238"/>
              <a:gd name="connsiteY56" fmla="*/ 502444 h 862012"/>
              <a:gd name="connsiteX57" fmla="*/ 161925 w 1138238"/>
              <a:gd name="connsiteY57" fmla="*/ 457200 h 862012"/>
              <a:gd name="connsiteX58" fmla="*/ 128587 w 1138238"/>
              <a:gd name="connsiteY58" fmla="*/ 433387 h 862012"/>
              <a:gd name="connsiteX59" fmla="*/ 116681 w 1138238"/>
              <a:gd name="connsiteY59" fmla="*/ 409575 h 862012"/>
              <a:gd name="connsiteX60" fmla="*/ 83343 w 1138238"/>
              <a:gd name="connsiteY60" fmla="*/ 421481 h 862012"/>
              <a:gd name="connsiteX61" fmla="*/ 78581 w 1138238"/>
              <a:gd name="connsiteY61" fmla="*/ 466725 h 862012"/>
              <a:gd name="connsiteX62" fmla="*/ 116681 w 1138238"/>
              <a:gd name="connsiteY62" fmla="*/ 514350 h 862012"/>
              <a:gd name="connsiteX63" fmla="*/ 123825 w 1138238"/>
              <a:gd name="connsiteY63" fmla="*/ 583406 h 862012"/>
              <a:gd name="connsiteX64" fmla="*/ 152400 w 1138238"/>
              <a:gd name="connsiteY64" fmla="*/ 631031 h 862012"/>
              <a:gd name="connsiteX65" fmla="*/ 142875 w 1138238"/>
              <a:gd name="connsiteY65" fmla="*/ 657225 h 862012"/>
              <a:gd name="connsiteX66" fmla="*/ 107156 w 1138238"/>
              <a:gd name="connsiteY66" fmla="*/ 697706 h 862012"/>
              <a:gd name="connsiteX67" fmla="*/ 42862 w 1138238"/>
              <a:gd name="connsiteY67" fmla="*/ 735806 h 862012"/>
              <a:gd name="connsiteX68" fmla="*/ 35718 w 1138238"/>
              <a:gd name="connsiteY68" fmla="*/ 769144 h 862012"/>
              <a:gd name="connsiteX69" fmla="*/ 19050 w 1138238"/>
              <a:gd name="connsiteY69" fmla="*/ 795337 h 862012"/>
              <a:gd name="connsiteX70" fmla="*/ 0 w 1138238"/>
              <a:gd name="connsiteY70" fmla="*/ 859631 h 862012"/>
              <a:gd name="connsiteX71" fmla="*/ 19050 w 1138238"/>
              <a:gd name="connsiteY71" fmla="*/ 862012 h 862012"/>
              <a:gd name="connsiteX72" fmla="*/ 154781 w 1138238"/>
              <a:gd name="connsiteY72" fmla="*/ 828675 h 862012"/>
              <a:gd name="connsiteX73" fmla="*/ 171450 w 1138238"/>
              <a:gd name="connsiteY73" fmla="*/ 757237 h 862012"/>
              <a:gd name="connsiteX74" fmla="*/ 259556 w 1138238"/>
              <a:gd name="connsiteY74" fmla="*/ 800100 h 862012"/>
              <a:gd name="connsiteX75" fmla="*/ 297656 w 1138238"/>
              <a:gd name="connsiteY75" fmla="*/ 700087 h 862012"/>
              <a:gd name="connsiteX76" fmla="*/ 385762 w 1138238"/>
              <a:gd name="connsiteY76" fmla="*/ 666750 h 862012"/>
              <a:gd name="connsiteX77" fmla="*/ 435768 w 1138238"/>
              <a:gd name="connsiteY77" fmla="*/ 681037 h 862012"/>
              <a:gd name="connsiteX78" fmla="*/ 473868 w 1138238"/>
              <a:gd name="connsiteY78" fmla="*/ 702469 h 862012"/>
              <a:gd name="connsiteX79" fmla="*/ 500062 w 1138238"/>
              <a:gd name="connsiteY79" fmla="*/ 707231 h 862012"/>
              <a:gd name="connsiteX80" fmla="*/ 516731 w 1138238"/>
              <a:gd name="connsiteY80" fmla="*/ 702469 h 862012"/>
              <a:gd name="connsiteX81" fmla="*/ 545306 w 1138238"/>
              <a:gd name="connsiteY81" fmla="*/ 671512 h 862012"/>
              <a:gd name="connsiteX82" fmla="*/ 576262 w 1138238"/>
              <a:gd name="connsiteY82" fmla="*/ 671512 h 862012"/>
              <a:gd name="connsiteX83" fmla="*/ 631031 w 1138238"/>
              <a:gd name="connsiteY83" fmla="*/ 650081 h 862012"/>
              <a:gd name="connsiteX0" fmla="*/ 631031 w 1138238"/>
              <a:gd name="connsiteY0" fmla="*/ 650081 h 862012"/>
              <a:gd name="connsiteX1" fmla="*/ 678656 w 1138238"/>
              <a:gd name="connsiteY1" fmla="*/ 585787 h 862012"/>
              <a:gd name="connsiteX2" fmla="*/ 702468 w 1138238"/>
              <a:gd name="connsiteY2" fmla="*/ 573881 h 862012"/>
              <a:gd name="connsiteX3" fmla="*/ 733425 w 1138238"/>
              <a:gd name="connsiteY3" fmla="*/ 573881 h 862012"/>
              <a:gd name="connsiteX4" fmla="*/ 778668 w 1138238"/>
              <a:gd name="connsiteY4" fmla="*/ 554831 h 862012"/>
              <a:gd name="connsiteX5" fmla="*/ 833437 w 1138238"/>
              <a:gd name="connsiteY5" fmla="*/ 528637 h 862012"/>
              <a:gd name="connsiteX6" fmla="*/ 883443 w 1138238"/>
              <a:gd name="connsiteY6" fmla="*/ 495300 h 862012"/>
              <a:gd name="connsiteX7" fmla="*/ 900112 w 1138238"/>
              <a:gd name="connsiteY7" fmla="*/ 490537 h 862012"/>
              <a:gd name="connsiteX8" fmla="*/ 919162 w 1138238"/>
              <a:gd name="connsiteY8" fmla="*/ 485775 h 862012"/>
              <a:gd name="connsiteX9" fmla="*/ 916781 w 1138238"/>
              <a:gd name="connsiteY9" fmla="*/ 447675 h 862012"/>
              <a:gd name="connsiteX10" fmla="*/ 954881 w 1138238"/>
              <a:gd name="connsiteY10" fmla="*/ 428625 h 862012"/>
              <a:gd name="connsiteX11" fmla="*/ 985837 w 1138238"/>
              <a:gd name="connsiteY11" fmla="*/ 407194 h 862012"/>
              <a:gd name="connsiteX12" fmla="*/ 1000125 w 1138238"/>
              <a:gd name="connsiteY12" fmla="*/ 347662 h 862012"/>
              <a:gd name="connsiteX13" fmla="*/ 981075 w 1138238"/>
              <a:gd name="connsiteY13" fmla="*/ 316706 h 862012"/>
              <a:gd name="connsiteX14" fmla="*/ 997743 w 1138238"/>
              <a:gd name="connsiteY14" fmla="*/ 271462 h 862012"/>
              <a:gd name="connsiteX15" fmla="*/ 1033462 w 1138238"/>
              <a:gd name="connsiteY15" fmla="*/ 233362 h 862012"/>
              <a:gd name="connsiteX16" fmla="*/ 1097756 w 1138238"/>
              <a:gd name="connsiteY16" fmla="*/ 209550 h 862012"/>
              <a:gd name="connsiteX17" fmla="*/ 1138238 w 1138238"/>
              <a:gd name="connsiteY17" fmla="*/ 185737 h 862012"/>
              <a:gd name="connsiteX18" fmla="*/ 1107281 w 1138238"/>
              <a:gd name="connsiteY18" fmla="*/ 154781 h 862012"/>
              <a:gd name="connsiteX19" fmla="*/ 1052512 w 1138238"/>
              <a:gd name="connsiteY19" fmla="*/ 97631 h 862012"/>
              <a:gd name="connsiteX20" fmla="*/ 1009650 w 1138238"/>
              <a:gd name="connsiteY20" fmla="*/ 73819 h 862012"/>
              <a:gd name="connsiteX21" fmla="*/ 995362 w 1138238"/>
              <a:gd name="connsiteY21" fmla="*/ 47625 h 862012"/>
              <a:gd name="connsiteX22" fmla="*/ 983456 w 1138238"/>
              <a:gd name="connsiteY22" fmla="*/ 64294 h 862012"/>
              <a:gd name="connsiteX23" fmla="*/ 966787 w 1138238"/>
              <a:gd name="connsiteY23" fmla="*/ 69056 h 862012"/>
              <a:gd name="connsiteX24" fmla="*/ 935831 w 1138238"/>
              <a:gd name="connsiteY24" fmla="*/ 59531 h 862012"/>
              <a:gd name="connsiteX25" fmla="*/ 904875 w 1138238"/>
              <a:gd name="connsiteY25" fmla="*/ 23812 h 862012"/>
              <a:gd name="connsiteX26" fmla="*/ 888206 w 1138238"/>
              <a:gd name="connsiteY26" fmla="*/ 0 h 862012"/>
              <a:gd name="connsiteX27" fmla="*/ 869156 w 1138238"/>
              <a:gd name="connsiteY27" fmla="*/ 28575 h 862012"/>
              <a:gd name="connsiteX28" fmla="*/ 871537 w 1138238"/>
              <a:gd name="connsiteY28" fmla="*/ 69056 h 862012"/>
              <a:gd name="connsiteX29" fmla="*/ 847725 w 1138238"/>
              <a:gd name="connsiteY29" fmla="*/ 100012 h 862012"/>
              <a:gd name="connsiteX30" fmla="*/ 826293 w 1138238"/>
              <a:gd name="connsiteY30" fmla="*/ 97631 h 862012"/>
              <a:gd name="connsiteX31" fmla="*/ 800100 w 1138238"/>
              <a:gd name="connsiteY31" fmla="*/ 71437 h 862012"/>
              <a:gd name="connsiteX32" fmla="*/ 783431 w 1138238"/>
              <a:gd name="connsiteY32" fmla="*/ 57150 h 862012"/>
              <a:gd name="connsiteX33" fmla="*/ 764381 w 1138238"/>
              <a:gd name="connsiteY33" fmla="*/ 61912 h 862012"/>
              <a:gd name="connsiteX34" fmla="*/ 747712 w 1138238"/>
              <a:gd name="connsiteY34" fmla="*/ 92869 h 862012"/>
              <a:gd name="connsiteX35" fmla="*/ 742950 w 1138238"/>
              <a:gd name="connsiteY35" fmla="*/ 107156 h 862012"/>
              <a:gd name="connsiteX36" fmla="*/ 714375 w 1138238"/>
              <a:gd name="connsiteY36" fmla="*/ 107156 h 862012"/>
              <a:gd name="connsiteX37" fmla="*/ 700087 w 1138238"/>
              <a:gd name="connsiteY37" fmla="*/ 95250 h 862012"/>
              <a:gd name="connsiteX38" fmla="*/ 700087 w 1138238"/>
              <a:gd name="connsiteY38" fmla="*/ 66675 h 862012"/>
              <a:gd name="connsiteX39" fmla="*/ 704850 w 1138238"/>
              <a:gd name="connsiteY39" fmla="*/ 38100 h 862012"/>
              <a:gd name="connsiteX40" fmla="*/ 692943 w 1138238"/>
              <a:gd name="connsiteY40" fmla="*/ 23812 h 862012"/>
              <a:gd name="connsiteX41" fmla="*/ 669131 w 1138238"/>
              <a:gd name="connsiteY41" fmla="*/ 26194 h 862012"/>
              <a:gd name="connsiteX42" fmla="*/ 640556 w 1138238"/>
              <a:gd name="connsiteY42" fmla="*/ 19050 h 862012"/>
              <a:gd name="connsiteX43" fmla="*/ 604837 w 1138238"/>
              <a:gd name="connsiteY43" fmla="*/ 4762 h 862012"/>
              <a:gd name="connsiteX44" fmla="*/ 569118 w 1138238"/>
              <a:gd name="connsiteY44" fmla="*/ 4762 h 862012"/>
              <a:gd name="connsiteX45" fmla="*/ 557212 w 1138238"/>
              <a:gd name="connsiteY45" fmla="*/ 11906 h 862012"/>
              <a:gd name="connsiteX46" fmla="*/ 438150 w 1138238"/>
              <a:gd name="connsiteY46" fmla="*/ 69056 h 862012"/>
              <a:gd name="connsiteX47" fmla="*/ 421481 w 1138238"/>
              <a:gd name="connsiteY47" fmla="*/ 169069 h 862012"/>
              <a:gd name="connsiteX48" fmla="*/ 304800 w 1138238"/>
              <a:gd name="connsiteY48" fmla="*/ 228600 h 862012"/>
              <a:gd name="connsiteX49" fmla="*/ 276225 w 1138238"/>
              <a:gd name="connsiteY49" fmla="*/ 290512 h 862012"/>
              <a:gd name="connsiteX50" fmla="*/ 228600 w 1138238"/>
              <a:gd name="connsiteY50" fmla="*/ 285750 h 862012"/>
              <a:gd name="connsiteX51" fmla="*/ 211931 w 1138238"/>
              <a:gd name="connsiteY51" fmla="*/ 357187 h 862012"/>
              <a:gd name="connsiteX52" fmla="*/ 207168 w 1138238"/>
              <a:gd name="connsiteY52" fmla="*/ 369094 h 862012"/>
              <a:gd name="connsiteX53" fmla="*/ 223837 w 1138238"/>
              <a:gd name="connsiteY53" fmla="*/ 404812 h 862012"/>
              <a:gd name="connsiteX54" fmla="*/ 219075 w 1138238"/>
              <a:gd name="connsiteY54" fmla="*/ 511969 h 862012"/>
              <a:gd name="connsiteX55" fmla="*/ 195262 w 1138238"/>
              <a:gd name="connsiteY55" fmla="*/ 521494 h 862012"/>
              <a:gd name="connsiteX56" fmla="*/ 180975 w 1138238"/>
              <a:gd name="connsiteY56" fmla="*/ 502444 h 862012"/>
              <a:gd name="connsiteX57" fmla="*/ 161925 w 1138238"/>
              <a:gd name="connsiteY57" fmla="*/ 457200 h 862012"/>
              <a:gd name="connsiteX58" fmla="*/ 128587 w 1138238"/>
              <a:gd name="connsiteY58" fmla="*/ 433387 h 862012"/>
              <a:gd name="connsiteX59" fmla="*/ 116681 w 1138238"/>
              <a:gd name="connsiteY59" fmla="*/ 409575 h 862012"/>
              <a:gd name="connsiteX60" fmla="*/ 83343 w 1138238"/>
              <a:gd name="connsiteY60" fmla="*/ 421481 h 862012"/>
              <a:gd name="connsiteX61" fmla="*/ 78581 w 1138238"/>
              <a:gd name="connsiteY61" fmla="*/ 466725 h 862012"/>
              <a:gd name="connsiteX62" fmla="*/ 116681 w 1138238"/>
              <a:gd name="connsiteY62" fmla="*/ 514350 h 862012"/>
              <a:gd name="connsiteX63" fmla="*/ 123825 w 1138238"/>
              <a:gd name="connsiteY63" fmla="*/ 583406 h 862012"/>
              <a:gd name="connsiteX64" fmla="*/ 152400 w 1138238"/>
              <a:gd name="connsiteY64" fmla="*/ 631031 h 862012"/>
              <a:gd name="connsiteX65" fmla="*/ 142875 w 1138238"/>
              <a:gd name="connsiteY65" fmla="*/ 657225 h 862012"/>
              <a:gd name="connsiteX66" fmla="*/ 107156 w 1138238"/>
              <a:gd name="connsiteY66" fmla="*/ 697706 h 862012"/>
              <a:gd name="connsiteX67" fmla="*/ 42862 w 1138238"/>
              <a:gd name="connsiteY67" fmla="*/ 735806 h 862012"/>
              <a:gd name="connsiteX68" fmla="*/ 35718 w 1138238"/>
              <a:gd name="connsiteY68" fmla="*/ 769144 h 862012"/>
              <a:gd name="connsiteX69" fmla="*/ 19050 w 1138238"/>
              <a:gd name="connsiteY69" fmla="*/ 795337 h 862012"/>
              <a:gd name="connsiteX70" fmla="*/ 0 w 1138238"/>
              <a:gd name="connsiteY70" fmla="*/ 859631 h 862012"/>
              <a:gd name="connsiteX71" fmla="*/ 19050 w 1138238"/>
              <a:gd name="connsiteY71" fmla="*/ 862012 h 862012"/>
              <a:gd name="connsiteX72" fmla="*/ 154781 w 1138238"/>
              <a:gd name="connsiteY72" fmla="*/ 828675 h 862012"/>
              <a:gd name="connsiteX73" fmla="*/ 171450 w 1138238"/>
              <a:gd name="connsiteY73" fmla="*/ 757237 h 862012"/>
              <a:gd name="connsiteX74" fmla="*/ 259556 w 1138238"/>
              <a:gd name="connsiteY74" fmla="*/ 800100 h 862012"/>
              <a:gd name="connsiteX75" fmla="*/ 297656 w 1138238"/>
              <a:gd name="connsiteY75" fmla="*/ 700087 h 862012"/>
              <a:gd name="connsiteX76" fmla="*/ 385762 w 1138238"/>
              <a:gd name="connsiteY76" fmla="*/ 666750 h 862012"/>
              <a:gd name="connsiteX77" fmla="*/ 435768 w 1138238"/>
              <a:gd name="connsiteY77" fmla="*/ 681037 h 862012"/>
              <a:gd name="connsiteX78" fmla="*/ 473868 w 1138238"/>
              <a:gd name="connsiteY78" fmla="*/ 702469 h 862012"/>
              <a:gd name="connsiteX79" fmla="*/ 500062 w 1138238"/>
              <a:gd name="connsiteY79" fmla="*/ 707231 h 862012"/>
              <a:gd name="connsiteX80" fmla="*/ 516731 w 1138238"/>
              <a:gd name="connsiteY80" fmla="*/ 702469 h 862012"/>
              <a:gd name="connsiteX81" fmla="*/ 545306 w 1138238"/>
              <a:gd name="connsiteY81" fmla="*/ 671512 h 862012"/>
              <a:gd name="connsiteX82" fmla="*/ 576262 w 1138238"/>
              <a:gd name="connsiteY82" fmla="*/ 671512 h 862012"/>
              <a:gd name="connsiteX83" fmla="*/ 631031 w 1138238"/>
              <a:gd name="connsiteY83" fmla="*/ 650081 h 862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138238" h="862012">
                <a:moveTo>
                  <a:pt x="631031" y="650081"/>
                </a:moveTo>
                <a:lnTo>
                  <a:pt x="678656" y="585787"/>
                </a:lnTo>
                <a:lnTo>
                  <a:pt x="702468" y="573881"/>
                </a:lnTo>
                <a:lnTo>
                  <a:pt x="733425" y="573881"/>
                </a:lnTo>
                <a:lnTo>
                  <a:pt x="778668" y="554831"/>
                </a:lnTo>
                <a:lnTo>
                  <a:pt x="833437" y="528637"/>
                </a:lnTo>
                <a:lnTo>
                  <a:pt x="883443" y="495300"/>
                </a:lnTo>
                <a:lnTo>
                  <a:pt x="900112" y="490537"/>
                </a:lnTo>
                <a:lnTo>
                  <a:pt x="919162" y="485775"/>
                </a:lnTo>
                <a:lnTo>
                  <a:pt x="916781" y="447675"/>
                </a:lnTo>
                <a:lnTo>
                  <a:pt x="954881" y="428625"/>
                </a:lnTo>
                <a:lnTo>
                  <a:pt x="985837" y="407194"/>
                </a:lnTo>
                <a:lnTo>
                  <a:pt x="1000125" y="347662"/>
                </a:lnTo>
                <a:lnTo>
                  <a:pt x="981075" y="316706"/>
                </a:lnTo>
                <a:lnTo>
                  <a:pt x="997743" y="271462"/>
                </a:lnTo>
                <a:lnTo>
                  <a:pt x="1033462" y="233362"/>
                </a:lnTo>
                <a:lnTo>
                  <a:pt x="1097756" y="209550"/>
                </a:lnTo>
                <a:lnTo>
                  <a:pt x="1138238" y="185737"/>
                </a:lnTo>
                <a:lnTo>
                  <a:pt x="1107281" y="154781"/>
                </a:lnTo>
                <a:lnTo>
                  <a:pt x="1052512" y="97631"/>
                </a:lnTo>
                <a:lnTo>
                  <a:pt x="1009650" y="73819"/>
                </a:lnTo>
                <a:lnTo>
                  <a:pt x="995362" y="47625"/>
                </a:lnTo>
                <a:lnTo>
                  <a:pt x="983456" y="64294"/>
                </a:lnTo>
                <a:lnTo>
                  <a:pt x="966787" y="69056"/>
                </a:lnTo>
                <a:lnTo>
                  <a:pt x="935831" y="59531"/>
                </a:lnTo>
                <a:lnTo>
                  <a:pt x="904875" y="23812"/>
                </a:lnTo>
                <a:lnTo>
                  <a:pt x="888206" y="0"/>
                </a:lnTo>
                <a:lnTo>
                  <a:pt x="869156" y="28575"/>
                </a:lnTo>
                <a:lnTo>
                  <a:pt x="871537" y="69056"/>
                </a:lnTo>
                <a:lnTo>
                  <a:pt x="847725" y="100012"/>
                </a:lnTo>
                <a:lnTo>
                  <a:pt x="826293" y="97631"/>
                </a:lnTo>
                <a:lnTo>
                  <a:pt x="800100" y="71437"/>
                </a:lnTo>
                <a:lnTo>
                  <a:pt x="783431" y="57150"/>
                </a:lnTo>
                <a:lnTo>
                  <a:pt x="764381" y="61912"/>
                </a:lnTo>
                <a:lnTo>
                  <a:pt x="747712" y="92869"/>
                </a:lnTo>
                <a:lnTo>
                  <a:pt x="742950" y="107156"/>
                </a:lnTo>
                <a:lnTo>
                  <a:pt x="714375" y="107156"/>
                </a:lnTo>
                <a:lnTo>
                  <a:pt x="700087" y="95250"/>
                </a:lnTo>
                <a:lnTo>
                  <a:pt x="700087" y="66675"/>
                </a:lnTo>
                <a:lnTo>
                  <a:pt x="704850" y="38100"/>
                </a:lnTo>
                <a:lnTo>
                  <a:pt x="692943" y="23812"/>
                </a:lnTo>
                <a:lnTo>
                  <a:pt x="669131" y="26194"/>
                </a:lnTo>
                <a:lnTo>
                  <a:pt x="640556" y="19050"/>
                </a:lnTo>
                <a:lnTo>
                  <a:pt x="604837" y="4762"/>
                </a:lnTo>
                <a:lnTo>
                  <a:pt x="569118" y="4762"/>
                </a:lnTo>
                <a:lnTo>
                  <a:pt x="557212" y="11906"/>
                </a:lnTo>
                <a:lnTo>
                  <a:pt x="438150" y="69056"/>
                </a:lnTo>
                <a:lnTo>
                  <a:pt x="421481" y="169069"/>
                </a:lnTo>
                <a:lnTo>
                  <a:pt x="304800" y="228600"/>
                </a:lnTo>
                <a:lnTo>
                  <a:pt x="276225" y="290512"/>
                </a:lnTo>
                <a:lnTo>
                  <a:pt x="228600" y="285750"/>
                </a:lnTo>
                <a:lnTo>
                  <a:pt x="211931" y="357187"/>
                </a:lnTo>
                <a:lnTo>
                  <a:pt x="207168" y="369094"/>
                </a:lnTo>
                <a:lnTo>
                  <a:pt x="223837" y="404812"/>
                </a:lnTo>
                <a:lnTo>
                  <a:pt x="219075" y="511969"/>
                </a:lnTo>
                <a:lnTo>
                  <a:pt x="195262" y="521494"/>
                </a:lnTo>
                <a:lnTo>
                  <a:pt x="180975" y="502444"/>
                </a:lnTo>
                <a:lnTo>
                  <a:pt x="161925" y="457200"/>
                </a:lnTo>
                <a:lnTo>
                  <a:pt x="128587" y="433387"/>
                </a:lnTo>
                <a:lnTo>
                  <a:pt x="116681" y="409575"/>
                </a:lnTo>
                <a:lnTo>
                  <a:pt x="83343" y="421481"/>
                </a:lnTo>
                <a:lnTo>
                  <a:pt x="78581" y="466725"/>
                </a:lnTo>
                <a:lnTo>
                  <a:pt x="116681" y="514350"/>
                </a:lnTo>
                <a:lnTo>
                  <a:pt x="123825" y="583406"/>
                </a:lnTo>
                <a:lnTo>
                  <a:pt x="152400" y="631031"/>
                </a:lnTo>
                <a:lnTo>
                  <a:pt x="142875" y="657225"/>
                </a:lnTo>
                <a:lnTo>
                  <a:pt x="107156" y="697706"/>
                </a:lnTo>
                <a:lnTo>
                  <a:pt x="42862" y="735806"/>
                </a:lnTo>
                <a:lnTo>
                  <a:pt x="35718" y="769144"/>
                </a:lnTo>
                <a:lnTo>
                  <a:pt x="19050" y="795337"/>
                </a:lnTo>
                <a:lnTo>
                  <a:pt x="0" y="859631"/>
                </a:lnTo>
                <a:lnTo>
                  <a:pt x="19050" y="862012"/>
                </a:lnTo>
                <a:lnTo>
                  <a:pt x="154781" y="828675"/>
                </a:lnTo>
                <a:lnTo>
                  <a:pt x="171450" y="757237"/>
                </a:lnTo>
                <a:lnTo>
                  <a:pt x="259556" y="800100"/>
                </a:lnTo>
                <a:lnTo>
                  <a:pt x="297656" y="700087"/>
                </a:lnTo>
                <a:lnTo>
                  <a:pt x="385762" y="666750"/>
                </a:lnTo>
                <a:lnTo>
                  <a:pt x="435768" y="681037"/>
                </a:lnTo>
                <a:lnTo>
                  <a:pt x="473868" y="702469"/>
                </a:lnTo>
                <a:lnTo>
                  <a:pt x="500062" y="707231"/>
                </a:lnTo>
                <a:lnTo>
                  <a:pt x="516731" y="702469"/>
                </a:lnTo>
                <a:lnTo>
                  <a:pt x="545306" y="671512"/>
                </a:lnTo>
                <a:lnTo>
                  <a:pt x="576262" y="671512"/>
                </a:lnTo>
                <a:lnTo>
                  <a:pt x="631031" y="650081"/>
                </a:lnTo>
                <a:close/>
              </a:path>
            </a:pathLst>
          </a:custGeom>
          <a:solidFill>
            <a:srgbClr val="FF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3395664" y="2937939"/>
            <a:ext cx="735012" cy="615951"/>
          </a:xfrm>
          <a:custGeom>
            <a:avLst/>
            <a:gdLst>
              <a:gd name="connsiteX0" fmla="*/ 123825 w 735806"/>
              <a:gd name="connsiteY0" fmla="*/ 504825 h 611981"/>
              <a:gd name="connsiteX1" fmla="*/ 207169 w 735806"/>
              <a:gd name="connsiteY1" fmla="*/ 528638 h 611981"/>
              <a:gd name="connsiteX2" fmla="*/ 235744 w 735806"/>
              <a:gd name="connsiteY2" fmla="*/ 535781 h 611981"/>
              <a:gd name="connsiteX3" fmla="*/ 257175 w 735806"/>
              <a:gd name="connsiteY3" fmla="*/ 531019 h 611981"/>
              <a:gd name="connsiteX4" fmla="*/ 259556 w 735806"/>
              <a:gd name="connsiteY4" fmla="*/ 547688 h 611981"/>
              <a:gd name="connsiteX5" fmla="*/ 266700 w 735806"/>
              <a:gd name="connsiteY5" fmla="*/ 604838 h 611981"/>
              <a:gd name="connsiteX6" fmla="*/ 276225 w 735806"/>
              <a:gd name="connsiteY6" fmla="*/ 611981 h 611981"/>
              <a:gd name="connsiteX7" fmla="*/ 276225 w 735806"/>
              <a:gd name="connsiteY7" fmla="*/ 611981 h 611981"/>
              <a:gd name="connsiteX8" fmla="*/ 311944 w 735806"/>
              <a:gd name="connsiteY8" fmla="*/ 592931 h 611981"/>
              <a:gd name="connsiteX9" fmla="*/ 323850 w 735806"/>
              <a:gd name="connsiteY9" fmla="*/ 566738 h 611981"/>
              <a:gd name="connsiteX10" fmla="*/ 340519 w 735806"/>
              <a:gd name="connsiteY10" fmla="*/ 561975 h 611981"/>
              <a:gd name="connsiteX11" fmla="*/ 364331 w 735806"/>
              <a:gd name="connsiteY11" fmla="*/ 585788 h 611981"/>
              <a:gd name="connsiteX12" fmla="*/ 381000 w 735806"/>
              <a:gd name="connsiteY12" fmla="*/ 600075 h 611981"/>
              <a:gd name="connsiteX13" fmla="*/ 400050 w 735806"/>
              <a:gd name="connsiteY13" fmla="*/ 607219 h 611981"/>
              <a:gd name="connsiteX14" fmla="*/ 426244 w 735806"/>
              <a:gd name="connsiteY14" fmla="*/ 573881 h 611981"/>
              <a:gd name="connsiteX15" fmla="*/ 433387 w 735806"/>
              <a:gd name="connsiteY15" fmla="*/ 533400 h 611981"/>
              <a:gd name="connsiteX16" fmla="*/ 447675 w 735806"/>
              <a:gd name="connsiteY16" fmla="*/ 504825 h 611981"/>
              <a:gd name="connsiteX17" fmla="*/ 473869 w 735806"/>
              <a:gd name="connsiteY17" fmla="*/ 542925 h 611981"/>
              <a:gd name="connsiteX18" fmla="*/ 495300 w 735806"/>
              <a:gd name="connsiteY18" fmla="*/ 561975 h 611981"/>
              <a:gd name="connsiteX19" fmla="*/ 516731 w 735806"/>
              <a:gd name="connsiteY19" fmla="*/ 578644 h 611981"/>
              <a:gd name="connsiteX20" fmla="*/ 550069 w 735806"/>
              <a:gd name="connsiteY20" fmla="*/ 566738 h 611981"/>
              <a:gd name="connsiteX21" fmla="*/ 557212 w 735806"/>
              <a:gd name="connsiteY21" fmla="*/ 547688 h 611981"/>
              <a:gd name="connsiteX22" fmla="*/ 557212 w 735806"/>
              <a:gd name="connsiteY22" fmla="*/ 535781 h 611981"/>
              <a:gd name="connsiteX23" fmla="*/ 531019 w 735806"/>
              <a:gd name="connsiteY23" fmla="*/ 511969 h 611981"/>
              <a:gd name="connsiteX24" fmla="*/ 514350 w 735806"/>
              <a:gd name="connsiteY24" fmla="*/ 421481 h 611981"/>
              <a:gd name="connsiteX25" fmla="*/ 514350 w 735806"/>
              <a:gd name="connsiteY25" fmla="*/ 421481 h 611981"/>
              <a:gd name="connsiteX26" fmla="*/ 464344 w 735806"/>
              <a:gd name="connsiteY26" fmla="*/ 445294 h 611981"/>
              <a:gd name="connsiteX27" fmla="*/ 438150 w 735806"/>
              <a:gd name="connsiteY27" fmla="*/ 431006 h 611981"/>
              <a:gd name="connsiteX28" fmla="*/ 426244 w 735806"/>
              <a:gd name="connsiteY28" fmla="*/ 385763 h 611981"/>
              <a:gd name="connsiteX29" fmla="*/ 411956 w 735806"/>
              <a:gd name="connsiteY29" fmla="*/ 381000 h 611981"/>
              <a:gd name="connsiteX30" fmla="*/ 388144 w 735806"/>
              <a:gd name="connsiteY30" fmla="*/ 350044 h 611981"/>
              <a:gd name="connsiteX31" fmla="*/ 409575 w 735806"/>
              <a:gd name="connsiteY31" fmla="*/ 314325 h 611981"/>
              <a:gd name="connsiteX32" fmla="*/ 507206 w 735806"/>
              <a:gd name="connsiteY32" fmla="*/ 338138 h 611981"/>
              <a:gd name="connsiteX33" fmla="*/ 528637 w 735806"/>
              <a:gd name="connsiteY33" fmla="*/ 311944 h 611981"/>
              <a:gd name="connsiteX34" fmla="*/ 626269 w 735806"/>
              <a:gd name="connsiteY34" fmla="*/ 290513 h 611981"/>
              <a:gd name="connsiteX35" fmla="*/ 631031 w 735806"/>
              <a:gd name="connsiteY35" fmla="*/ 240506 h 611981"/>
              <a:gd name="connsiteX36" fmla="*/ 714375 w 735806"/>
              <a:gd name="connsiteY36" fmla="*/ 166688 h 611981"/>
              <a:gd name="connsiteX37" fmla="*/ 735806 w 735806"/>
              <a:gd name="connsiteY37" fmla="*/ 71438 h 611981"/>
              <a:gd name="connsiteX38" fmla="*/ 707231 w 735806"/>
              <a:gd name="connsiteY38" fmla="*/ 0 h 611981"/>
              <a:gd name="connsiteX39" fmla="*/ 614362 w 735806"/>
              <a:gd name="connsiteY39" fmla="*/ 47625 h 611981"/>
              <a:gd name="connsiteX40" fmla="*/ 614362 w 735806"/>
              <a:gd name="connsiteY40" fmla="*/ 66675 h 611981"/>
              <a:gd name="connsiteX41" fmla="*/ 597694 w 735806"/>
              <a:gd name="connsiteY41" fmla="*/ 135731 h 611981"/>
              <a:gd name="connsiteX42" fmla="*/ 566737 w 735806"/>
              <a:gd name="connsiteY42" fmla="*/ 130969 h 611981"/>
              <a:gd name="connsiteX43" fmla="*/ 514350 w 735806"/>
              <a:gd name="connsiteY43" fmla="*/ 164306 h 611981"/>
              <a:gd name="connsiteX44" fmla="*/ 433387 w 735806"/>
              <a:gd name="connsiteY44" fmla="*/ 123825 h 611981"/>
              <a:gd name="connsiteX45" fmla="*/ 402431 w 735806"/>
              <a:gd name="connsiteY45" fmla="*/ 128588 h 611981"/>
              <a:gd name="connsiteX46" fmla="*/ 359569 w 735806"/>
              <a:gd name="connsiteY46" fmla="*/ 154781 h 611981"/>
              <a:gd name="connsiteX47" fmla="*/ 307181 w 735806"/>
              <a:gd name="connsiteY47" fmla="*/ 154781 h 611981"/>
              <a:gd name="connsiteX48" fmla="*/ 280987 w 735806"/>
              <a:gd name="connsiteY48" fmla="*/ 188119 h 611981"/>
              <a:gd name="connsiteX49" fmla="*/ 209550 w 735806"/>
              <a:gd name="connsiteY49" fmla="*/ 171450 h 611981"/>
              <a:gd name="connsiteX50" fmla="*/ 154781 w 735806"/>
              <a:gd name="connsiteY50" fmla="*/ 197644 h 611981"/>
              <a:gd name="connsiteX51" fmla="*/ 126206 w 735806"/>
              <a:gd name="connsiteY51" fmla="*/ 176213 h 611981"/>
              <a:gd name="connsiteX52" fmla="*/ 111919 w 735806"/>
              <a:gd name="connsiteY52" fmla="*/ 176213 h 611981"/>
              <a:gd name="connsiteX53" fmla="*/ 107156 w 735806"/>
              <a:gd name="connsiteY53" fmla="*/ 164306 h 611981"/>
              <a:gd name="connsiteX54" fmla="*/ 9525 w 735806"/>
              <a:gd name="connsiteY54" fmla="*/ 159544 h 611981"/>
              <a:gd name="connsiteX55" fmla="*/ 0 w 735806"/>
              <a:gd name="connsiteY55" fmla="*/ 190500 h 611981"/>
              <a:gd name="connsiteX56" fmla="*/ 2381 w 735806"/>
              <a:gd name="connsiteY56" fmla="*/ 261938 h 611981"/>
              <a:gd name="connsiteX57" fmla="*/ 30956 w 735806"/>
              <a:gd name="connsiteY57" fmla="*/ 278606 h 611981"/>
              <a:gd name="connsiteX58" fmla="*/ 47625 w 735806"/>
              <a:gd name="connsiteY58" fmla="*/ 285750 h 611981"/>
              <a:gd name="connsiteX59" fmla="*/ 69056 w 735806"/>
              <a:gd name="connsiteY59" fmla="*/ 292894 h 611981"/>
              <a:gd name="connsiteX60" fmla="*/ 80962 w 735806"/>
              <a:gd name="connsiteY60" fmla="*/ 319088 h 611981"/>
              <a:gd name="connsiteX61" fmla="*/ 109537 w 735806"/>
              <a:gd name="connsiteY61" fmla="*/ 340519 h 611981"/>
              <a:gd name="connsiteX62" fmla="*/ 111919 w 735806"/>
              <a:gd name="connsiteY62" fmla="*/ 390525 h 611981"/>
              <a:gd name="connsiteX63" fmla="*/ 128587 w 735806"/>
              <a:gd name="connsiteY63" fmla="*/ 428625 h 611981"/>
              <a:gd name="connsiteX64" fmla="*/ 104775 w 735806"/>
              <a:gd name="connsiteY64" fmla="*/ 445294 h 611981"/>
              <a:gd name="connsiteX65" fmla="*/ 123825 w 735806"/>
              <a:gd name="connsiteY65" fmla="*/ 504825 h 611981"/>
              <a:gd name="connsiteX0" fmla="*/ 123825 w 735806"/>
              <a:gd name="connsiteY0" fmla="*/ 504825 h 614362"/>
              <a:gd name="connsiteX1" fmla="*/ 207169 w 735806"/>
              <a:gd name="connsiteY1" fmla="*/ 528638 h 614362"/>
              <a:gd name="connsiteX2" fmla="*/ 235744 w 735806"/>
              <a:gd name="connsiteY2" fmla="*/ 535781 h 614362"/>
              <a:gd name="connsiteX3" fmla="*/ 257175 w 735806"/>
              <a:gd name="connsiteY3" fmla="*/ 531019 h 614362"/>
              <a:gd name="connsiteX4" fmla="*/ 259556 w 735806"/>
              <a:gd name="connsiteY4" fmla="*/ 547688 h 614362"/>
              <a:gd name="connsiteX5" fmla="*/ 266700 w 735806"/>
              <a:gd name="connsiteY5" fmla="*/ 604838 h 614362"/>
              <a:gd name="connsiteX6" fmla="*/ 276225 w 735806"/>
              <a:gd name="connsiteY6" fmla="*/ 611981 h 614362"/>
              <a:gd name="connsiteX7" fmla="*/ 276225 w 735806"/>
              <a:gd name="connsiteY7" fmla="*/ 611981 h 614362"/>
              <a:gd name="connsiteX8" fmla="*/ 311944 w 735806"/>
              <a:gd name="connsiteY8" fmla="*/ 614362 h 614362"/>
              <a:gd name="connsiteX9" fmla="*/ 323850 w 735806"/>
              <a:gd name="connsiteY9" fmla="*/ 566738 h 614362"/>
              <a:gd name="connsiteX10" fmla="*/ 340519 w 735806"/>
              <a:gd name="connsiteY10" fmla="*/ 561975 h 614362"/>
              <a:gd name="connsiteX11" fmla="*/ 364331 w 735806"/>
              <a:gd name="connsiteY11" fmla="*/ 585788 h 614362"/>
              <a:gd name="connsiteX12" fmla="*/ 381000 w 735806"/>
              <a:gd name="connsiteY12" fmla="*/ 600075 h 614362"/>
              <a:gd name="connsiteX13" fmla="*/ 400050 w 735806"/>
              <a:gd name="connsiteY13" fmla="*/ 607219 h 614362"/>
              <a:gd name="connsiteX14" fmla="*/ 426244 w 735806"/>
              <a:gd name="connsiteY14" fmla="*/ 573881 h 614362"/>
              <a:gd name="connsiteX15" fmla="*/ 433387 w 735806"/>
              <a:gd name="connsiteY15" fmla="*/ 533400 h 614362"/>
              <a:gd name="connsiteX16" fmla="*/ 447675 w 735806"/>
              <a:gd name="connsiteY16" fmla="*/ 504825 h 614362"/>
              <a:gd name="connsiteX17" fmla="*/ 473869 w 735806"/>
              <a:gd name="connsiteY17" fmla="*/ 542925 h 614362"/>
              <a:gd name="connsiteX18" fmla="*/ 495300 w 735806"/>
              <a:gd name="connsiteY18" fmla="*/ 561975 h 614362"/>
              <a:gd name="connsiteX19" fmla="*/ 516731 w 735806"/>
              <a:gd name="connsiteY19" fmla="*/ 578644 h 614362"/>
              <a:gd name="connsiteX20" fmla="*/ 550069 w 735806"/>
              <a:gd name="connsiteY20" fmla="*/ 566738 h 614362"/>
              <a:gd name="connsiteX21" fmla="*/ 557212 w 735806"/>
              <a:gd name="connsiteY21" fmla="*/ 547688 h 614362"/>
              <a:gd name="connsiteX22" fmla="*/ 557212 w 735806"/>
              <a:gd name="connsiteY22" fmla="*/ 535781 h 614362"/>
              <a:gd name="connsiteX23" fmla="*/ 531019 w 735806"/>
              <a:gd name="connsiteY23" fmla="*/ 511969 h 614362"/>
              <a:gd name="connsiteX24" fmla="*/ 514350 w 735806"/>
              <a:gd name="connsiteY24" fmla="*/ 421481 h 614362"/>
              <a:gd name="connsiteX25" fmla="*/ 514350 w 735806"/>
              <a:gd name="connsiteY25" fmla="*/ 421481 h 614362"/>
              <a:gd name="connsiteX26" fmla="*/ 464344 w 735806"/>
              <a:gd name="connsiteY26" fmla="*/ 445294 h 614362"/>
              <a:gd name="connsiteX27" fmla="*/ 438150 w 735806"/>
              <a:gd name="connsiteY27" fmla="*/ 431006 h 614362"/>
              <a:gd name="connsiteX28" fmla="*/ 426244 w 735806"/>
              <a:gd name="connsiteY28" fmla="*/ 385763 h 614362"/>
              <a:gd name="connsiteX29" fmla="*/ 411956 w 735806"/>
              <a:gd name="connsiteY29" fmla="*/ 381000 h 614362"/>
              <a:gd name="connsiteX30" fmla="*/ 388144 w 735806"/>
              <a:gd name="connsiteY30" fmla="*/ 350044 h 614362"/>
              <a:gd name="connsiteX31" fmla="*/ 409575 w 735806"/>
              <a:gd name="connsiteY31" fmla="*/ 314325 h 614362"/>
              <a:gd name="connsiteX32" fmla="*/ 507206 w 735806"/>
              <a:gd name="connsiteY32" fmla="*/ 338138 h 614362"/>
              <a:gd name="connsiteX33" fmla="*/ 528637 w 735806"/>
              <a:gd name="connsiteY33" fmla="*/ 311944 h 614362"/>
              <a:gd name="connsiteX34" fmla="*/ 626269 w 735806"/>
              <a:gd name="connsiteY34" fmla="*/ 290513 h 614362"/>
              <a:gd name="connsiteX35" fmla="*/ 631031 w 735806"/>
              <a:gd name="connsiteY35" fmla="*/ 240506 h 614362"/>
              <a:gd name="connsiteX36" fmla="*/ 714375 w 735806"/>
              <a:gd name="connsiteY36" fmla="*/ 166688 h 614362"/>
              <a:gd name="connsiteX37" fmla="*/ 735806 w 735806"/>
              <a:gd name="connsiteY37" fmla="*/ 71438 h 614362"/>
              <a:gd name="connsiteX38" fmla="*/ 707231 w 735806"/>
              <a:gd name="connsiteY38" fmla="*/ 0 h 614362"/>
              <a:gd name="connsiteX39" fmla="*/ 614362 w 735806"/>
              <a:gd name="connsiteY39" fmla="*/ 47625 h 614362"/>
              <a:gd name="connsiteX40" fmla="*/ 614362 w 735806"/>
              <a:gd name="connsiteY40" fmla="*/ 66675 h 614362"/>
              <a:gd name="connsiteX41" fmla="*/ 597694 w 735806"/>
              <a:gd name="connsiteY41" fmla="*/ 135731 h 614362"/>
              <a:gd name="connsiteX42" fmla="*/ 566737 w 735806"/>
              <a:gd name="connsiteY42" fmla="*/ 130969 h 614362"/>
              <a:gd name="connsiteX43" fmla="*/ 514350 w 735806"/>
              <a:gd name="connsiteY43" fmla="*/ 164306 h 614362"/>
              <a:gd name="connsiteX44" fmla="*/ 433387 w 735806"/>
              <a:gd name="connsiteY44" fmla="*/ 123825 h 614362"/>
              <a:gd name="connsiteX45" fmla="*/ 402431 w 735806"/>
              <a:gd name="connsiteY45" fmla="*/ 128588 h 614362"/>
              <a:gd name="connsiteX46" fmla="*/ 359569 w 735806"/>
              <a:gd name="connsiteY46" fmla="*/ 154781 h 614362"/>
              <a:gd name="connsiteX47" fmla="*/ 307181 w 735806"/>
              <a:gd name="connsiteY47" fmla="*/ 154781 h 614362"/>
              <a:gd name="connsiteX48" fmla="*/ 280987 w 735806"/>
              <a:gd name="connsiteY48" fmla="*/ 188119 h 614362"/>
              <a:gd name="connsiteX49" fmla="*/ 209550 w 735806"/>
              <a:gd name="connsiteY49" fmla="*/ 171450 h 614362"/>
              <a:gd name="connsiteX50" fmla="*/ 154781 w 735806"/>
              <a:gd name="connsiteY50" fmla="*/ 197644 h 614362"/>
              <a:gd name="connsiteX51" fmla="*/ 126206 w 735806"/>
              <a:gd name="connsiteY51" fmla="*/ 176213 h 614362"/>
              <a:gd name="connsiteX52" fmla="*/ 111919 w 735806"/>
              <a:gd name="connsiteY52" fmla="*/ 176213 h 614362"/>
              <a:gd name="connsiteX53" fmla="*/ 107156 w 735806"/>
              <a:gd name="connsiteY53" fmla="*/ 164306 h 614362"/>
              <a:gd name="connsiteX54" fmla="*/ 9525 w 735806"/>
              <a:gd name="connsiteY54" fmla="*/ 159544 h 614362"/>
              <a:gd name="connsiteX55" fmla="*/ 0 w 735806"/>
              <a:gd name="connsiteY55" fmla="*/ 190500 h 614362"/>
              <a:gd name="connsiteX56" fmla="*/ 2381 w 735806"/>
              <a:gd name="connsiteY56" fmla="*/ 261938 h 614362"/>
              <a:gd name="connsiteX57" fmla="*/ 30956 w 735806"/>
              <a:gd name="connsiteY57" fmla="*/ 278606 h 614362"/>
              <a:gd name="connsiteX58" fmla="*/ 47625 w 735806"/>
              <a:gd name="connsiteY58" fmla="*/ 285750 h 614362"/>
              <a:gd name="connsiteX59" fmla="*/ 69056 w 735806"/>
              <a:gd name="connsiteY59" fmla="*/ 292894 h 614362"/>
              <a:gd name="connsiteX60" fmla="*/ 80962 w 735806"/>
              <a:gd name="connsiteY60" fmla="*/ 319088 h 614362"/>
              <a:gd name="connsiteX61" fmla="*/ 109537 w 735806"/>
              <a:gd name="connsiteY61" fmla="*/ 340519 h 614362"/>
              <a:gd name="connsiteX62" fmla="*/ 111919 w 735806"/>
              <a:gd name="connsiteY62" fmla="*/ 390525 h 614362"/>
              <a:gd name="connsiteX63" fmla="*/ 128587 w 735806"/>
              <a:gd name="connsiteY63" fmla="*/ 428625 h 614362"/>
              <a:gd name="connsiteX64" fmla="*/ 104775 w 735806"/>
              <a:gd name="connsiteY64" fmla="*/ 445294 h 614362"/>
              <a:gd name="connsiteX65" fmla="*/ 123825 w 735806"/>
              <a:gd name="connsiteY65" fmla="*/ 504825 h 614362"/>
              <a:gd name="connsiteX0" fmla="*/ 123825 w 735806"/>
              <a:gd name="connsiteY0" fmla="*/ 504825 h 614362"/>
              <a:gd name="connsiteX1" fmla="*/ 207169 w 735806"/>
              <a:gd name="connsiteY1" fmla="*/ 528638 h 614362"/>
              <a:gd name="connsiteX2" fmla="*/ 235744 w 735806"/>
              <a:gd name="connsiteY2" fmla="*/ 535781 h 614362"/>
              <a:gd name="connsiteX3" fmla="*/ 257175 w 735806"/>
              <a:gd name="connsiteY3" fmla="*/ 531019 h 614362"/>
              <a:gd name="connsiteX4" fmla="*/ 259556 w 735806"/>
              <a:gd name="connsiteY4" fmla="*/ 547688 h 614362"/>
              <a:gd name="connsiteX5" fmla="*/ 259556 w 735806"/>
              <a:gd name="connsiteY5" fmla="*/ 592932 h 614362"/>
              <a:gd name="connsiteX6" fmla="*/ 276225 w 735806"/>
              <a:gd name="connsiteY6" fmla="*/ 611981 h 614362"/>
              <a:gd name="connsiteX7" fmla="*/ 276225 w 735806"/>
              <a:gd name="connsiteY7" fmla="*/ 611981 h 614362"/>
              <a:gd name="connsiteX8" fmla="*/ 311944 w 735806"/>
              <a:gd name="connsiteY8" fmla="*/ 614362 h 614362"/>
              <a:gd name="connsiteX9" fmla="*/ 323850 w 735806"/>
              <a:gd name="connsiteY9" fmla="*/ 566738 h 614362"/>
              <a:gd name="connsiteX10" fmla="*/ 340519 w 735806"/>
              <a:gd name="connsiteY10" fmla="*/ 561975 h 614362"/>
              <a:gd name="connsiteX11" fmla="*/ 364331 w 735806"/>
              <a:gd name="connsiteY11" fmla="*/ 585788 h 614362"/>
              <a:gd name="connsiteX12" fmla="*/ 381000 w 735806"/>
              <a:gd name="connsiteY12" fmla="*/ 600075 h 614362"/>
              <a:gd name="connsiteX13" fmla="*/ 400050 w 735806"/>
              <a:gd name="connsiteY13" fmla="*/ 607219 h 614362"/>
              <a:gd name="connsiteX14" fmla="*/ 426244 w 735806"/>
              <a:gd name="connsiteY14" fmla="*/ 573881 h 614362"/>
              <a:gd name="connsiteX15" fmla="*/ 433387 w 735806"/>
              <a:gd name="connsiteY15" fmla="*/ 533400 h 614362"/>
              <a:gd name="connsiteX16" fmla="*/ 447675 w 735806"/>
              <a:gd name="connsiteY16" fmla="*/ 504825 h 614362"/>
              <a:gd name="connsiteX17" fmla="*/ 473869 w 735806"/>
              <a:gd name="connsiteY17" fmla="*/ 542925 h 614362"/>
              <a:gd name="connsiteX18" fmla="*/ 495300 w 735806"/>
              <a:gd name="connsiteY18" fmla="*/ 561975 h 614362"/>
              <a:gd name="connsiteX19" fmla="*/ 516731 w 735806"/>
              <a:gd name="connsiteY19" fmla="*/ 578644 h 614362"/>
              <a:gd name="connsiteX20" fmla="*/ 550069 w 735806"/>
              <a:gd name="connsiteY20" fmla="*/ 566738 h 614362"/>
              <a:gd name="connsiteX21" fmla="*/ 557212 w 735806"/>
              <a:gd name="connsiteY21" fmla="*/ 547688 h 614362"/>
              <a:gd name="connsiteX22" fmla="*/ 557212 w 735806"/>
              <a:gd name="connsiteY22" fmla="*/ 535781 h 614362"/>
              <a:gd name="connsiteX23" fmla="*/ 531019 w 735806"/>
              <a:gd name="connsiteY23" fmla="*/ 511969 h 614362"/>
              <a:gd name="connsiteX24" fmla="*/ 514350 w 735806"/>
              <a:gd name="connsiteY24" fmla="*/ 421481 h 614362"/>
              <a:gd name="connsiteX25" fmla="*/ 514350 w 735806"/>
              <a:gd name="connsiteY25" fmla="*/ 421481 h 614362"/>
              <a:gd name="connsiteX26" fmla="*/ 464344 w 735806"/>
              <a:gd name="connsiteY26" fmla="*/ 445294 h 614362"/>
              <a:gd name="connsiteX27" fmla="*/ 438150 w 735806"/>
              <a:gd name="connsiteY27" fmla="*/ 431006 h 614362"/>
              <a:gd name="connsiteX28" fmla="*/ 426244 w 735806"/>
              <a:gd name="connsiteY28" fmla="*/ 385763 h 614362"/>
              <a:gd name="connsiteX29" fmla="*/ 411956 w 735806"/>
              <a:gd name="connsiteY29" fmla="*/ 381000 h 614362"/>
              <a:gd name="connsiteX30" fmla="*/ 388144 w 735806"/>
              <a:gd name="connsiteY30" fmla="*/ 350044 h 614362"/>
              <a:gd name="connsiteX31" fmla="*/ 409575 w 735806"/>
              <a:gd name="connsiteY31" fmla="*/ 314325 h 614362"/>
              <a:gd name="connsiteX32" fmla="*/ 507206 w 735806"/>
              <a:gd name="connsiteY32" fmla="*/ 338138 h 614362"/>
              <a:gd name="connsiteX33" fmla="*/ 528637 w 735806"/>
              <a:gd name="connsiteY33" fmla="*/ 311944 h 614362"/>
              <a:gd name="connsiteX34" fmla="*/ 626269 w 735806"/>
              <a:gd name="connsiteY34" fmla="*/ 290513 h 614362"/>
              <a:gd name="connsiteX35" fmla="*/ 631031 w 735806"/>
              <a:gd name="connsiteY35" fmla="*/ 240506 h 614362"/>
              <a:gd name="connsiteX36" fmla="*/ 714375 w 735806"/>
              <a:gd name="connsiteY36" fmla="*/ 166688 h 614362"/>
              <a:gd name="connsiteX37" fmla="*/ 735806 w 735806"/>
              <a:gd name="connsiteY37" fmla="*/ 71438 h 614362"/>
              <a:gd name="connsiteX38" fmla="*/ 707231 w 735806"/>
              <a:gd name="connsiteY38" fmla="*/ 0 h 614362"/>
              <a:gd name="connsiteX39" fmla="*/ 614362 w 735806"/>
              <a:gd name="connsiteY39" fmla="*/ 47625 h 614362"/>
              <a:gd name="connsiteX40" fmla="*/ 614362 w 735806"/>
              <a:gd name="connsiteY40" fmla="*/ 66675 h 614362"/>
              <a:gd name="connsiteX41" fmla="*/ 597694 w 735806"/>
              <a:gd name="connsiteY41" fmla="*/ 135731 h 614362"/>
              <a:gd name="connsiteX42" fmla="*/ 566737 w 735806"/>
              <a:gd name="connsiteY42" fmla="*/ 130969 h 614362"/>
              <a:gd name="connsiteX43" fmla="*/ 514350 w 735806"/>
              <a:gd name="connsiteY43" fmla="*/ 164306 h 614362"/>
              <a:gd name="connsiteX44" fmla="*/ 433387 w 735806"/>
              <a:gd name="connsiteY44" fmla="*/ 123825 h 614362"/>
              <a:gd name="connsiteX45" fmla="*/ 402431 w 735806"/>
              <a:gd name="connsiteY45" fmla="*/ 128588 h 614362"/>
              <a:gd name="connsiteX46" fmla="*/ 359569 w 735806"/>
              <a:gd name="connsiteY46" fmla="*/ 154781 h 614362"/>
              <a:gd name="connsiteX47" fmla="*/ 307181 w 735806"/>
              <a:gd name="connsiteY47" fmla="*/ 154781 h 614362"/>
              <a:gd name="connsiteX48" fmla="*/ 280987 w 735806"/>
              <a:gd name="connsiteY48" fmla="*/ 188119 h 614362"/>
              <a:gd name="connsiteX49" fmla="*/ 209550 w 735806"/>
              <a:gd name="connsiteY49" fmla="*/ 171450 h 614362"/>
              <a:gd name="connsiteX50" fmla="*/ 154781 w 735806"/>
              <a:gd name="connsiteY50" fmla="*/ 197644 h 614362"/>
              <a:gd name="connsiteX51" fmla="*/ 126206 w 735806"/>
              <a:gd name="connsiteY51" fmla="*/ 176213 h 614362"/>
              <a:gd name="connsiteX52" fmla="*/ 111919 w 735806"/>
              <a:gd name="connsiteY52" fmla="*/ 176213 h 614362"/>
              <a:gd name="connsiteX53" fmla="*/ 107156 w 735806"/>
              <a:gd name="connsiteY53" fmla="*/ 164306 h 614362"/>
              <a:gd name="connsiteX54" fmla="*/ 9525 w 735806"/>
              <a:gd name="connsiteY54" fmla="*/ 159544 h 614362"/>
              <a:gd name="connsiteX55" fmla="*/ 0 w 735806"/>
              <a:gd name="connsiteY55" fmla="*/ 190500 h 614362"/>
              <a:gd name="connsiteX56" fmla="*/ 2381 w 735806"/>
              <a:gd name="connsiteY56" fmla="*/ 261938 h 614362"/>
              <a:gd name="connsiteX57" fmla="*/ 30956 w 735806"/>
              <a:gd name="connsiteY57" fmla="*/ 278606 h 614362"/>
              <a:gd name="connsiteX58" fmla="*/ 47625 w 735806"/>
              <a:gd name="connsiteY58" fmla="*/ 285750 h 614362"/>
              <a:gd name="connsiteX59" fmla="*/ 69056 w 735806"/>
              <a:gd name="connsiteY59" fmla="*/ 292894 h 614362"/>
              <a:gd name="connsiteX60" fmla="*/ 80962 w 735806"/>
              <a:gd name="connsiteY60" fmla="*/ 319088 h 614362"/>
              <a:gd name="connsiteX61" fmla="*/ 109537 w 735806"/>
              <a:gd name="connsiteY61" fmla="*/ 340519 h 614362"/>
              <a:gd name="connsiteX62" fmla="*/ 111919 w 735806"/>
              <a:gd name="connsiteY62" fmla="*/ 390525 h 614362"/>
              <a:gd name="connsiteX63" fmla="*/ 128587 w 735806"/>
              <a:gd name="connsiteY63" fmla="*/ 428625 h 614362"/>
              <a:gd name="connsiteX64" fmla="*/ 104775 w 735806"/>
              <a:gd name="connsiteY64" fmla="*/ 445294 h 614362"/>
              <a:gd name="connsiteX65" fmla="*/ 123825 w 735806"/>
              <a:gd name="connsiteY65" fmla="*/ 504825 h 614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735806" h="614362">
                <a:moveTo>
                  <a:pt x="123825" y="504825"/>
                </a:moveTo>
                <a:lnTo>
                  <a:pt x="207169" y="528638"/>
                </a:lnTo>
                <a:lnTo>
                  <a:pt x="235744" y="535781"/>
                </a:lnTo>
                <a:lnTo>
                  <a:pt x="257175" y="531019"/>
                </a:lnTo>
                <a:lnTo>
                  <a:pt x="259556" y="547688"/>
                </a:lnTo>
                <a:lnTo>
                  <a:pt x="259556" y="592932"/>
                </a:lnTo>
                <a:lnTo>
                  <a:pt x="276225" y="611981"/>
                </a:lnTo>
                <a:lnTo>
                  <a:pt x="276225" y="611981"/>
                </a:lnTo>
                <a:lnTo>
                  <a:pt x="311944" y="614362"/>
                </a:lnTo>
                <a:lnTo>
                  <a:pt x="323850" y="566738"/>
                </a:lnTo>
                <a:lnTo>
                  <a:pt x="340519" y="561975"/>
                </a:lnTo>
                <a:lnTo>
                  <a:pt x="364331" y="585788"/>
                </a:lnTo>
                <a:lnTo>
                  <a:pt x="381000" y="600075"/>
                </a:lnTo>
                <a:lnTo>
                  <a:pt x="400050" y="607219"/>
                </a:lnTo>
                <a:lnTo>
                  <a:pt x="426244" y="573881"/>
                </a:lnTo>
                <a:lnTo>
                  <a:pt x="433387" y="533400"/>
                </a:lnTo>
                <a:lnTo>
                  <a:pt x="447675" y="504825"/>
                </a:lnTo>
                <a:lnTo>
                  <a:pt x="473869" y="542925"/>
                </a:lnTo>
                <a:lnTo>
                  <a:pt x="495300" y="561975"/>
                </a:lnTo>
                <a:lnTo>
                  <a:pt x="516731" y="578644"/>
                </a:lnTo>
                <a:lnTo>
                  <a:pt x="550069" y="566738"/>
                </a:lnTo>
                <a:lnTo>
                  <a:pt x="557212" y="547688"/>
                </a:lnTo>
                <a:lnTo>
                  <a:pt x="557212" y="535781"/>
                </a:lnTo>
                <a:lnTo>
                  <a:pt x="531019" y="511969"/>
                </a:lnTo>
                <a:lnTo>
                  <a:pt x="514350" y="421481"/>
                </a:lnTo>
                <a:lnTo>
                  <a:pt x="514350" y="421481"/>
                </a:lnTo>
                <a:lnTo>
                  <a:pt x="464344" y="445294"/>
                </a:lnTo>
                <a:lnTo>
                  <a:pt x="438150" y="431006"/>
                </a:lnTo>
                <a:lnTo>
                  <a:pt x="426244" y="385763"/>
                </a:lnTo>
                <a:lnTo>
                  <a:pt x="411956" y="381000"/>
                </a:lnTo>
                <a:lnTo>
                  <a:pt x="388144" y="350044"/>
                </a:lnTo>
                <a:lnTo>
                  <a:pt x="409575" y="314325"/>
                </a:lnTo>
                <a:lnTo>
                  <a:pt x="507206" y="338138"/>
                </a:lnTo>
                <a:lnTo>
                  <a:pt x="528637" y="311944"/>
                </a:lnTo>
                <a:lnTo>
                  <a:pt x="626269" y="290513"/>
                </a:lnTo>
                <a:lnTo>
                  <a:pt x="631031" y="240506"/>
                </a:lnTo>
                <a:lnTo>
                  <a:pt x="714375" y="166688"/>
                </a:lnTo>
                <a:lnTo>
                  <a:pt x="735806" y="71438"/>
                </a:lnTo>
                <a:lnTo>
                  <a:pt x="707231" y="0"/>
                </a:lnTo>
                <a:lnTo>
                  <a:pt x="614362" y="47625"/>
                </a:lnTo>
                <a:lnTo>
                  <a:pt x="614362" y="66675"/>
                </a:lnTo>
                <a:lnTo>
                  <a:pt x="597694" y="135731"/>
                </a:lnTo>
                <a:lnTo>
                  <a:pt x="566737" y="130969"/>
                </a:lnTo>
                <a:lnTo>
                  <a:pt x="514350" y="164306"/>
                </a:lnTo>
                <a:lnTo>
                  <a:pt x="433387" y="123825"/>
                </a:lnTo>
                <a:lnTo>
                  <a:pt x="402431" y="128588"/>
                </a:lnTo>
                <a:lnTo>
                  <a:pt x="359569" y="154781"/>
                </a:lnTo>
                <a:lnTo>
                  <a:pt x="307181" y="154781"/>
                </a:lnTo>
                <a:lnTo>
                  <a:pt x="280987" y="188119"/>
                </a:lnTo>
                <a:lnTo>
                  <a:pt x="209550" y="171450"/>
                </a:lnTo>
                <a:lnTo>
                  <a:pt x="154781" y="197644"/>
                </a:lnTo>
                <a:lnTo>
                  <a:pt x="126206" y="176213"/>
                </a:lnTo>
                <a:lnTo>
                  <a:pt x="111919" y="176213"/>
                </a:lnTo>
                <a:lnTo>
                  <a:pt x="107156" y="164306"/>
                </a:lnTo>
                <a:lnTo>
                  <a:pt x="9525" y="159544"/>
                </a:lnTo>
                <a:lnTo>
                  <a:pt x="0" y="190500"/>
                </a:lnTo>
                <a:cubicBezTo>
                  <a:pt x="794" y="214313"/>
                  <a:pt x="1587" y="238125"/>
                  <a:pt x="2381" y="261938"/>
                </a:cubicBezTo>
                <a:lnTo>
                  <a:pt x="30956" y="278606"/>
                </a:lnTo>
                <a:lnTo>
                  <a:pt x="47625" y="285750"/>
                </a:lnTo>
                <a:lnTo>
                  <a:pt x="69056" y="292894"/>
                </a:lnTo>
                <a:lnTo>
                  <a:pt x="80962" y="319088"/>
                </a:lnTo>
                <a:lnTo>
                  <a:pt x="109537" y="340519"/>
                </a:lnTo>
                <a:lnTo>
                  <a:pt x="111919" y="390525"/>
                </a:lnTo>
                <a:lnTo>
                  <a:pt x="128587" y="428625"/>
                </a:lnTo>
                <a:lnTo>
                  <a:pt x="104775" y="445294"/>
                </a:lnTo>
                <a:lnTo>
                  <a:pt x="123825" y="504825"/>
                </a:lnTo>
                <a:close/>
              </a:path>
            </a:pathLst>
          </a:custGeom>
          <a:solidFill>
            <a:srgbClr val="FF00FF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4706938" y="3128436"/>
            <a:ext cx="207962" cy="296333"/>
          </a:xfrm>
          <a:custGeom>
            <a:avLst/>
            <a:gdLst>
              <a:gd name="connsiteX0" fmla="*/ 195262 w 207168"/>
              <a:gd name="connsiteY0" fmla="*/ 0 h 295275"/>
              <a:gd name="connsiteX1" fmla="*/ 64293 w 207168"/>
              <a:gd name="connsiteY1" fmla="*/ 45244 h 295275"/>
              <a:gd name="connsiteX2" fmla="*/ 9525 w 207168"/>
              <a:gd name="connsiteY2" fmla="*/ 90488 h 295275"/>
              <a:gd name="connsiteX3" fmla="*/ 2381 w 207168"/>
              <a:gd name="connsiteY3" fmla="*/ 152400 h 295275"/>
              <a:gd name="connsiteX4" fmla="*/ 0 w 207168"/>
              <a:gd name="connsiteY4" fmla="*/ 197644 h 295275"/>
              <a:gd name="connsiteX5" fmla="*/ 7143 w 207168"/>
              <a:gd name="connsiteY5" fmla="*/ 204788 h 295275"/>
              <a:gd name="connsiteX6" fmla="*/ 4762 w 207168"/>
              <a:gd name="connsiteY6" fmla="*/ 228600 h 295275"/>
              <a:gd name="connsiteX7" fmla="*/ 30956 w 207168"/>
              <a:gd name="connsiteY7" fmla="*/ 252413 h 295275"/>
              <a:gd name="connsiteX8" fmla="*/ 52387 w 207168"/>
              <a:gd name="connsiteY8" fmla="*/ 295275 h 295275"/>
              <a:gd name="connsiteX9" fmla="*/ 69056 w 207168"/>
              <a:gd name="connsiteY9" fmla="*/ 288131 h 295275"/>
              <a:gd name="connsiteX10" fmla="*/ 69056 w 207168"/>
              <a:gd name="connsiteY10" fmla="*/ 259556 h 295275"/>
              <a:gd name="connsiteX11" fmla="*/ 88106 w 207168"/>
              <a:gd name="connsiteY11" fmla="*/ 233363 h 295275"/>
              <a:gd name="connsiteX12" fmla="*/ 104775 w 207168"/>
              <a:gd name="connsiteY12" fmla="*/ 228600 h 295275"/>
              <a:gd name="connsiteX13" fmla="*/ 176212 w 207168"/>
              <a:gd name="connsiteY13" fmla="*/ 161925 h 295275"/>
              <a:gd name="connsiteX14" fmla="*/ 180975 w 207168"/>
              <a:gd name="connsiteY14" fmla="*/ 128588 h 295275"/>
              <a:gd name="connsiteX15" fmla="*/ 185737 w 207168"/>
              <a:gd name="connsiteY15" fmla="*/ 97631 h 295275"/>
              <a:gd name="connsiteX16" fmla="*/ 185737 w 207168"/>
              <a:gd name="connsiteY16" fmla="*/ 88106 h 295275"/>
              <a:gd name="connsiteX17" fmla="*/ 207168 w 207168"/>
              <a:gd name="connsiteY17" fmla="*/ 59531 h 295275"/>
              <a:gd name="connsiteX18" fmla="*/ 195262 w 207168"/>
              <a:gd name="connsiteY18" fmla="*/ 0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07168" h="295275">
                <a:moveTo>
                  <a:pt x="195262" y="0"/>
                </a:moveTo>
                <a:lnTo>
                  <a:pt x="64293" y="45244"/>
                </a:lnTo>
                <a:lnTo>
                  <a:pt x="9525" y="90488"/>
                </a:lnTo>
                <a:lnTo>
                  <a:pt x="2381" y="152400"/>
                </a:lnTo>
                <a:lnTo>
                  <a:pt x="0" y="197644"/>
                </a:lnTo>
                <a:lnTo>
                  <a:pt x="7143" y="204788"/>
                </a:lnTo>
                <a:lnTo>
                  <a:pt x="4762" y="228600"/>
                </a:lnTo>
                <a:lnTo>
                  <a:pt x="30956" y="252413"/>
                </a:lnTo>
                <a:lnTo>
                  <a:pt x="52387" y="295275"/>
                </a:lnTo>
                <a:lnTo>
                  <a:pt x="69056" y="288131"/>
                </a:lnTo>
                <a:lnTo>
                  <a:pt x="69056" y="259556"/>
                </a:lnTo>
                <a:lnTo>
                  <a:pt x="88106" y="233363"/>
                </a:lnTo>
                <a:lnTo>
                  <a:pt x="104775" y="228600"/>
                </a:lnTo>
                <a:lnTo>
                  <a:pt x="176212" y="161925"/>
                </a:lnTo>
                <a:lnTo>
                  <a:pt x="180975" y="128588"/>
                </a:lnTo>
                <a:lnTo>
                  <a:pt x="185737" y="97631"/>
                </a:lnTo>
                <a:lnTo>
                  <a:pt x="185737" y="88106"/>
                </a:lnTo>
                <a:lnTo>
                  <a:pt x="207168" y="59531"/>
                </a:lnTo>
                <a:lnTo>
                  <a:pt x="195262" y="0"/>
                </a:lnTo>
                <a:close/>
              </a:path>
            </a:pathLst>
          </a:custGeom>
          <a:solidFill>
            <a:srgbClr val="00B05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4878394" y="3113621"/>
            <a:ext cx="217487" cy="414867"/>
          </a:xfrm>
          <a:custGeom>
            <a:avLst/>
            <a:gdLst>
              <a:gd name="connsiteX0" fmla="*/ 0 w 216693"/>
              <a:gd name="connsiteY0" fmla="*/ 183356 h 411956"/>
              <a:gd name="connsiteX1" fmla="*/ 40481 w 216693"/>
              <a:gd name="connsiteY1" fmla="*/ 254793 h 411956"/>
              <a:gd name="connsiteX2" fmla="*/ 59531 w 216693"/>
              <a:gd name="connsiteY2" fmla="*/ 276225 h 411956"/>
              <a:gd name="connsiteX3" fmla="*/ 71437 w 216693"/>
              <a:gd name="connsiteY3" fmla="*/ 309562 h 411956"/>
              <a:gd name="connsiteX4" fmla="*/ 73818 w 216693"/>
              <a:gd name="connsiteY4" fmla="*/ 342900 h 411956"/>
              <a:gd name="connsiteX5" fmla="*/ 111918 w 216693"/>
              <a:gd name="connsiteY5" fmla="*/ 392906 h 411956"/>
              <a:gd name="connsiteX6" fmla="*/ 130968 w 216693"/>
              <a:gd name="connsiteY6" fmla="*/ 388143 h 411956"/>
              <a:gd name="connsiteX7" fmla="*/ 157162 w 216693"/>
              <a:gd name="connsiteY7" fmla="*/ 411956 h 411956"/>
              <a:gd name="connsiteX8" fmla="*/ 192881 w 216693"/>
              <a:gd name="connsiteY8" fmla="*/ 402431 h 411956"/>
              <a:gd name="connsiteX9" fmla="*/ 185737 w 216693"/>
              <a:gd name="connsiteY9" fmla="*/ 309562 h 411956"/>
              <a:gd name="connsiteX10" fmla="*/ 216693 w 216693"/>
              <a:gd name="connsiteY10" fmla="*/ 257175 h 411956"/>
              <a:gd name="connsiteX11" fmla="*/ 216693 w 216693"/>
              <a:gd name="connsiteY11" fmla="*/ 128587 h 411956"/>
              <a:gd name="connsiteX12" fmla="*/ 211931 w 216693"/>
              <a:gd name="connsiteY12" fmla="*/ 80962 h 411956"/>
              <a:gd name="connsiteX13" fmla="*/ 142875 w 216693"/>
              <a:gd name="connsiteY13" fmla="*/ 28575 h 411956"/>
              <a:gd name="connsiteX14" fmla="*/ 116681 w 216693"/>
              <a:gd name="connsiteY14" fmla="*/ 7143 h 411956"/>
              <a:gd name="connsiteX15" fmla="*/ 78581 w 216693"/>
              <a:gd name="connsiteY15" fmla="*/ 4762 h 411956"/>
              <a:gd name="connsiteX16" fmla="*/ 42862 w 216693"/>
              <a:gd name="connsiteY16" fmla="*/ 0 h 411956"/>
              <a:gd name="connsiteX17" fmla="*/ 35718 w 216693"/>
              <a:gd name="connsiteY17" fmla="*/ 19050 h 411956"/>
              <a:gd name="connsiteX18" fmla="*/ 35718 w 216693"/>
              <a:gd name="connsiteY18" fmla="*/ 19050 h 411956"/>
              <a:gd name="connsiteX19" fmla="*/ 38100 w 216693"/>
              <a:gd name="connsiteY19" fmla="*/ 88106 h 411956"/>
              <a:gd name="connsiteX20" fmla="*/ 11906 w 216693"/>
              <a:gd name="connsiteY20" fmla="*/ 114300 h 411956"/>
              <a:gd name="connsiteX21" fmla="*/ 0 w 216693"/>
              <a:gd name="connsiteY21" fmla="*/ 183356 h 411956"/>
              <a:gd name="connsiteX0" fmla="*/ 0 w 216693"/>
              <a:gd name="connsiteY0" fmla="*/ 183356 h 411956"/>
              <a:gd name="connsiteX1" fmla="*/ 40481 w 216693"/>
              <a:gd name="connsiteY1" fmla="*/ 254793 h 411956"/>
              <a:gd name="connsiteX2" fmla="*/ 59531 w 216693"/>
              <a:gd name="connsiteY2" fmla="*/ 276225 h 411956"/>
              <a:gd name="connsiteX3" fmla="*/ 71437 w 216693"/>
              <a:gd name="connsiteY3" fmla="*/ 309562 h 411956"/>
              <a:gd name="connsiteX4" fmla="*/ 73818 w 216693"/>
              <a:gd name="connsiteY4" fmla="*/ 342900 h 411956"/>
              <a:gd name="connsiteX5" fmla="*/ 111918 w 216693"/>
              <a:gd name="connsiteY5" fmla="*/ 392906 h 411956"/>
              <a:gd name="connsiteX6" fmla="*/ 130968 w 216693"/>
              <a:gd name="connsiteY6" fmla="*/ 388143 h 411956"/>
              <a:gd name="connsiteX7" fmla="*/ 157162 w 216693"/>
              <a:gd name="connsiteY7" fmla="*/ 411956 h 411956"/>
              <a:gd name="connsiteX8" fmla="*/ 192881 w 216693"/>
              <a:gd name="connsiteY8" fmla="*/ 402431 h 411956"/>
              <a:gd name="connsiteX9" fmla="*/ 185737 w 216693"/>
              <a:gd name="connsiteY9" fmla="*/ 309562 h 411956"/>
              <a:gd name="connsiteX10" fmla="*/ 216693 w 216693"/>
              <a:gd name="connsiteY10" fmla="*/ 257175 h 411956"/>
              <a:gd name="connsiteX11" fmla="*/ 216693 w 216693"/>
              <a:gd name="connsiteY11" fmla="*/ 128587 h 411956"/>
              <a:gd name="connsiteX12" fmla="*/ 211931 w 216693"/>
              <a:gd name="connsiteY12" fmla="*/ 80962 h 411956"/>
              <a:gd name="connsiteX13" fmla="*/ 142875 w 216693"/>
              <a:gd name="connsiteY13" fmla="*/ 28575 h 411956"/>
              <a:gd name="connsiteX14" fmla="*/ 116681 w 216693"/>
              <a:gd name="connsiteY14" fmla="*/ 7143 h 411956"/>
              <a:gd name="connsiteX15" fmla="*/ 78581 w 216693"/>
              <a:gd name="connsiteY15" fmla="*/ 4762 h 411956"/>
              <a:gd name="connsiteX16" fmla="*/ 42862 w 216693"/>
              <a:gd name="connsiteY16" fmla="*/ 0 h 411956"/>
              <a:gd name="connsiteX17" fmla="*/ 35718 w 216693"/>
              <a:gd name="connsiteY17" fmla="*/ 19050 h 411956"/>
              <a:gd name="connsiteX18" fmla="*/ 26193 w 216693"/>
              <a:gd name="connsiteY18" fmla="*/ 26194 h 411956"/>
              <a:gd name="connsiteX19" fmla="*/ 38100 w 216693"/>
              <a:gd name="connsiteY19" fmla="*/ 88106 h 411956"/>
              <a:gd name="connsiteX20" fmla="*/ 11906 w 216693"/>
              <a:gd name="connsiteY20" fmla="*/ 114300 h 411956"/>
              <a:gd name="connsiteX21" fmla="*/ 0 w 216693"/>
              <a:gd name="connsiteY21" fmla="*/ 183356 h 411956"/>
              <a:gd name="connsiteX0" fmla="*/ 0 w 216693"/>
              <a:gd name="connsiteY0" fmla="*/ 185737 h 414337"/>
              <a:gd name="connsiteX1" fmla="*/ 40481 w 216693"/>
              <a:gd name="connsiteY1" fmla="*/ 257174 h 414337"/>
              <a:gd name="connsiteX2" fmla="*/ 59531 w 216693"/>
              <a:gd name="connsiteY2" fmla="*/ 278606 h 414337"/>
              <a:gd name="connsiteX3" fmla="*/ 71437 w 216693"/>
              <a:gd name="connsiteY3" fmla="*/ 311943 h 414337"/>
              <a:gd name="connsiteX4" fmla="*/ 73818 w 216693"/>
              <a:gd name="connsiteY4" fmla="*/ 345281 h 414337"/>
              <a:gd name="connsiteX5" fmla="*/ 111918 w 216693"/>
              <a:gd name="connsiteY5" fmla="*/ 395287 h 414337"/>
              <a:gd name="connsiteX6" fmla="*/ 130968 w 216693"/>
              <a:gd name="connsiteY6" fmla="*/ 390524 h 414337"/>
              <a:gd name="connsiteX7" fmla="*/ 157162 w 216693"/>
              <a:gd name="connsiteY7" fmla="*/ 414337 h 414337"/>
              <a:gd name="connsiteX8" fmla="*/ 192881 w 216693"/>
              <a:gd name="connsiteY8" fmla="*/ 404812 h 414337"/>
              <a:gd name="connsiteX9" fmla="*/ 185737 w 216693"/>
              <a:gd name="connsiteY9" fmla="*/ 311943 h 414337"/>
              <a:gd name="connsiteX10" fmla="*/ 216693 w 216693"/>
              <a:gd name="connsiteY10" fmla="*/ 259556 h 414337"/>
              <a:gd name="connsiteX11" fmla="*/ 216693 w 216693"/>
              <a:gd name="connsiteY11" fmla="*/ 130968 h 414337"/>
              <a:gd name="connsiteX12" fmla="*/ 211931 w 216693"/>
              <a:gd name="connsiteY12" fmla="*/ 83343 h 414337"/>
              <a:gd name="connsiteX13" fmla="*/ 142875 w 216693"/>
              <a:gd name="connsiteY13" fmla="*/ 30956 h 414337"/>
              <a:gd name="connsiteX14" fmla="*/ 116681 w 216693"/>
              <a:gd name="connsiteY14" fmla="*/ 9524 h 414337"/>
              <a:gd name="connsiteX15" fmla="*/ 78581 w 216693"/>
              <a:gd name="connsiteY15" fmla="*/ 7143 h 414337"/>
              <a:gd name="connsiteX16" fmla="*/ 30956 w 216693"/>
              <a:gd name="connsiteY16" fmla="*/ 0 h 414337"/>
              <a:gd name="connsiteX17" fmla="*/ 35718 w 216693"/>
              <a:gd name="connsiteY17" fmla="*/ 21431 h 414337"/>
              <a:gd name="connsiteX18" fmla="*/ 26193 w 216693"/>
              <a:gd name="connsiteY18" fmla="*/ 28575 h 414337"/>
              <a:gd name="connsiteX19" fmla="*/ 38100 w 216693"/>
              <a:gd name="connsiteY19" fmla="*/ 90487 h 414337"/>
              <a:gd name="connsiteX20" fmla="*/ 11906 w 216693"/>
              <a:gd name="connsiteY20" fmla="*/ 116681 h 414337"/>
              <a:gd name="connsiteX21" fmla="*/ 0 w 216693"/>
              <a:gd name="connsiteY21" fmla="*/ 185737 h 414337"/>
              <a:gd name="connsiteX0" fmla="*/ 0 w 216693"/>
              <a:gd name="connsiteY0" fmla="*/ 185737 h 414337"/>
              <a:gd name="connsiteX1" fmla="*/ 40481 w 216693"/>
              <a:gd name="connsiteY1" fmla="*/ 257174 h 414337"/>
              <a:gd name="connsiteX2" fmla="*/ 59531 w 216693"/>
              <a:gd name="connsiteY2" fmla="*/ 278606 h 414337"/>
              <a:gd name="connsiteX3" fmla="*/ 71437 w 216693"/>
              <a:gd name="connsiteY3" fmla="*/ 311943 h 414337"/>
              <a:gd name="connsiteX4" fmla="*/ 73818 w 216693"/>
              <a:gd name="connsiteY4" fmla="*/ 345281 h 414337"/>
              <a:gd name="connsiteX5" fmla="*/ 111918 w 216693"/>
              <a:gd name="connsiteY5" fmla="*/ 395287 h 414337"/>
              <a:gd name="connsiteX6" fmla="*/ 130968 w 216693"/>
              <a:gd name="connsiteY6" fmla="*/ 390524 h 414337"/>
              <a:gd name="connsiteX7" fmla="*/ 157162 w 216693"/>
              <a:gd name="connsiteY7" fmla="*/ 414337 h 414337"/>
              <a:gd name="connsiteX8" fmla="*/ 192881 w 216693"/>
              <a:gd name="connsiteY8" fmla="*/ 404812 h 414337"/>
              <a:gd name="connsiteX9" fmla="*/ 185737 w 216693"/>
              <a:gd name="connsiteY9" fmla="*/ 311943 h 414337"/>
              <a:gd name="connsiteX10" fmla="*/ 216693 w 216693"/>
              <a:gd name="connsiteY10" fmla="*/ 259556 h 414337"/>
              <a:gd name="connsiteX11" fmla="*/ 216693 w 216693"/>
              <a:gd name="connsiteY11" fmla="*/ 130968 h 414337"/>
              <a:gd name="connsiteX12" fmla="*/ 211931 w 216693"/>
              <a:gd name="connsiteY12" fmla="*/ 83343 h 414337"/>
              <a:gd name="connsiteX13" fmla="*/ 142875 w 216693"/>
              <a:gd name="connsiteY13" fmla="*/ 30956 h 414337"/>
              <a:gd name="connsiteX14" fmla="*/ 116681 w 216693"/>
              <a:gd name="connsiteY14" fmla="*/ 9524 h 414337"/>
              <a:gd name="connsiteX15" fmla="*/ 78581 w 216693"/>
              <a:gd name="connsiteY15" fmla="*/ 7143 h 414337"/>
              <a:gd name="connsiteX16" fmla="*/ 30956 w 216693"/>
              <a:gd name="connsiteY16" fmla="*/ 0 h 414337"/>
              <a:gd name="connsiteX17" fmla="*/ 23812 w 216693"/>
              <a:gd name="connsiteY17" fmla="*/ 19050 h 414337"/>
              <a:gd name="connsiteX18" fmla="*/ 26193 w 216693"/>
              <a:gd name="connsiteY18" fmla="*/ 28575 h 414337"/>
              <a:gd name="connsiteX19" fmla="*/ 38100 w 216693"/>
              <a:gd name="connsiteY19" fmla="*/ 90487 h 414337"/>
              <a:gd name="connsiteX20" fmla="*/ 11906 w 216693"/>
              <a:gd name="connsiteY20" fmla="*/ 116681 h 414337"/>
              <a:gd name="connsiteX21" fmla="*/ 0 w 216693"/>
              <a:gd name="connsiteY21" fmla="*/ 185737 h 414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16693" h="414337">
                <a:moveTo>
                  <a:pt x="0" y="185737"/>
                </a:moveTo>
                <a:lnTo>
                  <a:pt x="40481" y="257174"/>
                </a:lnTo>
                <a:lnTo>
                  <a:pt x="59531" y="278606"/>
                </a:lnTo>
                <a:lnTo>
                  <a:pt x="71437" y="311943"/>
                </a:lnTo>
                <a:lnTo>
                  <a:pt x="73818" y="345281"/>
                </a:lnTo>
                <a:lnTo>
                  <a:pt x="111918" y="395287"/>
                </a:lnTo>
                <a:lnTo>
                  <a:pt x="130968" y="390524"/>
                </a:lnTo>
                <a:lnTo>
                  <a:pt x="157162" y="414337"/>
                </a:lnTo>
                <a:lnTo>
                  <a:pt x="192881" y="404812"/>
                </a:lnTo>
                <a:lnTo>
                  <a:pt x="185737" y="311943"/>
                </a:lnTo>
                <a:lnTo>
                  <a:pt x="216693" y="259556"/>
                </a:lnTo>
                <a:lnTo>
                  <a:pt x="216693" y="130968"/>
                </a:lnTo>
                <a:lnTo>
                  <a:pt x="211931" y="83343"/>
                </a:lnTo>
                <a:lnTo>
                  <a:pt x="142875" y="30956"/>
                </a:lnTo>
                <a:lnTo>
                  <a:pt x="116681" y="9524"/>
                </a:lnTo>
                <a:lnTo>
                  <a:pt x="78581" y="7143"/>
                </a:lnTo>
                <a:lnTo>
                  <a:pt x="30956" y="0"/>
                </a:lnTo>
                <a:cubicBezTo>
                  <a:pt x="28575" y="6350"/>
                  <a:pt x="24606" y="14288"/>
                  <a:pt x="23812" y="19050"/>
                </a:cubicBezTo>
                <a:cubicBezTo>
                  <a:pt x="23018" y="23812"/>
                  <a:pt x="23812" y="16669"/>
                  <a:pt x="26193" y="28575"/>
                </a:cubicBezTo>
                <a:cubicBezTo>
                  <a:pt x="28574" y="40481"/>
                  <a:pt x="34131" y="69850"/>
                  <a:pt x="38100" y="90487"/>
                </a:cubicBezTo>
                <a:lnTo>
                  <a:pt x="11906" y="116681"/>
                </a:lnTo>
                <a:cubicBezTo>
                  <a:pt x="11112" y="139700"/>
                  <a:pt x="10319" y="162718"/>
                  <a:pt x="0" y="185737"/>
                </a:cubicBezTo>
                <a:close/>
              </a:path>
            </a:pathLst>
          </a:custGeom>
          <a:solidFill>
            <a:srgbClr val="FF66FF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4391025" y="2385484"/>
            <a:ext cx="1119188" cy="736600"/>
          </a:xfrm>
          <a:custGeom>
            <a:avLst/>
            <a:gdLst>
              <a:gd name="connsiteX0" fmla="*/ 723900 w 1119188"/>
              <a:gd name="connsiteY0" fmla="*/ 554831 h 735806"/>
              <a:gd name="connsiteX1" fmla="*/ 716757 w 1119188"/>
              <a:gd name="connsiteY1" fmla="*/ 497681 h 735806"/>
              <a:gd name="connsiteX2" fmla="*/ 702469 w 1119188"/>
              <a:gd name="connsiteY2" fmla="*/ 473869 h 735806"/>
              <a:gd name="connsiteX3" fmla="*/ 716757 w 1119188"/>
              <a:gd name="connsiteY3" fmla="*/ 459581 h 735806"/>
              <a:gd name="connsiteX4" fmla="*/ 766763 w 1119188"/>
              <a:gd name="connsiteY4" fmla="*/ 461963 h 735806"/>
              <a:gd name="connsiteX5" fmla="*/ 764382 w 1119188"/>
              <a:gd name="connsiteY5" fmla="*/ 426244 h 735806"/>
              <a:gd name="connsiteX6" fmla="*/ 773907 w 1119188"/>
              <a:gd name="connsiteY6" fmla="*/ 407194 h 735806"/>
              <a:gd name="connsiteX7" fmla="*/ 819150 w 1119188"/>
              <a:gd name="connsiteY7" fmla="*/ 376238 h 735806"/>
              <a:gd name="connsiteX8" fmla="*/ 816769 w 1119188"/>
              <a:gd name="connsiteY8" fmla="*/ 283369 h 735806"/>
              <a:gd name="connsiteX9" fmla="*/ 840582 w 1119188"/>
              <a:gd name="connsiteY9" fmla="*/ 273844 h 735806"/>
              <a:gd name="connsiteX10" fmla="*/ 881063 w 1119188"/>
              <a:gd name="connsiteY10" fmla="*/ 321469 h 735806"/>
              <a:gd name="connsiteX11" fmla="*/ 909638 w 1119188"/>
              <a:gd name="connsiteY11" fmla="*/ 307181 h 735806"/>
              <a:gd name="connsiteX12" fmla="*/ 919163 w 1119188"/>
              <a:gd name="connsiteY12" fmla="*/ 264319 h 735806"/>
              <a:gd name="connsiteX13" fmla="*/ 952500 w 1119188"/>
              <a:gd name="connsiteY13" fmla="*/ 259556 h 735806"/>
              <a:gd name="connsiteX14" fmla="*/ 1004888 w 1119188"/>
              <a:gd name="connsiteY14" fmla="*/ 204788 h 735806"/>
              <a:gd name="connsiteX15" fmla="*/ 1035844 w 1119188"/>
              <a:gd name="connsiteY15" fmla="*/ 180975 h 735806"/>
              <a:gd name="connsiteX16" fmla="*/ 1104900 w 1119188"/>
              <a:gd name="connsiteY16" fmla="*/ 157163 h 735806"/>
              <a:gd name="connsiteX17" fmla="*/ 1116807 w 1119188"/>
              <a:gd name="connsiteY17" fmla="*/ 83344 h 735806"/>
              <a:gd name="connsiteX18" fmla="*/ 1116807 w 1119188"/>
              <a:gd name="connsiteY18" fmla="*/ 57150 h 735806"/>
              <a:gd name="connsiteX19" fmla="*/ 1119188 w 1119188"/>
              <a:gd name="connsiteY19" fmla="*/ 35719 h 735806"/>
              <a:gd name="connsiteX20" fmla="*/ 1104900 w 1119188"/>
              <a:gd name="connsiteY20" fmla="*/ 0 h 735806"/>
              <a:gd name="connsiteX21" fmla="*/ 1069182 w 1119188"/>
              <a:gd name="connsiteY21" fmla="*/ 7144 h 735806"/>
              <a:gd name="connsiteX22" fmla="*/ 992982 w 1119188"/>
              <a:gd name="connsiteY22" fmla="*/ 9525 h 735806"/>
              <a:gd name="connsiteX23" fmla="*/ 954882 w 1119188"/>
              <a:gd name="connsiteY23" fmla="*/ 38100 h 735806"/>
              <a:gd name="connsiteX24" fmla="*/ 931069 w 1119188"/>
              <a:gd name="connsiteY24" fmla="*/ 42863 h 735806"/>
              <a:gd name="connsiteX25" fmla="*/ 904875 w 1119188"/>
              <a:gd name="connsiteY25" fmla="*/ 42863 h 735806"/>
              <a:gd name="connsiteX26" fmla="*/ 831057 w 1119188"/>
              <a:gd name="connsiteY26" fmla="*/ 85725 h 735806"/>
              <a:gd name="connsiteX27" fmla="*/ 776288 w 1119188"/>
              <a:gd name="connsiteY27" fmla="*/ 104775 h 735806"/>
              <a:gd name="connsiteX28" fmla="*/ 707232 w 1119188"/>
              <a:gd name="connsiteY28" fmla="*/ 180975 h 735806"/>
              <a:gd name="connsiteX29" fmla="*/ 692944 w 1119188"/>
              <a:gd name="connsiteY29" fmla="*/ 195263 h 735806"/>
              <a:gd name="connsiteX30" fmla="*/ 626269 w 1119188"/>
              <a:gd name="connsiteY30" fmla="*/ 192881 h 735806"/>
              <a:gd name="connsiteX31" fmla="*/ 619125 w 1119188"/>
              <a:gd name="connsiteY31" fmla="*/ 207169 h 735806"/>
              <a:gd name="connsiteX32" fmla="*/ 519113 w 1119188"/>
              <a:gd name="connsiteY32" fmla="*/ 211931 h 735806"/>
              <a:gd name="connsiteX33" fmla="*/ 492919 w 1119188"/>
              <a:gd name="connsiteY33" fmla="*/ 230981 h 735806"/>
              <a:gd name="connsiteX34" fmla="*/ 459582 w 1119188"/>
              <a:gd name="connsiteY34" fmla="*/ 245269 h 735806"/>
              <a:gd name="connsiteX35" fmla="*/ 433388 w 1119188"/>
              <a:gd name="connsiteY35" fmla="*/ 271463 h 735806"/>
              <a:gd name="connsiteX36" fmla="*/ 416719 w 1119188"/>
              <a:gd name="connsiteY36" fmla="*/ 278606 h 735806"/>
              <a:gd name="connsiteX37" fmla="*/ 378619 w 1119188"/>
              <a:gd name="connsiteY37" fmla="*/ 278606 h 735806"/>
              <a:gd name="connsiteX38" fmla="*/ 335757 w 1119188"/>
              <a:gd name="connsiteY38" fmla="*/ 250031 h 735806"/>
              <a:gd name="connsiteX39" fmla="*/ 250032 w 1119188"/>
              <a:gd name="connsiteY39" fmla="*/ 250031 h 735806"/>
              <a:gd name="connsiteX40" fmla="*/ 211932 w 1119188"/>
              <a:gd name="connsiteY40" fmla="*/ 240506 h 735806"/>
              <a:gd name="connsiteX41" fmla="*/ 188119 w 1119188"/>
              <a:gd name="connsiteY41" fmla="*/ 221456 h 735806"/>
              <a:gd name="connsiteX42" fmla="*/ 171450 w 1119188"/>
              <a:gd name="connsiteY42" fmla="*/ 207169 h 735806"/>
              <a:gd name="connsiteX43" fmla="*/ 150019 w 1119188"/>
              <a:gd name="connsiteY43" fmla="*/ 202406 h 735806"/>
              <a:gd name="connsiteX44" fmla="*/ 126207 w 1119188"/>
              <a:gd name="connsiteY44" fmla="*/ 209550 h 735806"/>
              <a:gd name="connsiteX45" fmla="*/ 85725 w 1119188"/>
              <a:gd name="connsiteY45" fmla="*/ 226219 h 735806"/>
              <a:gd name="connsiteX46" fmla="*/ 54769 w 1119188"/>
              <a:gd name="connsiteY46" fmla="*/ 245269 h 735806"/>
              <a:gd name="connsiteX47" fmla="*/ 16669 w 1119188"/>
              <a:gd name="connsiteY47" fmla="*/ 254794 h 735806"/>
              <a:gd name="connsiteX48" fmla="*/ 0 w 1119188"/>
              <a:gd name="connsiteY48" fmla="*/ 261938 h 735806"/>
              <a:gd name="connsiteX49" fmla="*/ 28575 w 1119188"/>
              <a:gd name="connsiteY49" fmla="*/ 278606 h 735806"/>
              <a:gd name="connsiteX50" fmla="*/ 59532 w 1119188"/>
              <a:gd name="connsiteY50" fmla="*/ 278606 h 735806"/>
              <a:gd name="connsiteX51" fmla="*/ 80963 w 1119188"/>
              <a:gd name="connsiteY51" fmla="*/ 278606 h 735806"/>
              <a:gd name="connsiteX52" fmla="*/ 88107 w 1119188"/>
              <a:gd name="connsiteY52" fmla="*/ 276225 h 735806"/>
              <a:gd name="connsiteX53" fmla="*/ 100013 w 1119188"/>
              <a:gd name="connsiteY53" fmla="*/ 261938 h 735806"/>
              <a:gd name="connsiteX54" fmla="*/ 119063 w 1119188"/>
              <a:gd name="connsiteY54" fmla="*/ 259556 h 735806"/>
              <a:gd name="connsiteX55" fmla="*/ 142875 w 1119188"/>
              <a:gd name="connsiteY55" fmla="*/ 257175 h 735806"/>
              <a:gd name="connsiteX56" fmla="*/ 154782 w 1119188"/>
              <a:gd name="connsiteY56" fmla="*/ 271463 h 735806"/>
              <a:gd name="connsiteX57" fmla="*/ 145257 w 1119188"/>
              <a:gd name="connsiteY57" fmla="*/ 292894 h 735806"/>
              <a:gd name="connsiteX58" fmla="*/ 114300 w 1119188"/>
              <a:gd name="connsiteY58" fmla="*/ 304800 h 735806"/>
              <a:gd name="connsiteX59" fmla="*/ 78582 w 1119188"/>
              <a:gd name="connsiteY59" fmla="*/ 397669 h 735806"/>
              <a:gd name="connsiteX60" fmla="*/ 97632 w 1119188"/>
              <a:gd name="connsiteY60" fmla="*/ 421481 h 735806"/>
              <a:gd name="connsiteX61" fmla="*/ 102394 w 1119188"/>
              <a:gd name="connsiteY61" fmla="*/ 464344 h 735806"/>
              <a:gd name="connsiteX62" fmla="*/ 107157 w 1119188"/>
              <a:gd name="connsiteY62" fmla="*/ 481013 h 735806"/>
              <a:gd name="connsiteX63" fmla="*/ 142875 w 1119188"/>
              <a:gd name="connsiteY63" fmla="*/ 471488 h 735806"/>
              <a:gd name="connsiteX64" fmla="*/ 178594 w 1119188"/>
              <a:gd name="connsiteY64" fmla="*/ 459581 h 735806"/>
              <a:gd name="connsiteX65" fmla="*/ 228600 w 1119188"/>
              <a:gd name="connsiteY65" fmla="*/ 471488 h 735806"/>
              <a:gd name="connsiteX66" fmla="*/ 266700 w 1119188"/>
              <a:gd name="connsiteY66" fmla="*/ 481013 h 735806"/>
              <a:gd name="connsiteX67" fmla="*/ 319088 w 1119188"/>
              <a:gd name="connsiteY67" fmla="*/ 478631 h 735806"/>
              <a:gd name="connsiteX68" fmla="*/ 359569 w 1119188"/>
              <a:gd name="connsiteY68" fmla="*/ 461963 h 735806"/>
              <a:gd name="connsiteX69" fmla="*/ 395288 w 1119188"/>
              <a:gd name="connsiteY69" fmla="*/ 442913 h 735806"/>
              <a:gd name="connsiteX70" fmla="*/ 433388 w 1119188"/>
              <a:gd name="connsiteY70" fmla="*/ 450056 h 735806"/>
              <a:gd name="connsiteX71" fmla="*/ 473869 w 1119188"/>
              <a:gd name="connsiteY71" fmla="*/ 469106 h 735806"/>
              <a:gd name="connsiteX72" fmla="*/ 519113 w 1119188"/>
              <a:gd name="connsiteY72" fmla="*/ 495300 h 735806"/>
              <a:gd name="connsiteX73" fmla="*/ 550069 w 1119188"/>
              <a:gd name="connsiteY73" fmla="*/ 521494 h 735806"/>
              <a:gd name="connsiteX74" fmla="*/ 554832 w 1119188"/>
              <a:gd name="connsiteY74" fmla="*/ 559594 h 735806"/>
              <a:gd name="connsiteX75" fmla="*/ 550069 w 1119188"/>
              <a:gd name="connsiteY75" fmla="*/ 614363 h 735806"/>
              <a:gd name="connsiteX76" fmla="*/ 545307 w 1119188"/>
              <a:gd name="connsiteY76" fmla="*/ 645319 h 735806"/>
              <a:gd name="connsiteX77" fmla="*/ 519113 w 1119188"/>
              <a:gd name="connsiteY77" fmla="*/ 657225 h 735806"/>
              <a:gd name="connsiteX78" fmla="*/ 502444 w 1119188"/>
              <a:gd name="connsiteY78" fmla="*/ 673894 h 735806"/>
              <a:gd name="connsiteX79" fmla="*/ 504825 w 1119188"/>
              <a:gd name="connsiteY79" fmla="*/ 707231 h 735806"/>
              <a:gd name="connsiteX80" fmla="*/ 523875 w 1119188"/>
              <a:gd name="connsiteY80" fmla="*/ 731044 h 735806"/>
              <a:gd name="connsiteX81" fmla="*/ 604838 w 1119188"/>
              <a:gd name="connsiteY81" fmla="*/ 735806 h 735806"/>
              <a:gd name="connsiteX82" fmla="*/ 671513 w 1119188"/>
              <a:gd name="connsiteY82" fmla="*/ 685800 h 735806"/>
              <a:gd name="connsiteX83" fmla="*/ 671513 w 1119188"/>
              <a:gd name="connsiteY83" fmla="*/ 604838 h 735806"/>
              <a:gd name="connsiteX84" fmla="*/ 723900 w 1119188"/>
              <a:gd name="connsiteY84" fmla="*/ 554831 h 735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1119188" h="735806">
                <a:moveTo>
                  <a:pt x="723900" y="554831"/>
                </a:moveTo>
                <a:lnTo>
                  <a:pt x="716757" y="497681"/>
                </a:lnTo>
                <a:lnTo>
                  <a:pt x="702469" y="473869"/>
                </a:lnTo>
                <a:lnTo>
                  <a:pt x="716757" y="459581"/>
                </a:lnTo>
                <a:lnTo>
                  <a:pt x="766763" y="461963"/>
                </a:lnTo>
                <a:lnTo>
                  <a:pt x="764382" y="426244"/>
                </a:lnTo>
                <a:lnTo>
                  <a:pt x="773907" y="407194"/>
                </a:lnTo>
                <a:lnTo>
                  <a:pt x="819150" y="376238"/>
                </a:lnTo>
                <a:cubicBezTo>
                  <a:pt x="818356" y="345282"/>
                  <a:pt x="817563" y="314325"/>
                  <a:pt x="816769" y="283369"/>
                </a:cubicBezTo>
                <a:lnTo>
                  <a:pt x="840582" y="273844"/>
                </a:lnTo>
                <a:lnTo>
                  <a:pt x="881063" y="321469"/>
                </a:lnTo>
                <a:lnTo>
                  <a:pt x="909638" y="307181"/>
                </a:lnTo>
                <a:lnTo>
                  <a:pt x="919163" y="264319"/>
                </a:lnTo>
                <a:lnTo>
                  <a:pt x="952500" y="259556"/>
                </a:lnTo>
                <a:lnTo>
                  <a:pt x="1004888" y="204788"/>
                </a:lnTo>
                <a:lnTo>
                  <a:pt x="1035844" y="180975"/>
                </a:lnTo>
                <a:lnTo>
                  <a:pt x="1104900" y="157163"/>
                </a:lnTo>
                <a:lnTo>
                  <a:pt x="1116807" y="83344"/>
                </a:lnTo>
                <a:lnTo>
                  <a:pt x="1116807" y="57150"/>
                </a:lnTo>
                <a:lnTo>
                  <a:pt x="1119188" y="35719"/>
                </a:lnTo>
                <a:lnTo>
                  <a:pt x="1104900" y="0"/>
                </a:lnTo>
                <a:lnTo>
                  <a:pt x="1069182" y="7144"/>
                </a:lnTo>
                <a:lnTo>
                  <a:pt x="992982" y="9525"/>
                </a:lnTo>
                <a:lnTo>
                  <a:pt x="954882" y="38100"/>
                </a:lnTo>
                <a:lnTo>
                  <a:pt x="931069" y="42863"/>
                </a:lnTo>
                <a:lnTo>
                  <a:pt x="904875" y="42863"/>
                </a:lnTo>
                <a:lnTo>
                  <a:pt x="831057" y="85725"/>
                </a:lnTo>
                <a:lnTo>
                  <a:pt x="776288" y="104775"/>
                </a:lnTo>
                <a:lnTo>
                  <a:pt x="707232" y="180975"/>
                </a:lnTo>
                <a:lnTo>
                  <a:pt x="692944" y="195263"/>
                </a:lnTo>
                <a:lnTo>
                  <a:pt x="626269" y="192881"/>
                </a:lnTo>
                <a:lnTo>
                  <a:pt x="619125" y="207169"/>
                </a:lnTo>
                <a:lnTo>
                  <a:pt x="519113" y="211931"/>
                </a:lnTo>
                <a:lnTo>
                  <a:pt x="492919" y="230981"/>
                </a:lnTo>
                <a:lnTo>
                  <a:pt x="459582" y="245269"/>
                </a:lnTo>
                <a:lnTo>
                  <a:pt x="433388" y="271463"/>
                </a:lnTo>
                <a:lnTo>
                  <a:pt x="416719" y="278606"/>
                </a:lnTo>
                <a:lnTo>
                  <a:pt x="378619" y="278606"/>
                </a:lnTo>
                <a:lnTo>
                  <a:pt x="335757" y="250031"/>
                </a:lnTo>
                <a:lnTo>
                  <a:pt x="250032" y="250031"/>
                </a:lnTo>
                <a:lnTo>
                  <a:pt x="211932" y="240506"/>
                </a:lnTo>
                <a:lnTo>
                  <a:pt x="188119" y="221456"/>
                </a:lnTo>
                <a:lnTo>
                  <a:pt x="171450" y="207169"/>
                </a:lnTo>
                <a:lnTo>
                  <a:pt x="150019" y="202406"/>
                </a:lnTo>
                <a:lnTo>
                  <a:pt x="126207" y="209550"/>
                </a:lnTo>
                <a:lnTo>
                  <a:pt x="85725" y="226219"/>
                </a:lnTo>
                <a:lnTo>
                  <a:pt x="54769" y="245269"/>
                </a:lnTo>
                <a:lnTo>
                  <a:pt x="16669" y="254794"/>
                </a:lnTo>
                <a:lnTo>
                  <a:pt x="0" y="261938"/>
                </a:lnTo>
                <a:lnTo>
                  <a:pt x="28575" y="278606"/>
                </a:lnTo>
                <a:lnTo>
                  <a:pt x="59532" y="278606"/>
                </a:lnTo>
                <a:lnTo>
                  <a:pt x="80963" y="278606"/>
                </a:lnTo>
                <a:lnTo>
                  <a:pt x="88107" y="276225"/>
                </a:lnTo>
                <a:lnTo>
                  <a:pt x="100013" y="261938"/>
                </a:lnTo>
                <a:lnTo>
                  <a:pt x="119063" y="259556"/>
                </a:lnTo>
                <a:lnTo>
                  <a:pt x="142875" y="257175"/>
                </a:lnTo>
                <a:lnTo>
                  <a:pt x="154782" y="271463"/>
                </a:lnTo>
                <a:lnTo>
                  <a:pt x="145257" y="292894"/>
                </a:lnTo>
                <a:lnTo>
                  <a:pt x="114300" y="304800"/>
                </a:lnTo>
                <a:lnTo>
                  <a:pt x="78582" y="397669"/>
                </a:lnTo>
                <a:lnTo>
                  <a:pt x="97632" y="421481"/>
                </a:lnTo>
                <a:lnTo>
                  <a:pt x="102394" y="464344"/>
                </a:lnTo>
                <a:lnTo>
                  <a:pt x="107157" y="481013"/>
                </a:lnTo>
                <a:lnTo>
                  <a:pt x="142875" y="471488"/>
                </a:lnTo>
                <a:lnTo>
                  <a:pt x="178594" y="459581"/>
                </a:lnTo>
                <a:lnTo>
                  <a:pt x="228600" y="471488"/>
                </a:lnTo>
                <a:lnTo>
                  <a:pt x="266700" y="481013"/>
                </a:lnTo>
                <a:lnTo>
                  <a:pt x="319088" y="478631"/>
                </a:lnTo>
                <a:lnTo>
                  <a:pt x="359569" y="461963"/>
                </a:lnTo>
                <a:lnTo>
                  <a:pt x="395288" y="442913"/>
                </a:lnTo>
                <a:lnTo>
                  <a:pt x="433388" y="450056"/>
                </a:lnTo>
                <a:lnTo>
                  <a:pt x="473869" y="469106"/>
                </a:lnTo>
                <a:lnTo>
                  <a:pt x="519113" y="495300"/>
                </a:lnTo>
                <a:lnTo>
                  <a:pt x="550069" y="521494"/>
                </a:lnTo>
                <a:lnTo>
                  <a:pt x="554832" y="559594"/>
                </a:lnTo>
                <a:lnTo>
                  <a:pt x="550069" y="614363"/>
                </a:lnTo>
                <a:lnTo>
                  <a:pt x="545307" y="645319"/>
                </a:lnTo>
                <a:lnTo>
                  <a:pt x="519113" y="657225"/>
                </a:lnTo>
                <a:lnTo>
                  <a:pt x="502444" y="673894"/>
                </a:lnTo>
                <a:lnTo>
                  <a:pt x="504825" y="707231"/>
                </a:lnTo>
                <a:lnTo>
                  <a:pt x="523875" y="731044"/>
                </a:lnTo>
                <a:lnTo>
                  <a:pt x="604838" y="735806"/>
                </a:lnTo>
                <a:lnTo>
                  <a:pt x="671513" y="685800"/>
                </a:lnTo>
                <a:lnTo>
                  <a:pt x="671513" y="604838"/>
                </a:lnTo>
                <a:lnTo>
                  <a:pt x="723900" y="554831"/>
                </a:lnTo>
                <a:close/>
              </a:path>
            </a:pathLst>
          </a:custGeom>
          <a:solidFill>
            <a:srgbClr val="CC33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4487869" y="2829988"/>
            <a:ext cx="460375" cy="211667"/>
          </a:xfrm>
          <a:custGeom>
            <a:avLst/>
            <a:gdLst>
              <a:gd name="connsiteX0" fmla="*/ 0 w 459581"/>
              <a:gd name="connsiteY0" fmla="*/ 42862 h 211931"/>
              <a:gd name="connsiteX1" fmla="*/ 7143 w 459581"/>
              <a:gd name="connsiteY1" fmla="*/ 104775 h 211931"/>
              <a:gd name="connsiteX2" fmla="*/ 30956 w 459581"/>
              <a:gd name="connsiteY2" fmla="*/ 119062 h 211931"/>
              <a:gd name="connsiteX3" fmla="*/ 33337 w 459581"/>
              <a:gd name="connsiteY3" fmla="*/ 171450 h 211931"/>
              <a:gd name="connsiteX4" fmla="*/ 38100 w 459581"/>
              <a:gd name="connsiteY4" fmla="*/ 188118 h 211931"/>
              <a:gd name="connsiteX5" fmla="*/ 88106 w 459581"/>
              <a:gd name="connsiteY5" fmla="*/ 204787 h 211931"/>
              <a:gd name="connsiteX6" fmla="*/ 88106 w 459581"/>
              <a:gd name="connsiteY6" fmla="*/ 204787 h 211931"/>
              <a:gd name="connsiteX7" fmla="*/ 147637 w 459581"/>
              <a:gd name="connsiteY7" fmla="*/ 211931 h 211931"/>
              <a:gd name="connsiteX8" fmla="*/ 180975 w 459581"/>
              <a:gd name="connsiteY8" fmla="*/ 197643 h 211931"/>
              <a:gd name="connsiteX9" fmla="*/ 214312 w 459581"/>
              <a:gd name="connsiteY9" fmla="*/ 192881 h 211931"/>
              <a:gd name="connsiteX10" fmla="*/ 242887 w 459581"/>
              <a:gd name="connsiteY10" fmla="*/ 204787 h 211931"/>
              <a:gd name="connsiteX11" fmla="*/ 261937 w 459581"/>
              <a:gd name="connsiteY11" fmla="*/ 204787 h 211931"/>
              <a:gd name="connsiteX12" fmla="*/ 321468 w 459581"/>
              <a:gd name="connsiteY12" fmla="*/ 178593 h 211931"/>
              <a:gd name="connsiteX13" fmla="*/ 350043 w 459581"/>
              <a:gd name="connsiteY13" fmla="*/ 180975 h 211931"/>
              <a:gd name="connsiteX14" fmla="*/ 402431 w 459581"/>
              <a:gd name="connsiteY14" fmla="*/ 161925 h 211931"/>
              <a:gd name="connsiteX15" fmla="*/ 457200 w 459581"/>
              <a:gd name="connsiteY15" fmla="*/ 173831 h 211931"/>
              <a:gd name="connsiteX16" fmla="*/ 459581 w 459581"/>
              <a:gd name="connsiteY16" fmla="*/ 128587 h 211931"/>
              <a:gd name="connsiteX17" fmla="*/ 450056 w 459581"/>
              <a:gd name="connsiteY17" fmla="*/ 83343 h 211931"/>
              <a:gd name="connsiteX18" fmla="*/ 423862 w 459581"/>
              <a:gd name="connsiteY18" fmla="*/ 52387 h 211931"/>
              <a:gd name="connsiteX19" fmla="*/ 357187 w 459581"/>
              <a:gd name="connsiteY19" fmla="*/ 19050 h 211931"/>
              <a:gd name="connsiteX20" fmla="*/ 319087 w 459581"/>
              <a:gd name="connsiteY20" fmla="*/ 0 h 211931"/>
              <a:gd name="connsiteX21" fmla="*/ 295275 w 459581"/>
              <a:gd name="connsiteY21" fmla="*/ 0 h 211931"/>
              <a:gd name="connsiteX22" fmla="*/ 240506 w 459581"/>
              <a:gd name="connsiteY22" fmla="*/ 33337 h 211931"/>
              <a:gd name="connsiteX23" fmla="*/ 176212 w 459581"/>
              <a:gd name="connsiteY23" fmla="*/ 45243 h 211931"/>
              <a:gd name="connsiteX24" fmla="*/ 95250 w 459581"/>
              <a:gd name="connsiteY24" fmla="*/ 19050 h 211931"/>
              <a:gd name="connsiteX25" fmla="*/ 78581 w 459581"/>
              <a:gd name="connsiteY25" fmla="*/ 16668 h 211931"/>
              <a:gd name="connsiteX26" fmla="*/ 0 w 459581"/>
              <a:gd name="connsiteY26" fmla="*/ 42862 h 2119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59581" h="211931">
                <a:moveTo>
                  <a:pt x="0" y="42862"/>
                </a:moveTo>
                <a:lnTo>
                  <a:pt x="7143" y="104775"/>
                </a:lnTo>
                <a:lnTo>
                  <a:pt x="30956" y="119062"/>
                </a:lnTo>
                <a:lnTo>
                  <a:pt x="33337" y="171450"/>
                </a:lnTo>
                <a:lnTo>
                  <a:pt x="38100" y="188118"/>
                </a:lnTo>
                <a:lnTo>
                  <a:pt x="88106" y="204787"/>
                </a:lnTo>
                <a:lnTo>
                  <a:pt x="88106" y="204787"/>
                </a:lnTo>
                <a:lnTo>
                  <a:pt x="147637" y="211931"/>
                </a:lnTo>
                <a:lnTo>
                  <a:pt x="180975" y="197643"/>
                </a:lnTo>
                <a:lnTo>
                  <a:pt x="214312" y="192881"/>
                </a:lnTo>
                <a:lnTo>
                  <a:pt x="242887" y="204787"/>
                </a:lnTo>
                <a:lnTo>
                  <a:pt x="261937" y="204787"/>
                </a:lnTo>
                <a:lnTo>
                  <a:pt x="321468" y="178593"/>
                </a:lnTo>
                <a:lnTo>
                  <a:pt x="350043" y="180975"/>
                </a:lnTo>
                <a:lnTo>
                  <a:pt x="402431" y="161925"/>
                </a:lnTo>
                <a:lnTo>
                  <a:pt x="457200" y="173831"/>
                </a:lnTo>
                <a:lnTo>
                  <a:pt x="459581" y="128587"/>
                </a:lnTo>
                <a:lnTo>
                  <a:pt x="450056" y="83343"/>
                </a:lnTo>
                <a:lnTo>
                  <a:pt x="423862" y="52387"/>
                </a:lnTo>
                <a:lnTo>
                  <a:pt x="357187" y="19050"/>
                </a:lnTo>
                <a:lnTo>
                  <a:pt x="319087" y="0"/>
                </a:lnTo>
                <a:lnTo>
                  <a:pt x="295275" y="0"/>
                </a:lnTo>
                <a:lnTo>
                  <a:pt x="240506" y="33337"/>
                </a:lnTo>
                <a:lnTo>
                  <a:pt x="176212" y="45243"/>
                </a:lnTo>
                <a:lnTo>
                  <a:pt x="95250" y="19050"/>
                </a:lnTo>
                <a:lnTo>
                  <a:pt x="78581" y="16668"/>
                </a:lnTo>
                <a:lnTo>
                  <a:pt x="0" y="42862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4725988" y="2103973"/>
            <a:ext cx="1060450" cy="563033"/>
          </a:xfrm>
          <a:custGeom>
            <a:avLst/>
            <a:gdLst>
              <a:gd name="connsiteX0" fmla="*/ 697706 w 1059656"/>
              <a:gd name="connsiteY0" fmla="*/ 531019 h 531019"/>
              <a:gd name="connsiteX1" fmla="*/ 778668 w 1059656"/>
              <a:gd name="connsiteY1" fmla="*/ 459581 h 531019"/>
              <a:gd name="connsiteX2" fmla="*/ 816768 w 1059656"/>
              <a:gd name="connsiteY2" fmla="*/ 440531 h 531019"/>
              <a:gd name="connsiteX3" fmla="*/ 852487 w 1059656"/>
              <a:gd name="connsiteY3" fmla="*/ 438150 h 531019"/>
              <a:gd name="connsiteX4" fmla="*/ 916781 w 1059656"/>
              <a:gd name="connsiteY4" fmla="*/ 423862 h 531019"/>
              <a:gd name="connsiteX5" fmla="*/ 950118 w 1059656"/>
              <a:gd name="connsiteY5" fmla="*/ 426244 h 531019"/>
              <a:gd name="connsiteX6" fmla="*/ 988218 w 1059656"/>
              <a:gd name="connsiteY6" fmla="*/ 442912 h 531019"/>
              <a:gd name="connsiteX7" fmla="*/ 1019175 w 1059656"/>
              <a:gd name="connsiteY7" fmla="*/ 411956 h 531019"/>
              <a:gd name="connsiteX8" fmla="*/ 992981 w 1059656"/>
              <a:gd name="connsiteY8" fmla="*/ 381000 h 531019"/>
              <a:gd name="connsiteX9" fmla="*/ 988218 w 1059656"/>
              <a:gd name="connsiteY9" fmla="*/ 350044 h 531019"/>
              <a:gd name="connsiteX10" fmla="*/ 995362 w 1059656"/>
              <a:gd name="connsiteY10" fmla="*/ 311944 h 531019"/>
              <a:gd name="connsiteX11" fmla="*/ 1023937 w 1059656"/>
              <a:gd name="connsiteY11" fmla="*/ 271462 h 531019"/>
              <a:gd name="connsiteX12" fmla="*/ 1052512 w 1059656"/>
              <a:gd name="connsiteY12" fmla="*/ 261937 h 531019"/>
              <a:gd name="connsiteX13" fmla="*/ 1059656 w 1059656"/>
              <a:gd name="connsiteY13" fmla="*/ 233362 h 531019"/>
              <a:gd name="connsiteX14" fmla="*/ 1047750 w 1059656"/>
              <a:gd name="connsiteY14" fmla="*/ 204787 h 531019"/>
              <a:gd name="connsiteX15" fmla="*/ 1019175 w 1059656"/>
              <a:gd name="connsiteY15" fmla="*/ 195262 h 531019"/>
              <a:gd name="connsiteX16" fmla="*/ 992981 w 1059656"/>
              <a:gd name="connsiteY16" fmla="*/ 202406 h 531019"/>
              <a:gd name="connsiteX17" fmla="*/ 935831 w 1059656"/>
              <a:gd name="connsiteY17" fmla="*/ 221456 h 531019"/>
              <a:gd name="connsiteX18" fmla="*/ 900112 w 1059656"/>
              <a:gd name="connsiteY18" fmla="*/ 226219 h 531019"/>
              <a:gd name="connsiteX19" fmla="*/ 878681 w 1059656"/>
              <a:gd name="connsiteY19" fmla="*/ 209550 h 531019"/>
              <a:gd name="connsiteX20" fmla="*/ 873918 w 1059656"/>
              <a:gd name="connsiteY20" fmla="*/ 195262 h 531019"/>
              <a:gd name="connsiteX21" fmla="*/ 881062 w 1059656"/>
              <a:gd name="connsiteY21" fmla="*/ 152400 h 531019"/>
              <a:gd name="connsiteX22" fmla="*/ 888206 w 1059656"/>
              <a:gd name="connsiteY22" fmla="*/ 116681 h 531019"/>
              <a:gd name="connsiteX23" fmla="*/ 871537 w 1059656"/>
              <a:gd name="connsiteY23" fmla="*/ 78581 h 531019"/>
              <a:gd name="connsiteX24" fmla="*/ 840581 w 1059656"/>
              <a:gd name="connsiteY24" fmla="*/ 61912 h 531019"/>
              <a:gd name="connsiteX25" fmla="*/ 862012 w 1059656"/>
              <a:gd name="connsiteY25" fmla="*/ 14287 h 531019"/>
              <a:gd name="connsiteX26" fmla="*/ 809625 w 1059656"/>
              <a:gd name="connsiteY26" fmla="*/ 0 h 531019"/>
              <a:gd name="connsiteX27" fmla="*/ 797718 w 1059656"/>
              <a:gd name="connsiteY27" fmla="*/ 16669 h 531019"/>
              <a:gd name="connsiteX28" fmla="*/ 757237 w 1059656"/>
              <a:gd name="connsiteY28" fmla="*/ 11906 h 531019"/>
              <a:gd name="connsiteX29" fmla="*/ 735806 w 1059656"/>
              <a:gd name="connsiteY29" fmla="*/ 16669 h 531019"/>
              <a:gd name="connsiteX30" fmla="*/ 719137 w 1059656"/>
              <a:gd name="connsiteY30" fmla="*/ 45244 h 531019"/>
              <a:gd name="connsiteX31" fmla="*/ 723900 w 1059656"/>
              <a:gd name="connsiteY31" fmla="*/ 64294 h 531019"/>
              <a:gd name="connsiteX32" fmla="*/ 707231 w 1059656"/>
              <a:gd name="connsiteY32" fmla="*/ 78581 h 531019"/>
              <a:gd name="connsiteX33" fmla="*/ 631031 w 1059656"/>
              <a:gd name="connsiteY33" fmla="*/ 80962 h 531019"/>
              <a:gd name="connsiteX34" fmla="*/ 597693 w 1059656"/>
              <a:gd name="connsiteY34" fmla="*/ 66675 h 531019"/>
              <a:gd name="connsiteX35" fmla="*/ 569118 w 1059656"/>
              <a:gd name="connsiteY35" fmla="*/ 38100 h 531019"/>
              <a:gd name="connsiteX36" fmla="*/ 531018 w 1059656"/>
              <a:gd name="connsiteY36" fmla="*/ 33337 h 531019"/>
              <a:gd name="connsiteX37" fmla="*/ 497681 w 1059656"/>
              <a:gd name="connsiteY37" fmla="*/ 57150 h 531019"/>
              <a:gd name="connsiteX38" fmla="*/ 481012 w 1059656"/>
              <a:gd name="connsiteY38" fmla="*/ 76200 h 531019"/>
              <a:gd name="connsiteX39" fmla="*/ 466725 w 1059656"/>
              <a:gd name="connsiteY39" fmla="*/ 92869 h 531019"/>
              <a:gd name="connsiteX40" fmla="*/ 450056 w 1059656"/>
              <a:gd name="connsiteY40" fmla="*/ 111919 h 531019"/>
              <a:gd name="connsiteX41" fmla="*/ 454818 w 1059656"/>
              <a:gd name="connsiteY41" fmla="*/ 138112 h 531019"/>
              <a:gd name="connsiteX42" fmla="*/ 423862 w 1059656"/>
              <a:gd name="connsiteY42" fmla="*/ 161925 h 531019"/>
              <a:gd name="connsiteX43" fmla="*/ 371475 w 1059656"/>
              <a:gd name="connsiteY43" fmla="*/ 171450 h 531019"/>
              <a:gd name="connsiteX44" fmla="*/ 330993 w 1059656"/>
              <a:gd name="connsiteY44" fmla="*/ 190500 h 531019"/>
              <a:gd name="connsiteX45" fmla="*/ 321468 w 1059656"/>
              <a:gd name="connsiteY45" fmla="*/ 228600 h 531019"/>
              <a:gd name="connsiteX46" fmla="*/ 319087 w 1059656"/>
              <a:gd name="connsiteY46" fmla="*/ 235744 h 531019"/>
              <a:gd name="connsiteX47" fmla="*/ 266700 w 1059656"/>
              <a:gd name="connsiteY47" fmla="*/ 252412 h 531019"/>
              <a:gd name="connsiteX48" fmla="*/ 180975 w 1059656"/>
              <a:gd name="connsiteY48" fmla="*/ 283369 h 531019"/>
              <a:gd name="connsiteX49" fmla="*/ 157162 w 1059656"/>
              <a:gd name="connsiteY49" fmla="*/ 276225 h 531019"/>
              <a:gd name="connsiteX50" fmla="*/ 128587 w 1059656"/>
              <a:gd name="connsiteY50" fmla="*/ 266700 h 531019"/>
              <a:gd name="connsiteX51" fmla="*/ 130968 w 1059656"/>
              <a:gd name="connsiteY51" fmla="*/ 326231 h 531019"/>
              <a:gd name="connsiteX52" fmla="*/ 169068 w 1059656"/>
              <a:gd name="connsiteY52" fmla="*/ 354806 h 531019"/>
              <a:gd name="connsiteX53" fmla="*/ 185737 w 1059656"/>
              <a:gd name="connsiteY53" fmla="*/ 378619 h 531019"/>
              <a:gd name="connsiteX54" fmla="*/ 180975 w 1059656"/>
              <a:gd name="connsiteY54" fmla="*/ 409575 h 531019"/>
              <a:gd name="connsiteX55" fmla="*/ 173831 w 1059656"/>
              <a:gd name="connsiteY55" fmla="*/ 438150 h 531019"/>
              <a:gd name="connsiteX56" fmla="*/ 130968 w 1059656"/>
              <a:gd name="connsiteY56" fmla="*/ 440531 h 531019"/>
              <a:gd name="connsiteX57" fmla="*/ 95250 w 1059656"/>
              <a:gd name="connsiteY57" fmla="*/ 454819 h 531019"/>
              <a:gd name="connsiteX58" fmla="*/ 71437 w 1059656"/>
              <a:gd name="connsiteY58" fmla="*/ 459581 h 531019"/>
              <a:gd name="connsiteX59" fmla="*/ 50006 w 1059656"/>
              <a:gd name="connsiteY59" fmla="*/ 471487 h 531019"/>
              <a:gd name="connsiteX60" fmla="*/ 30956 w 1059656"/>
              <a:gd name="connsiteY60" fmla="*/ 488156 h 531019"/>
              <a:gd name="connsiteX61" fmla="*/ 7143 w 1059656"/>
              <a:gd name="connsiteY61" fmla="*/ 495300 h 531019"/>
              <a:gd name="connsiteX62" fmla="*/ 0 w 1059656"/>
              <a:gd name="connsiteY62" fmla="*/ 500062 h 531019"/>
              <a:gd name="connsiteX63" fmla="*/ 38100 w 1059656"/>
              <a:gd name="connsiteY63" fmla="*/ 528637 h 531019"/>
              <a:gd name="connsiteX64" fmla="*/ 80962 w 1059656"/>
              <a:gd name="connsiteY64" fmla="*/ 526256 h 531019"/>
              <a:gd name="connsiteX65" fmla="*/ 116681 w 1059656"/>
              <a:gd name="connsiteY65" fmla="*/ 492919 h 531019"/>
              <a:gd name="connsiteX66" fmla="*/ 171450 w 1059656"/>
              <a:gd name="connsiteY66" fmla="*/ 466725 h 531019"/>
              <a:gd name="connsiteX67" fmla="*/ 278606 w 1059656"/>
              <a:gd name="connsiteY67" fmla="*/ 459581 h 531019"/>
              <a:gd name="connsiteX68" fmla="*/ 292893 w 1059656"/>
              <a:gd name="connsiteY68" fmla="*/ 447675 h 531019"/>
              <a:gd name="connsiteX69" fmla="*/ 357187 w 1059656"/>
              <a:gd name="connsiteY69" fmla="*/ 447675 h 531019"/>
              <a:gd name="connsiteX70" fmla="*/ 433387 w 1059656"/>
              <a:gd name="connsiteY70" fmla="*/ 354806 h 531019"/>
              <a:gd name="connsiteX71" fmla="*/ 559593 w 1059656"/>
              <a:gd name="connsiteY71" fmla="*/ 295275 h 531019"/>
              <a:gd name="connsiteX72" fmla="*/ 619125 w 1059656"/>
              <a:gd name="connsiteY72" fmla="*/ 288131 h 531019"/>
              <a:gd name="connsiteX73" fmla="*/ 654843 w 1059656"/>
              <a:gd name="connsiteY73" fmla="*/ 261937 h 531019"/>
              <a:gd name="connsiteX74" fmla="*/ 716756 w 1059656"/>
              <a:gd name="connsiteY74" fmla="*/ 259556 h 531019"/>
              <a:gd name="connsiteX75" fmla="*/ 771525 w 1059656"/>
              <a:gd name="connsiteY75" fmla="*/ 252412 h 531019"/>
              <a:gd name="connsiteX76" fmla="*/ 781050 w 1059656"/>
              <a:gd name="connsiteY76" fmla="*/ 290512 h 531019"/>
              <a:gd name="connsiteX77" fmla="*/ 773906 w 1059656"/>
              <a:gd name="connsiteY77" fmla="*/ 411956 h 531019"/>
              <a:gd name="connsiteX78" fmla="*/ 707231 w 1059656"/>
              <a:gd name="connsiteY78" fmla="*/ 428625 h 531019"/>
              <a:gd name="connsiteX79" fmla="*/ 652462 w 1059656"/>
              <a:gd name="connsiteY79" fmla="*/ 481012 h 531019"/>
              <a:gd name="connsiteX80" fmla="*/ 697706 w 1059656"/>
              <a:gd name="connsiteY80" fmla="*/ 531019 h 531019"/>
              <a:gd name="connsiteX0" fmla="*/ 697706 w 1059656"/>
              <a:gd name="connsiteY0" fmla="*/ 531019 h 531019"/>
              <a:gd name="connsiteX1" fmla="*/ 778668 w 1059656"/>
              <a:gd name="connsiteY1" fmla="*/ 459581 h 531019"/>
              <a:gd name="connsiteX2" fmla="*/ 816768 w 1059656"/>
              <a:gd name="connsiteY2" fmla="*/ 440531 h 531019"/>
              <a:gd name="connsiteX3" fmla="*/ 852487 w 1059656"/>
              <a:gd name="connsiteY3" fmla="*/ 438150 h 531019"/>
              <a:gd name="connsiteX4" fmla="*/ 916781 w 1059656"/>
              <a:gd name="connsiteY4" fmla="*/ 423862 h 531019"/>
              <a:gd name="connsiteX5" fmla="*/ 950118 w 1059656"/>
              <a:gd name="connsiteY5" fmla="*/ 426244 h 531019"/>
              <a:gd name="connsiteX6" fmla="*/ 988218 w 1059656"/>
              <a:gd name="connsiteY6" fmla="*/ 442912 h 531019"/>
              <a:gd name="connsiteX7" fmla="*/ 1019175 w 1059656"/>
              <a:gd name="connsiteY7" fmla="*/ 411956 h 531019"/>
              <a:gd name="connsiteX8" fmla="*/ 992981 w 1059656"/>
              <a:gd name="connsiteY8" fmla="*/ 381000 h 531019"/>
              <a:gd name="connsiteX9" fmla="*/ 988218 w 1059656"/>
              <a:gd name="connsiteY9" fmla="*/ 350044 h 531019"/>
              <a:gd name="connsiteX10" fmla="*/ 995362 w 1059656"/>
              <a:gd name="connsiteY10" fmla="*/ 311944 h 531019"/>
              <a:gd name="connsiteX11" fmla="*/ 1023937 w 1059656"/>
              <a:gd name="connsiteY11" fmla="*/ 271462 h 531019"/>
              <a:gd name="connsiteX12" fmla="*/ 1052512 w 1059656"/>
              <a:gd name="connsiteY12" fmla="*/ 261937 h 531019"/>
              <a:gd name="connsiteX13" fmla="*/ 1059656 w 1059656"/>
              <a:gd name="connsiteY13" fmla="*/ 233362 h 531019"/>
              <a:gd name="connsiteX14" fmla="*/ 1047750 w 1059656"/>
              <a:gd name="connsiteY14" fmla="*/ 204787 h 531019"/>
              <a:gd name="connsiteX15" fmla="*/ 1019175 w 1059656"/>
              <a:gd name="connsiteY15" fmla="*/ 195262 h 531019"/>
              <a:gd name="connsiteX16" fmla="*/ 992981 w 1059656"/>
              <a:gd name="connsiteY16" fmla="*/ 202406 h 531019"/>
              <a:gd name="connsiteX17" fmla="*/ 935831 w 1059656"/>
              <a:gd name="connsiteY17" fmla="*/ 221456 h 531019"/>
              <a:gd name="connsiteX18" fmla="*/ 900112 w 1059656"/>
              <a:gd name="connsiteY18" fmla="*/ 226219 h 531019"/>
              <a:gd name="connsiteX19" fmla="*/ 878681 w 1059656"/>
              <a:gd name="connsiteY19" fmla="*/ 209550 h 531019"/>
              <a:gd name="connsiteX20" fmla="*/ 873918 w 1059656"/>
              <a:gd name="connsiteY20" fmla="*/ 195262 h 531019"/>
              <a:gd name="connsiteX21" fmla="*/ 881062 w 1059656"/>
              <a:gd name="connsiteY21" fmla="*/ 152400 h 531019"/>
              <a:gd name="connsiteX22" fmla="*/ 888206 w 1059656"/>
              <a:gd name="connsiteY22" fmla="*/ 116681 h 531019"/>
              <a:gd name="connsiteX23" fmla="*/ 871537 w 1059656"/>
              <a:gd name="connsiteY23" fmla="*/ 78581 h 531019"/>
              <a:gd name="connsiteX24" fmla="*/ 840581 w 1059656"/>
              <a:gd name="connsiteY24" fmla="*/ 61912 h 531019"/>
              <a:gd name="connsiteX25" fmla="*/ 862012 w 1059656"/>
              <a:gd name="connsiteY25" fmla="*/ 14287 h 531019"/>
              <a:gd name="connsiteX26" fmla="*/ 809625 w 1059656"/>
              <a:gd name="connsiteY26" fmla="*/ 0 h 531019"/>
              <a:gd name="connsiteX27" fmla="*/ 797718 w 1059656"/>
              <a:gd name="connsiteY27" fmla="*/ 16669 h 531019"/>
              <a:gd name="connsiteX28" fmla="*/ 757237 w 1059656"/>
              <a:gd name="connsiteY28" fmla="*/ 11906 h 531019"/>
              <a:gd name="connsiteX29" fmla="*/ 735806 w 1059656"/>
              <a:gd name="connsiteY29" fmla="*/ 16669 h 531019"/>
              <a:gd name="connsiteX30" fmla="*/ 719137 w 1059656"/>
              <a:gd name="connsiteY30" fmla="*/ 45244 h 531019"/>
              <a:gd name="connsiteX31" fmla="*/ 723900 w 1059656"/>
              <a:gd name="connsiteY31" fmla="*/ 64294 h 531019"/>
              <a:gd name="connsiteX32" fmla="*/ 707231 w 1059656"/>
              <a:gd name="connsiteY32" fmla="*/ 78581 h 531019"/>
              <a:gd name="connsiteX33" fmla="*/ 631031 w 1059656"/>
              <a:gd name="connsiteY33" fmla="*/ 80962 h 531019"/>
              <a:gd name="connsiteX34" fmla="*/ 597693 w 1059656"/>
              <a:gd name="connsiteY34" fmla="*/ 66675 h 531019"/>
              <a:gd name="connsiteX35" fmla="*/ 569118 w 1059656"/>
              <a:gd name="connsiteY35" fmla="*/ 38100 h 531019"/>
              <a:gd name="connsiteX36" fmla="*/ 531018 w 1059656"/>
              <a:gd name="connsiteY36" fmla="*/ 33337 h 531019"/>
              <a:gd name="connsiteX37" fmla="*/ 497681 w 1059656"/>
              <a:gd name="connsiteY37" fmla="*/ 57150 h 531019"/>
              <a:gd name="connsiteX38" fmla="*/ 481012 w 1059656"/>
              <a:gd name="connsiteY38" fmla="*/ 76200 h 531019"/>
              <a:gd name="connsiteX39" fmla="*/ 466725 w 1059656"/>
              <a:gd name="connsiteY39" fmla="*/ 92869 h 531019"/>
              <a:gd name="connsiteX40" fmla="*/ 450056 w 1059656"/>
              <a:gd name="connsiteY40" fmla="*/ 111919 h 531019"/>
              <a:gd name="connsiteX41" fmla="*/ 454818 w 1059656"/>
              <a:gd name="connsiteY41" fmla="*/ 138112 h 531019"/>
              <a:gd name="connsiteX42" fmla="*/ 423862 w 1059656"/>
              <a:gd name="connsiteY42" fmla="*/ 161925 h 531019"/>
              <a:gd name="connsiteX43" fmla="*/ 371475 w 1059656"/>
              <a:gd name="connsiteY43" fmla="*/ 171450 h 531019"/>
              <a:gd name="connsiteX44" fmla="*/ 330993 w 1059656"/>
              <a:gd name="connsiteY44" fmla="*/ 190500 h 531019"/>
              <a:gd name="connsiteX45" fmla="*/ 321468 w 1059656"/>
              <a:gd name="connsiteY45" fmla="*/ 228600 h 531019"/>
              <a:gd name="connsiteX46" fmla="*/ 319087 w 1059656"/>
              <a:gd name="connsiteY46" fmla="*/ 235744 h 531019"/>
              <a:gd name="connsiteX47" fmla="*/ 266700 w 1059656"/>
              <a:gd name="connsiteY47" fmla="*/ 252412 h 531019"/>
              <a:gd name="connsiteX48" fmla="*/ 180975 w 1059656"/>
              <a:gd name="connsiteY48" fmla="*/ 283369 h 531019"/>
              <a:gd name="connsiteX49" fmla="*/ 157162 w 1059656"/>
              <a:gd name="connsiteY49" fmla="*/ 276225 h 531019"/>
              <a:gd name="connsiteX50" fmla="*/ 128587 w 1059656"/>
              <a:gd name="connsiteY50" fmla="*/ 266700 h 531019"/>
              <a:gd name="connsiteX51" fmla="*/ 130968 w 1059656"/>
              <a:gd name="connsiteY51" fmla="*/ 326231 h 531019"/>
              <a:gd name="connsiteX52" fmla="*/ 169068 w 1059656"/>
              <a:gd name="connsiteY52" fmla="*/ 354806 h 531019"/>
              <a:gd name="connsiteX53" fmla="*/ 185737 w 1059656"/>
              <a:gd name="connsiteY53" fmla="*/ 378619 h 531019"/>
              <a:gd name="connsiteX54" fmla="*/ 180975 w 1059656"/>
              <a:gd name="connsiteY54" fmla="*/ 409575 h 531019"/>
              <a:gd name="connsiteX55" fmla="*/ 173831 w 1059656"/>
              <a:gd name="connsiteY55" fmla="*/ 438150 h 531019"/>
              <a:gd name="connsiteX56" fmla="*/ 130968 w 1059656"/>
              <a:gd name="connsiteY56" fmla="*/ 440531 h 531019"/>
              <a:gd name="connsiteX57" fmla="*/ 95250 w 1059656"/>
              <a:gd name="connsiteY57" fmla="*/ 454819 h 531019"/>
              <a:gd name="connsiteX58" fmla="*/ 71437 w 1059656"/>
              <a:gd name="connsiteY58" fmla="*/ 459581 h 531019"/>
              <a:gd name="connsiteX59" fmla="*/ 50006 w 1059656"/>
              <a:gd name="connsiteY59" fmla="*/ 471487 h 531019"/>
              <a:gd name="connsiteX60" fmla="*/ 30956 w 1059656"/>
              <a:gd name="connsiteY60" fmla="*/ 488156 h 531019"/>
              <a:gd name="connsiteX61" fmla="*/ 7143 w 1059656"/>
              <a:gd name="connsiteY61" fmla="*/ 495300 h 531019"/>
              <a:gd name="connsiteX62" fmla="*/ 0 w 1059656"/>
              <a:gd name="connsiteY62" fmla="*/ 500062 h 531019"/>
              <a:gd name="connsiteX63" fmla="*/ 38100 w 1059656"/>
              <a:gd name="connsiteY63" fmla="*/ 528637 h 531019"/>
              <a:gd name="connsiteX64" fmla="*/ 80962 w 1059656"/>
              <a:gd name="connsiteY64" fmla="*/ 526256 h 531019"/>
              <a:gd name="connsiteX65" fmla="*/ 116681 w 1059656"/>
              <a:gd name="connsiteY65" fmla="*/ 492919 h 531019"/>
              <a:gd name="connsiteX66" fmla="*/ 171450 w 1059656"/>
              <a:gd name="connsiteY66" fmla="*/ 466725 h 531019"/>
              <a:gd name="connsiteX67" fmla="*/ 278606 w 1059656"/>
              <a:gd name="connsiteY67" fmla="*/ 459581 h 531019"/>
              <a:gd name="connsiteX68" fmla="*/ 292893 w 1059656"/>
              <a:gd name="connsiteY68" fmla="*/ 447675 h 531019"/>
              <a:gd name="connsiteX69" fmla="*/ 357187 w 1059656"/>
              <a:gd name="connsiteY69" fmla="*/ 447675 h 531019"/>
              <a:gd name="connsiteX70" fmla="*/ 433387 w 1059656"/>
              <a:gd name="connsiteY70" fmla="*/ 354806 h 531019"/>
              <a:gd name="connsiteX71" fmla="*/ 559593 w 1059656"/>
              <a:gd name="connsiteY71" fmla="*/ 295275 h 531019"/>
              <a:gd name="connsiteX72" fmla="*/ 619125 w 1059656"/>
              <a:gd name="connsiteY72" fmla="*/ 288131 h 531019"/>
              <a:gd name="connsiteX73" fmla="*/ 654843 w 1059656"/>
              <a:gd name="connsiteY73" fmla="*/ 261937 h 531019"/>
              <a:gd name="connsiteX74" fmla="*/ 716756 w 1059656"/>
              <a:gd name="connsiteY74" fmla="*/ 259556 h 531019"/>
              <a:gd name="connsiteX75" fmla="*/ 771525 w 1059656"/>
              <a:gd name="connsiteY75" fmla="*/ 252412 h 531019"/>
              <a:gd name="connsiteX76" fmla="*/ 781050 w 1059656"/>
              <a:gd name="connsiteY76" fmla="*/ 290512 h 531019"/>
              <a:gd name="connsiteX77" fmla="*/ 773906 w 1059656"/>
              <a:gd name="connsiteY77" fmla="*/ 411956 h 531019"/>
              <a:gd name="connsiteX78" fmla="*/ 707231 w 1059656"/>
              <a:gd name="connsiteY78" fmla="*/ 428625 h 531019"/>
              <a:gd name="connsiteX79" fmla="*/ 652462 w 1059656"/>
              <a:gd name="connsiteY79" fmla="*/ 481012 h 531019"/>
              <a:gd name="connsiteX80" fmla="*/ 676275 w 1059656"/>
              <a:gd name="connsiteY80" fmla="*/ 500062 h 531019"/>
              <a:gd name="connsiteX81" fmla="*/ 697706 w 1059656"/>
              <a:gd name="connsiteY81" fmla="*/ 531019 h 531019"/>
              <a:gd name="connsiteX0" fmla="*/ 697706 w 1059656"/>
              <a:gd name="connsiteY0" fmla="*/ 531019 h 531019"/>
              <a:gd name="connsiteX1" fmla="*/ 778668 w 1059656"/>
              <a:gd name="connsiteY1" fmla="*/ 459581 h 531019"/>
              <a:gd name="connsiteX2" fmla="*/ 816768 w 1059656"/>
              <a:gd name="connsiteY2" fmla="*/ 440531 h 531019"/>
              <a:gd name="connsiteX3" fmla="*/ 852487 w 1059656"/>
              <a:gd name="connsiteY3" fmla="*/ 438150 h 531019"/>
              <a:gd name="connsiteX4" fmla="*/ 916781 w 1059656"/>
              <a:gd name="connsiteY4" fmla="*/ 423862 h 531019"/>
              <a:gd name="connsiteX5" fmla="*/ 950118 w 1059656"/>
              <a:gd name="connsiteY5" fmla="*/ 426244 h 531019"/>
              <a:gd name="connsiteX6" fmla="*/ 988218 w 1059656"/>
              <a:gd name="connsiteY6" fmla="*/ 442912 h 531019"/>
              <a:gd name="connsiteX7" fmla="*/ 1019175 w 1059656"/>
              <a:gd name="connsiteY7" fmla="*/ 411956 h 531019"/>
              <a:gd name="connsiteX8" fmla="*/ 992981 w 1059656"/>
              <a:gd name="connsiteY8" fmla="*/ 381000 h 531019"/>
              <a:gd name="connsiteX9" fmla="*/ 988218 w 1059656"/>
              <a:gd name="connsiteY9" fmla="*/ 350044 h 531019"/>
              <a:gd name="connsiteX10" fmla="*/ 995362 w 1059656"/>
              <a:gd name="connsiteY10" fmla="*/ 311944 h 531019"/>
              <a:gd name="connsiteX11" fmla="*/ 1023937 w 1059656"/>
              <a:gd name="connsiteY11" fmla="*/ 271462 h 531019"/>
              <a:gd name="connsiteX12" fmla="*/ 1052512 w 1059656"/>
              <a:gd name="connsiteY12" fmla="*/ 261937 h 531019"/>
              <a:gd name="connsiteX13" fmla="*/ 1059656 w 1059656"/>
              <a:gd name="connsiteY13" fmla="*/ 233362 h 531019"/>
              <a:gd name="connsiteX14" fmla="*/ 1047750 w 1059656"/>
              <a:gd name="connsiteY14" fmla="*/ 204787 h 531019"/>
              <a:gd name="connsiteX15" fmla="*/ 1019175 w 1059656"/>
              <a:gd name="connsiteY15" fmla="*/ 195262 h 531019"/>
              <a:gd name="connsiteX16" fmla="*/ 992981 w 1059656"/>
              <a:gd name="connsiteY16" fmla="*/ 202406 h 531019"/>
              <a:gd name="connsiteX17" fmla="*/ 935831 w 1059656"/>
              <a:gd name="connsiteY17" fmla="*/ 221456 h 531019"/>
              <a:gd name="connsiteX18" fmla="*/ 900112 w 1059656"/>
              <a:gd name="connsiteY18" fmla="*/ 226219 h 531019"/>
              <a:gd name="connsiteX19" fmla="*/ 878681 w 1059656"/>
              <a:gd name="connsiteY19" fmla="*/ 209550 h 531019"/>
              <a:gd name="connsiteX20" fmla="*/ 873918 w 1059656"/>
              <a:gd name="connsiteY20" fmla="*/ 195262 h 531019"/>
              <a:gd name="connsiteX21" fmla="*/ 881062 w 1059656"/>
              <a:gd name="connsiteY21" fmla="*/ 152400 h 531019"/>
              <a:gd name="connsiteX22" fmla="*/ 888206 w 1059656"/>
              <a:gd name="connsiteY22" fmla="*/ 116681 h 531019"/>
              <a:gd name="connsiteX23" fmla="*/ 871537 w 1059656"/>
              <a:gd name="connsiteY23" fmla="*/ 78581 h 531019"/>
              <a:gd name="connsiteX24" fmla="*/ 840581 w 1059656"/>
              <a:gd name="connsiteY24" fmla="*/ 61912 h 531019"/>
              <a:gd name="connsiteX25" fmla="*/ 862012 w 1059656"/>
              <a:gd name="connsiteY25" fmla="*/ 14287 h 531019"/>
              <a:gd name="connsiteX26" fmla="*/ 809625 w 1059656"/>
              <a:gd name="connsiteY26" fmla="*/ 0 h 531019"/>
              <a:gd name="connsiteX27" fmla="*/ 797718 w 1059656"/>
              <a:gd name="connsiteY27" fmla="*/ 16669 h 531019"/>
              <a:gd name="connsiteX28" fmla="*/ 757237 w 1059656"/>
              <a:gd name="connsiteY28" fmla="*/ 11906 h 531019"/>
              <a:gd name="connsiteX29" fmla="*/ 735806 w 1059656"/>
              <a:gd name="connsiteY29" fmla="*/ 16669 h 531019"/>
              <a:gd name="connsiteX30" fmla="*/ 719137 w 1059656"/>
              <a:gd name="connsiteY30" fmla="*/ 45244 h 531019"/>
              <a:gd name="connsiteX31" fmla="*/ 723900 w 1059656"/>
              <a:gd name="connsiteY31" fmla="*/ 64294 h 531019"/>
              <a:gd name="connsiteX32" fmla="*/ 707231 w 1059656"/>
              <a:gd name="connsiteY32" fmla="*/ 78581 h 531019"/>
              <a:gd name="connsiteX33" fmla="*/ 631031 w 1059656"/>
              <a:gd name="connsiteY33" fmla="*/ 80962 h 531019"/>
              <a:gd name="connsiteX34" fmla="*/ 597693 w 1059656"/>
              <a:gd name="connsiteY34" fmla="*/ 66675 h 531019"/>
              <a:gd name="connsiteX35" fmla="*/ 569118 w 1059656"/>
              <a:gd name="connsiteY35" fmla="*/ 38100 h 531019"/>
              <a:gd name="connsiteX36" fmla="*/ 531018 w 1059656"/>
              <a:gd name="connsiteY36" fmla="*/ 33337 h 531019"/>
              <a:gd name="connsiteX37" fmla="*/ 497681 w 1059656"/>
              <a:gd name="connsiteY37" fmla="*/ 57150 h 531019"/>
              <a:gd name="connsiteX38" fmla="*/ 481012 w 1059656"/>
              <a:gd name="connsiteY38" fmla="*/ 76200 h 531019"/>
              <a:gd name="connsiteX39" fmla="*/ 466725 w 1059656"/>
              <a:gd name="connsiteY39" fmla="*/ 92869 h 531019"/>
              <a:gd name="connsiteX40" fmla="*/ 450056 w 1059656"/>
              <a:gd name="connsiteY40" fmla="*/ 111919 h 531019"/>
              <a:gd name="connsiteX41" fmla="*/ 454818 w 1059656"/>
              <a:gd name="connsiteY41" fmla="*/ 138112 h 531019"/>
              <a:gd name="connsiteX42" fmla="*/ 423862 w 1059656"/>
              <a:gd name="connsiteY42" fmla="*/ 161925 h 531019"/>
              <a:gd name="connsiteX43" fmla="*/ 371475 w 1059656"/>
              <a:gd name="connsiteY43" fmla="*/ 171450 h 531019"/>
              <a:gd name="connsiteX44" fmla="*/ 330993 w 1059656"/>
              <a:gd name="connsiteY44" fmla="*/ 190500 h 531019"/>
              <a:gd name="connsiteX45" fmla="*/ 321468 w 1059656"/>
              <a:gd name="connsiteY45" fmla="*/ 228600 h 531019"/>
              <a:gd name="connsiteX46" fmla="*/ 319087 w 1059656"/>
              <a:gd name="connsiteY46" fmla="*/ 235744 h 531019"/>
              <a:gd name="connsiteX47" fmla="*/ 266700 w 1059656"/>
              <a:gd name="connsiteY47" fmla="*/ 252412 h 531019"/>
              <a:gd name="connsiteX48" fmla="*/ 180975 w 1059656"/>
              <a:gd name="connsiteY48" fmla="*/ 283369 h 531019"/>
              <a:gd name="connsiteX49" fmla="*/ 157162 w 1059656"/>
              <a:gd name="connsiteY49" fmla="*/ 276225 h 531019"/>
              <a:gd name="connsiteX50" fmla="*/ 128587 w 1059656"/>
              <a:gd name="connsiteY50" fmla="*/ 266700 h 531019"/>
              <a:gd name="connsiteX51" fmla="*/ 130968 w 1059656"/>
              <a:gd name="connsiteY51" fmla="*/ 326231 h 531019"/>
              <a:gd name="connsiteX52" fmla="*/ 169068 w 1059656"/>
              <a:gd name="connsiteY52" fmla="*/ 354806 h 531019"/>
              <a:gd name="connsiteX53" fmla="*/ 185737 w 1059656"/>
              <a:gd name="connsiteY53" fmla="*/ 378619 h 531019"/>
              <a:gd name="connsiteX54" fmla="*/ 180975 w 1059656"/>
              <a:gd name="connsiteY54" fmla="*/ 409575 h 531019"/>
              <a:gd name="connsiteX55" fmla="*/ 173831 w 1059656"/>
              <a:gd name="connsiteY55" fmla="*/ 438150 h 531019"/>
              <a:gd name="connsiteX56" fmla="*/ 130968 w 1059656"/>
              <a:gd name="connsiteY56" fmla="*/ 440531 h 531019"/>
              <a:gd name="connsiteX57" fmla="*/ 95250 w 1059656"/>
              <a:gd name="connsiteY57" fmla="*/ 454819 h 531019"/>
              <a:gd name="connsiteX58" fmla="*/ 71437 w 1059656"/>
              <a:gd name="connsiteY58" fmla="*/ 459581 h 531019"/>
              <a:gd name="connsiteX59" fmla="*/ 50006 w 1059656"/>
              <a:gd name="connsiteY59" fmla="*/ 471487 h 531019"/>
              <a:gd name="connsiteX60" fmla="*/ 30956 w 1059656"/>
              <a:gd name="connsiteY60" fmla="*/ 488156 h 531019"/>
              <a:gd name="connsiteX61" fmla="*/ 7143 w 1059656"/>
              <a:gd name="connsiteY61" fmla="*/ 495300 h 531019"/>
              <a:gd name="connsiteX62" fmla="*/ 0 w 1059656"/>
              <a:gd name="connsiteY62" fmla="*/ 500062 h 531019"/>
              <a:gd name="connsiteX63" fmla="*/ 38100 w 1059656"/>
              <a:gd name="connsiteY63" fmla="*/ 528637 h 531019"/>
              <a:gd name="connsiteX64" fmla="*/ 80962 w 1059656"/>
              <a:gd name="connsiteY64" fmla="*/ 526256 h 531019"/>
              <a:gd name="connsiteX65" fmla="*/ 116681 w 1059656"/>
              <a:gd name="connsiteY65" fmla="*/ 492919 h 531019"/>
              <a:gd name="connsiteX66" fmla="*/ 171450 w 1059656"/>
              <a:gd name="connsiteY66" fmla="*/ 466725 h 531019"/>
              <a:gd name="connsiteX67" fmla="*/ 278606 w 1059656"/>
              <a:gd name="connsiteY67" fmla="*/ 459581 h 531019"/>
              <a:gd name="connsiteX68" fmla="*/ 292893 w 1059656"/>
              <a:gd name="connsiteY68" fmla="*/ 447675 h 531019"/>
              <a:gd name="connsiteX69" fmla="*/ 357187 w 1059656"/>
              <a:gd name="connsiteY69" fmla="*/ 447675 h 531019"/>
              <a:gd name="connsiteX70" fmla="*/ 433387 w 1059656"/>
              <a:gd name="connsiteY70" fmla="*/ 354806 h 531019"/>
              <a:gd name="connsiteX71" fmla="*/ 559593 w 1059656"/>
              <a:gd name="connsiteY71" fmla="*/ 295275 h 531019"/>
              <a:gd name="connsiteX72" fmla="*/ 619125 w 1059656"/>
              <a:gd name="connsiteY72" fmla="*/ 288131 h 531019"/>
              <a:gd name="connsiteX73" fmla="*/ 654843 w 1059656"/>
              <a:gd name="connsiteY73" fmla="*/ 261937 h 531019"/>
              <a:gd name="connsiteX74" fmla="*/ 716756 w 1059656"/>
              <a:gd name="connsiteY74" fmla="*/ 259556 h 531019"/>
              <a:gd name="connsiteX75" fmla="*/ 771525 w 1059656"/>
              <a:gd name="connsiteY75" fmla="*/ 252412 h 531019"/>
              <a:gd name="connsiteX76" fmla="*/ 781050 w 1059656"/>
              <a:gd name="connsiteY76" fmla="*/ 290512 h 531019"/>
              <a:gd name="connsiteX77" fmla="*/ 773906 w 1059656"/>
              <a:gd name="connsiteY77" fmla="*/ 411956 h 531019"/>
              <a:gd name="connsiteX78" fmla="*/ 707231 w 1059656"/>
              <a:gd name="connsiteY78" fmla="*/ 428625 h 531019"/>
              <a:gd name="connsiteX79" fmla="*/ 659605 w 1059656"/>
              <a:gd name="connsiteY79" fmla="*/ 471487 h 531019"/>
              <a:gd name="connsiteX80" fmla="*/ 676275 w 1059656"/>
              <a:gd name="connsiteY80" fmla="*/ 500062 h 531019"/>
              <a:gd name="connsiteX81" fmla="*/ 697706 w 1059656"/>
              <a:gd name="connsiteY81" fmla="*/ 531019 h 531019"/>
              <a:gd name="connsiteX0" fmla="*/ 697706 w 1059656"/>
              <a:gd name="connsiteY0" fmla="*/ 531019 h 531019"/>
              <a:gd name="connsiteX1" fmla="*/ 778668 w 1059656"/>
              <a:gd name="connsiteY1" fmla="*/ 459581 h 531019"/>
              <a:gd name="connsiteX2" fmla="*/ 816768 w 1059656"/>
              <a:gd name="connsiteY2" fmla="*/ 440531 h 531019"/>
              <a:gd name="connsiteX3" fmla="*/ 852487 w 1059656"/>
              <a:gd name="connsiteY3" fmla="*/ 438150 h 531019"/>
              <a:gd name="connsiteX4" fmla="*/ 916781 w 1059656"/>
              <a:gd name="connsiteY4" fmla="*/ 423862 h 531019"/>
              <a:gd name="connsiteX5" fmla="*/ 950118 w 1059656"/>
              <a:gd name="connsiteY5" fmla="*/ 426244 h 531019"/>
              <a:gd name="connsiteX6" fmla="*/ 988218 w 1059656"/>
              <a:gd name="connsiteY6" fmla="*/ 442912 h 531019"/>
              <a:gd name="connsiteX7" fmla="*/ 1019175 w 1059656"/>
              <a:gd name="connsiteY7" fmla="*/ 411956 h 531019"/>
              <a:gd name="connsiteX8" fmla="*/ 992981 w 1059656"/>
              <a:gd name="connsiteY8" fmla="*/ 381000 h 531019"/>
              <a:gd name="connsiteX9" fmla="*/ 988218 w 1059656"/>
              <a:gd name="connsiteY9" fmla="*/ 350044 h 531019"/>
              <a:gd name="connsiteX10" fmla="*/ 995362 w 1059656"/>
              <a:gd name="connsiteY10" fmla="*/ 311944 h 531019"/>
              <a:gd name="connsiteX11" fmla="*/ 1023937 w 1059656"/>
              <a:gd name="connsiteY11" fmla="*/ 271462 h 531019"/>
              <a:gd name="connsiteX12" fmla="*/ 1052512 w 1059656"/>
              <a:gd name="connsiteY12" fmla="*/ 261937 h 531019"/>
              <a:gd name="connsiteX13" fmla="*/ 1059656 w 1059656"/>
              <a:gd name="connsiteY13" fmla="*/ 233362 h 531019"/>
              <a:gd name="connsiteX14" fmla="*/ 1047750 w 1059656"/>
              <a:gd name="connsiteY14" fmla="*/ 204787 h 531019"/>
              <a:gd name="connsiteX15" fmla="*/ 1019175 w 1059656"/>
              <a:gd name="connsiteY15" fmla="*/ 195262 h 531019"/>
              <a:gd name="connsiteX16" fmla="*/ 992981 w 1059656"/>
              <a:gd name="connsiteY16" fmla="*/ 202406 h 531019"/>
              <a:gd name="connsiteX17" fmla="*/ 935831 w 1059656"/>
              <a:gd name="connsiteY17" fmla="*/ 221456 h 531019"/>
              <a:gd name="connsiteX18" fmla="*/ 900112 w 1059656"/>
              <a:gd name="connsiteY18" fmla="*/ 226219 h 531019"/>
              <a:gd name="connsiteX19" fmla="*/ 878681 w 1059656"/>
              <a:gd name="connsiteY19" fmla="*/ 209550 h 531019"/>
              <a:gd name="connsiteX20" fmla="*/ 873918 w 1059656"/>
              <a:gd name="connsiteY20" fmla="*/ 195262 h 531019"/>
              <a:gd name="connsiteX21" fmla="*/ 881062 w 1059656"/>
              <a:gd name="connsiteY21" fmla="*/ 152400 h 531019"/>
              <a:gd name="connsiteX22" fmla="*/ 888206 w 1059656"/>
              <a:gd name="connsiteY22" fmla="*/ 116681 h 531019"/>
              <a:gd name="connsiteX23" fmla="*/ 871537 w 1059656"/>
              <a:gd name="connsiteY23" fmla="*/ 78581 h 531019"/>
              <a:gd name="connsiteX24" fmla="*/ 840581 w 1059656"/>
              <a:gd name="connsiteY24" fmla="*/ 61912 h 531019"/>
              <a:gd name="connsiteX25" fmla="*/ 862012 w 1059656"/>
              <a:gd name="connsiteY25" fmla="*/ 14287 h 531019"/>
              <a:gd name="connsiteX26" fmla="*/ 809625 w 1059656"/>
              <a:gd name="connsiteY26" fmla="*/ 0 h 531019"/>
              <a:gd name="connsiteX27" fmla="*/ 797718 w 1059656"/>
              <a:gd name="connsiteY27" fmla="*/ 16669 h 531019"/>
              <a:gd name="connsiteX28" fmla="*/ 757237 w 1059656"/>
              <a:gd name="connsiteY28" fmla="*/ 11906 h 531019"/>
              <a:gd name="connsiteX29" fmla="*/ 735806 w 1059656"/>
              <a:gd name="connsiteY29" fmla="*/ 16669 h 531019"/>
              <a:gd name="connsiteX30" fmla="*/ 719137 w 1059656"/>
              <a:gd name="connsiteY30" fmla="*/ 45244 h 531019"/>
              <a:gd name="connsiteX31" fmla="*/ 723900 w 1059656"/>
              <a:gd name="connsiteY31" fmla="*/ 64294 h 531019"/>
              <a:gd name="connsiteX32" fmla="*/ 707231 w 1059656"/>
              <a:gd name="connsiteY32" fmla="*/ 78581 h 531019"/>
              <a:gd name="connsiteX33" fmla="*/ 631031 w 1059656"/>
              <a:gd name="connsiteY33" fmla="*/ 80962 h 531019"/>
              <a:gd name="connsiteX34" fmla="*/ 597693 w 1059656"/>
              <a:gd name="connsiteY34" fmla="*/ 66675 h 531019"/>
              <a:gd name="connsiteX35" fmla="*/ 569118 w 1059656"/>
              <a:gd name="connsiteY35" fmla="*/ 38100 h 531019"/>
              <a:gd name="connsiteX36" fmla="*/ 531018 w 1059656"/>
              <a:gd name="connsiteY36" fmla="*/ 33337 h 531019"/>
              <a:gd name="connsiteX37" fmla="*/ 497681 w 1059656"/>
              <a:gd name="connsiteY37" fmla="*/ 57150 h 531019"/>
              <a:gd name="connsiteX38" fmla="*/ 481012 w 1059656"/>
              <a:gd name="connsiteY38" fmla="*/ 76200 h 531019"/>
              <a:gd name="connsiteX39" fmla="*/ 466725 w 1059656"/>
              <a:gd name="connsiteY39" fmla="*/ 92869 h 531019"/>
              <a:gd name="connsiteX40" fmla="*/ 450056 w 1059656"/>
              <a:gd name="connsiteY40" fmla="*/ 111919 h 531019"/>
              <a:gd name="connsiteX41" fmla="*/ 454818 w 1059656"/>
              <a:gd name="connsiteY41" fmla="*/ 138112 h 531019"/>
              <a:gd name="connsiteX42" fmla="*/ 423862 w 1059656"/>
              <a:gd name="connsiteY42" fmla="*/ 161925 h 531019"/>
              <a:gd name="connsiteX43" fmla="*/ 371475 w 1059656"/>
              <a:gd name="connsiteY43" fmla="*/ 171450 h 531019"/>
              <a:gd name="connsiteX44" fmla="*/ 330993 w 1059656"/>
              <a:gd name="connsiteY44" fmla="*/ 190500 h 531019"/>
              <a:gd name="connsiteX45" fmla="*/ 321468 w 1059656"/>
              <a:gd name="connsiteY45" fmla="*/ 228600 h 531019"/>
              <a:gd name="connsiteX46" fmla="*/ 319087 w 1059656"/>
              <a:gd name="connsiteY46" fmla="*/ 235744 h 531019"/>
              <a:gd name="connsiteX47" fmla="*/ 266700 w 1059656"/>
              <a:gd name="connsiteY47" fmla="*/ 252412 h 531019"/>
              <a:gd name="connsiteX48" fmla="*/ 180975 w 1059656"/>
              <a:gd name="connsiteY48" fmla="*/ 283369 h 531019"/>
              <a:gd name="connsiteX49" fmla="*/ 157162 w 1059656"/>
              <a:gd name="connsiteY49" fmla="*/ 276225 h 531019"/>
              <a:gd name="connsiteX50" fmla="*/ 128587 w 1059656"/>
              <a:gd name="connsiteY50" fmla="*/ 266700 h 531019"/>
              <a:gd name="connsiteX51" fmla="*/ 130968 w 1059656"/>
              <a:gd name="connsiteY51" fmla="*/ 326231 h 531019"/>
              <a:gd name="connsiteX52" fmla="*/ 169068 w 1059656"/>
              <a:gd name="connsiteY52" fmla="*/ 354806 h 531019"/>
              <a:gd name="connsiteX53" fmla="*/ 185737 w 1059656"/>
              <a:gd name="connsiteY53" fmla="*/ 378619 h 531019"/>
              <a:gd name="connsiteX54" fmla="*/ 180975 w 1059656"/>
              <a:gd name="connsiteY54" fmla="*/ 409575 h 531019"/>
              <a:gd name="connsiteX55" fmla="*/ 173831 w 1059656"/>
              <a:gd name="connsiteY55" fmla="*/ 438150 h 531019"/>
              <a:gd name="connsiteX56" fmla="*/ 130968 w 1059656"/>
              <a:gd name="connsiteY56" fmla="*/ 440531 h 531019"/>
              <a:gd name="connsiteX57" fmla="*/ 95250 w 1059656"/>
              <a:gd name="connsiteY57" fmla="*/ 454819 h 531019"/>
              <a:gd name="connsiteX58" fmla="*/ 71437 w 1059656"/>
              <a:gd name="connsiteY58" fmla="*/ 459581 h 531019"/>
              <a:gd name="connsiteX59" fmla="*/ 50006 w 1059656"/>
              <a:gd name="connsiteY59" fmla="*/ 471487 h 531019"/>
              <a:gd name="connsiteX60" fmla="*/ 30956 w 1059656"/>
              <a:gd name="connsiteY60" fmla="*/ 488156 h 531019"/>
              <a:gd name="connsiteX61" fmla="*/ 7143 w 1059656"/>
              <a:gd name="connsiteY61" fmla="*/ 495300 h 531019"/>
              <a:gd name="connsiteX62" fmla="*/ 0 w 1059656"/>
              <a:gd name="connsiteY62" fmla="*/ 500062 h 531019"/>
              <a:gd name="connsiteX63" fmla="*/ 38100 w 1059656"/>
              <a:gd name="connsiteY63" fmla="*/ 528637 h 531019"/>
              <a:gd name="connsiteX64" fmla="*/ 80962 w 1059656"/>
              <a:gd name="connsiteY64" fmla="*/ 526256 h 531019"/>
              <a:gd name="connsiteX65" fmla="*/ 116681 w 1059656"/>
              <a:gd name="connsiteY65" fmla="*/ 492919 h 531019"/>
              <a:gd name="connsiteX66" fmla="*/ 171450 w 1059656"/>
              <a:gd name="connsiteY66" fmla="*/ 466725 h 531019"/>
              <a:gd name="connsiteX67" fmla="*/ 278606 w 1059656"/>
              <a:gd name="connsiteY67" fmla="*/ 459581 h 531019"/>
              <a:gd name="connsiteX68" fmla="*/ 292893 w 1059656"/>
              <a:gd name="connsiteY68" fmla="*/ 447675 h 531019"/>
              <a:gd name="connsiteX69" fmla="*/ 357187 w 1059656"/>
              <a:gd name="connsiteY69" fmla="*/ 447675 h 531019"/>
              <a:gd name="connsiteX70" fmla="*/ 433387 w 1059656"/>
              <a:gd name="connsiteY70" fmla="*/ 354806 h 531019"/>
              <a:gd name="connsiteX71" fmla="*/ 559593 w 1059656"/>
              <a:gd name="connsiteY71" fmla="*/ 295275 h 531019"/>
              <a:gd name="connsiteX72" fmla="*/ 619125 w 1059656"/>
              <a:gd name="connsiteY72" fmla="*/ 288131 h 531019"/>
              <a:gd name="connsiteX73" fmla="*/ 654843 w 1059656"/>
              <a:gd name="connsiteY73" fmla="*/ 261937 h 531019"/>
              <a:gd name="connsiteX74" fmla="*/ 716756 w 1059656"/>
              <a:gd name="connsiteY74" fmla="*/ 259556 h 531019"/>
              <a:gd name="connsiteX75" fmla="*/ 771525 w 1059656"/>
              <a:gd name="connsiteY75" fmla="*/ 252412 h 531019"/>
              <a:gd name="connsiteX76" fmla="*/ 781050 w 1059656"/>
              <a:gd name="connsiteY76" fmla="*/ 290512 h 531019"/>
              <a:gd name="connsiteX77" fmla="*/ 773906 w 1059656"/>
              <a:gd name="connsiteY77" fmla="*/ 411956 h 531019"/>
              <a:gd name="connsiteX78" fmla="*/ 707231 w 1059656"/>
              <a:gd name="connsiteY78" fmla="*/ 428625 h 531019"/>
              <a:gd name="connsiteX79" fmla="*/ 657224 w 1059656"/>
              <a:gd name="connsiteY79" fmla="*/ 483393 h 531019"/>
              <a:gd name="connsiteX80" fmla="*/ 676275 w 1059656"/>
              <a:gd name="connsiteY80" fmla="*/ 500062 h 531019"/>
              <a:gd name="connsiteX81" fmla="*/ 697706 w 1059656"/>
              <a:gd name="connsiteY81" fmla="*/ 531019 h 531019"/>
              <a:gd name="connsiteX0" fmla="*/ 697706 w 1059656"/>
              <a:gd name="connsiteY0" fmla="*/ 531019 h 531019"/>
              <a:gd name="connsiteX1" fmla="*/ 778668 w 1059656"/>
              <a:gd name="connsiteY1" fmla="*/ 459581 h 531019"/>
              <a:gd name="connsiteX2" fmla="*/ 816768 w 1059656"/>
              <a:gd name="connsiteY2" fmla="*/ 440531 h 531019"/>
              <a:gd name="connsiteX3" fmla="*/ 852487 w 1059656"/>
              <a:gd name="connsiteY3" fmla="*/ 438150 h 531019"/>
              <a:gd name="connsiteX4" fmla="*/ 916781 w 1059656"/>
              <a:gd name="connsiteY4" fmla="*/ 423862 h 531019"/>
              <a:gd name="connsiteX5" fmla="*/ 950118 w 1059656"/>
              <a:gd name="connsiteY5" fmla="*/ 426244 h 531019"/>
              <a:gd name="connsiteX6" fmla="*/ 988218 w 1059656"/>
              <a:gd name="connsiteY6" fmla="*/ 442912 h 531019"/>
              <a:gd name="connsiteX7" fmla="*/ 1019175 w 1059656"/>
              <a:gd name="connsiteY7" fmla="*/ 411956 h 531019"/>
              <a:gd name="connsiteX8" fmla="*/ 992981 w 1059656"/>
              <a:gd name="connsiteY8" fmla="*/ 381000 h 531019"/>
              <a:gd name="connsiteX9" fmla="*/ 988218 w 1059656"/>
              <a:gd name="connsiteY9" fmla="*/ 350044 h 531019"/>
              <a:gd name="connsiteX10" fmla="*/ 995362 w 1059656"/>
              <a:gd name="connsiteY10" fmla="*/ 311944 h 531019"/>
              <a:gd name="connsiteX11" fmla="*/ 1023937 w 1059656"/>
              <a:gd name="connsiteY11" fmla="*/ 271462 h 531019"/>
              <a:gd name="connsiteX12" fmla="*/ 1052512 w 1059656"/>
              <a:gd name="connsiteY12" fmla="*/ 261937 h 531019"/>
              <a:gd name="connsiteX13" fmla="*/ 1059656 w 1059656"/>
              <a:gd name="connsiteY13" fmla="*/ 233362 h 531019"/>
              <a:gd name="connsiteX14" fmla="*/ 1047750 w 1059656"/>
              <a:gd name="connsiteY14" fmla="*/ 204787 h 531019"/>
              <a:gd name="connsiteX15" fmla="*/ 1019175 w 1059656"/>
              <a:gd name="connsiteY15" fmla="*/ 195262 h 531019"/>
              <a:gd name="connsiteX16" fmla="*/ 992981 w 1059656"/>
              <a:gd name="connsiteY16" fmla="*/ 202406 h 531019"/>
              <a:gd name="connsiteX17" fmla="*/ 935831 w 1059656"/>
              <a:gd name="connsiteY17" fmla="*/ 221456 h 531019"/>
              <a:gd name="connsiteX18" fmla="*/ 900112 w 1059656"/>
              <a:gd name="connsiteY18" fmla="*/ 226219 h 531019"/>
              <a:gd name="connsiteX19" fmla="*/ 878681 w 1059656"/>
              <a:gd name="connsiteY19" fmla="*/ 209550 h 531019"/>
              <a:gd name="connsiteX20" fmla="*/ 873918 w 1059656"/>
              <a:gd name="connsiteY20" fmla="*/ 195262 h 531019"/>
              <a:gd name="connsiteX21" fmla="*/ 881062 w 1059656"/>
              <a:gd name="connsiteY21" fmla="*/ 152400 h 531019"/>
              <a:gd name="connsiteX22" fmla="*/ 888206 w 1059656"/>
              <a:gd name="connsiteY22" fmla="*/ 116681 h 531019"/>
              <a:gd name="connsiteX23" fmla="*/ 871537 w 1059656"/>
              <a:gd name="connsiteY23" fmla="*/ 78581 h 531019"/>
              <a:gd name="connsiteX24" fmla="*/ 840581 w 1059656"/>
              <a:gd name="connsiteY24" fmla="*/ 61912 h 531019"/>
              <a:gd name="connsiteX25" fmla="*/ 862012 w 1059656"/>
              <a:gd name="connsiteY25" fmla="*/ 14287 h 531019"/>
              <a:gd name="connsiteX26" fmla="*/ 809625 w 1059656"/>
              <a:gd name="connsiteY26" fmla="*/ 0 h 531019"/>
              <a:gd name="connsiteX27" fmla="*/ 797718 w 1059656"/>
              <a:gd name="connsiteY27" fmla="*/ 16669 h 531019"/>
              <a:gd name="connsiteX28" fmla="*/ 757237 w 1059656"/>
              <a:gd name="connsiteY28" fmla="*/ 11906 h 531019"/>
              <a:gd name="connsiteX29" fmla="*/ 735806 w 1059656"/>
              <a:gd name="connsiteY29" fmla="*/ 16669 h 531019"/>
              <a:gd name="connsiteX30" fmla="*/ 719137 w 1059656"/>
              <a:gd name="connsiteY30" fmla="*/ 45244 h 531019"/>
              <a:gd name="connsiteX31" fmla="*/ 723900 w 1059656"/>
              <a:gd name="connsiteY31" fmla="*/ 64294 h 531019"/>
              <a:gd name="connsiteX32" fmla="*/ 707231 w 1059656"/>
              <a:gd name="connsiteY32" fmla="*/ 78581 h 531019"/>
              <a:gd name="connsiteX33" fmla="*/ 631031 w 1059656"/>
              <a:gd name="connsiteY33" fmla="*/ 80962 h 531019"/>
              <a:gd name="connsiteX34" fmla="*/ 597693 w 1059656"/>
              <a:gd name="connsiteY34" fmla="*/ 66675 h 531019"/>
              <a:gd name="connsiteX35" fmla="*/ 569118 w 1059656"/>
              <a:gd name="connsiteY35" fmla="*/ 38100 h 531019"/>
              <a:gd name="connsiteX36" fmla="*/ 531018 w 1059656"/>
              <a:gd name="connsiteY36" fmla="*/ 33337 h 531019"/>
              <a:gd name="connsiteX37" fmla="*/ 497681 w 1059656"/>
              <a:gd name="connsiteY37" fmla="*/ 57150 h 531019"/>
              <a:gd name="connsiteX38" fmla="*/ 481012 w 1059656"/>
              <a:gd name="connsiteY38" fmla="*/ 76200 h 531019"/>
              <a:gd name="connsiteX39" fmla="*/ 466725 w 1059656"/>
              <a:gd name="connsiteY39" fmla="*/ 92869 h 531019"/>
              <a:gd name="connsiteX40" fmla="*/ 450056 w 1059656"/>
              <a:gd name="connsiteY40" fmla="*/ 111919 h 531019"/>
              <a:gd name="connsiteX41" fmla="*/ 454818 w 1059656"/>
              <a:gd name="connsiteY41" fmla="*/ 138112 h 531019"/>
              <a:gd name="connsiteX42" fmla="*/ 423862 w 1059656"/>
              <a:gd name="connsiteY42" fmla="*/ 161925 h 531019"/>
              <a:gd name="connsiteX43" fmla="*/ 371475 w 1059656"/>
              <a:gd name="connsiteY43" fmla="*/ 171450 h 531019"/>
              <a:gd name="connsiteX44" fmla="*/ 330993 w 1059656"/>
              <a:gd name="connsiteY44" fmla="*/ 190500 h 531019"/>
              <a:gd name="connsiteX45" fmla="*/ 321468 w 1059656"/>
              <a:gd name="connsiteY45" fmla="*/ 228600 h 531019"/>
              <a:gd name="connsiteX46" fmla="*/ 319087 w 1059656"/>
              <a:gd name="connsiteY46" fmla="*/ 235744 h 531019"/>
              <a:gd name="connsiteX47" fmla="*/ 266700 w 1059656"/>
              <a:gd name="connsiteY47" fmla="*/ 252412 h 531019"/>
              <a:gd name="connsiteX48" fmla="*/ 180975 w 1059656"/>
              <a:gd name="connsiteY48" fmla="*/ 283369 h 531019"/>
              <a:gd name="connsiteX49" fmla="*/ 157162 w 1059656"/>
              <a:gd name="connsiteY49" fmla="*/ 276225 h 531019"/>
              <a:gd name="connsiteX50" fmla="*/ 128587 w 1059656"/>
              <a:gd name="connsiteY50" fmla="*/ 266700 h 531019"/>
              <a:gd name="connsiteX51" fmla="*/ 130968 w 1059656"/>
              <a:gd name="connsiteY51" fmla="*/ 326231 h 531019"/>
              <a:gd name="connsiteX52" fmla="*/ 169068 w 1059656"/>
              <a:gd name="connsiteY52" fmla="*/ 354806 h 531019"/>
              <a:gd name="connsiteX53" fmla="*/ 185737 w 1059656"/>
              <a:gd name="connsiteY53" fmla="*/ 378619 h 531019"/>
              <a:gd name="connsiteX54" fmla="*/ 180975 w 1059656"/>
              <a:gd name="connsiteY54" fmla="*/ 409575 h 531019"/>
              <a:gd name="connsiteX55" fmla="*/ 173831 w 1059656"/>
              <a:gd name="connsiteY55" fmla="*/ 438150 h 531019"/>
              <a:gd name="connsiteX56" fmla="*/ 130968 w 1059656"/>
              <a:gd name="connsiteY56" fmla="*/ 440531 h 531019"/>
              <a:gd name="connsiteX57" fmla="*/ 95250 w 1059656"/>
              <a:gd name="connsiteY57" fmla="*/ 454819 h 531019"/>
              <a:gd name="connsiteX58" fmla="*/ 71437 w 1059656"/>
              <a:gd name="connsiteY58" fmla="*/ 459581 h 531019"/>
              <a:gd name="connsiteX59" fmla="*/ 50006 w 1059656"/>
              <a:gd name="connsiteY59" fmla="*/ 471487 h 531019"/>
              <a:gd name="connsiteX60" fmla="*/ 30956 w 1059656"/>
              <a:gd name="connsiteY60" fmla="*/ 488156 h 531019"/>
              <a:gd name="connsiteX61" fmla="*/ 7143 w 1059656"/>
              <a:gd name="connsiteY61" fmla="*/ 495300 h 531019"/>
              <a:gd name="connsiteX62" fmla="*/ 0 w 1059656"/>
              <a:gd name="connsiteY62" fmla="*/ 500062 h 531019"/>
              <a:gd name="connsiteX63" fmla="*/ 38100 w 1059656"/>
              <a:gd name="connsiteY63" fmla="*/ 528637 h 531019"/>
              <a:gd name="connsiteX64" fmla="*/ 80962 w 1059656"/>
              <a:gd name="connsiteY64" fmla="*/ 526256 h 531019"/>
              <a:gd name="connsiteX65" fmla="*/ 116681 w 1059656"/>
              <a:gd name="connsiteY65" fmla="*/ 492919 h 531019"/>
              <a:gd name="connsiteX66" fmla="*/ 171450 w 1059656"/>
              <a:gd name="connsiteY66" fmla="*/ 466725 h 531019"/>
              <a:gd name="connsiteX67" fmla="*/ 278606 w 1059656"/>
              <a:gd name="connsiteY67" fmla="*/ 459581 h 531019"/>
              <a:gd name="connsiteX68" fmla="*/ 292893 w 1059656"/>
              <a:gd name="connsiteY68" fmla="*/ 447675 h 531019"/>
              <a:gd name="connsiteX69" fmla="*/ 357187 w 1059656"/>
              <a:gd name="connsiteY69" fmla="*/ 447675 h 531019"/>
              <a:gd name="connsiteX70" fmla="*/ 433387 w 1059656"/>
              <a:gd name="connsiteY70" fmla="*/ 354806 h 531019"/>
              <a:gd name="connsiteX71" fmla="*/ 559593 w 1059656"/>
              <a:gd name="connsiteY71" fmla="*/ 295275 h 531019"/>
              <a:gd name="connsiteX72" fmla="*/ 619125 w 1059656"/>
              <a:gd name="connsiteY72" fmla="*/ 288131 h 531019"/>
              <a:gd name="connsiteX73" fmla="*/ 654843 w 1059656"/>
              <a:gd name="connsiteY73" fmla="*/ 261937 h 531019"/>
              <a:gd name="connsiteX74" fmla="*/ 716756 w 1059656"/>
              <a:gd name="connsiteY74" fmla="*/ 259556 h 531019"/>
              <a:gd name="connsiteX75" fmla="*/ 771525 w 1059656"/>
              <a:gd name="connsiteY75" fmla="*/ 252412 h 531019"/>
              <a:gd name="connsiteX76" fmla="*/ 781050 w 1059656"/>
              <a:gd name="connsiteY76" fmla="*/ 290512 h 531019"/>
              <a:gd name="connsiteX77" fmla="*/ 773906 w 1059656"/>
              <a:gd name="connsiteY77" fmla="*/ 411956 h 531019"/>
              <a:gd name="connsiteX78" fmla="*/ 707231 w 1059656"/>
              <a:gd name="connsiteY78" fmla="*/ 428625 h 531019"/>
              <a:gd name="connsiteX79" fmla="*/ 657224 w 1059656"/>
              <a:gd name="connsiteY79" fmla="*/ 483393 h 531019"/>
              <a:gd name="connsiteX80" fmla="*/ 654844 w 1059656"/>
              <a:gd name="connsiteY80" fmla="*/ 495300 h 531019"/>
              <a:gd name="connsiteX81" fmla="*/ 697706 w 1059656"/>
              <a:gd name="connsiteY81" fmla="*/ 531019 h 531019"/>
              <a:gd name="connsiteX0" fmla="*/ 697706 w 1059656"/>
              <a:gd name="connsiteY0" fmla="*/ 531019 h 531019"/>
              <a:gd name="connsiteX1" fmla="*/ 778668 w 1059656"/>
              <a:gd name="connsiteY1" fmla="*/ 459581 h 531019"/>
              <a:gd name="connsiteX2" fmla="*/ 816768 w 1059656"/>
              <a:gd name="connsiteY2" fmla="*/ 440531 h 531019"/>
              <a:gd name="connsiteX3" fmla="*/ 852487 w 1059656"/>
              <a:gd name="connsiteY3" fmla="*/ 438150 h 531019"/>
              <a:gd name="connsiteX4" fmla="*/ 916781 w 1059656"/>
              <a:gd name="connsiteY4" fmla="*/ 423862 h 531019"/>
              <a:gd name="connsiteX5" fmla="*/ 950118 w 1059656"/>
              <a:gd name="connsiteY5" fmla="*/ 426244 h 531019"/>
              <a:gd name="connsiteX6" fmla="*/ 988218 w 1059656"/>
              <a:gd name="connsiteY6" fmla="*/ 442912 h 531019"/>
              <a:gd name="connsiteX7" fmla="*/ 1019175 w 1059656"/>
              <a:gd name="connsiteY7" fmla="*/ 411956 h 531019"/>
              <a:gd name="connsiteX8" fmla="*/ 992981 w 1059656"/>
              <a:gd name="connsiteY8" fmla="*/ 381000 h 531019"/>
              <a:gd name="connsiteX9" fmla="*/ 988218 w 1059656"/>
              <a:gd name="connsiteY9" fmla="*/ 350044 h 531019"/>
              <a:gd name="connsiteX10" fmla="*/ 995362 w 1059656"/>
              <a:gd name="connsiteY10" fmla="*/ 311944 h 531019"/>
              <a:gd name="connsiteX11" fmla="*/ 1023937 w 1059656"/>
              <a:gd name="connsiteY11" fmla="*/ 271462 h 531019"/>
              <a:gd name="connsiteX12" fmla="*/ 1052512 w 1059656"/>
              <a:gd name="connsiteY12" fmla="*/ 261937 h 531019"/>
              <a:gd name="connsiteX13" fmla="*/ 1059656 w 1059656"/>
              <a:gd name="connsiteY13" fmla="*/ 233362 h 531019"/>
              <a:gd name="connsiteX14" fmla="*/ 1047750 w 1059656"/>
              <a:gd name="connsiteY14" fmla="*/ 204787 h 531019"/>
              <a:gd name="connsiteX15" fmla="*/ 1019175 w 1059656"/>
              <a:gd name="connsiteY15" fmla="*/ 195262 h 531019"/>
              <a:gd name="connsiteX16" fmla="*/ 992981 w 1059656"/>
              <a:gd name="connsiteY16" fmla="*/ 202406 h 531019"/>
              <a:gd name="connsiteX17" fmla="*/ 935831 w 1059656"/>
              <a:gd name="connsiteY17" fmla="*/ 221456 h 531019"/>
              <a:gd name="connsiteX18" fmla="*/ 900112 w 1059656"/>
              <a:gd name="connsiteY18" fmla="*/ 226219 h 531019"/>
              <a:gd name="connsiteX19" fmla="*/ 878681 w 1059656"/>
              <a:gd name="connsiteY19" fmla="*/ 209550 h 531019"/>
              <a:gd name="connsiteX20" fmla="*/ 873918 w 1059656"/>
              <a:gd name="connsiteY20" fmla="*/ 195262 h 531019"/>
              <a:gd name="connsiteX21" fmla="*/ 881062 w 1059656"/>
              <a:gd name="connsiteY21" fmla="*/ 152400 h 531019"/>
              <a:gd name="connsiteX22" fmla="*/ 888206 w 1059656"/>
              <a:gd name="connsiteY22" fmla="*/ 116681 h 531019"/>
              <a:gd name="connsiteX23" fmla="*/ 871537 w 1059656"/>
              <a:gd name="connsiteY23" fmla="*/ 78581 h 531019"/>
              <a:gd name="connsiteX24" fmla="*/ 840581 w 1059656"/>
              <a:gd name="connsiteY24" fmla="*/ 61912 h 531019"/>
              <a:gd name="connsiteX25" fmla="*/ 862012 w 1059656"/>
              <a:gd name="connsiteY25" fmla="*/ 14287 h 531019"/>
              <a:gd name="connsiteX26" fmla="*/ 809625 w 1059656"/>
              <a:gd name="connsiteY26" fmla="*/ 0 h 531019"/>
              <a:gd name="connsiteX27" fmla="*/ 797718 w 1059656"/>
              <a:gd name="connsiteY27" fmla="*/ 16669 h 531019"/>
              <a:gd name="connsiteX28" fmla="*/ 757237 w 1059656"/>
              <a:gd name="connsiteY28" fmla="*/ 11906 h 531019"/>
              <a:gd name="connsiteX29" fmla="*/ 735806 w 1059656"/>
              <a:gd name="connsiteY29" fmla="*/ 16669 h 531019"/>
              <a:gd name="connsiteX30" fmla="*/ 719137 w 1059656"/>
              <a:gd name="connsiteY30" fmla="*/ 45244 h 531019"/>
              <a:gd name="connsiteX31" fmla="*/ 723900 w 1059656"/>
              <a:gd name="connsiteY31" fmla="*/ 64294 h 531019"/>
              <a:gd name="connsiteX32" fmla="*/ 707231 w 1059656"/>
              <a:gd name="connsiteY32" fmla="*/ 78581 h 531019"/>
              <a:gd name="connsiteX33" fmla="*/ 631031 w 1059656"/>
              <a:gd name="connsiteY33" fmla="*/ 80962 h 531019"/>
              <a:gd name="connsiteX34" fmla="*/ 597693 w 1059656"/>
              <a:gd name="connsiteY34" fmla="*/ 66675 h 531019"/>
              <a:gd name="connsiteX35" fmla="*/ 569118 w 1059656"/>
              <a:gd name="connsiteY35" fmla="*/ 38100 h 531019"/>
              <a:gd name="connsiteX36" fmla="*/ 531018 w 1059656"/>
              <a:gd name="connsiteY36" fmla="*/ 33337 h 531019"/>
              <a:gd name="connsiteX37" fmla="*/ 497681 w 1059656"/>
              <a:gd name="connsiteY37" fmla="*/ 57150 h 531019"/>
              <a:gd name="connsiteX38" fmla="*/ 481012 w 1059656"/>
              <a:gd name="connsiteY38" fmla="*/ 76200 h 531019"/>
              <a:gd name="connsiteX39" fmla="*/ 466725 w 1059656"/>
              <a:gd name="connsiteY39" fmla="*/ 92869 h 531019"/>
              <a:gd name="connsiteX40" fmla="*/ 450056 w 1059656"/>
              <a:gd name="connsiteY40" fmla="*/ 111919 h 531019"/>
              <a:gd name="connsiteX41" fmla="*/ 454818 w 1059656"/>
              <a:gd name="connsiteY41" fmla="*/ 138112 h 531019"/>
              <a:gd name="connsiteX42" fmla="*/ 423862 w 1059656"/>
              <a:gd name="connsiteY42" fmla="*/ 161925 h 531019"/>
              <a:gd name="connsiteX43" fmla="*/ 371475 w 1059656"/>
              <a:gd name="connsiteY43" fmla="*/ 171450 h 531019"/>
              <a:gd name="connsiteX44" fmla="*/ 330993 w 1059656"/>
              <a:gd name="connsiteY44" fmla="*/ 190500 h 531019"/>
              <a:gd name="connsiteX45" fmla="*/ 321468 w 1059656"/>
              <a:gd name="connsiteY45" fmla="*/ 228600 h 531019"/>
              <a:gd name="connsiteX46" fmla="*/ 319087 w 1059656"/>
              <a:gd name="connsiteY46" fmla="*/ 235744 h 531019"/>
              <a:gd name="connsiteX47" fmla="*/ 266700 w 1059656"/>
              <a:gd name="connsiteY47" fmla="*/ 252412 h 531019"/>
              <a:gd name="connsiteX48" fmla="*/ 180975 w 1059656"/>
              <a:gd name="connsiteY48" fmla="*/ 283369 h 531019"/>
              <a:gd name="connsiteX49" fmla="*/ 157162 w 1059656"/>
              <a:gd name="connsiteY49" fmla="*/ 276225 h 531019"/>
              <a:gd name="connsiteX50" fmla="*/ 128587 w 1059656"/>
              <a:gd name="connsiteY50" fmla="*/ 266700 h 531019"/>
              <a:gd name="connsiteX51" fmla="*/ 130968 w 1059656"/>
              <a:gd name="connsiteY51" fmla="*/ 326231 h 531019"/>
              <a:gd name="connsiteX52" fmla="*/ 169068 w 1059656"/>
              <a:gd name="connsiteY52" fmla="*/ 354806 h 531019"/>
              <a:gd name="connsiteX53" fmla="*/ 185737 w 1059656"/>
              <a:gd name="connsiteY53" fmla="*/ 378619 h 531019"/>
              <a:gd name="connsiteX54" fmla="*/ 180975 w 1059656"/>
              <a:gd name="connsiteY54" fmla="*/ 409575 h 531019"/>
              <a:gd name="connsiteX55" fmla="*/ 173831 w 1059656"/>
              <a:gd name="connsiteY55" fmla="*/ 438150 h 531019"/>
              <a:gd name="connsiteX56" fmla="*/ 130968 w 1059656"/>
              <a:gd name="connsiteY56" fmla="*/ 440531 h 531019"/>
              <a:gd name="connsiteX57" fmla="*/ 95250 w 1059656"/>
              <a:gd name="connsiteY57" fmla="*/ 454819 h 531019"/>
              <a:gd name="connsiteX58" fmla="*/ 71437 w 1059656"/>
              <a:gd name="connsiteY58" fmla="*/ 459581 h 531019"/>
              <a:gd name="connsiteX59" fmla="*/ 50006 w 1059656"/>
              <a:gd name="connsiteY59" fmla="*/ 471487 h 531019"/>
              <a:gd name="connsiteX60" fmla="*/ 30956 w 1059656"/>
              <a:gd name="connsiteY60" fmla="*/ 488156 h 531019"/>
              <a:gd name="connsiteX61" fmla="*/ 7143 w 1059656"/>
              <a:gd name="connsiteY61" fmla="*/ 495300 h 531019"/>
              <a:gd name="connsiteX62" fmla="*/ 0 w 1059656"/>
              <a:gd name="connsiteY62" fmla="*/ 500062 h 531019"/>
              <a:gd name="connsiteX63" fmla="*/ 38100 w 1059656"/>
              <a:gd name="connsiteY63" fmla="*/ 528637 h 531019"/>
              <a:gd name="connsiteX64" fmla="*/ 80962 w 1059656"/>
              <a:gd name="connsiteY64" fmla="*/ 526256 h 531019"/>
              <a:gd name="connsiteX65" fmla="*/ 116681 w 1059656"/>
              <a:gd name="connsiteY65" fmla="*/ 492919 h 531019"/>
              <a:gd name="connsiteX66" fmla="*/ 171450 w 1059656"/>
              <a:gd name="connsiteY66" fmla="*/ 466725 h 531019"/>
              <a:gd name="connsiteX67" fmla="*/ 278606 w 1059656"/>
              <a:gd name="connsiteY67" fmla="*/ 459581 h 531019"/>
              <a:gd name="connsiteX68" fmla="*/ 292893 w 1059656"/>
              <a:gd name="connsiteY68" fmla="*/ 447675 h 531019"/>
              <a:gd name="connsiteX69" fmla="*/ 357187 w 1059656"/>
              <a:gd name="connsiteY69" fmla="*/ 447675 h 531019"/>
              <a:gd name="connsiteX70" fmla="*/ 433387 w 1059656"/>
              <a:gd name="connsiteY70" fmla="*/ 354806 h 531019"/>
              <a:gd name="connsiteX71" fmla="*/ 559593 w 1059656"/>
              <a:gd name="connsiteY71" fmla="*/ 295275 h 531019"/>
              <a:gd name="connsiteX72" fmla="*/ 619125 w 1059656"/>
              <a:gd name="connsiteY72" fmla="*/ 288131 h 531019"/>
              <a:gd name="connsiteX73" fmla="*/ 654843 w 1059656"/>
              <a:gd name="connsiteY73" fmla="*/ 261937 h 531019"/>
              <a:gd name="connsiteX74" fmla="*/ 716756 w 1059656"/>
              <a:gd name="connsiteY74" fmla="*/ 259556 h 531019"/>
              <a:gd name="connsiteX75" fmla="*/ 771525 w 1059656"/>
              <a:gd name="connsiteY75" fmla="*/ 252412 h 531019"/>
              <a:gd name="connsiteX76" fmla="*/ 781050 w 1059656"/>
              <a:gd name="connsiteY76" fmla="*/ 290512 h 531019"/>
              <a:gd name="connsiteX77" fmla="*/ 773906 w 1059656"/>
              <a:gd name="connsiteY77" fmla="*/ 411956 h 531019"/>
              <a:gd name="connsiteX78" fmla="*/ 707231 w 1059656"/>
              <a:gd name="connsiteY78" fmla="*/ 428625 h 531019"/>
              <a:gd name="connsiteX79" fmla="*/ 652461 w 1059656"/>
              <a:gd name="connsiteY79" fmla="*/ 476249 h 531019"/>
              <a:gd name="connsiteX80" fmla="*/ 654844 w 1059656"/>
              <a:gd name="connsiteY80" fmla="*/ 495300 h 531019"/>
              <a:gd name="connsiteX81" fmla="*/ 697706 w 1059656"/>
              <a:gd name="connsiteY81" fmla="*/ 531019 h 531019"/>
              <a:gd name="connsiteX0" fmla="*/ 697706 w 1059656"/>
              <a:gd name="connsiteY0" fmla="*/ 564357 h 564357"/>
              <a:gd name="connsiteX1" fmla="*/ 778668 w 1059656"/>
              <a:gd name="connsiteY1" fmla="*/ 492919 h 564357"/>
              <a:gd name="connsiteX2" fmla="*/ 816768 w 1059656"/>
              <a:gd name="connsiteY2" fmla="*/ 473869 h 564357"/>
              <a:gd name="connsiteX3" fmla="*/ 852487 w 1059656"/>
              <a:gd name="connsiteY3" fmla="*/ 471488 h 564357"/>
              <a:gd name="connsiteX4" fmla="*/ 916781 w 1059656"/>
              <a:gd name="connsiteY4" fmla="*/ 457200 h 564357"/>
              <a:gd name="connsiteX5" fmla="*/ 950118 w 1059656"/>
              <a:gd name="connsiteY5" fmla="*/ 459582 h 564357"/>
              <a:gd name="connsiteX6" fmla="*/ 988218 w 1059656"/>
              <a:gd name="connsiteY6" fmla="*/ 476250 h 564357"/>
              <a:gd name="connsiteX7" fmla="*/ 1019175 w 1059656"/>
              <a:gd name="connsiteY7" fmla="*/ 445294 h 564357"/>
              <a:gd name="connsiteX8" fmla="*/ 992981 w 1059656"/>
              <a:gd name="connsiteY8" fmla="*/ 414338 h 564357"/>
              <a:gd name="connsiteX9" fmla="*/ 988218 w 1059656"/>
              <a:gd name="connsiteY9" fmla="*/ 383382 h 564357"/>
              <a:gd name="connsiteX10" fmla="*/ 995362 w 1059656"/>
              <a:gd name="connsiteY10" fmla="*/ 345282 h 564357"/>
              <a:gd name="connsiteX11" fmla="*/ 1023937 w 1059656"/>
              <a:gd name="connsiteY11" fmla="*/ 304800 h 564357"/>
              <a:gd name="connsiteX12" fmla="*/ 1052512 w 1059656"/>
              <a:gd name="connsiteY12" fmla="*/ 295275 h 564357"/>
              <a:gd name="connsiteX13" fmla="*/ 1059656 w 1059656"/>
              <a:gd name="connsiteY13" fmla="*/ 266700 h 564357"/>
              <a:gd name="connsiteX14" fmla="*/ 1047750 w 1059656"/>
              <a:gd name="connsiteY14" fmla="*/ 238125 h 564357"/>
              <a:gd name="connsiteX15" fmla="*/ 1019175 w 1059656"/>
              <a:gd name="connsiteY15" fmla="*/ 228600 h 564357"/>
              <a:gd name="connsiteX16" fmla="*/ 992981 w 1059656"/>
              <a:gd name="connsiteY16" fmla="*/ 235744 h 564357"/>
              <a:gd name="connsiteX17" fmla="*/ 935831 w 1059656"/>
              <a:gd name="connsiteY17" fmla="*/ 254794 h 564357"/>
              <a:gd name="connsiteX18" fmla="*/ 900112 w 1059656"/>
              <a:gd name="connsiteY18" fmla="*/ 259557 h 564357"/>
              <a:gd name="connsiteX19" fmla="*/ 878681 w 1059656"/>
              <a:gd name="connsiteY19" fmla="*/ 242888 h 564357"/>
              <a:gd name="connsiteX20" fmla="*/ 873918 w 1059656"/>
              <a:gd name="connsiteY20" fmla="*/ 228600 h 564357"/>
              <a:gd name="connsiteX21" fmla="*/ 881062 w 1059656"/>
              <a:gd name="connsiteY21" fmla="*/ 185738 h 564357"/>
              <a:gd name="connsiteX22" fmla="*/ 888206 w 1059656"/>
              <a:gd name="connsiteY22" fmla="*/ 150019 h 564357"/>
              <a:gd name="connsiteX23" fmla="*/ 871537 w 1059656"/>
              <a:gd name="connsiteY23" fmla="*/ 111919 h 564357"/>
              <a:gd name="connsiteX24" fmla="*/ 840581 w 1059656"/>
              <a:gd name="connsiteY24" fmla="*/ 95250 h 564357"/>
              <a:gd name="connsiteX25" fmla="*/ 833437 w 1059656"/>
              <a:gd name="connsiteY25" fmla="*/ 0 h 564357"/>
              <a:gd name="connsiteX26" fmla="*/ 809625 w 1059656"/>
              <a:gd name="connsiteY26" fmla="*/ 33338 h 564357"/>
              <a:gd name="connsiteX27" fmla="*/ 797718 w 1059656"/>
              <a:gd name="connsiteY27" fmla="*/ 50007 h 564357"/>
              <a:gd name="connsiteX28" fmla="*/ 757237 w 1059656"/>
              <a:gd name="connsiteY28" fmla="*/ 45244 h 564357"/>
              <a:gd name="connsiteX29" fmla="*/ 735806 w 1059656"/>
              <a:gd name="connsiteY29" fmla="*/ 50007 h 564357"/>
              <a:gd name="connsiteX30" fmla="*/ 719137 w 1059656"/>
              <a:gd name="connsiteY30" fmla="*/ 78582 h 564357"/>
              <a:gd name="connsiteX31" fmla="*/ 723900 w 1059656"/>
              <a:gd name="connsiteY31" fmla="*/ 97632 h 564357"/>
              <a:gd name="connsiteX32" fmla="*/ 707231 w 1059656"/>
              <a:gd name="connsiteY32" fmla="*/ 111919 h 564357"/>
              <a:gd name="connsiteX33" fmla="*/ 631031 w 1059656"/>
              <a:gd name="connsiteY33" fmla="*/ 114300 h 564357"/>
              <a:gd name="connsiteX34" fmla="*/ 597693 w 1059656"/>
              <a:gd name="connsiteY34" fmla="*/ 100013 h 564357"/>
              <a:gd name="connsiteX35" fmla="*/ 569118 w 1059656"/>
              <a:gd name="connsiteY35" fmla="*/ 71438 h 564357"/>
              <a:gd name="connsiteX36" fmla="*/ 531018 w 1059656"/>
              <a:gd name="connsiteY36" fmla="*/ 66675 h 564357"/>
              <a:gd name="connsiteX37" fmla="*/ 497681 w 1059656"/>
              <a:gd name="connsiteY37" fmla="*/ 90488 h 564357"/>
              <a:gd name="connsiteX38" fmla="*/ 481012 w 1059656"/>
              <a:gd name="connsiteY38" fmla="*/ 109538 h 564357"/>
              <a:gd name="connsiteX39" fmla="*/ 466725 w 1059656"/>
              <a:gd name="connsiteY39" fmla="*/ 126207 h 564357"/>
              <a:gd name="connsiteX40" fmla="*/ 450056 w 1059656"/>
              <a:gd name="connsiteY40" fmla="*/ 145257 h 564357"/>
              <a:gd name="connsiteX41" fmla="*/ 454818 w 1059656"/>
              <a:gd name="connsiteY41" fmla="*/ 171450 h 564357"/>
              <a:gd name="connsiteX42" fmla="*/ 423862 w 1059656"/>
              <a:gd name="connsiteY42" fmla="*/ 195263 h 564357"/>
              <a:gd name="connsiteX43" fmla="*/ 371475 w 1059656"/>
              <a:gd name="connsiteY43" fmla="*/ 204788 h 564357"/>
              <a:gd name="connsiteX44" fmla="*/ 330993 w 1059656"/>
              <a:gd name="connsiteY44" fmla="*/ 223838 h 564357"/>
              <a:gd name="connsiteX45" fmla="*/ 321468 w 1059656"/>
              <a:gd name="connsiteY45" fmla="*/ 261938 h 564357"/>
              <a:gd name="connsiteX46" fmla="*/ 319087 w 1059656"/>
              <a:gd name="connsiteY46" fmla="*/ 269082 h 564357"/>
              <a:gd name="connsiteX47" fmla="*/ 266700 w 1059656"/>
              <a:gd name="connsiteY47" fmla="*/ 285750 h 564357"/>
              <a:gd name="connsiteX48" fmla="*/ 180975 w 1059656"/>
              <a:gd name="connsiteY48" fmla="*/ 316707 h 564357"/>
              <a:gd name="connsiteX49" fmla="*/ 157162 w 1059656"/>
              <a:gd name="connsiteY49" fmla="*/ 309563 h 564357"/>
              <a:gd name="connsiteX50" fmla="*/ 128587 w 1059656"/>
              <a:gd name="connsiteY50" fmla="*/ 300038 h 564357"/>
              <a:gd name="connsiteX51" fmla="*/ 130968 w 1059656"/>
              <a:gd name="connsiteY51" fmla="*/ 359569 h 564357"/>
              <a:gd name="connsiteX52" fmla="*/ 169068 w 1059656"/>
              <a:gd name="connsiteY52" fmla="*/ 388144 h 564357"/>
              <a:gd name="connsiteX53" fmla="*/ 185737 w 1059656"/>
              <a:gd name="connsiteY53" fmla="*/ 411957 h 564357"/>
              <a:gd name="connsiteX54" fmla="*/ 180975 w 1059656"/>
              <a:gd name="connsiteY54" fmla="*/ 442913 h 564357"/>
              <a:gd name="connsiteX55" fmla="*/ 173831 w 1059656"/>
              <a:gd name="connsiteY55" fmla="*/ 471488 h 564357"/>
              <a:gd name="connsiteX56" fmla="*/ 130968 w 1059656"/>
              <a:gd name="connsiteY56" fmla="*/ 473869 h 564357"/>
              <a:gd name="connsiteX57" fmla="*/ 95250 w 1059656"/>
              <a:gd name="connsiteY57" fmla="*/ 488157 h 564357"/>
              <a:gd name="connsiteX58" fmla="*/ 71437 w 1059656"/>
              <a:gd name="connsiteY58" fmla="*/ 492919 h 564357"/>
              <a:gd name="connsiteX59" fmla="*/ 50006 w 1059656"/>
              <a:gd name="connsiteY59" fmla="*/ 504825 h 564357"/>
              <a:gd name="connsiteX60" fmla="*/ 30956 w 1059656"/>
              <a:gd name="connsiteY60" fmla="*/ 521494 h 564357"/>
              <a:gd name="connsiteX61" fmla="*/ 7143 w 1059656"/>
              <a:gd name="connsiteY61" fmla="*/ 528638 h 564357"/>
              <a:gd name="connsiteX62" fmla="*/ 0 w 1059656"/>
              <a:gd name="connsiteY62" fmla="*/ 533400 h 564357"/>
              <a:gd name="connsiteX63" fmla="*/ 38100 w 1059656"/>
              <a:gd name="connsiteY63" fmla="*/ 561975 h 564357"/>
              <a:gd name="connsiteX64" fmla="*/ 80962 w 1059656"/>
              <a:gd name="connsiteY64" fmla="*/ 559594 h 564357"/>
              <a:gd name="connsiteX65" fmla="*/ 116681 w 1059656"/>
              <a:gd name="connsiteY65" fmla="*/ 526257 h 564357"/>
              <a:gd name="connsiteX66" fmla="*/ 171450 w 1059656"/>
              <a:gd name="connsiteY66" fmla="*/ 500063 h 564357"/>
              <a:gd name="connsiteX67" fmla="*/ 278606 w 1059656"/>
              <a:gd name="connsiteY67" fmla="*/ 492919 h 564357"/>
              <a:gd name="connsiteX68" fmla="*/ 292893 w 1059656"/>
              <a:gd name="connsiteY68" fmla="*/ 481013 h 564357"/>
              <a:gd name="connsiteX69" fmla="*/ 357187 w 1059656"/>
              <a:gd name="connsiteY69" fmla="*/ 481013 h 564357"/>
              <a:gd name="connsiteX70" fmla="*/ 433387 w 1059656"/>
              <a:gd name="connsiteY70" fmla="*/ 388144 h 564357"/>
              <a:gd name="connsiteX71" fmla="*/ 559593 w 1059656"/>
              <a:gd name="connsiteY71" fmla="*/ 328613 h 564357"/>
              <a:gd name="connsiteX72" fmla="*/ 619125 w 1059656"/>
              <a:gd name="connsiteY72" fmla="*/ 321469 h 564357"/>
              <a:gd name="connsiteX73" fmla="*/ 654843 w 1059656"/>
              <a:gd name="connsiteY73" fmla="*/ 295275 h 564357"/>
              <a:gd name="connsiteX74" fmla="*/ 716756 w 1059656"/>
              <a:gd name="connsiteY74" fmla="*/ 292894 h 564357"/>
              <a:gd name="connsiteX75" fmla="*/ 771525 w 1059656"/>
              <a:gd name="connsiteY75" fmla="*/ 285750 h 564357"/>
              <a:gd name="connsiteX76" fmla="*/ 781050 w 1059656"/>
              <a:gd name="connsiteY76" fmla="*/ 323850 h 564357"/>
              <a:gd name="connsiteX77" fmla="*/ 773906 w 1059656"/>
              <a:gd name="connsiteY77" fmla="*/ 445294 h 564357"/>
              <a:gd name="connsiteX78" fmla="*/ 707231 w 1059656"/>
              <a:gd name="connsiteY78" fmla="*/ 461963 h 564357"/>
              <a:gd name="connsiteX79" fmla="*/ 652461 w 1059656"/>
              <a:gd name="connsiteY79" fmla="*/ 509587 h 564357"/>
              <a:gd name="connsiteX80" fmla="*/ 654844 w 1059656"/>
              <a:gd name="connsiteY80" fmla="*/ 528638 h 564357"/>
              <a:gd name="connsiteX81" fmla="*/ 697706 w 1059656"/>
              <a:gd name="connsiteY81" fmla="*/ 564357 h 564357"/>
              <a:gd name="connsiteX0" fmla="*/ 697706 w 1059656"/>
              <a:gd name="connsiteY0" fmla="*/ 564357 h 564357"/>
              <a:gd name="connsiteX1" fmla="*/ 778668 w 1059656"/>
              <a:gd name="connsiteY1" fmla="*/ 492919 h 564357"/>
              <a:gd name="connsiteX2" fmla="*/ 816768 w 1059656"/>
              <a:gd name="connsiteY2" fmla="*/ 473869 h 564357"/>
              <a:gd name="connsiteX3" fmla="*/ 852487 w 1059656"/>
              <a:gd name="connsiteY3" fmla="*/ 471488 h 564357"/>
              <a:gd name="connsiteX4" fmla="*/ 916781 w 1059656"/>
              <a:gd name="connsiteY4" fmla="*/ 457200 h 564357"/>
              <a:gd name="connsiteX5" fmla="*/ 950118 w 1059656"/>
              <a:gd name="connsiteY5" fmla="*/ 459582 h 564357"/>
              <a:gd name="connsiteX6" fmla="*/ 988218 w 1059656"/>
              <a:gd name="connsiteY6" fmla="*/ 476250 h 564357"/>
              <a:gd name="connsiteX7" fmla="*/ 1019175 w 1059656"/>
              <a:gd name="connsiteY7" fmla="*/ 445294 h 564357"/>
              <a:gd name="connsiteX8" fmla="*/ 992981 w 1059656"/>
              <a:gd name="connsiteY8" fmla="*/ 414338 h 564357"/>
              <a:gd name="connsiteX9" fmla="*/ 988218 w 1059656"/>
              <a:gd name="connsiteY9" fmla="*/ 383382 h 564357"/>
              <a:gd name="connsiteX10" fmla="*/ 995362 w 1059656"/>
              <a:gd name="connsiteY10" fmla="*/ 345282 h 564357"/>
              <a:gd name="connsiteX11" fmla="*/ 1023937 w 1059656"/>
              <a:gd name="connsiteY11" fmla="*/ 304800 h 564357"/>
              <a:gd name="connsiteX12" fmla="*/ 1052512 w 1059656"/>
              <a:gd name="connsiteY12" fmla="*/ 295275 h 564357"/>
              <a:gd name="connsiteX13" fmla="*/ 1059656 w 1059656"/>
              <a:gd name="connsiteY13" fmla="*/ 266700 h 564357"/>
              <a:gd name="connsiteX14" fmla="*/ 1047750 w 1059656"/>
              <a:gd name="connsiteY14" fmla="*/ 238125 h 564357"/>
              <a:gd name="connsiteX15" fmla="*/ 1019175 w 1059656"/>
              <a:gd name="connsiteY15" fmla="*/ 228600 h 564357"/>
              <a:gd name="connsiteX16" fmla="*/ 992981 w 1059656"/>
              <a:gd name="connsiteY16" fmla="*/ 235744 h 564357"/>
              <a:gd name="connsiteX17" fmla="*/ 935831 w 1059656"/>
              <a:gd name="connsiteY17" fmla="*/ 254794 h 564357"/>
              <a:gd name="connsiteX18" fmla="*/ 900112 w 1059656"/>
              <a:gd name="connsiteY18" fmla="*/ 259557 h 564357"/>
              <a:gd name="connsiteX19" fmla="*/ 878681 w 1059656"/>
              <a:gd name="connsiteY19" fmla="*/ 242888 h 564357"/>
              <a:gd name="connsiteX20" fmla="*/ 873918 w 1059656"/>
              <a:gd name="connsiteY20" fmla="*/ 228600 h 564357"/>
              <a:gd name="connsiteX21" fmla="*/ 881062 w 1059656"/>
              <a:gd name="connsiteY21" fmla="*/ 185738 h 564357"/>
              <a:gd name="connsiteX22" fmla="*/ 888206 w 1059656"/>
              <a:gd name="connsiteY22" fmla="*/ 150019 h 564357"/>
              <a:gd name="connsiteX23" fmla="*/ 871537 w 1059656"/>
              <a:gd name="connsiteY23" fmla="*/ 111919 h 564357"/>
              <a:gd name="connsiteX24" fmla="*/ 840581 w 1059656"/>
              <a:gd name="connsiteY24" fmla="*/ 95250 h 564357"/>
              <a:gd name="connsiteX25" fmla="*/ 835818 w 1059656"/>
              <a:gd name="connsiteY25" fmla="*/ 52388 h 564357"/>
              <a:gd name="connsiteX26" fmla="*/ 833437 w 1059656"/>
              <a:gd name="connsiteY26" fmla="*/ 0 h 564357"/>
              <a:gd name="connsiteX27" fmla="*/ 809625 w 1059656"/>
              <a:gd name="connsiteY27" fmla="*/ 33338 h 564357"/>
              <a:gd name="connsiteX28" fmla="*/ 797718 w 1059656"/>
              <a:gd name="connsiteY28" fmla="*/ 50007 h 564357"/>
              <a:gd name="connsiteX29" fmla="*/ 757237 w 1059656"/>
              <a:gd name="connsiteY29" fmla="*/ 45244 h 564357"/>
              <a:gd name="connsiteX30" fmla="*/ 735806 w 1059656"/>
              <a:gd name="connsiteY30" fmla="*/ 50007 h 564357"/>
              <a:gd name="connsiteX31" fmla="*/ 719137 w 1059656"/>
              <a:gd name="connsiteY31" fmla="*/ 78582 h 564357"/>
              <a:gd name="connsiteX32" fmla="*/ 723900 w 1059656"/>
              <a:gd name="connsiteY32" fmla="*/ 97632 h 564357"/>
              <a:gd name="connsiteX33" fmla="*/ 707231 w 1059656"/>
              <a:gd name="connsiteY33" fmla="*/ 111919 h 564357"/>
              <a:gd name="connsiteX34" fmla="*/ 631031 w 1059656"/>
              <a:gd name="connsiteY34" fmla="*/ 114300 h 564357"/>
              <a:gd name="connsiteX35" fmla="*/ 597693 w 1059656"/>
              <a:gd name="connsiteY35" fmla="*/ 100013 h 564357"/>
              <a:gd name="connsiteX36" fmla="*/ 569118 w 1059656"/>
              <a:gd name="connsiteY36" fmla="*/ 71438 h 564357"/>
              <a:gd name="connsiteX37" fmla="*/ 531018 w 1059656"/>
              <a:gd name="connsiteY37" fmla="*/ 66675 h 564357"/>
              <a:gd name="connsiteX38" fmla="*/ 497681 w 1059656"/>
              <a:gd name="connsiteY38" fmla="*/ 90488 h 564357"/>
              <a:gd name="connsiteX39" fmla="*/ 481012 w 1059656"/>
              <a:gd name="connsiteY39" fmla="*/ 109538 h 564357"/>
              <a:gd name="connsiteX40" fmla="*/ 466725 w 1059656"/>
              <a:gd name="connsiteY40" fmla="*/ 126207 h 564357"/>
              <a:gd name="connsiteX41" fmla="*/ 450056 w 1059656"/>
              <a:gd name="connsiteY41" fmla="*/ 145257 h 564357"/>
              <a:gd name="connsiteX42" fmla="*/ 454818 w 1059656"/>
              <a:gd name="connsiteY42" fmla="*/ 171450 h 564357"/>
              <a:gd name="connsiteX43" fmla="*/ 423862 w 1059656"/>
              <a:gd name="connsiteY43" fmla="*/ 195263 h 564357"/>
              <a:gd name="connsiteX44" fmla="*/ 371475 w 1059656"/>
              <a:gd name="connsiteY44" fmla="*/ 204788 h 564357"/>
              <a:gd name="connsiteX45" fmla="*/ 330993 w 1059656"/>
              <a:gd name="connsiteY45" fmla="*/ 223838 h 564357"/>
              <a:gd name="connsiteX46" fmla="*/ 321468 w 1059656"/>
              <a:gd name="connsiteY46" fmla="*/ 261938 h 564357"/>
              <a:gd name="connsiteX47" fmla="*/ 319087 w 1059656"/>
              <a:gd name="connsiteY47" fmla="*/ 269082 h 564357"/>
              <a:gd name="connsiteX48" fmla="*/ 266700 w 1059656"/>
              <a:gd name="connsiteY48" fmla="*/ 285750 h 564357"/>
              <a:gd name="connsiteX49" fmla="*/ 180975 w 1059656"/>
              <a:gd name="connsiteY49" fmla="*/ 316707 h 564357"/>
              <a:gd name="connsiteX50" fmla="*/ 157162 w 1059656"/>
              <a:gd name="connsiteY50" fmla="*/ 309563 h 564357"/>
              <a:gd name="connsiteX51" fmla="*/ 128587 w 1059656"/>
              <a:gd name="connsiteY51" fmla="*/ 300038 h 564357"/>
              <a:gd name="connsiteX52" fmla="*/ 130968 w 1059656"/>
              <a:gd name="connsiteY52" fmla="*/ 359569 h 564357"/>
              <a:gd name="connsiteX53" fmla="*/ 169068 w 1059656"/>
              <a:gd name="connsiteY53" fmla="*/ 388144 h 564357"/>
              <a:gd name="connsiteX54" fmla="*/ 185737 w 1059656"/>
              <a:gd name="connsiteY54" fmla="*/ 411957 h 564357"/>
              <a:gd name="connsiteX55" fmla="*/ 180975 w 1059656"/>
              <a:gd name="connsiteY55" fmla="*/ 442913 h 564357"/>
              <a:gd name="connsiteX56" fmla="*/ 173831 w 1059656"/>
              <a:gd name="connsiteY56" fmla="*/ 471488 h 564357"/>
              <a:gd name="connsiteX57" fmla="*/ 130968 w 1059656"/>
              <a:gd name="connsiteY57" fmla="*/ 473869 h 564357"/>
              <a:gd name="connsiteX58" fmla="*/ 95250 w 1059656"/>
              <a:gd name="connsiteY58" fmla="*/ 488157 h 564357"/>
              <a:gd name="connsiteX59" fmla="*/ 71437 w 1059656"/>
              <a:gd name="connsiteY59" fmla="*/ 492919 h 564357"/>
              <a:gd name="connsiteX60" fmla="*/ 50006 w 1059656"/>
              <a:gd name="connsiteY60" fmla="*/ 504825 h 564357"/>
              <a:gd name="connsiteX61" fmla="*/ 30956 w 1059656"/>
              <a:gd name="connsiteY61" fmla="*/ 521494 h 564357"/>
              <a:gd name="connsiteX62" fmla="*/ 7143 w 1059656"/>
              <a:gd name="connsiteY62" fmla="*/ 528638 h 564357"/>
              <a:gd name="connsiteX63" fmla="*/ 0 w 1059656"/>
              <a:gd name="connsiteY63" fmla="*/ 533400 h 564357"/>
              <a:gd name="connsiteX64" fmla="*/ 38100 w 1059656"/>
              <a:gd name="connsiteY64" fmla="*/ 561975 h 564357"/>
              <a:gd name="connsiteX65" fmla="*/ 80962 w 1059656"/>
              <a:gd name="connsiteY65" fmla="*/ 559594 h 564357"/>
              <a:gd name="connsiteX66" fmla="*/ 116681 w 1059656"/>
              <a:gd name="connsiteY66" fmla="*/ 526257 h 564357"/>
              <a:gd name="connsiteX67" fmla="*/ 171450 w 1059656"/>
              <a:gd name="connsiteY67" fmla="*/ 500063 h 564357"/>
              <a:gd name="connsiteX68" fmla="*/ 278606 w 1059656"/>
              <a:gd name="connsiteY68" fmla="*/ 492919 h 564357"/>
              <a:gd name="connsiteX69" fmla="*/ 292893 w 1059656"/>
              <a:gd name="connsiteY69" fmla="*/ 481013 h 564357"/>
              <a:gd name="connsiteX70" fmla="*/ 357187 w 1059656"/>
              <a:gd name="connsiteY70" fmla="*/ 481013 h 564357"/>
              <a:gd name="connsiteX71" fmla="*/ 433387 w 1059656"/>
              <a:gd name="connsiteY71" fmla="*/ 388144 h 564357"/>
              <a:gd name="connsiteX72" fmla="*/ 559593 w 1059656"/>
              <a:gd name="connsiteY72" fmla="*/ 328613 h 564357"/>
              <a:gd name="connsiteX73" fmla="*/ 619125 w 1059656"/>
              <a:gd name="connsiteY73" fmla="*/ 321469 h 564357"/>
              <a:gd name="connsiteX74" fmla="*/ 654843 w 1059656"/>
              <a:gd name="connsiteY74" fmla="*/ 295275 h 564357"/>
              <a:gd name="connsiteX75" fmla="*/ 716756 w 1059656"/>
              <a:gd name="connsiteY75" fmla="*/ 292894 h 564357"/>
              <a:gd name="connsiteX76" fmla="*/ 771525 w 1059656"/>
              <a:gd name="connsiteY76" fmla="*/ 285750 h 564357"/>
              <a:gd name="connsiteX77" fmla="*/ 781050 w 1059656"/>
              <a:gd name="connsiteY77" fmla="*/ 323850 h 564357"/>
              <a:gd name="connsiteX78" fmla="*/ 773906 w 1059656"/>
              <a:gd name="connsiteY78" fmla="*/ 445294 h 564357"/>
              <a:gd name="connsiteX79" fmla="*/ 707231 w 1059656"/>
              <a:gd name="connsiteY79" fmla="*/ 461963 h 564357"/>
              <a:gd name="connsiteX80" fmla="*/ 652461 w 1059656"/>
              <a:gd name="connsiteY80" fmla="*/ 509587 h 564357"/>
              <a:gd name="connsiteX81" fmla="*/ 654844 w 1059656"/>
              <a:gd name="connsiteY81" fmla="*/ 528638 h 564357"/>
              <a:gd name="connsiteX82" fmla="*/ 697706 w 1059656"/>
              <a:gd name="connsiteY82" fmla="*/ 564357 h 564357"/>
              <a:gd name="connsiteX0" fmla="*/ 697706 w 1059656"/>
              <a:gd name="connsiteY0" fmla="*/ 564357 h 564357"/>
              <a:gd name="connsiteX1" fmla="*/ 778668 w 1059656"/>
              <a:gd name="connsiteY1" fmla="*/ 492919 h 564357"/>
              <a:gd name="connsiteX2" fmla="*/ 816768 w 1059656"/>
              <a:gd name="connsiteY2" fmla="*/ 473869 h 564357"/>
              <a:gd name="connsiteX3" fmla="*/ 852487 w 1059656"/>
              <a:gd name="connsiteY3" fmla="*/ 471488 h 564357"/>
              <a:gd name="connsiteX4" fmla="*/ 916781 w 1059656"/>
              <a:gd name="connsiteY4" fmla="*/ 457200 h 564357"/>
              <a:gd name="connsiteX5" fmla="*/ 950118 w 1059656"/>
              <a:gd name="connsiteY5" fmla="*/ 459582 h 564357"/>
              <a:gd name="connsiteX6" fmla="*/ 988218 w 1059656"/>
              <a:gd name="connsiteY6" fmla="*/ 476250 h 564357"/>
              <a:gd name="connsiteX7" fmla="*/ 1019175 w 1059656"/>
              <a:gd name="connsiteY7" fmla="*/ 445294 h 564357"/>
              <a:gd name="connsiteX8" fmla="*/ 992981 w 1059656"/>
              <a:gd name="connsiteY8" fmla="*/ 414338 h 564357"/>
              <a:gd name="connsiteX9" fmla="*/ 988218 w 1059656"/>
              <a:gd name="connsiteY9" fmla="*/ 383382 h 564357"/>
              <a:gd name="connsiteX10" fmla="*/ 995362 w 1059656"/>
              <a:gd name="connsiteY10" fmla="*/ 345282 h 564357"/>
              <a:gd name="connsiteX11" fmla="*/ 1023937 w 1059656"/>
              <a:gd name="connsiteY11" fmla="*/ 304800 h 564357"/>
              <a:gd name="connsiteX12" fmla="*/ 1052512 w 1059656"/>
              <a:gd name="connsiteY12" fmla="*/ 295275 h 564357"/>
              <a:gd name="connsiteX13" fmla="*/ 1059656 w 1059656"/>
              <a:gd name="connsiteY13" fmla="*/ 266700 h 564357"/>
              <a:gd name="connsiteX14" fmla="*/ 1047750 w 1059656"/>
              <a:gd name="connsiteY14" fmla="*/ 238125 h 564357"/>
              <a:gd name="connsiteX15" fmla="*/ 1019175 w 1059656"/>
              <a:gd name="connsiteY15" fmla="*/ 228600 h 564357"/>
              <a:gd name="connsiteX16" fmla="*/ 992981 w 1059656"/>
              <a:gd name="connsiteY16" fmla="*/ 235744 h 564357"/>
              <a:gd name="connsiteX17" fmla="*/ 935831 w 1059656"/>
              <a:gd name="connsiteY17" fmla="*/ 254794 h 564357"/>
              <a:gd name="connsiteX18" fmla="*/ 900112 w 1059656"/>
              <a:gd name="connsiteY18" fmla="*/ 259557 h 564357"/>
              <a:gd name="connsiteX19" fmla="*/ 878681 w 1059656"/>
              <a:gd name="connsiteY19" fmla="*/ 242888 h 564357"/>
              <a:gd name="connsiteX20" fmla="*/ 873918 w 1059656"/>
              <a:gd name="connsiteY20" fmla="*/ 228600 h 564357"/>
              <a:gd name="connsiteX21" fmla="*/ 881062 w 1059656"/>
              <a:gd name="connsiteY21" fmla="*/ 185738 h 564357"/>
              <a:gd name="connsiteX22" fmla="*/ 888206 w 1059656"/>
              <a:gd name="connsiteY22" fmla="*/ 150019 h 564357"/>
              <a:gd name="connsiteX23" fmla="*/ 871537 w 1059656"/>
              <a:gd name="connsiteY23" fmla="*/ 111919 h 564357"/>
              <a:gd name="connsiteX24" fmla="*/ 840581 w 1059656"/>
              <a:gd name="connsiteY24" fmla="*/ 95250 h 564357"/>
              <a:gd name="connsiteX25" fmla="*/ 857249 w 1059656"/>
              <a:gd name="connsiteY25" fmla="*/ 28576 h 564357"/>
              <a:gd name="connsiteX26" fmla="*/ 833437 w 1059656"/>
              <a:gd name="connsiteY26" fmla="*/ 0 h 564357"/>
              <a:gd name="connsiteX27" fmla="*/ 809625 w 1059656"/>
              <a:gd name="connsiteY27" fmla="*/ 33338 h 564357"/>
              <a:gd name="connsiteX28" fmla="*/ 797718 w 1059656"/>
              <a:gd name="connsiteY28" fmla="*/ 50007 h 564357"/>
              <a:gd name="connsiteX29" fmla="*/ 757237 w 1059656"/>
              <a:gd name="connsiteY29" fmla="*/ 45244 h 564357"/>
              <a:gd name="connsiteX30" fmla="*/ 735806 w 1059656"/>
              <a:gd name="connsiteY30" fmla="*/ 50007 h 564357"/>
              <a:gd name="connsiteX31" fmla="*/ 719137 w 1059656"/>
              <a:gd name="connsiteY31" fmla="*/ 78582 h 564357"/>
              <a:gd name="connsiteX32" fmla="*/ 723900 w 1059656"/>
              <a:gd name="connsiteY32" fmla="*/ 97632 h 564357"/>
              <a:gd name="connsiteX33" fmla="*/ 707231 w 1059656"/>
              <a:gd name="connsiteY33" fmla="*/ 111919 h 564357"/>
              <a:gd name="connsiteX34" fmla="*/ 631031 w 1059656"/>
              <a:gd name="connsiteY34" fmla="*/ 114300 h 564357"/>
              <a:gd name="connsiteX35" fmla="*/ 597693 w 1059656"/>
              <a:gd name="connsiteY35" fmla="*/ 100013 h 564357"/>
              <a:gd name="connsiteX36" fmla="*/ 569118 w 1059656"/>
              <a:gd name="connsiteY36" fmla="*/ 71438 h 564357"/>
              <a:gd name="connsiteX37" fmla="*/ 531018 w 1059656"/>
              <a:gd name="connsiteY37" fmla="*/ 66675 h 564357"/>
              <a:gd name="connsiteX38" fmla="*/ 497681 w 1059656"/>
              <a:gd name="connsiteY38" fmla="*/ 90488 h 564357"/>
              <a:gd name="connsiteX39" fmla="*/ 481012 w 1059656"/>
              <a:gd name="connsiteY39" fmla="*/ 109538 h 564357"/>
              <a:gd name="connsiteX40" fmla="*/ 466725 w 1059656"/>
              <a:gd name="connsiteY40" fmla="*/ 126207 h 564357"/>
              <a:gd name="connsiteX41" fmla="*/ 450056 w 1059656"/>
              <a:gd name="connsiteY41" fmla="*/ 145257 h 564357"/>
              <a:gd name="connsiteX42" fmla="*/ 454818 w 1059656"/>
              <a:gd name="connsiteY42" fmla="*/ 171450 h 564357"/>
              <a:gd name="connsiteX43" fmla="*/ 423862 w 1059656"/>
              <a:gd name="connsiteY43" fmla="*/ 195263 h 564357"/>
              <a:gd name="connsiteX44" fmla="*/ 371475 w 1059656"/>
              <a:gd name="connsiteY44" fmla="*/ 204788 h 564357"/>
              <a:gd name="connsiteX45" fmla="*/ 330993 w 1059656"/>
              <a:gd name="connsiteY45" fmla="*/ 223838 h 564357"/>
              <a:gd name="connsiteX46" fmla="*/ 321468 w 1059656"/>
              <a:gd name="connsiteY46" fmla="*/ 261938 h 564357"/>
              <a:gd name="connsiteX47" fmla="*/ 319087 w 1059656"/>
              <a:gd name="connsiteY47" fmla="*/ 269082 h 564357"/>
              <a:gd name="connsiteX48" fmla="*/ 266700 w 1059656"/>
              <a:gd name="connsiteY48" fmla="*/ 285750 h 564357"/>
              <a:gd name="connsiteX49" fmla="*/ 180975 w 1059656"/>
              <a:gd name="connsiteY49" fmla="*/ 316707 h 564357"/>
              <a:gd name="connsiteX50" fmla="*/ 157162 w 1059656"/>
              <a:gd name="connsiteY50" fmla="*/ 309563 h 564357"/>
              <a:gd name="connsiteX51" fmla="*/ 128587 w 1059656"/>
              <a:gd name="connsiteY51" fmla="*/ 300038 h 564357"/>
              <a:gd name="connsiteX52" fmla="*/ 130968 w 1059656"/>
              <a:gd name="connsiteY52" fmla="*/ 359569 h 564357"/>
              <a:gd name="connsiteX53" fmla="*/ 169068 w 1059656"/>
              <a:gd name="connsiteY53" fmla="*/ 388144 h 564357"/>
              <a:gd name="connsiteX54" fmla="*/ 185737 w 1059656"/>
              <a:gd name="connsiteY54" fmla="*/ 411957 h 564357"/>
              <a:gd name="connsiteX55" fmla="*/ 180975 w 1059656"/>
              <a:gd name="connsiteY55" fmla="*/ 442913 h 564357"/>
              <a:gd name="connsiteX56" fmla="*/ 173831 w 1059656"/>
              <a:gd name="connsiteY56" fmla="*/ 471488 h 564357"/>
              <a:gd name="connsiteX57" fmla="*/ 130968 w 1059656"/>
              <a:gd name="connsiteY57" fmla="*/ 473869 h 564357"/>
              <a:gd name="connsiteX58" fmla="*/ 95250 w 1059656"/>
              <a:gd name="connsiteY58" fmla="*/ 488157 h 564357"/>
              <a:gd name="connsiteX59" fmla="*/ 71437 w 1059656"/>
              <a:gd name="connsiteY59" fmla="*/ 492919 h 564357"/>
              <a:gd name="connsiteX60" fmla="*/ 50006 w 1059656"/>
              <a:gd name="connsiteY60" fmla="*/ 504825 h 564357"/>
              <a:gd name="connsiteX61" fmla="*/ 30956 w 1059656"/>
              <a:gd name="connsiteY61" fmla="*/ 521494 h 564357"/>
              <a:gd name="connsiteX62" fmla="*/ 7143 w 1059656"/>
              <a:gd name="connsiteY62" fmla="*/ 528638 h 564357"/>
              <a:gd name="connsiteX63" fmla="*/ 0 w 1059656"/>
              <a:gd name="connsiteY63" fmla="*/ 533400 h 564357"/>
              <a:gd name="connsiteX64" fmla="*/ 38100 w 1059656"/>
              <a:gd name="connsiteY64" fmla="*/ 561975 h 564357"/>
              <a:gd name="connsiteX65" fmla="*/ 80962 w 1059656"/>
              <a:gd name="connsiteY65" fmla="*/ 559594 h 564357"/>
              <a:gd name="connsiteX66" fmla="*/ 116681 w 1059656"/>
              <a:gd name="connsiteY66" fmla="*/ 526257 h 564357"/>
              <a:gd name="connsiteX67" fmla="*/ 171450 w 1059656"/>
              <a:gd name="connsiteY67" fmla="*/ 500063 h 564357"/>
              <a:gd name="connsiteX68" fmla="*/ 278606 w 1059656"/>
              <a:gd name="connsiteY68" fmla="*/ 492919 h 564357"/>
              <a:gd name="connsiteX69" fmla="*/ 292893 w 1059656"/>
              <a:gd name="connsiteY69" fmla="*/ 481013 h 564357"/>
              <a:gd name="connsiteX70" fmla="*/ 357187 w 1059656"/>
              <a:gd name="connsiteY70" fmla="*/ 481013 h 564357"/>
              <a:gd name="connsiteX71" fmla="*/ 433387 w 1059656"/>
              <a:gd name="connsiteY71" fmla="*/ 388144 h 564357"/>
              <a:gd name="connsiteX72" fmla="*/ 559593 w 1059656"/>
              <a:gd name="connsiteY72" fmla="*/ 328613 h 564357"/>
              <a:gd name="connsiteX73" fmla="*/ 619125 w 1059656"/>
              <a:gd name="connsiteY73" fmla="*/ 321469 h 564357"/>
              <a:gd name="connsiteX74" fmla="*/ 654843 w 1059656"/>
              <a:gd name="connsiteY74" fmla="*/ 295275 h 564357"/>
              <a:gd name="connsiteX75" fmla="*/ 716756 w 1059656"/>
              <a:gd name="connsiteY75" fmla="*/ 292894 h 564357"/>
              <a:gd name="connsiteX76" fmla="*/ 771525 w 1059656"/>
              <a:gd name="connsiteY76" fmla="*/ 285750 h 564357"/>
              <a:gd name="connsiteX77" fmla="*/ 781050 w 1059656"/>
              <a:gd name="connsiteY77" fmla="*/ 323850 h 564357"/>
              <a:gd name="connsiteX78" fmla="*/ 773906 w 1059656"/>
              <a:gd name="connsiteY78" fmla="*/ 445294 h 564357"/>
              <a:gd name="connsiteX79" fmla="*/ 707231 w 1059656"/>
              <a:gd name="connsiteY79" fmla="*/ 461963 h 564357"/>
              <a:gd name="connsiteX80" fmla="*/ 652461 w 1059656"/>
              <a:gd name="connsiteY80" fmla="*/ 509587 h 564357"/>
              <a:gd name="connsiteX81" fmla="*/ 654844 w 1059656"/>
              <a:gd name="connsiteY81" fmla="*/ 528638 h 564357"/>
              <a:gd name="connsiteX82" fmla="*/ 697706 w 1059656"/>
              <a:gd name="connsiteY82" fmla="*/ 564357 h 564357"/>
              <a:gd name="connsiteX0" fmla="*/ 697706 w 1059656"/>
              <a:gd name="connsiteY0" fmla="*/ 564357 h 564357"/>
              <a:gd name="connsiteX1" fmla="*/ 778668 w 1059656"/>
              <a:gd name="connsiteY1" fmla="*/ 492919 h 564357"/>
              <a:gd name="connsiteX2" fmla="*/ 816768 w 1059656"/>
              <a:gd name="connsiteY2" fmla="*/ 473869 h 564357"/>
              <a:gd name="connsiteX3" fmla="*/ 852487 w 1059656"/>
              <a:gd name="connsiteY3" fmla="*/ 471488 h 564357"/>
              <a:gd name="connsiteX4" fmla="*/ 916781 w 1059656"/>
              <a:gd name="connsiteY4" fmla="*/ 457200 h 564357"/>
              <a:gd name="connsiteX5" fmla="*/ 950118 w 1059656"/>
              <a:gd name="connsiteY5" fmla="*/ 459582 h 564357"/>
              <a:gd name="connsiteX6" fmla="*/ 988218 w 1059656"/>
              <a:gd name="connsiteY6" fmla="*/ 476250 h 564357"/>
              <a:gd name="connsiteX7" fmla="*/ 1019175 w 1059656"/>
              <a:gd name="connsiteY7" fmla="*/ 445294 h 564357"/>
              <a:gd name="connsiteX8" fmla="*/ 992981 w 1059656"/>
              <a:gd name="connsiteY8" fmla="*/ 414338 h 564357"/>
              <a:gd name="connsiteX9" fmla="*/ 988218 w 1059656"/>
              <a:gd name="connsiteY9" fmla="*/ 383382 h 564357"/>
              <a:gd name="connsiteX10" fmla="*/ 995362 w 1059656"/>
              <a:gd name="connsiteY10" fmla="*/ 345282 h 564357"/>
              <a:gd name="connsiteX11" fmla="*/ 1023937 w 1059656"/>
              <a:gd name="connsiteY11" fmla="*/ 304800 h 564357"/>
              <a:gd name="connsiteX12" fmla="*/ 1052512 w 1059656"/>
              <a:gd name="connsiteY12" fmla="*/ 295275 h 564357"/>
              <a:gd name="connsiteX13" fmla="*/ 1059656 w 1059656"/>
              <a:gd name="connsiteY13" fmla="*/ 266700 h 564357"/>
              <a:gd name="connsiteX14" fmla="*/ 1047750 w 1059656"/>
              <a:gd name="connsiteY14" fmla="*/ 238125 h 564357"/>
              <a:gd name="connsiteX15" fmla="*/ 1019175 w 1059656"/>
              <a:gd name="connsiteY15" fmla="*/ 228600 h 564357"/>
              <a:gd name="connsiteX16" fmla="*/ 992981 w 1059656"/>
              <a:gd name="connsiteY16" fmla="*/ 235744 h 564357"/>
              <a:gd name="connsiteX17" fmla="*/ 935831 w 1059656"/>
              <a:gd name="connsiteY17" fmla="*/ 254794 h 564357"/>
              <a:gd name="connsiteX18" fmla="*/ 900112 w 1059656"/>
              <a:gd name="connsiteY18" fmla="*/ 259557 h 564357"/>
              <a:gd name="connsiteX19" fmla="*/ 878681 w 1059656"/>
              <a:gd name="connsiteY19" fmla="*/ 242888 h 564357"/>
              <a:gd name="connsiteX20" fmla="*/ 873918 w 1059656"/>
              <a:gd name="connsiteY20" fmla="*/ 228600 h 564357"/>
              <a:gd name="connsiteX21" fmla="*/ 881062 w 1059656"/>
              <a:gd name="connsiteY21" fmla="*/ 185738 h 564357"/>
              <a:gd name="connsiteX22" fmla="*/ 888206 w 1059656"/>
              <a:gd name="connsiteY22" fmla="*/ 150019 h 564357"/>
              <a:gd name="connsiteX23" fmla="*/ 871537 w 1059656"/>
              <a:gd name="connsiteY23" fmla="*/ 111919 h 564357"/>
              <a:gd name="connsiteX24" fmla="*/ 840581 w 1059656"/>
              <a:gd name="connsiteY24" fmla="*/ 95250 h 564357"/>
              <a:gd name="connsiteX25" fmla="*/ 845343 w 1059656"/>
              <a:gd name="connsiteY25" fmla="*/ 61913 h 564357"/>
              <a:gd name="connsiteX26" fmla="*/ 857249 w 1059656"/>
              <a:gd name="connsiteY26" fmla="*/ 28576 h 564357"/>
              <a:gd name="connsiteX27" fmla="*/ 833437 w 1059656"/>
              <a:gd name="connsiteY27" fmla="*/ 0 h 564357"/>
              <a:gd name="connsiteX28" fmla="*/ 809625 w 1059656"/>
              <a:gd name="connsiteY28" fmla="*/ 33338 h 564357"/>
              <a:gd name="connsiteX29" fmla="*/ 797718 w 1059656"/>
              <a:gd name="connsiteY29" fmla="*/ 50007 h 564357"/>
              <a:gd name="connsiteX30" fmla="*/ 757237 w 1059656"/>
              <a:gd name="connsiteY30" fmla="*/ 45244 h 564357"/>
              <a:gd name="connsiteX31" fmla="*/ 735806 w 1059656"/>
              <a:gd name="connsiteY31" fmla="*/ 50007 h 564357"/>
              <a:gd name="connsiteX32" fmla="*/ 719137 w 1059656"/>
              <a:gd name="connsiteY32" fmla="*/ 78582 h 564357"/>
              <a:gd name="connsiteX33" fmla="*/ 723900 w 1059656"/>
              <a:gd name="connsiteY33" fmla="*/ 97632 h 564357"/>
              <a:gd name="connsiteX34" fmla="*/ 707231 w 1059656"/>
              <a:gd name="connsiteY34" fmla="*/ 111919 h 564357"/>
              <a:gd name="connsiteX35" fmla="*/ 631031 w 1059656"/>
              <a:gd name="connsiteY35" fmla="*/ 114300 h 564357"/>
              <a:gd name="connsiteX36" fmla="*/ 597693 w 1059656"/>
              <a:gd name="connsiteY36" fmla="*/ 100013 h 564357"/>
              <a:gd name="connsiteX37" fmla="*/ 569118 w 1059656"/>
              <a:gd name="connsiteY37" fmla="*/ 71438 h 564357"/>
              <a:gd name="connsiteX38" fmla="*/ 531018 w 1059656"/>
              <a:gd name="connsiteY38" fmla="*/ 66675 h 564357"/>
              <a:gd name="connsiteX39" fmla="*/ 497681 w 1059656"/>
              <a:gd name="connsiteY39" fmla="*/ 90488 h 564357"/>
              <a:gd name="connsiteX40" fmla="*/ 481012 w 1059656"/>
              <a:gd name="connsiteY40" fmla="*/ 109538 h 564357"/>
              <a:gd name="connsiteX41" fmla="*/ 466725 w 1059656"/>
              <a:gd name="connsiteY41" fmla="*/ 126207 h 564357"/>
              <a:gd name="connsiteX42" fmla="*/ 450056 w 1059656"/>
              <a:gd name="connsiteY42" fmla="*/ 145257 h 564357"/>
              <a:gd name="connsiteX43" fmla="*/ 454818 w 1059656"/>
              <a:gd name="connsiteY43" fmla="*/ 171450 h 564357"/>
              <a:gd name="connsiteX44" fmla="*/ 423862 w 1059656"/>
              <a:gd name="connsiteY44" fmla="*/ 195263 h 564357"/>
              <a:gd name="connsiteX45" fmla="*/ 371475 w 1059656"/>
              <a:gd name="connsiteY45" fmla="*/ 204788 h 564357"/>
              <a:gd name="connsiteX46" fmla="*/ 330993 w 1059656"/>
              <a:gd name="connsiteY46" fmla="*/ 223838 h 564357"/>
              <a:gd name="connsiteX47" fmla="*/ 321468 w 1059656"/>
              <a:gd name="connsiteY47" fmla="*/ 261938 h 564357"/>
              <a:gd name="connsiteX48" fmla="*/ 319087 w 1059656"/>
              <a:gd name="connsiteY48" fmla="*/ 269082 h 564357"/>
              <a:gd name="connsiteX49" fmla="*/ 266700 w 1059656"/>
              <a:gd name="connsiteY49" fmla="*/ 285750 h 564357"/>
              <a:gd name="connsiteX50" fmla="*/ 180975 w 1059656"/>
              <a:gd name="connsiteY50" fmla="*/ 316707 h 564357"/>
              <a:gd name="connsiteX51" fmla="*/ 157162 w 1059656"/>
              <a:gd name="connsiteY51" fmla="*/ 309563 h 564357"/>
              <a:gd name="connsiteX52" fmla="*/ 128587 w 1059656"/>
              <a:gd name="connsiteY52" fmla="*/ 300038 h 564357"/>
              <a:gd name="connsiteX53" fmla="*/ 130968 w 1059656"/>
              <a:gd name="connsiteY53" fmla="*/ 359569 h 564357"/>
              <a:gd name="connsiteX54" fmla="*/ 169068 w 1059656"/>
              <a:gd name="connsiteY54" fmla="*/ 388144 h 564357"/>
              <a:gd name="connsiteX55" fmla="*/ 185737 w 1059656"/>
              <a:gd name="connsiteY55" fmla="*/ 411957 h 564357"/>
              <a:gd name="connsiteX56" fmla="*/ 180975 w 1059656"/>
              <a:gd name="connsiteY56" fmla="*/ 442913 h 564357"/>
              <a:gd name="connsiteX57" fmla="*/ 173831 w 1059656"/>
              <a:gd name="connsiteY57" fmla="*/ 471488 h 564357"/>
              <a:gd name="connsiteX58" fmla="*/ 130968 w 1059656"/>
              <a:gd name="connsiteY58" fmla="*/ 473869 h 564357"/>
              <a:gd name="connsiteX59" fmla="*/ 95250 w 1059656"/>
              <a:gd name="connsiteY59" fmla="*/ 488157 h 564357"/>
              <a:gd name="connsiteX60" fmla="*/ 71437 w 1059656"/>
              <a:gd name="connsiteY60" fmla="*/ 492919 h 564357"/>
              <a:gd name="connsiteX61" fmla="*/ 50006 w 1059656"/>
              <a:gd name="connsiteY61" fmla="*/ 504825 h 564357"/>
              <a:gd name="connsiteX62" fmla="*/ 30956 w 1059656"/>
              <a:gd name="connsiteY62" fmla="*/ 521494 h 564357"/>
              <a:gd name="connsiteX63" fmla="*/ 7143 w 1059656"/>
              <a:gd name="connsiteY63" fmla="*/ 528638 h 564357"/>
              <a:gd name="connsiteX64" fmla="*/ 0 w 1059656"/>
              <a:gd name="connsiteY64" fmla="*/ 533400 h 564357"/>
              <a:gd name="connsiteX65" fmla="*/ 38100 w 1059656"/>
              <a:gd name="connsiteY65" fmla="*/ 561975 h 564357"/>
              <a:gd name="connsiteX66" fmla="*/ 80962 w 1059656"/>
              <a:gd name="connsiteY66" fmla="*/ 559594 h 564357"/>
              <a:gd name="connsiteX67" fmla="*/ 116681 w 1059656"/>
              <a:gd name="connsiteY67" fmla="*/ 526257 h 564357"/>
              <a:gd name="connsiteX68" fmla="*/ 171450 w 1059656"/>
              <a:gd name="connsiteY68" fmla="*/ 500063 h 564357"/>
              <a:gd name="connsiteX69" fmla="*/ 278606 w 1059656"/>
              <a:gd name="connsiteY69" fmla="*/ 492919 h 564357"/>
              <a:gd name="connsiteX70" fmla="*/ 292893 w 1059656"/>
              <a:gd name="connsiteY70" fmla="*/ 481013 h 564357"/>
              <a:gd name="connsiteX71" fmla="*/ 357187 w 1059656"/>
              <a:gd name="connsiteY71" fmla="*/ 481013 h 564357"/>
              <a:gd name="connsiteX72" fmla="*/ 433387 w 1059656"/>
              <a:gd name="connsiteY72" fmla="*/ 388144 h 564357"/>
              <a:gd name="connsiteX73" fmla="*/ 559593 w 1059656"/>
              <a:gd name="connsiteY73" fmla="*/ 328613 h 564357"/>
              <a:gd name="connsiteX74" fmla="*/ 619125 w 1059656"/>
              <a:gd name="connsiteY74" fmla="*/ 321469 h 564357"/>
              <a:gd name="connsiteX75" fmla="*/ 654843 w 1059656"/>
              <a:gd name="connsiteY75" fmla="*/ 295275 h 564357"/>
              <a:gd name="connsiteX76" fmla="*/ 716756 w 1059656"/>
              <a:gd name="connsiteY76" fmla="*/ 292894 h 564357"/>
              <a:gd name="connsiteX77" fmla="*/ 771525 w 1059656"/>
              <a:gd name="connsiteY77" fmla="*/ 285750 h 564357"/>
              <a:gd name="connsiteX78" fmla="*/ 781050 w 1059656"/>
              <a:gd name="connsiteY78" fmla="*/ 323850 h 564357"/>
              <a:gd name="connsiteX79" fmla="*/ 773906 w 1059656"/>
              <a:gd name="connsiteY79" fmla="*/ 445294 h 564357"/>
              <a:gd name="connsiteX80" fmla="*/ 707231 w 1059656"/>
              <a:gd name="connsiteY80" fmla="*/ 461963 h 564357"/>
              <a:gd name="connsiteX81" fmla="*/ 652461 w 1059656"/>
              <a:gd name="connsiteY81" fmla="*/ 509587 h 564357"/>
              <a:gd name="connsiteX82" fmla="*/ 654844 w 1059656"/>
              <a:gd name="connsiteY82" fmla="*/ 528638 h 564357"/>
              <a:gd name="connsiteX83" fmla="*/ 697706 w 1059656"/>
              <a:gd name="connsiteY83" fmla="*/ 564357 h 564357"/>
              <a:gd name="connsiteX0" fmla="*/ 697706 w 1059656"/>
              <a:gd name="connsiteY0" fmla="*/ 564357 h 564357"/>
              <a:gd name="connsiteX1" fmla="*/ 778668 w 1059656"/>
              <a:gd name="connsiteY1" fmla="*/ 492919 h 564357"/>
              <a:gd name="connsiteX2" fmla="*/ 816768 w 1059656"/>
              <a:gd name="connsiteY2" fmla="*/ 473869 h 564357"/>
              <a:gd name="connsiteX3" fmla="*/ 852487 w 1059656"/>
              <a:gd name="connsiteY3" fmla="*/ 471488 h 564357"/>
              <a:gd name="connsiteX4" fmla="*/ 916781 w 1059656"/>
              <a:gd name="connsiteY4" fmla="*/ 457200 h 564357"/>
              <a:gd name="connsiteX5" fmla="*/ 950118 w 1059656"/>
              <a:gd name="connsiteY5" fmla="*/ 459582 h 564357"/>
              <a:gd name="connsiteX6" fmla="*/ 988218 w 1059656"/>
              <a:gd name="connsiteY6" fmla="*/ 476250 h 564357"/>
              <a:gd name="connsiteX7" fmla="*/ 1019175 w 1059656"/>
              <a:gd name="connsiteY7" fmla="*/ 445294 h 564357"/>
              <a:gd name="connsiteX8" fmla="*/ 992981 w 1059656"/>
              <a:gd name="connsiteY8" fmla="*/ 414338 h 564357"/>
              <a:gd name="connsiteX9" fmla="*/ 988218 w 1059656"/>
              <a:gd name="connsiteY9" fmla="*/ 383382 h 564357"/>
              <a:gd name="connsiteX10" fmla="*/ 995362 w 1059656"/>
              <a:gd name="connsiteY10" fmla="*/ 345282 h 564357"/>
              <a:gd name="connsiteX11" fmla="*/ 1023937 w 1059656"/>
              <a:gd name="connsiteY11" fmla="*/ 304800 h 564357"/>
              <a:gd name="connsiteX12" fmla="*/ 1052512 w 1059656"/>
              <a:gd name="connsiteY12" fmla="*/ 295275 h 564357"/>
              <a:gd name="connsiteX13" fmla="*/ 1059656 w 1059656"/>
              <a:gd name="connsiteY13" fmla="*/ 266700 h 564357"/>
              <a:gd name="connsiteX14" fmla="*/ 1047750 w 1059656"/>
              <a:gd name="connsiteY14" fmla="*/ 238125 h 564357"/>
              <a:gd name="connsiteX15" fmla="*/ 1019175 w 1059656"/>
              <a:gd name="connsiteY15" fmla="*/ 228600 h 564357"/>
              <a:gd name="connsiteX16" fmla="*/ 992981 w 1059656"/>
              <a:gd name="connsiteY16" fmla="*/ 235744 h 564357"/>
              <a:gd name="connsiteX17" fmla="*/ 935831 w 1059656"/>
              <a:gd name="connsiteY17" fmla="*/ 254794 h 564357"/>
              <a:gd name="connsiteX18" fmla="*/ 900112 w 1059656"/>
              <a:gd name="connsiteY18" fmla="*/ 259557 h 564357"/>
              <a:gd name="connsiteX19" fmla="*/ 878681 w 1059656"/>
              <a:gd name="connsiteY19" fmla="*/ 242888 h 564357"/>
              <a:gd name="connsiteX20" fmla="*/ 873918 w 1059656"/>
              <a:gd name="connsiteY20" fmla="*/ 228600 h 564357"/>
              <a:gd name="connsiteX21" fmla="*/ 881062 w 1059656"/>
              <a:gd name="connsiteY21" fmla="*/ 185738 h 564357"/>
              <a:gd name="connsiteX22" fmla="*/ 888206 w 1059656"/>
              <a:gd name="connsiteY22" fmla="*/ 150019 h 564357"/>
              <a:gd name="connsiteX23" fmla="*/ 871537 w 1059656"/>
              <a:gd name="connsiteY23" fmla="*/ 111919 h 564357"/>
              <a:gd name="connsiteX24" fmla="*/ 840581 w 1059656"/>
              <a:gd name="connsiteY24" fmla="*/ 95250 h 564357"/>
              <a:gd name="connsiteX25" fmla="*/ 859630 w 1059656"/>
              <a:gd name="connsiteY25" fmla="*/ 66676 h 564357"/>
              <a:gd name="connsiteX26" fmla="*/ 857249 w 1059656"/>
              <a:gd name="connsiteY26" fmla="*/ 28576 h 564357"/>
              <a:gd name="connsiteX27" fmla="*/ 833437 w 1059656"/>
              <a:gd name="connsiteY27" fmla="*/ 0 h 564357"/>
              <a:gd name="connsiteX28" fmla="*/ 809625 w 1059656"/>
              <a:gd name="connsiteY28" fmla="*/ 33338 h 564357"/>
              <a:gd name="connsiteX29" fmla="*/ 797718 w 1059656"/>
              <a:gd name="connsiteY29" fmla="*/ 50007 h 564357"/>
              <a:gd name="connsiteX30" fmla="*/ 757237 w 1059656"/>
              <a:gd name="connsiteY30" fmla="*/ 45244 h 564357"/>
              <a:gd name="connsiteX31" fmla="*/ 735806 w 1059656"/>
              <a:gd name="connsiteY31" fmla="*/ 50007 h 564357"/>
              <a:gd name="connsiteX32" fmla="*/ 719137 w 1059656"/>
              <a:gd name="connsiteY32" fmla="*/ 78582 h 564357"/>
              <a:gd name="connsiteX33" fmla="*/ 723900 w 1059656"/>
              <a:gd name="connsiteY33" fmla="*/ 97632 h 564357"/>
              <a:gd name="connsiteX34" fmla="*/ 707231 w 1059656"/>
              <a:gd name="connsiteY34" fmla="*/ 111919 h 564357"/>
              <a:gd name="connsiteX35" fmla="*/ 631031 w 1059656"/>
              <a:gd name="connsiteY35" fmla="*/ 114300 h 564357"/>
              <a:gd name="connsiteX36" fmla="*/ 597693 w 1059656"/>
              <a:gd name="connsiteY36" fmla="*/ 100013 h 564357"/>
              <a:gd name="connsiteX37" fmla="*/ 569118 w 1059656"/>
              <a:gd name="connsiteY37" fmla="*/ 71438 h 564357"/>
              <a:gd name="connsiteX38" fmla="*/ 531018 w 1059656"/>
              <a:gd name="connsiteY38" fmla="*/ 66675 h 564357"/>
              <a:gd name="connsiteX39" fmla="*/ 497681 w 1059656"/>
              <a:gd name="connsiteY39" fmla="*/ 90488 h 564357"/>
              <a:gd name="connsiteX40" fmla="*/ 481012 w 1059656"/>
              <a:gd name="connsiteY40" fmla="*/ 109538 h 564357"/>
              <a:gd name="connsiteX41" fmla="*/ 466725 w 1059656"/>
              <a:gd name="connsiteY41" fmla="*/ 126207 h 564357"/>
              <a:gd name="connsiteX42" fmla="*/ 450056 w 1059656"/>
              <a:gd name="connsiteY42" fmla="*/ 145257 h 564357"/>
              <a:gd name="connsiteX43" fmla="*/ 454818 w 1059656"/>
              <a:gd name="connsiteY43" fmla="*/ 171450 h 564357"/>
              <a:gd name="connsiteX44" fmla="*/ 423862 w 1059656"/>
              <a:gd name="connsiteY44" fmla="*/ 195263 h 564357"/>
              <a:gd name="connsiteX45" fmla="*/ 371475 w 1059656"/>
              <a:gd name="connsiteY45" fmla="*/ 204788 h 564357"/>
              <a:gd name="connsiteX46" fmla="*/ 330993 w 1059656"/>
              <a:gd name="connsiteY46" fmla="*/ 223838 h 564357"/>
              <a:gd name="connsiteX47" fmla="*/ 321468 w 1059656"/>
              <a:gd name="connsiteY47" fmla="*/ 261938 h 564357"/>
              <a:gd name="connsiteX48" fmla="*/ 319087 w 1059656"/>
              <a:gd name="connsiteY48" fmla="*/ 269082 h 564357"/>
              <a:gd name="connsiteX49" fmla="*/ 266700 w 1059656"/>
              <a:gd name="connsiteY49" fmla="*/ 285750 h 564357"/>
              <a:gd name="connsiteX50" fmla="*/ 180975 w 1059656"/>
              <a:gd name="connsiteY50" fmla="*/ 316707 h 564357"/>
              <a:gd name="connsiteX51" fmla="*/ 157162 w 1059656"/>
              <a:gd name="connsiteY51" fmla="*/ 309563 h 564357"/>
              <a:gd name="connsiteX52" fmla="*/ 128587 w 1059656"/>
              <a:gd name="connsiteY52" fmla="*/ 300038 h 564357"/>
              <a:gd name="connsiteX53" fmla="*/ 130968 w 1059656"/>
              <a:gd name="connsiteY53" fmla="*/ 359569 h 564357"/>
              <a:gd name="connsiteX54" fmla="*/ 169068 w 1059656"/>
              <a:gd name="connsiteY54" fmla="*/ 388144 h 564357"/>
              <a:gd name="connsiteX55" fmla="*/ 185737 w 1059656"/>
              <a:gd name="connsiteY55" fmla="*/ 411957 h 564357"/>
              <a:gd name="connsiteX56" fmla="*/ 180975 w 1059656"/>
              <a:gd name="connsiteY56" fmla="*/ 442913 h 564357"/>
              <a:gd name="connsiteX57" fmla="*/ 173831 w 1059656"/>
              <a:gd name="connsiteY57" fmla="*/ 471488 h 564357"/>
              <a:gd name="connsiteX58" fmla="*/ 130968 w 1059656"/>
              <a:gd name="connsiteY58" fmla="*/ 473869 h 564357"/>
              <a:gd name="connsiteX59" fmla="*/ 95250 w 1059656"/>
              <a:gd name="connsiteY59" fmla="*/ 488157 h 564357"/>
              <a:gd name="connsiteX60" fmla="*/ 71437 w 1059656"/>
              <a:gd name="connsiteY60" fmla="*/ 492919 h 564357"/>
              <a:gd name="connsiteX61" fmla="*/ 50006 w 1059656"/>
              <a:gd name="connsiteY61" fmla="*/ 504825 h 564357"/>
              <a:gd name="connsiteX62" fmla="*/ 30956 w 1059656"/>
              <a:gd name="connsiteY62" fmla="*/ 521494 h 564357"/>
              <a:gd name="connsiteX63" fmla="*/ 7143 w 1059656"/>
              <a:gd name="connsiteY63" fmla="*/ 528638 h 564357"/>
              <a:gd name="connsiteX64" fmla="*/ 0 w 1059656"/>
              <a:gd name="connsiteY64" fmla="*/ 533400 h 564357"/>
              <a:gd name="connsiteX65" fmla="*/ 38100 w 1059656"/>
              <a:gd name="connsiteY65" fmla="*/ 561975 h 564357"/>
              <a:gd name="connsiteX66" fmla="*/ 80962 w 1059656"/>
              <a:gd name="connsiteY66" fmla="*/ 559594 h 564357"/>
              <a:gd name="connsiteX67" fmla="*/ 116681 w 1059656"/>
              <a:gd name="connsiteY67" fmla="*/ 526257 h 564357"/>
              <a:gd name="connsiteX68" fmla="*/ 171450 w 1059656"/>
              <a:gd name="connsiteY68" fmla="*/ 500063 h 564357"/>
              <a:gd name="connsiteX69" fmla="*/ 278606 w 1059656"/>
              <a:gd name="connsiteY69" fmla="*/ 492919 h 564357"/>
              <a:gd name="connsiteX70" fmla="*/ 292893 w 1059656"/>
              <a:gd name="connsiteY70" fmla="*/ 481013 h 564357"/>
              <a:gd name="connsiteX71" fmla="*/ 357187 w 1059656"/>
              <a:gd name="connsiteY71" fmla="*/ 481013 h 564357"/>
              <a:gd name="connsiteX72" fmla="*/ 433387 w 1059656"/>
              <a:gd name="connsiteY72" fmla="*/ 388144 h 564357"/>
              <a:gd name="connsiteX73" fmla="*/ 559593 w 1059656"/>
              <a:gd name="connsiteY73" fmla="*/ 328613 h 564357"/>
              <a:gd name="connsiteX74" fmla="*/ 619125 w 1059656"/>
              <a:gd name="connsiteY74" fmla="*/ 321469 h 564357"/>
              <a:gd name="connsiteX75" fmla="*/ 654843 w 1059656"/>
              <a:gd name="connsiteY75" fmla="*/ 295275 h 564357"/>
              <a:gd name="connsiteX76" fmla="*/ 716756 w 1059656"/>
              <a:gd name="connsiteY76" fmla="*/ 292894 h 564357"/>
              <a:gd name="connsiteX77" fmla="*/ 771525 w 1059656"/>
              <a:gd name="connsiteY77" fmla="*/ 285750 h 564357"/>
              <a:gd name="connsiteX78" fmla="*/ 781050 w 1059656"/>
              <a:gd name="connsiteY78" fmla="*/ 323850 h 564357"/>
              <a:gd name="connsiteX79" fmla="*/ 773906 w 1059656"/>
              <a:gd name="connsiteY79" fmla="*/ 445294 h 564357"/>
              <a:gd name="connsiteX80" fmla="*/ 707231 w 1059656"/>
              <a:gd name="connsiteY80" fmla="*/ 461963 h 564357"/>
              <a:gd name="connsiteX81" fmla="*/ 652461 w 1059656"/>
              <a:gd name="connsiteY81" fmla="*/ 509587 h 564357"/>
              <a:gd name="connsiteX82" fmla="*/ 654844 w 1059656"/>
              <a:gd name="connsiteY82" fmla="*/ 528638 h 564357"/>
              <a:gd name="connsiteX83" fmla="*/ 697706 w 1059656"/>
              <a:gd name="connsiteY83" fmla="*/ 564357 h 564357"/>
              <a:gd name="connsiteX0" fmla="*/ 697706 w 1059656"/>
              <a:gd name="connsiteY0" fmla="*/ 564357 h 564357"/>
              <a:gd name="connsiteX1" fmla="*/ 778668 w 1059656"/>
              <a:gd name="connsiteY1" fmla="*/ 492919 h 564357"/>
              <a:gd name="connsiteX2" fmla="*/ 816768 w 1059656"/>
              <a:gd name="connsiteY2" fmla="*/ 473869 h 564357"/>
              <a:gd name="connsiteX3" fmla="*/ 852487 w 1059656"/>
              <a:gd name="connsiteY3" fmla="*/ 471488 h 564357"/>
              <a:gd name="connsiteX4" fmla="*/ 916781 w 1059656"/>
              <a:gd name="connsiteY4" fmla="*/ 457200 h 564357"/>
              <a:gd name="connsiteX5" fmla="*/ 950118 w 1059656"/>
              <a:gd name="connsiteY5" fmla="*/ 459582 h 564357"/>
              <a:gd name="connsiteX6" fmla="*/ 988218 w 1059656"/>
              <a:gd name="connsiteY6" fmla="*/ 476250 h 564357"/>
              <a:gd name="connsiteX7" fmla="*/ 1019175 w 1059656"/>
              <a:gd name="connsiteY7" fmla="*/ 445294 h 564357"/>
              <a:gd name="connsiteX8" fmla="*/ 992981 w 1059656"/>
              <a:gd name="connsiteY8" fmla="*/ 414338 h 564357"/>
              <a:gd name="connsiteX9" fmla="*/ 988218 w 1059656"/>
              <a:gd name="connsiteY9" fmla="*/ 383382 h 564357"/>
              <a:gd name="connsiteX10" fmla="*/ 995362 w 1059656"/>
              <a:gd name="connsiteY10" fmla="*/ 345282 h 564357"/>
              <a:gd name="connsiteX11" fmla="*/ 1023937 w 1059656"/>
              <a:gd name="connsiteY11" fmla="*/ 304800 h 564357"/>
              <a:gd name="connsiteX12" fmla="*/ 1052512 w 1059656"/>
              <a:gd name="connsiteY12" fmla="*/ 295275 h 564357"/>
              <a:gd name="connsiteX13" fmla="*/ 1059656 w 1059656"/>
              <a:gd name="connsiteY13" fmla="*/ 266700 h 564357"/>
              <a:gd name="connsiteX14" fmla="*/ 1047750 w 1059656"/>
              <a:gd name="connsiteY14" fmla="*/ 238125 h 564357"/>
              <a:gd name="connsiteX15" fmla="*/ 1019175 w 1059656"/>
              <a:gd name="connsiteY15" fmla="*/ 228600 h 564357"/>
              <a:gd name="connsiteX16" fmla="*/ 992981 w 1059656"/>
              <a:gd name="connsiteY16" fmla="*/ 235744 h 564357"/>
              <a:gd name="connsiteX17" fmla="*/ 935831 w 1059656"/>
              <a:gd name="connsiteY17" fmla="*/ 254794 h 564357"/>
              <a:gd name="connsiteX18" fmla="*/ 900112 w 1059656"/>
              <a:gd name="connsiteY18" fmla="*/ 259557 h 564357"/>
              <a:gd name="connsiteX19" fmla="*/ 878681 w 1059656"/>
              <a:gd name="connsiteY19" fmla="*/ 242888 h 564357"/>
              <a:gd name="connsiteX20" fmla="*/ 873918 w 1059656"/>
              <a:gd name="connsiteY20" fmla="*/ 228600 h 564357"/>
              <a:gd name="connsiteX21" fmla="*/ 881062 w 1059656"/>
              <a:gd name="connsiteY21" fmla="*/ 185738 h 564357"/>
              <a:gd name="connsiteX22" fmla="*/ 888206 w 1059656"/>
              <a:gd name="connsiteY22" fmla="*/ 150019 h 564357"/>
              <a:gd name="connsiteX23" fmla="*/ 871537 w 1059656"/>
              <a:gd name="connsiteY23" fmla="*/ 111919 h 564357"/>
              <a:gd name="connsiteX24" fmla="*/ 852488 w 1059656"/>
              <a:gd name="connsiteY24" fmla="*/ 92869 h 564357"/>
              <a:gd name="connsiteX25" fmla="*/ 859630 w 1059656"/>
              <a:gd name="connsiteY25" fmla="*/ 66676 h 564357"/>
              <a:gd name="connsiteX26" fmla="*/ 857249 w 1059656"/>
              <a:gd name="connsiteY26" fmla="*/ 28576 h 564357"/>
              <a:gd name="connsiteX27" fmla="*/ 833437 w 1059656"/>
              <a:gd name="connsiteY27" fmla="*/ 0 h 564357"/>
              <a:gd name="connsiteX28" fmla="*/ 809625 w 1059656"/>
              <a:gd name="connsiteY28" fmla="*/ 33338 h 564357"/>
              <a:gd name="connsiteX29" fmla="*/ 797718 w 1059656"/>
              <a:gd name="connsiteY29" fmla="*/ 50007 h 564357"/>
              <a:gd name="connsiteX30" fmla="*/ 757237 w 1059656"/>
              <a:gd name="connsiteY30" fmla="*/ 45244 h 564357"/>
              <a:gd name="connsiteX31" fmla="*/ 735806 w 1059656"/>
              <a:gd name="connsiteY31" fmla="*/ 50007 h 564357"/>
              <a:gd name="connsiteX32" fmla="*/ 719137 w 1059656"/>
              <a:gd name="connsiteY32" fmla="*/ 78582 h 564357"/>
              <a:gd name="connsiteX33" fmla="*/ 723900 w 1059656"/>
              <a:gd name="connsiteY33" fmla="*/ 97632 h 564357"/>
              <a:gd name="connsiteX34" fmla="*/ 707231 w 1059656"/>
              <a:gd name="connsiteY34" fmla="*/ 111919 h 564357"/>
              <a:gd name="connsiteX35" fmla="*/ 631031 w 1059656"/>
              <a:gd name="connsiteY35" fmla="*/ 114300 h 564357"/>
              <a:gd name="connsiteX36" fmla="*/ 597693 w 1059656"/>
              <a:gd name="connsiteY36" fmla="*/ 100013 h 564357"/>
              <a:gd name="connsiteX37" fmla="*/ 569118 w 1059656"/>
              <a:gd name="connsiteY37" fmla="*/ 71438 h 564357"/>
              <a:gd name="connsiteX38" fmla="*/ 531018 w 1059656"/>
              <a:gd name="connsiteY38" fmla="*/ 66675 h 564357"/>
              <a:gd name="connsiteX39" fmla="*/ 497681 w 1059656"/>
              <a:gd name="connsiteY39" fmla="*/ 90488 h 564357"/>
              <a:gd name="connsiteX40" fmla="*/ 481012 w 1059656"/>
              <a:gd name="connsiteY40" fmla="*/ 109538 h 564357"/>
              <a:gd name="connsiteX41" fmla="*/ 466725 w 1059656"/>
              <a:gd name="connsiteY41" fmla="*/ 126207 h 564357"/>
              <a:gd name="connsiteX42" fmla="*/ 450056 w 1059656"/>
              <a:gd name="connsiteY42" fmla="*/ 145257 h 564357"/>
              <a:gd name="connsiteX43" fmla="*/ 454818 w 1059656"/>
              <a:gd name="connsiteY43" fmla="*/ 171450 h 564357"/>
              <a:gd name="connsiteX44" fmla="*/ 423862 w 1059656"/>
              <a:gd name="connsiteY44" fmla="*/ 195263 h 564357"/>
              <a:gd name="connsiteX45" fmla="*/ 371475 w 1059656"/>
              <a:gd name="connsiteY45" fmla="*/ 204788 h 564357"/>
              <a:gd name="connsiteX46" fmla="*/ 330993 w 1059656"/>
              <a:gd name="connsiteY46" fmla="*/ 223838 h 564357"/>
              <a:gd name="connsiteX47" fmla="*/ 321468 w 1059656"/>
              <a:gd name="connsiteY47" fmla="*/ 261938 h 564357"/>
              <a:gd name="connsiteX48" fmla="*/ 319087 w 1059656"/>
              <a:gd name="connsiteY48" fmla="*/ 269082 h 564357"/>
              <a:gd name="connsiteX49" fmla="*/ 266700 w 1059656"/>
              <a:gd name="connsiteY49" fmla="*/ 285750 h 564357"/>
              <a:gd name="connsiteX50" fmla="*/ 180975 w 1059656"/>
              <a:gd name="connsiteY50" fmla="*/ 316707 h 564357"/>
              <a:gd name="connsiteX51" fmla="*/ 157162 w 1059656"/>
              <a:gd name="connsiteY51" fmla="*/ 309563 h 564357"/>
              <a:gd name="connsiteX52" fmla="*/ 128587 w 1059656"/>
              <a:gd name="connsiteY52" fmla="*/ 300038 h 564357"/>
              <a:gd name="connsiteX53" fmla="*/ 130968 w 1059656"/>
              <a:gd name="connsiteY53" fmla="*/ 359569 h 564357"/>
              <a:gd name="connsiteX54" fmla="*/ 169068 w 1059656"/>
              <a:gd name="connsiteY54" fmla="*/ 388144 h 564357"/>
              <a:gd name="connsiteX55" fmla="*/ 185737 w 1059656"/>
              <a:gd name="connsiteY55" fmla="*/ 411957 h 564357"/>
              <a:gd name="connsiteX56" fmla="*/ 180975 w 1059656"/>
              <a:gd name="connsiteY56" fmla="*/ 442913 h 564357"/>
              <a:gd name="connsiteX57" fmla="*/ 173831 w 1059656"/>
              <a:gd name="connsiteY57" fmla="*/ 471488 h 564357"/>
              <a:gd name="connsiteX58" fmla="*/ 130968 w 1059656"/>
              <a:gd name="connsiteY58" fmla="*/ 473869 h 564357"/>
              <a:gd name="connsiteX59" fmla="*/ 95250 w 1059656"/>
              <a:gd name="connsiteY59" fmla="*/ 488157 h 564357"/>
              <a:gd name="connsiteX60" fmla="*/ 71437 w 1059656"/>
              <a:gd name="connsiteY60" fmla="*/ 492919 h 564357"/>
              <a:gd name="connsiteX61" fmla="*/ 50006 w 1059656"/>
              <a:gd name="connsiteY61" fmla="*/ 504825 h 564357"/>
              <a:gd name="connsiteX62" fmla="*/ 30956 w 1059656"/>
              <a:gd name="connsiteY62" fmla="*/ 521494 h 564357"/>
              <a:gd name="connsiteX63" fmla="*/ 7143 w 1059656"/>
              <a:gd name="connsiteY63" fmla="*/ 528638 h 564357"/>
              <a:gd name="connsiteX64" fmla="*/ 0 w 1059656"/>
              <a:gd name="connsiteY64" fmla="*/ 533400 h 564357"/>
              <a:gd name="connsiteX65" fmla="*/ 38100 w 1059656"/>
              <a:gd name="connsiteY65" fmla="*/ 561975 h 564357"/>
              <a:gd name="connsiteX66" fmla="*/ 80962 w 1059656"/>
              <a:gd name="connsiteY66" fmla="*/ 559594 h 564357"/>
              <a:gd name="connsiteX67" fmla="*/ 116681 w 1059656"/>
              <a:gd name="connsiteY67" fmla="*/ 526257 h 564357"/>
              <a:gd name="connsiteX68" fmla="*/ 171450 w 1059656"/>
              <a:gd name="connsiteY68" fmla="*/ 500063 h 564357"/>
              <a:gd name="connsiteX69" fmla="*/ 278606 w 1059656"/>
              <a:gd name="connsiteY69" fmla="*/ 492919 h 564357"/>
              <a:gd name="connsiteX70" fmla="*/ 292893 w 1059656"/>
              <a:gd name="connsiteY70" fmla="*/ 481013 h 564357"/>
              <a:gd name="connsiteX71" fmla="*/ 357187 w 1059656"/>
              <a:gd name="connsiteY71" fmla="*/ 481013 h 564357"/>
              <a:gd name="connsiteX72" fmla="*/ 433387 w 1059656"/>
              <a:gd name="connsiteY72" fmla="*/ 388144 h 564357"/>
              <a:gd name="connsiteX73" fmla="*/ 559593 w 1059656"/>
              <a:gd name="connsiteY73" fmla="*/ 328613 h 564357"/>
              <a:gd name="connsiteX74" fmla="*/ 619125 w 1059656"/>
              <a:gd name="connsiteY74" fmla="*/ 321469 h 564357"/>
              <a:gd name="connsiteX75" fmla="*/ 654843 w 1059656"/>
              <a:gd name="connsiteY75" fmla="*/ 295275 h 564357"/>
              <a:gd name="connsiteX76" fmla="*/ 716756 w 1059656"/>
              <a:gd name="connsiteY76" fmla="*/ 292894 h 564357"/>
              <a:gd name="connsiteX77" fmla="*/ 771525 w 1059656"/>
              <a:gd name="connsiteY77" fmla="*/ 285750 h 564357"/>
              <a:gd name="connsiteX78" fmla="*/ 781050 w 1059656"/>
              <a:gd name="connsiteY78" fmla="*/ 323850 h 564357"/>
              <a:gd name="connsiteX79" fmla="*/ 773906 w 1059656"/>
              <a:gd name="connsiteY79" fmla="*/ 445294 h 564357"/>
              <a:gd name="connsiteX80" fmla="*/ 707231 w 1059656"/>
              <a:gd name="connsiteY80" fmla="*/ 461963 h 564357"/>
              <a:gd name="connsiteX81" fmla="*/ 652461 w 1059656"/>
              <a:gd name="connsiteY81" fmla="*/ 509587 h 564357"/>
              <a:gd name="connsiteX82" fmla="*/ 654844 w 1059656"/>
              <a:gd name="connsiteY82" fmla="*/ 528638 h 564357"/>
              <a:gd name="connsiteX83" fmla="*/ 697706 w 1059656"/>
              <a:gd name="connsiteY83" fmla="*/ 564357 h 564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1059656" h="564357">
                <a:moveTo>
                  <a:pt x="697706" y="564357"/>
                </a:moveTo>
                <a:lnTo>
                  <a:pt x="778668" y="492919"/>
                </a:lnTo>
                <a:lnTo>
                  <a:pt x="816768" y="473869"/>
                </a:lnTo>
                <a:lnTo>
                  <a:pt x="852487" y="471488"/>
                </a:lnTo>
                <a:lnTo>
                  <a:pt x="916781" y="457200"/>
                </a:lnTo>
                <a:lnTo>
                  <a:pt x="950118" y="459582"/>
                </a:lnTo>
                <a:lnTo>
                  <a:pt x="988218" y="476250"/>
                </a:lnTo>
                <a:lnTo>
                  <a:pt x="1019175" y="445294"/>
                </a:lnTo>
                <a:lnTo>
                  <a:pt x="992981" y="414338"/>
                </a:lnTo>
                <a:lnTo>
                  <a:pt x="988218" y="383382"/>
                </a:lnTo>
                <a:lnTo>
                  <a:pt x="995362" y="345282"/>
                </a:lnTo>
                <a:lnTo>
                  <a:pt x="1023937" y="304800"/>
                </a:lnTo>
                <a:lnTo>
                  <a:pt x="1052512" y="295275"/>
                </a:lnTo>
                <a:lnTo>
                  <a:pt x="1059656" y="266700"/>
                </a:lnTo>
                <a:lnTo>
                  <a:pt x="1047750" y="238125"/>
                </a:lnTo>
                <a:lnTo>
                  <a:pt x="1019175" y="228600"/>
                </a:lnTo>
                <a:lnTo>
                  <a:pt x="992981" y="235744"/>
                </a:lnTo>
                <a:lnTo>
                  <a:pt x="935831" y="254794"/>
                </a:lnTo>
                <a:lnTo>
                  <a:pt x="900112" y="259557"/>
                </a:lnTo>
                <a:lnTo>
                  <a:pt x="878681" y="242888"/>
                </a:lnTo>
                <a:lnTo>
                  <a:pt x="873918" y="228600"/>
                </a:lnTo>
                <a:lnTo>
                  <a:pt x="881062" y="185738"/>
                </a:lnTo>
                <a:lnTo>
                  <a:pt x="888206" y="150019"/>
                </a:lnTo>
                <a:lnTo>
                  <a:pt x="871537" y="111919"/>
                </a:lnTo>
                <a:lnTo>
                  <a:pt x="852488" y="92869"/>
                </a:lnTo>
                <a:lnTo>
                  <a:pt x="859630" y="66676"/>
                </a:lnTo>
                <a:lnTo>
                  <a:pt x="857249" y="28576"/>
                </a:lnTo>
                <a:lnTo>
                  <a:pt x="833437" y="0"/>
                </a:lnTo>
                <a:lnTo>
                  <a:pt x="809625" y="33338"/>
                </a:lnTo>
                <a:lnTo>
                  <a:pt x="797718" y="50007"/>
                </a:lnTo>
                <a:lnTo>
                  <a:pt x="757237" y="45244"/>
                </a:lnTo>
                <a:lnTo>
                  <a:pt x="735806" y="50007"/>
                </a:lnTo>
                <a:lnTo>
                  <a:pt x="719137" y="78582"/>
                </a:lnTo>
                <a:lnTo>
                  <a:pt x="723900" y="97632"/>
                </a:lnTo>
                <a:lnTo>
                  <a:pt x="707231" y="111919"/>
                </a:lnTo>
                <a:lnTo>
                  <a:pt x="631031" y="114300"/>
                </a:lnTo>
                <a:lnTo>
                  <a:pt x="597693" y="100013"/>
                </a:lnTo>
                <a:lnTo>
                  <a:pt x="569118" y="71438"/>
                </a:lnTo>
                <a:lnTo>
                  <a:pt x="531018" y="66675"/>
                </a:lnTo>
                <a:lnTo>
                  <a:pt x="497681" y="90488"/>
                </a:lnTo>
                <a:lnTo>
                  <a:pt x="481012" y="109538"/>
                </a:lnTo>
                <a:lnTo>
                  <a:pt x="466725" y="126207"/>
                </a:lnTo>
                <a:lnTo>
                  <a:pt x="450056" y="145257"/>
                </a:lnTo>
                <a:lnTo>
                  <a:pt x="454818" y="171450"/>
                </a:lnTo>
                <a:lnTo>
                  <a:pt x="423862" y="195263"/>
                </a:lnTo>
                <a:lnTo>
                  <a:pt x="371475" y="204788"/>
                </a:lnTo>
                <a:lnTo>
                  <a:pt x="330993" y="223838"/>
                </a:lnTo>
                <a:lnTo>
                  <a:pt x="321468" y="261938"/>
                </a:lnTo>
                <a:lnTo>
                  <a:pt x="319087" y="269082"/>
                </a:lnTo>
                <a:lnTo>
                  <a:pt x="266700" y="285750"/>
                </a:lnTo>
                <a:lnTo>
                  <a:pt x="180975" y="316707"/>
                </a:lnTo>
                <a:lnTo>
                  <a:pt x="157162" y="309563"/>
                </a:lnTo>
                <a:lnTo>
                  <a:pt x="128587" y="300038"/>
                </a:lnTo>
                <a:cubicBezTo>
                  <a:pt x="129381" y="319882"/>
                  <a:pt x="130174" y="339725"/>
                  <a:pt x="130968" y="359569"/>
                </a:cubicBezTo>
                <a:lnTo>
                  <a:pt x="169068" y="388144"/>
                </a:lnTo>
                <a:lnTo>
                  <a:pt x="185737" y="411957"/>
                </a:lnTo>
                <a:lnTo>
                  <a:pt x="180975" y="442913"/>
                </a:lnTo>
                <a:lnTo>
                  <a:pt x="173831" y="471488"/>
                </a:lnTo>
                <a:lnTo>
                  <a:pt x="130968" y="473869"/>
                </a:lnTo>
                <a:lnTo>
                  <a:pt x="95250" y="488157"/>
                </a:lnTo>
                <a:lnTo>
                  <a:pt x="71437" y="492919"/>
                </a:lnTo>
                <a:lnTo>
                  <a:pt x="50006" y="504825"/>
                </a:lnTo>
                <a:lnTo>
                  <a:pt x="30956" y="521494"/>
                </a:lnTo>
                <a:lnTo>
                  <a:pt x="7143" y="528638"/>
                </a:lnTo>
                <a:lnTo>
                  <a:pt x="0" y="533400"/>
                </a:lnTo>
                <a:lnTo>
                  <a:pt x="38100" y="561975"/>
                </a:lnTo>
                <a:lnTo>
                  <a:pt x="80962" y="559594"/>
                </a:lnTo>
                <a:lnTo>
                  <a:pt x="116681" y="526257"/>
                </a:lnTo>
                <a:lnTo>
                  <a:pt x="171450" y="500063"/>
                </a:lnTo>
                <a:lnTo>
                  <a:pt x="278606" y="492919"/>
                </a:lnTo>
                <a:lnTo>
                  <a:pt x="292893" y="481013"/>
                </a:lnTo>
                <a:lnTo>
                  <a:pt x="357187" y="481013"/>
                </a:lnTo>
                <a:lnTo>
                  <a:pt x="433387" y="388144"/>
                </a:lnTo>
                <a:lnTo>
                  <a:pt x="559593" y="328613"/>
                </a:lnTo>
                <a:lnTo>
                  <a:pt x="619125" y="321469"/>
                </a:lnTo>
                <a:lnTo>
                  <a:pt x="654843" y="295275"/>
                </a:lnTo>
                <a:lnTo>
                  <a:pt x="716756" y="292894"/>
                </a:lnTo>
                <a:lnTo>
                  <a:pt x="771525" y="285750"/>
                </a:lnTo>
                <a:lnTo>
                  <a:pt x="781050" y="323850"/>
                </a:lnTo>
                <a:lnTo>
                  <a:pt x="773906" y="445294"/>
                </a:lnTo>
                <a:lnTo>
                  <a:pt x="707231" y="461963"/>
                </a:lnTo>
                <a:lnTo>
                  <a:pt x="652461" y="509587"/>
                </a:lnTo>
                <a:lnTo>
                  <a:pt x="654844" y="528638"/>
                </a:lnTo>
                <a:lnTo>
                  <a:pt x="697706" y="564357"/>
                </a:lnTo>
                <a:close/>
              </a:path>
            </a:pathLst>
          </a:custGeom>
          <a:solidFill>
            <a:srgbClr val="00FF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5100643" y="2614084"/>
            <a:ext cx="320675" cy="330200"/>
          </a:xfrm>
          <a:custGeom>
            <a:avLst/>
            <a:gdLst>
              <a:gd name="connsiteX0" fmla="*/ 190500 w 314325"/>
              <a:gd name="connsiteY0" fmla="*/ 302419 h 330994"/>
              <a:gd name="connsiteX1" fmla="*/ 221456 w 314325"/>
              <a:gd name="connsiteY1" fmla="*/ 240506 h 330994"/>
              <a:gd name="connsiteX2" fmla="*/ 250031 w 314325"/>
              <a:gd name="connsiteY2" fmla="*/ 214312 h 330994"/>
              <a:gd name="connsiteX3" fmla="*/ 266700 w 314325"/>
              <a:gd name="connsiteY3" fmla="*/ 169069 h 330994"/>
              <a:gd name="connsiteX4" fmla="*/ 273844 w 314325"/>
              <a:gd name="connsiteY4" fmla="*/ 119062 h 330994"/>
              <a:gd name="connsiteX5" fmla="*/ 314325 w 314325"/>
              <a:gd name="connsiteY5" fmla="*/ 52387 h 330994"/>
              <a:gd name="connsiteX6" fmla="*/ 295275 w 314325"/>
              <a:gd name="connsiteY6" fmla="*/ 14287 h 330994"/>
              <a:gd name="connsiteX7" fmla="*/ 285750 w 314325"/>
              <a:gd name="connsiteY7" fmla="*/ 21431 h 330994"/>
              <a:gd name="connsiteX8" fmla="*/ 273844 w 314325"/>
              <a:gd name="connsiteY8" fmla="*/ 0 h 330994"/>
              <a:gd name="connsiteX9" fmla="*/ 245269 w 314325"/>
              <a:gd name="connsiteY9" fmla="*/ 33337 h 330994"/>
              <a:gd name="connsiteX10" fmla="*/ 211931 w 314325"/>
              <a:gd name="connsiteY10" fmla="*/ 45244 h 330994"/>
              <a:gd name="connsiteX11" fmla="*/ 202406 w 314325"/>
              <a:gd name="connsiteY11" fmla="*/ 85725 h 330994"/>
              <a:gd name="connsiteX12" fmla="*/ 178594 w 314325"/>
              <a:gd name="connsiteY12" fmla="*/ 95250 h 330994"/>
              <a:gd name="connsiteX13" fmla="*/ 135731 w 314325"/>
              <a:gd name="connsiteY13" fmla="*/ 47625 h 330994"/>
              <a:gd name="connsiteX14" fmla="*/ 104775 w 314325"/>
              <a:gd name="connsiteY14" fmla="*/ 64294 h 330994"/>
              <a:gd name="connsiteX15" fmla="*/ 109537 w 314325"/>
              <a:gd name="connsiteY15" fmla="*/ 154781 h 330994"/>
              <a:gd name="connsiteX16" fmla="*/ 78581 w 314325"/>
              <a:gd name="connsiteY16" fmla="*/ 176212 h 330994"/>
              <a:gd name="connsiteX17" fmla="*/ 59531 w 314325"/>
              <a:gd name="connsiteY17" fmla="*/ 195262 h 330994"/>
              <a:gd name="connsiteX18" fmla="*/ 59531 w 314325"/>
              <a:gd name="connsiteY18" fmla="*/ 195262 h 330994"/>
              <a:gd name="connsiteX19" fmla="*/ 61912 w 314325"/>
              <a:gd name="connsiteY19" fmla="*/ 240506 h 330994"/>
              <a:gd name="connsiteX20" fmla="*/ 9525 w 314325"/>
              <a:gd name="connsiteY20" fmla="*/ 233362 h 330994"/>
              <a:gd name="connsiteX21" fmla="*/ 0 w 314325"/>
              <a:gd name="connsiteY21" fmla="*/ 254794 h 330994"/>
              <a:gd name="connsiteX22" fmla="*/ 14287 w 314325"/>
              <a:gd name="connsiteY22" fmla="*/ 330994 h 330994"/>
              <a:gd name="connsiteX23" fmla="*/ 59531 w 314325"/>
              <a:gd name="connsiteY23" fmla="*/ 302419 h 330994"/>
              <a:gd name="connsiteX24" fmla="*/ 100012 w 314325"/>
              <a:gd name="connsiteY24" fmla="*/ 285750 h 330994"/>
              <a:gd name="connsiteX25" fmla="*/ 126206 w 314325"/>
              <a:gd name="connsiteY25" fmla="*/ 288131 h 330994"/>
              <a:gd name="connsiteX26" fmla="*/ 190500 w 314325"/>
              <a:gd name="connsiteY26" fmla="*/ 302419 h 330994"/>
              <a:gd name="connsiteX0" fmla="*/ 190500 w 321468"/>
              <a:gd name="connsiteY0" fmla="*/ 302419 h 330994"/>
              <a:gd name="connsiteX1" fmla="*/ 221456 w 321468"/>
              <a:gd name="connsiteY1" fmla="*/ 240506 h 330994"/>
              <a:gd name="connsiteX2" fmla="*/ 250031 w 321468"/>
              <a:gd name="connsiteY2" fmla="*/ 214312 h 330994"/>
              <a:gd name="connsiteX3" fmla="*/ 266700 w 321468"/>
              <a:gd name="connsiteY3" fmla="*/ 169069 h 330994"/>
              <a:gd name="connsiteX4" fmla="*/ 273844 w 321468"/>
              <a:gd name="connsiteY4" fmla="*/ 119062 h 330994"/>
              <a:gd name="connsiteX5" fmla="*/ 321468 w 321468"/>
              <a:gd name="connsiteY5" fmla="*/ 61912 h 330994"/>
              <a:gd name="connsiteX6" fmla="*/ 295275 w 321468"/>
              <a:gd name="connsiteY6" fmla="*/ 14287 h 330994"/>
              <a:gd name="connsiteX7" fmla="*/ 285750 w 321468"/>
              <a:gd name="connsiteY7" fmla="*/ 21431 h 330994"/>
              <a:gd name="connsiteX8" fmla="*/ 273844 w 321468"/>
              <a:gd name="connsiteY8" fmla="*/ 0 h 330994"/>
              <a:gd name="connsiteX9" fmla="*/ 245269 w 321468"/>
              <a:gd name="connsiteY9" fmla="*/ 33337 h 330994"/>
              <a:gd name="connsiteX10" fmla="*/ 211931 w 321468"/>
              <a:gd name="connsiteY10" fmla="*/ 45244 h 330994"/>
              <a:gd name="connsiteX11" fmla="*/ 202406 w 321468"/>
              <a:gd name="connsiteY11" fmla="*/ 85725 h 330994"/>
              <a:gd name="connsiteX12" fmla="*/ 178594 w 321468"/>
              <a:gd name="connsiteY12" fmla="*/ 95250 h 330994"/>
              <a:gd name="connsiteX13" fmla="*/ 135731 w 321468"/>
              <a:gd name="connsiteY13" fmla="*/ 47625 h 330994"/>
              <a:gd name="connsiteX14" fmla="*/ 104775 w 321468"/>
              <a:gd name="connsiteY14" fmla="*/ 64294 h 330994"/>
              <a:gd name="connsiteX15" fmla="*/ 109537 w 321468"/>
              <a:gd name="connsiteY15" fmla="*/ 154781 h 330994"/>
              <a:gd name="connsiteX16" fmla="*/ 78581 w 321468"/>
              <a:gd name="connsiteY16" fmla="*/ 176212 h 330994"/>
              <a:gd name="connsiteX17" fmla="*/ 59531 w 321468"/>
              <a:gd name="connsiteY17" fmla="*/ 195262 h 330994"/>
              <a:gd name="connsiteX18" fmla="*/ 59531 w 321468"/>
              <a:gd name="connsiteY18" fmla="*/ 195262 h 330994"/>
              <a:gd name="connsiteX19" fmla="*/ 61912 w 321468"/>
              <a:gd name="connsiteY19" fmla="*/ 240506 h 330994"/>
              <a:gd name="connsiteX20" fmla="*/ 9525 w 321468"/>
              <a:gd name="connsiteY20" fmla="*/ 233362 h 330994"/>
              <a:gd name="connsiteX21" fmla="*/ 0 w 321468"/>
              <a:gd name="connsiteY21" fmla="*/ 254794 h 330994"/>
              <a:gd name="connsiteX22" fmla="*/ 14287 w 321468"/>
              <a:gd name="connsiteY22" fmla="*/ 330994 h 330994"/>
              <a:gd name="connsiteX23" fmla="*/ 59531 w 321468"/>
              <a:gd name="connsiteY23" fmla="*/ 302419 h 330994"/>
              <a:gd name="connsiteX24" fmla="*/ 100012 w 321468"/>
              <a:gd name="connsiteY24" fmla="*/ 285750 h 330994"/>
              <a:gd name="connsiteX25" fmla="*/ 126206 w 321468"/>
              <a:gd name="connsiteY25" fmla="*/ 288131 h 330994"/>
              <a:gd name="connsiteX26" fmla="*/ 190500 w 321468"/>
              <a:gd name="connsiteY26" fmla="*/ 302419 h 330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321468" h="330994">
                <a:moveTo>
                  <a:pt x="190500" y="302419"/>
                </a:moveTo>
                <a:lnTo>
                  <a:pt x="221456" y="240506"/>
                </a:lnTo>
                <a:lnTo>
                  <a:pt x="250031" y="214312"/>
                </a:lnTo>
                <a:lnTo>
                  <a:pt x="266700" y="169069"/>
                </a:lnTo>
                <a:lnTo>
                  <a:pt x="273844" y="119062"/>
                </a:lnTo>
                <a:lnTo>
                  <a:pt x="321468" y="61912"/>
                </a:lnTo>
                <a:lnTo>
                  <a:pt x="295275" y="14287"/>
                </a:lnTo>
                <a:lnTo>
                  <a:pt x="285750" y="21431"/>
                </a:lnTo>
                <a:lnTo>
                  <a:pt x="273844" y="0"/>
                </a:lnTo>
                <a:lnTo>
                  <a:pt x="245269" y="33337"/>
                </a:lnTo>
                <a:lnTo>
                  <a:pt x="211931" y="45244"/>
                </a:lnTo>
                <a:lnTo>
                  <a:pt x="202406" y="85725"/>
                </a:lnTo>
                <a:lnTo>
                  <a:pt x="178594" y="95250"/>
                </a:lnTo>
                <a:lnTo>
                  <a:pt x="135731" y="47625"/>
                </a:lnTo>
                <a:lnTo>
                  <a:pt x="104775" y="64294"/>
                </a:lnTo>
                <a:lnTo>
                  <a:pt x="109537" y="154781"/>
                </a:lnTo>
                <a:lnTo>
                  <a:pt x="78581" y="176212"/>
                </a:lnTo>
                <a:lnTo>
                  <a:pt x="59531" y="195262"/>
                </a:lnTo>
                <a:lnTo>
                  <a:pt x="59531" y="195262"/>
                </a:lnTo>
                <a:lnTo>
                  <a:pt x="61912" y="240506"/>
                </a:lnTo>
                <a:lnTo>
                  <a:pt x="9525" y="233362"/>
                </a:lnTo>
                <a:lnTo>
                  <a:pt x="0" y="254794"/>
                </a:lnTo>
                <a:lnTo>
                  <a:pt x="14287" y="330994"/>
                </a:lnTo>
                <a:lnTo>
                  <a:pt x="59531" y="302419"/>
                </a:lnTo>
                <a:lnTo>
                  <a:pt x="100012" y="285750"/>
                </a:lnTo>
                <a:lnTo>
                  <a:pt x="126206" y="288131"/>
                </a:lnTo>
                <a:lnTo>
                  <a:pt x="190500" y="302419"/>
                </a:lnTo>
                <a:close/>
              </a:path>
            </a:pathLst>
          </a:custGeom>
          <a:solidFill>
            <a:srgbClr val="FF0000"/>
          </a:solidFill>
          <a:ln w="190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8" name="Oval 57"/>
          <p:cNvSpPr/>
          <p:nvPr/>
        </p:nvSpPr>
        <p:spPr>
          <a:xfrm flipV="1">
            <a:off x="4830769" y="2762255"/>
            <a:ext cx="46037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28" name="Rectangle 1"/>
          <p:cNvSpPr>
            <a:spLocks noChangeArrowheads="1"/>
          </p:cNvSpPr>
          <p:nvPr/>
        </p:nvSpPr>
        <p:spPr bwMode="auto">
          <a:xfrm>
            <a:off x="4602169" y="2633133"/>
            <a:ext cx="57900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దిస్    పూ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65" name="Rectangle 1"/>
          <p:cNvSpPr>
            <a:spLocks noChangeArrowheads="1"/>
          </p:cNvSpPr>
          <p:nvPr/>
        </p:nvSpPr>
        <p:spPr bwMode="auto">
          <a:xfrm rot="-1621494">
            <a:off x="4975225" y="2497609"/>
            <a:ext cx="56515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అసోం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42" name="Rectangle 1"/>
          <p:cNvSpPr>
            <a:spLocks noChangeArrowheads="1"/>
          </p:cNvSpPr>
          <p:nvPr/>
        </p:nvSpPr>
        <p:spPr bwMode="auto">
          <a:xfrm>
            <a:off x="2362200" y="990600"/>
            <a:ext cx="60960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జమ్మూ </a:t>
            </a:r>
            <a:r>
              <a:rPr lang="en-US" sz="1000">
                <a:solidFill>
                  <a:srgbClr val="000000"/>
                </a:solidFill>
                <a:ea typeface="Times New Roman" pitchFamily="18" charset="0"/>
                <a:cs typeface="Ramabhadra" pitchFamily="2" charset="0"/>
              </a:rPr>
              <a:t>కాశ్మీర్</a:t>
            </a:r>
            <a:endParaRPr lang="en-US" sz="2800">
              <a:ea typeface="Times New Roman" pitchFamily="18" charset="0"/>
              <a:cs typeface="Ramabhadra" pitchFamily="2" charset="0"/>
            </a:endParaRPr>
          </a:p>
          <a:p>
            <a:pPr eaLnBrk="0" hangingPunct="0"/>
            <a:endParaRPr lang="en-US" sz="1000">
              <a:solidFill>
                <a:srgbClr val="000000"/>
              </a:solidFill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43" name="Rectangle 1"/>
          <p:cNvSpPr>
            <a:spLocks noChangeArrowheads="1"/>
          </p:cNvSpPr>
          <p:nvPr/>
        </p:nvSpPr>
        <p:spPr bwMode="auto">
          <a:xfrm>
            <a:off x="1981201" y="1193800"/>
            <a:ext cx="4090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జమ్మూ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44" name="Rectangle 1"/>
          <p:cNvSpPr>
            <a:spLocks noChangeArrowheads="1"/>
          </p:cNvSpPr>
          <p:nvPr/>
        </p:nvSpPr>
        <p:spPr bwMode="auto">
          <a:xfrm>
            <a:off x="1981200" y="889000"/>
            <a:ext cx="457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శ్రీనగ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46" name="Oval 145"/>
          <p:cNvSpPr/>
          <p:nvPr/>
        </p:nvSpPr>
        <p:spPr>
          <a:xfrm flipV="1">
            <a:off x="2011369" y="1397000"/>
            <a:ext cx="46037" cy="61384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5" name="Oval 144"/>
          <p:cNvSpPr/>
          <p:nvPr/>
        </p:nvSpPr>
        <p:spPr>
          <a:xfrm flipH="1" flipV="1">
            <a:off x="2057401" y="1132422"/>
            <a:ext cx="46038" cy="61383"/>
          </a:xfrm>
          <a:prstGeom prst="ellipse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8" name="Rectangle 1"/>
          <p:cNvSpPr>
            <a:spLocks noChangeArrowheads="1"/>
          </p:cNvSpPr>
          <p:nvPr/>
        </p:nvSpPr>
        <p:spPr bwMode="auto">
          <a:xfrm>
            <a:off x="1852619" y="1813984"/>
            <a:ext cx="5857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ండీఘ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49" name="Oval 148"/>
          <p:cNvSpPr/>
          <p:nvPr/>
        </p:nvSpPr>
        <p:spPr>
          <a:xfrm flipV="1">
            <a:off x="2286000" y="1803400"/>
            <a:ext cx="76200" cy="1016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0" name="Rectangle 1"/>
          <p:cNvSpPr>
            <a:spLocks noChangeArrowheads="1"/>
          </p:cNvSpPr>
          <p:nvPr/>
        </p:nvSpPr>
        <p:spPr bwMode="auto">
          <a:xfrm>
            <a:off x="1600200" y="1598085"/>
            <a:ext cx="5334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ంజాబ్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1" name="Rectangle 1"/>
          <p:cNvSpPr>
            <a:spLocks noChangeArrowheads="1"/>
          </p:cNvSpPr>
          <p:nvPr/>
        </p:nvSpPr>
        <p:spPr bwMode="auto">
          <a:xfrm>
            <a:off x="2362200" y="1598085"/>
            <a:ext cx="1143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హిమాచల్ ప్రదేశ్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2" name="Oval 151"/>
          <p:cNvSpPr/>
          <p:nvPr/>
        </p:nvSpPr>
        <p:spPr>
          <a:xfrm flipV="1">
            <a:off x="2438401" y="18034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3" name="Rectangle 1"/>
          <p:cNvSpPr>
            <a:spLocks noChangeArrowheads="1"/>
          </p:cNvSpPr>
          <p:nvPr/>
        </p:nvSpPr>
        <p:spPr bwMode="auto">
          <a:xfrm>
            <a:off x="2209800" y="1600200"/>
            <a:ext cx="5334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ిమ్లా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99" name="Rectangle 1"/>
          <p:cNvSpPr>
            <a:spLocks noChangeArrowheads="1"/>
          </p:cNvSpPr>
          <p:nvPr/>
        </p:nvSpPr>
        <p:spPr bwMode="auto">
          <a:xfrm rot="-1397592">
            <a:off x="1990725" y="1985661"/>
            <a:ext cx="6096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8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హర్యానా</a:t>
            </a:r>
            <a:endParaRPr lang="en-US" sz="2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5" name="Rectangle 2"/>
          <p:cNvSpPr>
            <a:spLocks noChangeArrowheads="1"/>
          </p:cNvSpPr>
          <p:nvPr/>
        </p:nvSpPr>
        <p:spPr bwMode="auto">
          <a:xfrm>
            <a:off x="2057400" y="2209805"/>
            <a:ext cx="3810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7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ఢిల్లీ</a:t>
            </a:r>
            <a:endParaRPr lang="en-US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4" name="Oval 153"/>
          <p:cNvSpPr/>
          <p:nvPr/>
        </p:nvSpPr>
        <p:spPr>
          <a:xfrm flipV="1">
            <a:off x="2514601" y="1945222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6" name="Rectangle 1"/>
          <p:cNvSpPr>
            <a:spLocks noChangeArrowheads="1"/>
          </p:cNvSpPr>
          <p:nvPr/>
        </p:nvSpPr>
        <p:spPr bwMode="auto">
          <a:xfrm>
            <a:off x="2895600" y="2004485"/>
            <a:ext cx="6858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ఉత్తరాంచల్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7" name="Rectangle 1"/>
          <p:cNvSpPr>
            <a:spLocks noChangeArrowheads="1"/>
          </p:cNvSpPr>
          <p:nvPr/>
        </p:nvSpPr>
        <p:spPr bwMode="auto">
          <a:xfrm>
            <a:off x="2514600" y="1921933"/>
            <a:ext cx="6096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డెహ్రా డూన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8" name="Oval 157"/>
          <p:cNvSpPr/>
          <p:nvPr/>
        </p:nvSpPr>
        <p:spPr>
          <a:xfrm flipV="1">
            <a:off x="2925769" y="2656423"/>
            <a:ext cx="46037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9" name="Rectangle 1"/>
          <p:cNvSpPr>
            <a:spLocks noChangeArrowheads="1"/>
          </p:cNvSpPr>
          <p:nvPr/>
        </p:nvSpPr>
        <p:spPr bwMode="auto">
          <a:xfrm rot="422823">
            <a:off x="2228850" y="2353881"/>
            <a:ext cx="9731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2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ఉత్తర ప్రదేశ్</a:t>
            </a:r>
          </a:p>
        </p:txBody>
      </p:sp>
      <p:sp>
        <p:nvSpPr>
          <p:cNvPr id="160" name="Rectangle 1"/>
          <p:cNvSpPr>
            <a:spLocks noChangeArrowheads="1"/>
          </p:cNvSpPr>
          <p:nvPr/>
        </p:nvSpPr>
        <p:spPr bwMode="auto">
          <a:xfrm>
            <a:off x="2895606" y="2531533"/>
            <a:ext cx="3540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లక్నో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61" name="Oval 160"/>
          <p:cNvSpPr/>
          <p:nvPr/>
        </p:nvSpPr>
        <p:spPr>
          <a:xfrm flipV="1">
            <a:off x="3657601" y="28596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2" name="Rectangle 1"/>
          <p:cNvSpPr>
            <a:spLocks noChangeArrowheads="1"/>
          </p:cNvSpPr>
          <p:nvPr/>
        </p:nvSpPr>
        <p:spPr bwMode="auto">
          <a:xfrm>
            <a:off x="3657600" y="2774951"/>
            <a:ext cx="4635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ాట్నా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63" name="Rectangle 1"/>
          <p:cNvSpPr>
            <a:spLocks noChangeArrowheads="1"/>
          </p:cNvSpPr>
          <p:nvPr/>
        </p:nvSpPr>
        <p:spPr bwMode="auto">
          <a:xfrm rot="706282">
            <a:off x="3581400" y="2523108"/>
            <a:ext cx="533400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ీహార్</a:t>
            </a:r>
            <a:endParaRPr lang="en-US" sz="3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4" name="Oval 163"/>
          <p:cNvSpPr/>
          <p:nvPr/>
        </p:nvSpPr>
        <p:spPr>
          <a:xfrm flipV="1">
            <a:off x="4267201" y="25146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5" name="Rectangle 1"/>
          <p:cNvSpPr>
            <a:spLocks noChangeArrowheads="1"/>
          </p:cNvSpPr>
          <p:nvPr/>
        </p:nvSpPr>
        <p:spPr bwMode="auto">
          <a:xfrm>
            <a:off x="4114800" y="2226733"/>
            <a:ext cx="5349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ాంగ్ టక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66" name="Rectangle 1"/>
          <p:cNvSpPr>
            <a:spLocks noChangeArrowheads="1"/>
          </p:cNvSpPr>
          <p:nvPr/>
        </p:nvSpPr>
        <p:spPr bwMode="auto">
          <a:xfrm>
            <a:off x="3810001" y="2277533"/>
            <a:ext cx="44595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ిక్కిం</a:t>
            </a:r>
            <a:endParaRPr lang="en-US" sz="3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8" name="Rectangle 1"/>
          <p:cNvSpPr>
            <a:spLocks noChangeArrowheads="1"/>
          </p:cNvSpPr>
          <p:nvPr/>
        </p:nvSpPr>
        <p:spPr bwMode="auto">
          <a:xfrm rot="-880322">
            <a:off x="4800600" y="2273243"/>
            <a:ext cx="10668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అరుణాచల్ ప్రదేశ్ </a:t>
            </a:r>
          </a:p>
        </p:txBody>
      </p:sp>
      <p:sp>
        <p:nvSpPr>
          <p:cNvPr id="169" name="Rectangle 1"/>
          <p:cNvSpPr>
            <a:spLocks noChangeArrowheads="1"/>
          </p:cNvSpPr>
          <p:nvPr/>
        </p:nvSpPr>
        <p:spPr bwMode="auto">
          <a:xfrm>
            <a:off x="4419601" y="1905000"/>
            <a:ext cx="711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ఈటానగ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0" name="Oval 169"/>
          <p:cNvSpPr/>
          <p:nvPr/>
        </p:nvSpPr>
        <p:spPr>
          <a:xfrm flipV="1">
            <a:off x="5059365" y="2514600"/>
            <a:ext cx="4603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1" name="Rectangle 1"/>
          <p:cNvSpPr>
            <a:spLocks noChangeArrowheads="1"/>
          </p:cNvSpPr>
          <p:nvPr/>
        </p:nvSpPr>
        <p:spPr bwMode="auto">
          <a:xfrm>
            <a:off x="5297488" y="2616200"/>
            <a:ext cx="722312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ాగాలాండ్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2" name="Rectangle 1"/>
          <p:cNvSpPr>
            <a:spLocks noChangeArrowheads="1"/>
          </p:cNvSpPr>
          <p:nvPr/>
        </p:nvSpPr>
        <p:spPr bwMode="auto">
          <a:xfrm>
            <a:off x="5105400" y="2734733"/>
            <a:ext cx="76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ోహిమా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3" name="Oval 172"/>
          <p:cNvSpPr/>
          <p:nvPr/>
        </p:nvSpPr>
        <p:spPr>
          <a:xfrm flipV="1">
            <a:off x="5211769" y="2819400"/>
            <a:ext cx="4603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4" name="Rectangle 1"/>
          <p:cNvSpPr>
            <a:spLocks noChangeArrowheads="1"/>
          </p:cNvSpPr>
          <p:nvPr/>
        </p:nvSpPr>
        <p:spPr bwMode="auto">
          <a:xfrm>
            <a:off x="5257804" y="2921000"/>
            <a:ext cx="70802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ణి పూర్</a:t>
            </a:r>
          </a:p>
        </p:txBody>
      </p:sp>
      <p:sp>
        <p:nvSpPr>
          <p:cNvPr id="175" name="Rectangle 1"/>
          <p:cNvSpPr>
            <a:spLocks noChangeArrowheads="1"/>
          </p:cNvSpPr>
          <p:nvPr/>
        </p:nvSpPr>
        <p:spPr bwMode="auto">
          <a:xfrm>
            <a:off x="5181601" y="3022600"/>
            <a:ext cx="4555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ఇంఫాల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7" name="Rectangle 1"/>
          <p:cNvSpPr>
            <a:spLocks noChangeArrowheads="1"/>
          </p:cNvSpPr>
          <p:nvPr/>
        </p:nvSpPr>
        <p:spPr bwMode="auto">
          <a:xfrm>
            <a:off x="4876800" y="3225800"/>
            <a:ext cx="5334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ఐజ్వాల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8" name="Rectangle 1"/>
          <p:cNvSpPr>
            <a:spLocks noChangeArrowheads="1"/>
          </p:cNvSpPr>
          <p:nvPr/>
        </p:nvSpPr>
        <p:spPr bwMode="auto">
          <a:xfrm>
            <a:off x="5033968" y="3327403"/>
            <a:ext cx="58221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ిజోరాం</a:t>
            </a:r>
            <a:endParaRPr lang="en-US" sz="28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9" name="Oval 178"/>
          <p:cNvSpPr/>
          <p:nvPr/>
        </p:nvSpPr>
        <p:spPr>
          <a:xfrm flipV="1">
            <a:off x="4953001" y="32258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0" name="Rectangle 1"/>
          <p:cNvSpPr>
            <a:spLocks noChangeArrowheads="1"/>
          </p:cNvSpPr>
          <p:nvPr/>
        </p:nvSpPr>
        <p:spPr bwMode="auto">
          <a:xfrm>
            <a:off x="4419600" y="3426885"/>
            <a:ext cx="6096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త్రిపుర</a:t>
            </a:r>
          </a:p>
        </p:txBody>
      </p:sp>
      <p:sp>
        <p:nvSpPr>
          <p:cNvPr id="181" name="Rectangle 1"/>
          <p:cNvSpPr>
            <a:spLocks noChangeArrowheads="1"/>
          </p:cNvSpPr>
          <p:nvPr/>
        </p:nvSpPr>
        <p:spPr bwMode="auto">
          <a:xfrm>
            <a:off x="4267200" y="3225800"/>
            <a:ext cx="5334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అగర్తల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82" name="Oval 181"/>
          <p:cNvSpPr/>
          <p:nvPr/>
        </p:nvSpPr>
        <p:spPr>
          <a:xfrm flipV="1">
            <a:off x="4724401" y="32258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4" name="Rectangle 1"/>
          <p:cNvSpPr>
            <a:spLocks noChangeArrowheads="1"/>
          </p:cNvSpPr>
          <p:nvPr/>
        </p:nvSpPr>
        <p:spPr bwMode="auto">
          <a:xfrm>
            <a:off x="4267200" y="3022600"/>
            <a:ext cx="6223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ేఘాలయా </a:t>
            </a:r>
            <a:endParaRPr lang="en-US" sz="2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85" name="Oval 184"/>
          <p:cNvSpPr/>
          <p:nvPr/>
        </p:nvSpPr>
        <p:spPr>
          <a:xfrm flipV="1">
            <a:off x="4602166" y="2921000"/>
            <a:ext cx="4603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6" name="Rectangle 1"/>
          <p:cNvSpPr>
            <a:spLocks noChangeArrowheads="1"/>
          </p:cNvSpPr>
          <p:nvPr/>
        </p:nvSpPr>
        <p:spPr bwMode="auto">
          <a:xfrm>
            <a:off x="3962400" y="3124200"/>
            <a:ext cx="609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శ్చిమ బెంగాల్</a:t>
            </a:r>
          </a:p>
        </p:txBody>
      </p:sp>
      <p:sp>
        <p:nvSpPr>
          <p:cNvPr id="187" name="Rectangle 1"/>
          <p:cNvSpPr>
            <a:spLocks noChangeArrowheads="1"/>
          </p:cNvSpPr>
          <p:nvPr/>
        </p:nvSpPr>
        <p:spPr bwMode="auto">
          <a:xfrm>
            <a:off x="4191001" y="3530600"/>
            <a:ext cx="5143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ోల్ కతా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233" name="Rectangle 1"/>
          <p:cNvSpPr>
            <a:spLocks noChangeArrowheads="1"/>
          </p:cNvSpPr>
          <p:nvPr/>
        </p:nvSpPr>
        <p:spPr bwMode="auto">
          <a:xfrm>
            <a:off x="3490919" y="3263906"/>
            <a:ext cx="39528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7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ంచి</a:t>
            </a:r>
            <a:endParaRPr lang="en-US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89" name="Rectangle 1"/>
          <p:cNvSpPr>
            <a:spLocks noChangeArrowheads="1"/>
          </p:cNvSpPr>
          <p:nvPr/>
        </p:nvSpPr>
        <p:spPr bwMode="auto">
          <a:xfrm rot="-868754">
            <a:off x="3446469" y="3104035"/>
            <a:ext cx="600075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జార్ఖండ్</a:t>
            </a:r>
          </a:p>
        </p:txBody>
      </p:sp>
      <p:sp>
        <p:nvSpPr>
          <p:cNvPr id="190" name="Oval 189"/>
          <p:cNvSpPr/>
          <p:nvPr/>
        </p:nvSpPr>
        <p:spPr>
          <a:xfrm flipV="1">
            <a:off x="4267201" y="34692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1" name="Oval 190"/>
          <p:cNvSpPr/>
          <p:nvPr/>
        </p:nvSpPr>
        <p:spPr>
          <a:xfrm flipV="1">
            <a:off x="3657601" y="32660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2" name="Rectangle 1"/>
          <p:cNvSpPr>
            <a:spLocks noChangeArrowheads="1"/>
          </p:cNvSpPr>
          <p:nvPr/>
        </p:nvSpPr>
        <p:spPr bwMode="auto">
          <a:xfrm>
            <a:off x="3189288" y="3733800"/>
            <a:ext cx="6858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భువనేశ్వ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93" name="Rectangle 1"/>
          <p:cNvSpPr>
            <a:spLocks noChangeArrowheads="1"/>
          </p:cNvSpPr>
          <p:nvPr/>
        </p:nvSpPr>
        <p:spPr bwMode="auto">
          <a:xfrm>
            <a:off x="3341688" y="3515790"/>
            <a:ext cx="50045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2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ఒడిషా</a:t>
            </a:r>
            <a:endParaRPr lang="en-US" sz="4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94" name="Oval 193"/>
          <p:cNvSpPr/>
          <p:nvPr/>
        </p:nvSpPr>
        <p:spPr>
          <a:xfrm flipV="1">
            <a:off x="3657601" y="38756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5" name="Rectangle 1"/>
          <p:cNvSpPr>
            <a:spLocks noChangeArrowheads="1"/>
          </p:cNvSpPr>
          <p:nvPr/>
        </p:nvSpPr>
        <p:spPr bwMode="auto">
          <a:xfrm rot="-1631107">
            <a:off x="2895543" y="3368338"/>
            <a:ext cx="6367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త్తీస్ ఘర్</a:t>
            </a:r>
            <a:endParaRPr lang="en-US" sz="2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96" name="Oval 195"/>
          <p:cNvSpPr/>
          <p:nvPr/>
        </p:nvSpPr>
        <p:spPr>
          <a:xfrm flipV="1">
            <a:off x="3001969" y="3672421"/>
            <a:ext cx="46037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7" name="Rectangle 1"/>
          <p:cNvSpPr>
            <a:spLocks noChangeArrowheads="1"/>
          </p:cNvSpPr>
          <p:nvPr/>
        </p:nvSpPr>
        <p:spPr bwMode="auto">
          <a:xfrm rot="-4006349">
            <a:off x="2555875" y="3907597"/>
            <a:ext cx="8128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యపూ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98" name="Rectangle 1"/>
          <p:cNvSpPr>
            <a:spLocks noChangeArrowheads="1"/>
          </p:cNvSpPr>
          <p:nvPr/>
        </p:nvSpPr>
        <p:spPr bwMode="auto">
          <a:xfrm>
            <a:off x="2219330" y="4140200"/>
            <a:ext cx="6000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హైదరాబాదు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99" name="Rectangle 1"/>
          <p:cNvSpPr>
            <a:spLocks noChangeArrowheads="1"/>
          </p:cNvSpPr>
          <p:nvPr/>
        </p:nvSpPr>
        <p:spPr bwMode="auto">
          <a:xfrm rot="20870754">
            <a:off x="2082192" y="4651373"/>
            <a:ext cx="7569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20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ఆంధ్ర</a:t>
            </a:r>
            <a:r>
              <a:rPr lang="en-US" sz="1200" dirty="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20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్రదేశ్</a:t>
            </a:r>
            <a:endParaRPr lang="en-US" sz="4000" dirty="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0" name="Oval 199"/>
          <p:cNvSpPr/>
          <p:nvPr/>
        </p:nvSpPr>
        <p:spPr>
          <a:xfrm flipV="1">
            <a:off x="2392366" y="4282023"/>
            <a:ext cx="46037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1" name="Rectangle 1"/>
          <p:cNvSpPr>
            <a:spLocks noChangeArrowheads="1"/>
          </p:cNvSpPr>
          <p:nvPr/>
        </p:nvSpPr>
        <p:spPr bwMode="auto">
          <a:xfrm>
            <a:off x="2514600" y="5156200"/>
            <a:ext cx="457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ెన్నై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2" name="Rectangle 1"/>
          <p:cNvSpPr>
            <a:spLocks noChangeArrowheads="1"/>
          </p:cNvSpPr>
          <p:nvPr/>
        </p:nvSpPr>
        <p:spPr bwMode="auto">
          <a:xfrm>
            <a:off x="2133600" y="5312834"/>
            <a:ext cx="5334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తమిళ</a:t>
            </a:r>
            <a:r>
              <a:rPr lang="en-US" sz="1050" dirty="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ాడు</a:t>
            </a:r>
            <a:endParaRPr lang="en-US" sz="1050" dirty="0">
              <a:solidFill>
                <a:srgbClr val="000000"/>
              </a:solidFill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3" name="Oval 202"/>
          <p:cNvSpPr/>
          <p:nvPr/>
        </p:nvSpPr>
        <p:spPr>
          <a:xfrm flipV="1">
            <a:off x="2667001" y="51562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4" name="Rectangle 1"/>
          <p:cNvSpPr>
            <a:spLocks noChangeArrowheads="1"/>
          </p:cNvSpPr>
          <p:nvPr/>
        </p:nvSpPr>
        <p:spPr bwMode="auto">
          <a:xfrm rot="4160422">
            <a:off x="1594646" y="5476819"/>
            <a:ext cx="5969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ేరళ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5" name="Rectangle 1"/>
          <p:cNvSpPr>
            <a:spLocks noChangeArrowheads="1"/>
          </p:cNvSpPr>
          <p:nvPr/>
        </p:nvSpPr>
        <p:spPr bwMode="auto">
          <a:xfrm>
            <a:off x="1371606" y="5867400"/>
            <a:ext cx="6191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తిరువనంత పురం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6" name="Oval 205"/>
          <p:cNvSpPr/>
          <p:nvPr/>
        </p:nvSpPr>
        <p:spPr>
          <a:xfrm flipV="1">
            <a:off x="1935169" y="5907623"/>
            <a:ext cx="46037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7" name="Rectangle 1"/>
          <p:cNvSpPr>
            <a:spLocks noChangeArrowheads="1"/>
          </p:cNvSpPr>
          <p:nvPr/>
        </p:nvSpPr>
        <p:spPr bwMode="auto">
          <a:xfrm>
            <a:off x="1676400" y="4969933"/>
            <a:ext cx="6858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ెంగళూరు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8" name="Rectangle 1"/>
          <p:cNvSpPr>
            <a:spLocks noChangeArrowheads="1"/>
          </p:cNvSpPr>
          <p:nvPr/>
        </p:nvSpPr>
        <p:spPr bwMode="auto">
          <a:xfrm rot="-2281983">
            <a:off x="1641792" y="4559445"/>
            <a:ext cx="5581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2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ర్ణాటక</a:t>
            </a:r>
            <a:endParaRPr lang="en-US" sz="4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09" name="Oval 208"/>
          <p:cNvSpPr/>
          <p:nvPr/>
        </p:nvSpPr>
        <p:spPr>
          <a:xfrm flipV="1">
            <a:off x="2087569" y="5156200"/>
            <a:ext cx="4603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0" name="Oval 209"/>
          <p:cNvSpPr/>
          <p:nvPr/>
        </p:nvSpPr>
        <p:spPr>
          <a:xfrm flipV="1">
            <a:off x="1524001" y="46884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1" name="Rectangle 1"/>
          <p:cNvSpPr>
            <a:spLocks noChangeArrowheads="1"/>
          </p:cNvSpPr>
          <p:nvPr/>
        </p:nvSpPr>
        <p:spPr bwMode="auto">
          <a:xfrm>
            <a:off x="1219200" y="4546600"/>
            <a:ext cx="38183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ోవా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2" name="Rectangle 1"/>
          <p:cNvSpPr>
            <a:spLocks noChangeArrowheads="1"/>
          </p:cNvSpPr>
          <p:nvPr/>
        </p:nvSpPr>
        <p:spPr bwMode="auto">
          <a:xfrm>
            <a:off x="1219201" y="4749800"/>
            <a:ext cx="3962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నాజి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3" name="Rectangle 1"/>
          <p:cNvSpPr>
            <a:spLocks noChangeArrowheads="1"/>
          </p:cNvSpPr>
          <p:nvPr/>
        </p:nvSpPr>
        <p:spPr bwMode="auto">
          <a:xfrm>
            <a:off x="1066801" y="3937000"/>
            <a:ext cx="4508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ుంబై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4" name="Rectangle 1"/>
          <p:cNvSpPr>
            <a:spLocks noChangeArrowheads="1"/>
          </p:cNvSpPr>
          <p:nvPr/>
        </p:nvSpPr>
        <p:spPr bwMode="auto">
          <a:xfrm>
            <a:off x="1676400" y="3750736"/>
            <a:ext cx="6492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0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హారాష్ట్ర</a:t>
            </a:r>
            <a:endParaRPr lang="en-US" sz="28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5" name="Oval 214"/>
          <p:cNvSpPr/>
          <p:nvPr/>
        </p:nvSpPr>
        <p:spPr>
          <a:xfrm flipV="1">
            <a:off x="1401769" y="4038600"/>
            <a:ext cx="4603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6" name="Rectangle 1"/>
          <p:cNvSpPr>
            <a:spLocks noChangeArrowheads="1"/>
          </p:cNvSpPr>
          <p:nvPr/>
        </p:nvSpPr>
        <p:spPr bwMode="auto">
          <a:xfrm>
            <a:off x="1027114" y="2921000"/>
            <a:ext cx="58060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1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ుజరాత్</a:t>
            </a:r>
            <a:endParaRPr lang="en-US" sz="36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7" name="Rectangle 1"/>
          <p:cNvSpPr>
            <a:spLocks noChangeArrowheads="1"/>
          </p:cNvSpPr>
          <p:nvPr/>
        </p:nvSpPr>
        <p:spPr bwMode="auto">
          <a:xfrm>
            <a:off x="1179519" y="3225800"/>
            <a:ext cx="5730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ాంధీ నగ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18" name="Oval 217"/>
          <p:cNvSpPr/>
          <p:nvPr/>
        </p:nvSpPr>
        <p:spPr>
          <a:xfrm flipV="1">
            <a:off x="1477967" y="3164423"/>
            <a:ext cx="46037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9" name="Rectangle 1"/>
          <p:cNvSpPr>
            <a:spLocks noChangeArrowheads="1"/>
          </p:cNvSpPr>
          <p:nvPr/>
        </p:nvSpPr>
        <p:spPr bwMode="auto">
          <a:xfrm>
            <a:off x="1343030" y="2514600"/>
            <a:ext cx="59182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1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జస్థాన్</a:t>
            </a:r>
            <a:endParaRPr lang="en-US" sz="36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265" name="Rectangle 1"/>
          <p:cNvSpPr>
            <a:spLocks noChangeArrowheads="1"/>
          </p:cNvSpPr>
          <p:nvPr/>
        </p:nvSpPr>
        <p:spPr bwMode="auto">
          <a:xfrm>
            <a:off x="1647826" y="2311400"/>
            <a:ext cx="40908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జైపూ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20" name="Rectangle 1"/>
          <p:cNvSpPr>
            <a:spLocks noChangeArrowheads="1"/>
          </p:cNvSpPr>
          <p:nvPr/>
        </p:nvSpPr>
        <p:spPr bwMode="auto">
          <a:xfrm>
            <a:off x="2136780" y="3060706"/>
            <a:ext cx="75882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2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ధ్య ప్రదేశ్</a:t>
            </a:r>
            <a:endParaRPr lang="en-US" sz="4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21" name="Rectangle 1"/>
          <p:cNvSpPr>
            <a:spLocks noChangeArrowheads="1"/>
          </p:cNvSpPr>
          <p:nvPr/>
        </p:nvSpPr>
        <p:spPr bwMode="auto">
          <a:xfrm>
            <a:off x="2301880" y="3327400"/>
            <a:ext cx="4413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భోపాల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22" name="Oval 221"/>
          <p:cNvSpPr/>
          <p:nvPr/>
        </p:nvSpPr>
        <p:spPr>
          <a:xfrm flipV="1">
            <a:off x="2362201" y="33274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224" name="Straight Arrow Connector 223"/>
          <p:cNvCxnSpPr>
            <a:stCxn id="170" idx="0"/>
          </p:cNvCxnSpPr>
          <p:nvPr/>
        </p:nvCxnSpPr>
        <p:spPr>
          <a:xfrm rot="5400000" flipH="1">
            <a:off x="4707202" y="2201598"/>
            <a:ext cx="467784" cy="28098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Rectangle 1"/>
          <p:cNvSpPr>
            <a:spLocks noChangeArrowheads="1"/>
          </p:cNvSpPr>
          <p:nvPr/>
        </p:nvSpPr>
        <p:spPr bwMode="auto">
          <a:xfrm>
            <a:off x="4581526" y="2819400"/>
            <a:ext cx="44755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షిల్లాంగ్</a:t>
            </a:r>
            <a:endParaRPr lang="en-US" sz="2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30" name="Oval 229"/>
          <p:cNvSpPr/>
          <p:nvPr/>
        </p:nvSpPr>
        <p:spPr>
          <a:xfrm flipV="1">
            <a:off x="2057401" y="25548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2" name="Rectangle 2"/>
          <p:cNvSpPr>
            <a:spLocks noChangeArrowheads="1"/>
          </p:cNvSpPr>
          <p:nvPr/>
        </p:nvSpPr>
        <p:spPr bwMode="auto">
          <a:xfrm>
            <a:off x="798519" y="5588000"/>
            <a:ext cx="57259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లక్ష</a:t>
            </a:r>
            <a:r>
              <a:rPr lang="en-US" sz="1050" dirty="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ద్వీప్</a:t>
            </a:r>
            <a:endParaRPr lang="en-US" sz="3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3" name="Oval 232"/>
          <p:cNvSpPr/>
          <p:nvPr/>
        </p:nvSpPr>
        <p:spPr>
          <a:xfrm flipV="1">
            <a:off x="1371601" y="56642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4" name="Oval 233"/>
          <p:cNvSpPr/>
          <p:nvPr/>
        </p:nvSpPr>
        <p:spPr>
          <a:xfrm flipV="1">
            <a:off x="4876801" y="5359400"/>
            <a:ext cx="46038" cy="61384"/>
          </a:xfrm>
          <a:prstGeom prst="ellips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5" name="Rectangle 2"/>
          <p:cNvSpPr>
            <a:spLocks noChangeArrowheads="1"/>
          </p:cNvSpPr>
          <p:nvPr/>
        </p:nvSpPr>
        <p:spPr bwMode="auto">
          <a:xfrm rot="15645692">
            <a:off x="4406394" y="5667418"/>
            <a:ext cx="1385316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అండమాన్</a:t>
            </a:r>
            <a:r>
              <a:rPr lang="en-US" sz="1050" dirty="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ికోబార్ర్</a:t>
            </a:r>
            <a:r>
              <a:rPr lang="en-US" sz="1050" dirty="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050" dirty="0" err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దీవులు</a:t>
            </a:r>
            <a:endParaRPr lang="en-US" sz="32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8" name="Oval 237"/>
          <p:cNvSpPr/>
          <p:nvPr/>
        </p:nvSpPr>
        <p:spPr>
          <a:xfrm flipV="1">
            <a:off x="3078169" y="4546600"/>
            <a:ext cx="46037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9" name="Oval 238"/>
          <p:cNvSpPr/>
          <p:nvPr/>
        </p:nvSpPr>
        <p:spPr>
          <a:xfrm flipV="1">
            <a:off x="2590801" y="5357290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40" name="Rectangle 2"/>
          <p:cNvSpPr>
            <a:spLocks noChangeArrowheads="1"/>
          </p:cNvSpPr>
          <p:nvPr/>
        </p:nvSpPr>
        <p:spPr bwMode="auto">
          <a:xfrm>
            <a:off x="2514606" y="5357285"/>
            <a:ext cx="709613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9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ాండిచ్చేరి</a:t>
            </a:r>
            <a:endParaRPr lang="en-US" sz="24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41" name="Rectangle 2"/>
          <p:cNvSpPr>
            <a:spLocks noChangeArrowheads="1"/>
          </p:cNvSpPr>
          <p:nvPr/>
        </p:nvSpPr>
        <p:spPr bwMode="auto">
          <a:xfrm>
            <a:off x="1066800" y="3632200"/>
            <a:ext cx="457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డామన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42" name="Rectangle 2"/>
          <p:cNvSpPr>
            <a:spLocks noChangeArrowheads="1"/>
          </p:cNvSpPr>
          <p:nvPr/>
        </p:nvSpPr>
        <p:spPr bwMode="auto">
          <a:xfrm>
            <a:off x="1371600" y="3835400"/>
            <a:ext cx="43152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ిల్వెసా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43" name="Rectangle 2"/>
          <p:cNvSpPr>
            <a:spLocks noChangeArrowheads="1"/>
          </p:cNvSpPr>
          <p:nvPr/>
        </p:nvSpPr>
        <p:spPr bwMode="auto">
          <a:xfrm>
            <a:off x="595319" y="3733800"/>
            <a:ext cx="92685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దాద్రా, నాగర్ హవేలి</a:t>
            </a:r>
          </a:p>
        </p:txBody>
      </p:sp>
      <p:sp>
        <p:nvSpPr>
          <p:cNvPr id="244" name="Rectangle 2"/>
          <p:cNvSpPr>
            <a:spLocks noChangeArrowheads="1"/>
          </p:cNvSpPr>
          <p:nvPr/>
        </p:nvSpPr>
        <p:spPr bwMode="auto">
          <a:xfrm>
            <a:off x="381000" y="3530600"/>
            <a:ext cx="9144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9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డామన్, డయ్యూ</a:t>
            </a:r>
            <a:endParaRPr lang="en-US" sz="2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45" name="Rectangle 2"/>
          <p:cNvSpPr>
            <a:spLocks noChangeArrowheads="1"/>
          </p:cNvSpPr>
          <p:nvPr/>
        </p:nvSpPr>
        <p:spPr bwMode="auto">
          <a:xfrm>
            <a:off x="3028788" y="4445000"/>
            <a:ext cx="4764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 eaLnBrk="0" hangingPunct="0"/>
            <a:r>
              <a:rPr lang="en-US" sz="8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యానాం</a:t>
            </a:r>
            <a:endParaRPr lang="en-US" sz="20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47" name="Freeform 246"/>
          <p:cNvSpPr/>
          <p:nvPr/>
        </p:nvSpPr>
        <p:spPr>
          <a:xfrm>
            <a:off x="1473206" y="5630335"/>
            <a:ext cx="23813" cy="23284"/>
          </a:xfrm>
          <a:custGeom>
            <a:avLst/>
            <a:gdLst>
              <a:gd name="connsiteX0" fmla="*/ 3024 w 23870"/>
              <a:gd name="connsiteY0" fmla="*/ 1209 h 17575"/>
              <a:gd name="connsiteX1" fmla="*/ 21166 w 23870"/>
              <a:gd name="connsiteY1" fmla="*/ 4838 h 17575"/>
              <a:gd name="connsiteX2" fmla="*/ 17538 w 23870"/>
              <a:gd name="connsiteY2" fmla="*/ 15723 h 17575"/>
              <a:gd name="connsiteX3" fmla="*/ 3024 w 23870"/>
              <a:gd name="connsiteY3" fmla="*/ 12095 h 17575"/>
              <a:gd name="connsiteX4" fmla="*/ 3024 w 23870"/>
              <a:gd name="connsiteY4" fmla="*/ 1209 h 17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70" h="17575">
                <a:moveTo>
                  <a:pt x="3024" y="1209"/>
                </a:moveTo>
                <a:cubicBezTo>
                  <a:pt x="6048" y="0"/>
                  <a:pt x="16805" y="477"/>
                  <a:pt x="21166" y="4838"/>
                </a:cubicBezTo>
                <a:cubicBezTo>
                  <a:pt x="23870" y="7542"/>
                  <a:pt x="21089" y="14303"/>
                  <a:pt x="17538" y="15723"/>
                </a:cubicBezTo>
                <a:cubicBezTo>
                  <a:pt x="12908" y="17575"/>
                  <a:pt x="6550" y="15621"/>
                  <a:pt x="3024" y="12095"/>
                </a:cubicBezTo>
                <a:cubicBezTo>
                  <a:pt x="1112" y="10183"/>
                  <a:pt x="0" y="2418"/>
                  <a:pt x="3024" y="1209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8" name="Freeform 247"/>
          <p:cNvSpPr/>
          <p:nvPr/>
        </p:nvSpPr>
        <p:spPr>
          <a:xfrm>
            <a:off x="1468444" y="5712884"/>
            <a:ext cx="28575" cy="50800"/>
          </a:xfrm>
          <a:custGeom>
            <a:avLst/>
            <a:gdLst>
              <a:gd name="connsiteX0" fmla="*/ 4061 w 28251"/>
              <a:gd name="connsiteY0" fmla="*/ 7474 h 38084"/>
              <a:gd name="connsiteX1" fmla="*/ 25832 w 28251"/>
              <a:gd name="connsiteY1" fmla="*/ 14731 h 38084"/>
              <a:gd name="connsiteX2" fmla="*/ 14947 w 28251"/>
              <a:gd name="connsiteY2" fmla="*/ 7474 h 38084"/>
              <a:gd name="connsiteX3" fmla="*/ 4061 w 28251"/>
              <a:gd name="connsiteY3" fmla="*/ 7474 h 38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51" h="38084">
                <a:moveTo>
                  <a:pt x="4061" y="7474"/>
                </a:moveTo>
                <a:cubicBezTo>
                  <a:pt x="5875" y="8683"/>
                  <a:pt x="10264" y="38084"/>
                  <a:pt x="25832" y="14731"/>
                </a:cubicBezTo>
                <a:cubicBezTo>
                  <a:pt x="28251" y="11103"/>
                  <a:pt x="18847" y="9424"/>
                  <a:pt x="14947" y="7474"/>
                </a:cubicBezTo>
                <a:cubicBezTo>
                  <a:pt x="0" y="0"/>
                  <a:pt x="2247" y="6265"/>
                  <a:pt x="4061" y="7474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9" name="Freeform 248"/>
          <p:cNvSpPr/>
          <p:nvPr/>
        </p:nvSpPr>
        <p:spPr>
          <a:xfrm>
            <a:off x="1376363" y="5806020"/>
            <a:ext cx="31750" cy="31749"/>
          </a:xfrm>
          <a:custGeom>
            <a:avLst/>
            <a:gdLst>
              <a:gd name="connsiteX0" fmla="*/ 3024 w 31950"/>
              <a:gd name="connsiteY0" fmla="*/ 11300 h 24207"/>
              <a:gd name="connsiteX1" fmla="*/ 6653 w 31950"/>
              <a:gd name="connsiteY1" fmla="*/ 22186 h 24207"/>
              <a:gd name="connsiteX2" fmla="*/ 28424 w 31950"/>
              <a:gd name="connsiteY2" fmla="*/ 18558 h 24207"/>
              <a:gd name="connsiteX3" fmla="*/ 24796 w 31950"/>
              <a:gd name="connsiteY3" fmla="*/ 4043 h 24207"/>
              <a:gd name="connsiteX4" fmla="*/ 3024 w 31950"/>
              <a:gd name="connsiteY4" fmla="*/ 11300 h 24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950" h="24207">
                <a:moveTo>
                  <a:pt x="3024" y="11300"/>
                </a:moveTo>
                <a:cubicBezTo>
                  <a:pt x="0" y="14324"/>
                  <a:pt x="2975" y="21135"/>
                  <a:pt x="6653" y="22186"/>
                </a:cubicBezTo>
                <a:cubicBezTo>
                  <a:pt x="13727" y="24207"/>
                  <a:pt x="23222" y="23760"/>
                  <a:pt x="28424" y="18558"/>
                </a:cubicBezTo>
                <a:cubicBezTo>
                  <a:pt x="31950" y="15032"/>
                  <a:pt x="29426" y="5895"/>
                  <a:pt x="24796" y="4043"/>
                </a:cubicBezTo>
                <a:cubicBezTo>
                  <a:pt x="14689" y="0"/>
                  <a:pt x="6048" y="8276"/>
                  <a:pt x="3024" y="11300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0" name="Freeform 249"/>
          <p:cNvSpPr/>
          <p:nvPr/>
        </p:nvSpPr>
        <p:spPr>
          <a:xfrm>
            <a:off x="1363669" y="5626106"/>
            <a:ext cx="41275" cy="40217"/>
          </a:xfrm>
          <a:custGeom>
            <a:avLst/>
            <a:gdLst>
              <a:gd name="connsiteX0" fmla="*/ 10886 w 41255"/>
              <a:gd name="connsiteY0" fmla="*/ 29348 h 29953"/>
              <a:gd name="connsiteX1" fmla="*/ 18143 w 41255"/>
              <a:gd name="connsiteY1" fmla="*/ 3948 h 29953"/>
              <a:gd name="connsiteX2" fmla="*/ 0 w 41255"/>
              <a:gd name="connsiteY2" fmla="*/ 7577 h 29953"/>
              <a:gd name="connsiteX3" fmla="*/ 10886 w 41255"/>
              <a:gd name="connsiteY3" fmla="*/ 29348 h 29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255" h="29953">
                <a:moveTo>
                  <a:pt x="10886" y="29348"/>
                </a:moveTo>
                <a:cubicBezTo>
                  <a:pt x="13910" y="28743"/>
                  <a:pt x="41255" y="23208"/>
                  <a:pt x="18143" y="3948"/>
                </a:cubicBezTo>
                <a:cubicBezTo>
                  <a:pt x="13405" y="0"/>
                  <a:pt x="6048" y="6367"/>
                  <a:pt x="0" y="7577"/>
                </a:cubicBezTo>
                <a:cubicBezTo>
                  <a:pt x="7928" y="19468"/>
                  <a:pt x="7862" y="29953"/>
                  <a:pt x="10886" y="29348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1" name="Freeform 250"/>
          <p:cNvSpPr/>
          <p:nvPr/>
        </p:nvSpPr>
        <p:spPr>
          <a:xfrm>
            <a:off x="1422400" y="5717121"/>
            <a:ext cx="25400" cy="48683"/>
          </a:xfrm>
          <a:custGeom>
            <a:avLst/>
            <a:gdLst>
              <a:gd name="connsiteX0" fmla="*/ 0 w 25761"/>
              <a:gd name="connsiteY0" fmla="*/ 24066 h 36708"/>
              <a:gd name="connsiteX1" fmla="*/ 21772 w 25761"/>
              <a:gd name="connsiteY1" fmla="*/ 27695 h 36708"/>
              <a:gd name="connsiteX2" fmla="*/ 25400 w 25761"/>
              <a:gd name="connsiteY2" fmla="*/ 16809 h 36708"/>
              <a:gd name="connsiteX3" fmla="*/ 21772 w 25761"/>
              <a:gd name="connsiteY3" fmla="*/ 2295 h 36708"/>
              <a:gd name="connsiteX4" fmla="*/ 0 w 25761"/>
              <a:gd name="connsiteY4" fmla="*/ 24066 h 367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61" h="36708">
                <a:moveTo>
                  <a:pt x="0" y="24066"/>
                </a:moveTo>
                <a:cubicBezTo>
                  <a:pt x="0" y="28299"/>
                  <a:pt x="12759" y="36708"/>
                  <a:pt x="21772" y="27695"/>
                </a:cubicBezTo>
                <a:cubicBezTo>
                  <a:pt x="24477" y="24990"/>
                  <a:pt x="24191" y="20438"/>
                  <a:pt x="25400" y="16809"/>
                </a:cubicBezTo>
                <a:cubicBezTo>
                  <a:pt x="24191" y="11971"/>
                  <a:pt x="25761" y="5287"/>
                  <a:pt x="21772" y="2295"/>
                </a:cubicBezTo>
                <a:cubicBezTo>
                  <a:pt x="18712" y="0"/>
                  <a:pt x="0" y="19833"/>
                  <a:pt x="0" y="24066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2" name="Freeform 251"/>
          <p:cNvSpPr/>
          <p:nvPr/>
        </p:nvSpPr>
        <p:spPr>
          <a:xfrm>
            <a:off x="1416056" y="5509688"/>
            <a:ext cx="23813" cy="23283"/>
          </a:xfrm>
          <a:custGeom>
            <a:avLst/>
            <a:gdLst>
              <a:gd name="connsiteX0" fmla="*/ 2419 w 23788"/>
              <a:gd name="connsiteY0" fmla="*/ 1210 h 18547"/>
              <a:gd name="connsiteX1" fmla="*/ 6048 w 23788"/>
              <a:gd name="connsiteY1" fmla="*/ 12096 h 18547"/>
              <a:gd name="connsiteX2" fmla="*/ 20562 w 23788"/>
              <a:gd name="connsiteY2" fmla="*/ 4838 h 18547"/>
              <a:gd name="connsiteX3" fmla="*/ 2419 w 23788"/>
              <a:gd name="connsiteY3" fmla="*/ 1210 h 18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88" h="18547">
                <a:moveTo>
                  <a:pt x="2419" y="1210"/>
                </a:moveTo>
                <a:cubicBezTo>
                  <a:pt x="0" y="2420"/>
                  <a:pt x="3343" y="9391"/>
                  <a:pt x="6048" y="12096"/>
                </a:cubicBezTo>
                <a:cubicBezTo>
                  <a:pt x="12500" y="18547"/>
                  <a:pt x="23788" y="17739"/>
                  <a:pt x="20562" y="4838"/>
                </a:cubicBezTo>
                <a:cubicBezTo>
                  <a:pt x="19906" y="2214"/>
                  <a:pt x="4838" y="0"/>
                  <a:pt x="2419" y="1210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3" name="Freeform 252"/>
          <p:cNvSpPr/>
          <p:nvPr/>
        </p:nvSpPr>
        <p:spPr>
          <a:xfrm>
            <a:off x="1397001" y="5422906"/>
            <a:ext cx="25400" cy="14817"/>
          </a:xfrm>
          <a:custGeom>
            <a:avLst/>
            <a:gdLst>
              <a:gd name="connsiteX0" fmla="*/ 0 w 25400"/>
              <a:gd name="connsiteY0" fmla="*/ 7257 h 11082"/>
              <a:gd name="connsiteX1" fmla="*/ 14514 w 25400"/>
              <a:gd name="connsiteY1" fmla="*/ 10885 h 11082"/>
              <a:gd name="connsiteX2" fmla="*/ 25400 w 25400"/>
              <a:gd name="connsiteY2" fmla="*/ 7257 h 11082"/>
              <a:gd name="connsiteX3" fmla="*/ 14514 w 25400"/>
              <a:gd name="connsiteY3" fmla="*/ 0 h 11082"/>
              <a:gd name="connsiteX4" fmla="*/ 0 w 25400"/>
              <a:gd name="connsiteY4" fmla="*/ 7257 h 11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00" h="11082">
                <a:moveTo>
                  <a:pt x="0" y="7257"/>
                </a:moveTo>
                <a:cubicBezTo>
                  <a:pt x="0" y="9071"/>
                  <a:pt x="9527" y="10885"/>
                  <a:pt x="14514" y="10885"/>
                </a:cubicBezTo>
                <a:cubicBezTo>
                  <a:pt x="18339" y="10885"/>
                  <a:pt x="25400" y="11082"/>
                  <a:pt x="25400" y="7257"/>
                </a:cubicBezTo>
                <a:cubicBezTo>
                  <a:pt x="25400" y="2896"/>
                  <a:pt x="18143" y="2419"/>
                  <a:pt x="14514" y="0"/>
                </a:cubicBezTo>
                <a:cubicBezTo>
                  <a:pt x="2623" y="7928"/>
                  <a:pt x="0" y="5443"/>
                  <a:pt x="0" y="7257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4" name="Freeform 253"/>
          <p:cNvSpPr/>
          <p:nvPr/>
        </p:nvSpPr>
        <p:spPr>
          <a:xfrm>
            <a:off x="1374775" y="5539321"/>
            <a:ext cx="31750" cy="33867"/>
          </a:xfrm>
          <a:custGeom>
            <a:avLst/>
            <a:gdLst>
              <a:gd name="connsiteX0" fmla="*/ 1209 w 32502"/>
              <a:gd name="connsiteY0" fmla="*/ 10857 h 24751"/>
              <a:gd name="connsiteX1" fmla="*/ 12094 w 32502"/>
              <a:gd name="connsiteY1" fmla="*/ 21743 h 24751"/>
              <a:gd name="connsiteX2" fmla="*/ 19351 w 32502"/>
              <a:gd name="connsiteY2" fmla="*/ 3600 h 24751"/>
              <a:gd name="connsiteX3" fmla="*/ 1209 w 32502"/>
              <a:gd name="connsiteY3" fmla="*/ 10857 h 24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502" h="24751">
                <a:moveTo>
                  <a:pt x="1209" y="10857"/>
                </a:moveTo>
                <a:cubicBezTo>
                  <a:pt x="0" y="13881"/>
                  <a:pt x="7226" y="20120"/>
                  <a:pt x="12094" y="21743"/>
                </a:cubicBezTo>
                <a:cubicBezTo>
                  <a:pt x="21119" y="24751"/>
                  <a:pt x="32502" y="11115"/>
                  <a:pt x="19351" y="3600"/>
                </a:cubicBezTo>
                <a:cubicBezTo>
                  <a:pt x="13050" y="0"/>
                  <a:pt x="2418" y="7833"/>
                  <a:pt x="1209" y="10857"/>
                </a:cubicBezTo>
                <a:close/>
              </a:path>
            </a:pathLst>
          </a:custGeom>
          <a:solidFill>
            <a:srgbClr val="00FFFF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5" name="Freeform 254"/>
          <p:cNvSpPr/>
          <p:nvPr/>
        </p:nvSpPr>
        <p:spPr>
          <a:xfrm>
            <a:off x="4899031" y="4876804"/>
            <a:ext cx="53975" cy="103717"/>
          </a:xfrm>
          <a:custGeom>
            <a:avLst/>
            <a:gdLst>
              <a:gd name="connsiteX0" fmla="*/ 0 w 54429"/>
              <a:gd name="connsiteY0" fmla="*/ 0 h 78044"/>
              <a:gd name="connsiteX1" fmla="*/ 54429 w 54429"/>
              <a:gd name="connsiteY1" fmla="*/ 43543 h 78044"/>
              <a:gd name="connsiteX2" fmla="*/ 0 w 54429"/>
              <a:gd name="connsiteY2" fmla="*/ 0 h 78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429" h="78044">
                <a:moveTo>
                  <a:pt x="0" y="0"/>
                </a:moveTo>
                <a:cubicBezTo>
                  <a:pt x="0" y="0"/>
                  <a:pt x="2677" y="78044"/>
                  <a:pt x="54429" y="43543"/>
                </a:cubicBezTo>
                <a:cubicBezTo>
                  <a:pt x="40101" y="559"/>
                  <a:pt x="0" y="0"/>
                  <a:pt x="0" y="0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6" name="Freeform 255"/>
          <p:cNvSpPr/>
          <p:nvPr/>
        </p:nvSpPr>
        <p:spPr>
          <a:xfrm>
            <a:off x="4872044" y="4999567"/>
            <a:ext cx="41275" cy="152400"/>
          </a:xfrm>
          <a:custGeom>
            <a:avLst/>
            <a:gdLst>
              <a:gd name="connsiteX0" fmla="*/ 5254 w 42501"/>
              <a:gd name="connsiteY0" fmla="*/ 43470 h 114647"/>
              <a:gd name="connsiteX1" fmla="*/ 9487 w 42501"/>
              <a:gd name="connsiteY1" fmla="*/ 106970 h 114647"/>
              <a:gd name="connsiteX2" fmla="*/ 34887 w 42501"/>
              <a:gd name="connsiteY2" fmla="*/ 102736 h 114647"/>
              <a:gd name="connsiteX3" fmla="*/ 39121 w 42501"/>
              <a:gd name="connsiteY3" fmla="*/ 60403 h 114647"/>
              <a:gd name="connsiteX4" fmla="*/ 34887 w 42501"/>
              <a:gd name="connsiteY4" fmla="*/ 5370 h 114647"/>
              <a:gd name="connsiteX5" fmla="*/ 17954 w 42501"/>
              <a:gd name="connsiteY5" fmla="*/ 9603 h 114647"/>
              <a:gd name="connsiteX6" fmla="*/ 5254 w 42501"/>
              <a:gd name="connsiteY6" fmla="*/ 43470 h 114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501" h="114647">
                <a:moveTo>
                  <a:pt x="5254" y="43470"/>
                </a:moveTo>
                <a:cubicBezTo>
                  <a:pt x="3843" y="59698"/>
                  <a:pt x="0" y="87996"/>
                  <a:pt x="9487" y="106970"/>
                </a:cubicBezTo>
                <a:cubicBezTo>
                  <a:pt x="13326" y="114647"/>
                  <a:pt x="30279" y="109978"/>
                  <a:pt x="34887" y="102736"/>
                </a:cubicBezTo>
                <a:cubicBezTo>
                  <a:pt x="42501" y="90772"/>
                  <a:pt x="37710" y="74514"/>
                  <a:pt x="39121" y="60403"/>
                </a:cubicBezTo>
                <a:cubicBezTo>
                  <a:pt x="37710" y="42059"/>
                  <a:pt x="41963" y="22353"/>
                  <a:pt x="34887" y="5370"/>
                </a:cubicBezTo>
                <a:cubicBezTo>
                  <a:pt x="32649" y="0"/>
                  <a:pt x="21740" y="5186"/>
                  <a:pt x="17954" y="9603"/>
                </a:cubicBezTo>
                <a:cubicBezTo>
                  <a:pt x="9041" y="20002"/>
                  <a:pt x="6665" y="27242"/>
                  <a:pt x="5254" y="43470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8" name="Freeform 257"/>
          <p:cNvSpPr/>
          <p:nvPr/>
        </p:nvSpPr>
        <p:spPr>
          <a:xfrm>
            <a:off x="4881563" y="5503336"/>
            <a:ext cx="44450" cy="118533"/>
          </a:xfrm>
          <a:custGeom>
            <a:avLst/>
            <a:gdLst>
              <a:gd name="connsiteX0" fmla="*/ 7773 w 43765"/>
              <a:gd name="connsiteY0" fmla="*/ 9172 h 89605"/>
              <a:gd name="connsiteX1" fmla="*/ 7773 w 43765"/>
              <a:gd name="connsiteY1" fmla="*/ 68438 h 89605"/>
              <a:gd name="connsiteX2" fmla="*/ 16240 w 43765"/>
              <a:gd name="connsiteY2" fmla="*/ 85372 h 89605"/>
              <a:gd name="connsiteX3" fmla="*/ 28940 w 43765"/>
              <a:gd name="connsiteY3" fmla="*/ 89605 h 89605"/>
              <a:gd name="connsiteX4" fmla="*/ 28940 w 43765"/>
              <a:gd name="connsiteY4" fmla="*/ 13405 h 89605"/>
              <a:gd name="connsiteX5" fmla="*/ 7773 w 43765"/>
              <a:gd name="connsiteY5" fmla="*/ 9172 h 89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765" h="89605">
                <a:moveTo>
                  <a:pt x="7773" y="9172"/>
                </a:moveTo>
                <a:cubicBezTo>
                  <a:pt x="4245" y="18344"/>
                  <a:pt x="0" y="32162"/>
                  <a:pt x="7773" y="68438"/>
                </a:cubicBezTo>
                <a:cubicBezTo>
                  <a:pt x="9095" y="74609"/>
                  <a:pt x="11777" y="80909"/>
                  <a:pt x="16240" y="85372"/>
                </a:cubicBezTo>
                <a:cubicBezTo>
                  <a:pt x="19395" y="88527"/>
                  <a:pt x="24707" y="88194"/>
                  <a:pt x="28940" y="89605"/>
                </a:cubicBezTo>
                <a:cubicBezTo>
                  <a:pt x="37715" y="63277"/>
                  <a:pt x="43765" y="50468"/>
                  <a:pt x="28940" y="13405"/>
                </a:cubicBezTo>
                <a:cubicBezTo>
                  <a:pt x="26320" y="6854"/>
                  <a:pt x="11301" y="0"/>
                  <a:pt x="7773" y="9172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59" name="Freeform 258"/>
          <p:cNvSpPr/>
          <p:nvPr/>
        </p:nvSpPr>
        <p:spPr>
          <a:xfrm>
            <a:off x="4852988" y="5721355"/>
            <a:ext cx="55562" cy="133349"/>
          </a:xfrm>
          <a:custGeom>
            <a:avLst/>
            <a:gdLst>
              <a:gd name="connsiteX0" fmla="*/ 2822 w 56324"/>
              <a:gd name="connsiteY0" fmla="*/ 9878 h 99808"/>
              <a:gd name="connsiteX1" fmla="*/ 7056 w 56324"/>
              <a:gd name="connsiteY1" fmla="*/ 90311 h 99808"/>
              <a:gd name="connsiteX2" fmla="*/ 19756 w 56324"/>
              <a:gd name="connsiteY2" fmla="*/ 98778 h 99808"/>
              <a:gd name="connsiteX3" fmla="*/ 53622 w 56324"/>
              <a:gd name="connsiteY3" fmla="*/ 94544 h 99808"/>
              <a:gd name="connsiteX4" fmla="*/ 40922 w 56324"/>
              <a:gd name="connsiteY4" fmla="*/ 52211 h 99808"/>
              <a:gd name="connsiteX5" fmla="*/ 36689 w 56324"/>
              <a:gd name="connsiteY5" fmla="*/ 39511 h 99808"/>
              <a:gd name="connsiteX6" fmla="*/ 23989 w 56324"/>
              <a:gd name="connsiteY6" fmla="*/ 31044 h 99808"/>
              <a:gd name="connsiteX7" fmla="*/ 2822 w 56324"/>
              <a:gd name="connsiteY7" fmla="*/ 9878 h 99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324" h="99808">
                <a:moveTo>
                  <a:pt x="2822" y="9878"/>
                </a:moveTo>
                <a:cubicBezTo>
                  <a:pt x="0" y="19756"/>
                  <a:pt x="2032" y="63937"/>
                  <a:pt x="7056" y="90311"/>
                </a:cubicBezTo>
                <a:cubicBezTo>
                  <a:pt x="8008" y="95309"/>
                  <a:pt x="14689" y="98317"/>
                  <a:pt x="19756" y="98778"/>
                </a:cubicBezTo>
                <a:cubicBezTo>
                  <a:pt x="31086" y="99808"/>
                  <a:pt x="42333" y="95955"/>
                  <a:pt x="53622" y="94544"/>
                </a:cubicBezTo>
                <a:cubicBezTo>
                  <a:pt x="45924" y="40651"/>
                  <a:pt x="56324" y="83015"/>
                  <a:pt x="40922" y="52211"/>
                </a:cubicBezTo>
                <a:cubicBezTo>
                  <a:pt x="38926" y="48220"/>
                  <a:pt x="39477" y="42996"/>
                  <a:pt x="36689" y="39511"/>
                </a:cubicBezTo>
                <a:cubicBezTo>
                  <a:pt x="33511" y="35538"/>
                  <a:pt x="28222" y="33866"/>
                  <a:pt x="23989" y="31044"/>
                </a:cubicBezTo>
                <a:cubicBezTo>
                  <a:pt x="9665" y="7172"/>
                  <a:pt x="5644" y="0"/>
                  <a:pt x="2822" y="9878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0" name="Freeform 259"/>
          <p:cNvSpPr/>
          <p:nvPr/>
        </p:nvSpPr>
        <p:spPr>
          <a:xfrm>
            <a:off x="4918076" y="5920321"/>
            <a:ext cx="38100" cy="59267"/>
          </a:xfrm>
          <a:custGeom>
            <a:avLst/>
            <a:gdLst>
              <a:gd name="connsiteX0" fmla="*/ 1411 w 39107"/>
              <a:gd name="connsiteY0" fmla="*/ 17830 h 44066"/>
              <a:gd name="connsiteX1" fmla="*/ 22578 w 39107"/>
              <a:gd name="connsiteY1" fmla="*/ 43230 h 44066"/>
              <a:gd name="connsiteX2" fmla="*/ 35278 w 39107"/>
              <a:gd name="connsiteY2" fmla="*/ 34763 h 44066"/>
              <a:gd name="connsiteX3" fmla="*/ 14111 w 39107"/>
              <a:gd name="connsiteY3" fmla="*/ 17830 h 44066"/>
              <a:gd name="connsiteX4" fmla="*/ 1411 w 39107"/>
              <a:gd name="connsiteY4" fmla="*/ 17830 h 44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107" h="44066">
                <a:moveTo>
                  <a:pt x="1411" y="17830"/>
                </a:moveTo>
                <a:cubicBezTo>
                  <a:pt x="2822" y="22063"/>
                  <a:pt x="16467" y="42212"/>
                  <a:pt x="22578" y="43230"/>
                </a:cubicBezTo>
                <a:cubicBezTo>
                  <a:pt x="27597" y="44066"/>
                  <a:pt x="31045" y="37585"/>
                  <a:pt x="35278" y="34763"/>
                </a:cubicBezTo>
                <a:cubicBezTo>
                  <a:pt x="29485" y="0"/>
                  <a:pt x="39107" y="7831"/>
                  <a:pt x="14111" y="17830"/>
                </a:cubicBezTo>
                <a:cubicBezTo>
                  <a:pt x="12801" y="18354"/>
                  <a:pt x="0" y="13597"/>
                  <a:pt x="1411" y="17830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1" name="Freeform 260"/>
          <p:cNvSpPr/>
          <p:nvPr/>
        </p:nvSpPr>
        <p:spPr>
          <a:xfrm>
            <a:off x="4954594" y="6129867"/>
            <a:ext cx="66675" cy="101600"/>
          </a:xfrm>
          <a:custGeom>
            <a:avLst/>
            <a:gdLst>
              <a:gd name="connsiteX0" fmla="*/ 6591 w 65857"/>
              <a:gd name="connsiteY0" fmla="*/ 7761 h 75169"/>
              <a:gd name="connsiteX1" fmla="*/ 27757 w 65857"/>
              <a:gd name="connsiteY1" fmla="*/ 54327 h 75169"/>
              <a:gd name="connsiteX2" fmla="*/ 44691 w 65857"/>
              <a:gd name="connsiteY2" fmla="*/ 71261 h 75169"/>
              <a:gd name="connsiteX3" fmla="*/ 57391 w 65857"/>
              <a:gd name="connsiteY3" fmla="*/ 67027 h 75169"/>
              <a:gd name="connsiteX4" fmla="*/ 61624 w 65857"/>
              <a:gd name="connsiteY4" fmla="*/ 54327 h 75169"/>
              <a:gd name="connsiteX5" fmla="*/ 65857 w 65857"/>
              <a:gd name="connsiteY5" fmla="*/ 33161 h 75169"/>
              <a:gd name="connsiteX6" fmla="*/ 40457 w 65857"/>
              <a:gd name="connsiteY6" fmla="*/ 16227 h 75169"/>
              <a:gd name="connsiteX7" fmla="*/ 27757 w 65857"/>
              <a:gd name="connsiteY7" fmla="*/ 7761 h 75169"/>
              <a:gd name="connsiteX8" fmla="*/ 6591 w 65857"/>
              <a:gd name="connsiteY8" fmla="*/ 7761 h 75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57" h="75169">
                <a:moveTo>
                  <a:pt x="6591" y="7761"/>
                </a:moveTo>
                <a:cubicBezTo>
                  <a:pt x="6591" y="15522"/>
                  <a:pt x="0" y="21019"/>
                  <a:pt x="27757" y="54327"/>
                </a:cubicBezTo>
                <a:cubicBezTo>
                  <a:pt x="45125" y="75169"/>
                  <a:pt x="16035" y="61707"/>
                  <a:pt x="44691" y="71261"/>
                </a:cubicBezTo>
                <a:cubicBezTo>
                  <a:pt x="48924" y="69850"/>
                  <a:pt x="54236" y="70182"/>
                  <a:pt x="57391" y="67027"/>
                </a:cubicBezTo>
                <a:cubicBezTo>
                  <a:pt x="60546" y="63872"/>
                  <a:pt x="60542" y="58656"/>
                  <a:pt x="61624" y="54327"/>
                </a:cubicBezTo>
                <a:cubicBezTo>
                  <a:pt x="63369" y="47347"/>
                  <a:pt x="64446" y="40216"/>
                  <a:pt x="65857" y="33161"/>
                </a:cubicBezTo>
                <a:cubicBezTo>
                  <a:pt x="41785" y="9089"/>
                  <a:pt x="64961" y="28479"/>
                  <a:pt x="40457" y="16227"/>
                </a:cubicBezTo>
                <a:cubicBezTo>
                  <a:pt x="35906" y="13952"/>
                  <a:pt x="32649" y="9159"/>
                  <a:pt x="27757" y="7761"/>
                </a:cubicBezTo>
                <a:cubicBezTo>
                  <a:pt x="22330" y="6210"/>
                  <a:pt x="6591" y="0"/>
                  <a:pt x="6591" y="7761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2" name="Freeform 261"/>
          <p:cNvSpPr/>
          <p:nvPr/>
        </p:nvSpPr>
        <p:spPr>
          <a:xfrm>
            <a:off x="5022855" y="6529917"/>
            <a:ext cx="68263" cy="101600"/>
          </a:xfrm>
          <a:custGeom>
            <a:avLst/>
            <a:gdLst>
              <a:gd name="connsiteX0" fmla="*/ 2822 w 68951"/>
              <a:gd name="connsiteY0" fmla="*/ 38100 h 76200"/>
              <a:gd name="connsiteX1" fmla="*/ 28222 w 68951"/>
              <a:gd name="connsiteY1" fmla="*/ 59266 h 76200"/>
              <a:gd name="connsiteX2" fmla="*/ 53622 w 68951"/>
              <a:gd name="connsiteY2" fmla="*/ 76200 h 76200"/>
              <a:gd name="connsiteX3" fmla="*/ 57855 w 68951"/>
              <a:gd name="connsiteY3" fmla="*/ 8466 h 76200"/>
              <a:gd name="connsiteX4" fmla="*/ 45155 w 68951"/>
              <a:gd name="connsiteY4" fmla="*/ 0 h 76200"/>
              <a:gd name="connsiteX5" fmla="*/ 2822 w 68951"/>
              <a:gd name="connsiteY5" fmla="*/ 38100 h 7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951" h="76200">
                <a:moveTo>
                  <a:pt x="2822" y="38100"/>
                </a:moveTo>
                <a:cubicBezTo>
                  <a:pt x="0" y="47978"/>
                  <a:pt x="4349" y="44943"/>
                  <a:pt x="28222" y="59266"/>
                </a:cubicBezTo>
                <a:cubicBezTo>
                  <a:pt x="36948" y="64501"/>
                  <a:pt x="53622" y="76200"/>
                  <a:pt x="53622" y="76200"/>
                </a:cubicBezTo>
                <a:cubicBezTo>
                  <a:pt x="62812" y="48627"/>
                  <a:pt x="68951" y="41754"/>
                  <a:pt x="57855" y="8466"/>
                </a:cubicBezTo>
                <a:cubicBezTo>
                  <a:pt x="56246" y="3639"/>
                  <a:pt x="49388" y="2822"/>
                  <a:pt x="45155" y="0"/>
                </a:cubicBezTo>
                <a:cubicBezTo>
                  <a:pt x="1445" y="4856"/>
                  <a:pt x="5644" y="28222"/>
                  <a:pt x="2822" y="38100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3" name="Freeform 262"/>
          <p:cNvSpPr/>
          <p:nvPr/>
        </p:nvSpPr>
        <p:spPr>
          <a:xfrm>
            <a:off x="4830769" y="6129867"/>
            <a:ext cx="33337" cy="35984"/>
          </a:xfrm>
          <a:custGeom>
            <a:avLst/>
            <a:gdLst>
              <a:gd name="connsiteX0" fmla="*/ 0 w 34008"/>
              <a:gd name="connsiteY0" fmla="*/ 0 h 27150"/>
              <a:gd name="connsiteX1" fmla="*/ 8467 w 34008"/>
              <a:gd name="connsiteY1" fmla="*/ 16933 h 27150"/>
              <a:gd name="connsiteX2" fmla="*/ 0 w 34008"/>
              <a:gd name="connsiteY2" fmla="*/ 0 h 27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008" h="27150">
                <a:moveTo>
                  <a:pt x="0" y="0"/>
                </a:moveTo>
                <a:cubicBezTo>
                  <a:pt x="0" y="0"/>
                  <a:pt x="2608" y="14589"/>
                  <a:pt x="8467" y="16933"/>
                </a:cubicBezTo>
                <a:cubicBezTo>
                  <a:pt x="34008" y="27150"/>
                  <a:pt x="0" y="0"/>
                  <a:pt x="0" y="0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64" name="Freeform 263"/>
          <p:cNvSpPr/>
          <p:nvPr/>
        </p:nvSpPr>
        <p:spPr>
          <a:xfrm>
            <a:off x="4908550" y="6333071"/>
            <a:ext cx="39688" cy="31751"/>
          </a:xfrm>
          <a:custGeom>
            <a:avLst/>
            <a:gdLst>
              <a:gd name="connsiteX0" fmla="*/ 9805 w 38689"/>
              <a:gd name="connsiteY0" fmla="*/ 21167 h 23989"/>
              <a:gd name="connsiteX1" fmla="*/ 35205 w 38689"/>
              <a:gd name="connsiteY1" fmla="*/ 16933 h 23989"/>
              <a:gd name="connsiteX2" fmla="*/ 30972 w 38689"/>
              <a:gd name="connsiteY2" fmla="*/ 4233 h 23989"/>
              <a:gd name="connsiteX3" fmla="*/ 14039 w 38689"/>
              <a:gd name="connsiteY3" fmla="*/ 0 h 23989"/>
              <a:gd name="connsiteX4" fmla="*/ 9805 w 38689"/>
              <a:gd name="connsiteY4" fmla="*/ 21167 h 23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689" h="23989">
                <a:moveTo>
                  <a:pt x="9805" y="21167"/>
                </a:moveTo>
                <a:cubicBezTo>
                  <a:pt x="13333" y="23989"/>
                  <a:pt x="28502" y="22295"/>
                  <a:pt x="35205" y="16933"/>
                </a:cubicBezTo>
                <a:cubicBezTo>
                  <a:pt x="38689" y="14145"/>
                  <a:pt x="34456" y="7021"/>
                  <a:pt x="30972" y="4233"/>
                </a:cubicBezTo>
                <a:cubicBezTo>
                  <a:pt x="26429" y="598"/>
                  <a:pt x="19683" y="1411"/>
                  <a:pt x="14039" y="0"/>
                </a:cubicBezTo>
                <a:cubicBezTo>
                  <a:pt x="0" y="4679"/>
                  <a:pt x="6277" y="18345"/>
                  <a:pt x="9805" y="21167"/>
                </a:cubicBezTo>
                <a:close/>
              </a:path>
            </a:pathLst>
          </a:custGeom>
          <a:solidFill>
            <a:srgbClr val="FFFF00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6" name="Rectangle 2"/>
          <p:cNvSpPr>
            <a:spLocks noChangeArrowheads="1"/>
          </p:cNvSpPr>
          <p:nvPr/>
        </p:nvSpPr>
        <p:spPr bwMode="auto">
          <a:xfrm>
            <a:off x="4191000" y="5257800"/>
            <a:ext cx="76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ఫోర్ట్ బ్లెయిర్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65" name="Oval 264"/>
          <p:cNvSpPr/>
          <p:nvPr/>
        </p:nvSpPr>
        <p:spPr>
          <a:xfrm flipV="1">
            <a:off x="1447801" y="37338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66" name="Oval 265"/>
          <p:cNvSpPr/>
          <p:nvPr/>
        </p:nvSpPr>
        <p:spPr>
          <a:xfrm flipV="1">
            <a:off x="1524001" y="3774023"/>
            <a:ext cx="46038" cy="61383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1" name="Rectangle 2"/>
          <p:cNvSpPr>
            <a:spLocks noChangeArrowheads="1"/>
          </p:cNvSpPr>
          <p:nvPr/>
        </p:nvSpPr>
        <p:spPr bwMode="auto">
          <a:xfrm>
            <a:off x="1295400" y="5664200"/>
            <a:ext cx="40748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800" i="1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వరత్తి</a:t>
            </a:r>
            <a:endParaRPr lang="en-US" sz="2000" i="1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6" name="Oval 175"/>
          <p:cNvSpPr/>
          <p:nvPr/>
        </p:nvSpPr>
        <p:spPr>
          <a:xfrm flipV="1">
            <a:off x="5181601" y="3022600"/>
            <a:ext cx="46038" cy="61384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68" name="Rectangle 1"/>
          <p:cNvSpPr>
            <a:spLocks noChangeArrowheads="1"/>
          </p:cNvSpPr>
          <p:nvPr/>
        </p:nvSpPr>
        <p:spPr bwMode="auto">
          <a:xfrm>
            <a:off x="3429000" y="554752"/>
            <a:ext cx="50292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0" hangingPunct="0">
              <a:defRPr/>
            </a:pP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భారత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దేశము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–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రాష్ట్రాలు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వాటి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రాజధానులు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మరియు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కేంద్ర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పాలిత</a:t>
            </a:r>
            <a:r>
              <a:rPr lang="en-US" sz="200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000" spc="50" dirty="0" err="1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ప్రాంతాలు</a:t>
            </a:r>
            <a:endParaRPr lang="en-US" sz="6000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167" name="Rectangle 1"/>
          <p:cNvSpPr>
            <a:spLocks noChangeArrowheads="1"/>
          </p:cNvSpPr>
          <p:nvPr/>
        </p:nvSpPr>
        <p:spPr bwMode="auto">
          <a:xfrm rot="-2851919">
            <a:off x="2895601" y="4987500"/>
            <a:ext cx="18288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ంగాళాఖాతం</a:t>
            </a:r>
            <a:endParaRPr lang="en-US" sz="4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83" name="Rectangle 1"/>
          <p:cNvSpPr>
            <a:spLocks noChangeArrowheads="1"/>
          </p:cNvSpPr>
          <p:nvPr/>
        </p:nvSpPr>
        <p:spPr bwMode="auto">
          <a:xfrm>
            <a:off x="228600" y="4851401"/>
            <a:ext cx="13716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అరేబియా సముద్రము</a:t>
            </a:r>
            <a:endParaRPr lang="en-US" sz="4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88" name="Rectangle 1"/>
          <p:cNvSpPr>
            <a:spLocks noChangeArrowheads="1"/>
          </p:cNvSpPr>
          <p:nvPr/>
        </p:nvSpPr>
        <p:spPr bwMode="auto">
          <a:xfrm>
            <a:off x="762000" y="6375406"/>
            <a:ext cx="30480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హిందూ మహా సముద్రము</a:t>
            </a:r>
            <a:endParaRPr lang="en-US" sz="4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226" name="Freeform 225"/>
          <p:cNvSpPr/>
          <p:nvPr/>
        </p:nvSpPr>
        <p:spPr>
          <a:xfrm>
            <a:off x="2223658" y="4343403"/>
            <a:ext cx="671945" cy="295052"/>
          </a:xfrm>
          <a:custGeom>
            <a:avLst/>
            <a:gdLst>
              <a:gd name="connsiteX0" fmla="*/ 685800 w 685800"/>
              <a:gd name="connsiteY0" fmla="*/ 0 h 209165"/>
              <a:gd name="connsiteX1" fmla="*/ 637309 w 685800"/>
              <a:gd name="connsiteY1" fmla="*/ 20782 h 209165"/>
              <a:gd name="connsiteX2" fmla="*/ 595745 w 685800"/>
              <a:gd name="connsiteY2" fmla="*/ 48491 h 209165"/>
              <a:gd name="connsiteX3" fmla="*/ 554181 w 685800"/>
              <a:gd name="connsiteY3" fmla="*/ 62345 h 209165"/>
              <a:gd name="connsiteX4" fmla="*/ 505690 w 685800"/>
              <a:gd name="connsiteY4" fmla="*/ 76200 h 209165"/>
              <a:gd name="connsiteX5" fmla="*/ 484909 w 685800"/>
              <a:gd name="connsiteY5" fmla="*/ 90054 h 209165"/>
              <a:gd name="connsiteX6" fmla="*/ 457200 w 685800"/>
              <a:gd name="connsiteY6" fmla="*/ 110836 h 209165"/>
              <a:gd name="connsiteX7" fmla="*/ 401781 w 685800"/>
              <a:gd name="connsiteY7" fmla="*/ 124691 h 209165"/>
              <a:gd name="connsiteX8" fmla="*/ 339436 w 685800"/>
              <a:gd name="connsiteY8" fmla="*/ 159327 h 209165"/>
              <a:gd name="connsiteX9" fmla="*/ 318654 w 685800"/>
              <a:gd name="connsiteY9" fmla="*/ 180109 h 209165"/>
              <a:gd name="connsiteX10" fmla="*/ 290945 w 685800"/>
              <a:gd name="connsiteY10" fmla="*/ 187036 h 209165"/>
              <a:gd name="connsiteX11" fmla="*/ 242454 w 685800"/>
              <a:gd name="connsiteY11" fmla="*/ 173182 h 209165"/>
              <a:gd name="connsiteX12" fmla="*/ 193963 w 685800"/>
              <a:gd name="connsiteY12" fmla="*/ 180109 h 209165"/>
              <a:gd name="connsiteX13" fmla="*/ 173181 w 685800"/>
              <a:gd name="connsiteY13" fmla="*/ 187036 h 209165"/>
              <a:gd name="connsiteX14" fmla="*/ 124690 w 685800"/>
              <a:gd name="connsiteY14" fmla="*/ 193963 h 209165"/>
              <a:gd name="connsiteX15" fmla="*/ 103909 w 685800"/>
              <a:gd name="connsiteY15" fmla="*/ 207818 h 209165"/>
              <a:gd name="connsiteX16" fmla="*/ 76200 w 685800"/>
              <a:gd name="connsiteY16" fmla="*/ 200891 h 209165"/>
              <a:gd name="connsiteX17" fmla="*/ 55418 w 685800"/>
              <a:gd name="connsiteY17" fmla="*/ 193963 h 209165"/>
              <a:gd name="connsiteX18" fmla="*/ 27709 w 685800"/>
              <a:gd name="connsiteY18" fmla="*/ 180109 h 209165"/>
              <a:gd name="connsiteX19" fmla="*/ 0 w 685800"/>
              <a:gd name="connsiteY19" fmla="*/ 180109 h 2091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85800" h="209165">
                <a:moveTo>
                  <a:pt x="685800" y="0"/>
                </a:moveTo>
                <a:cubicBezTo>
                  <a:pt x="664299" y="7167"/>
                  <a:pt x="658712" y="7940"/>
                  <a:pt x="637309" y="20782"/>
                </a:cubicBezTo>
                <a:cubicBezTo>
                  <a:pt x="623031" y="29349"/>
                  <a:pt x="611542" y="43226"/>
                  <a:pt x="595745" y="48491"/>
                </a:cubicBezTo>
                <a:cubicBezTo>
                  <a:pt x="581890" y="53109"/>
                  <a:pt x="568349" y="58803"/>
                  <a:pt x="554181" y="62345"/>
                </a:cubicBezTo>
                <a:cubicBezTo>
                  <a:pt x="545297" y="64566"/>
                  <a:pt x="515632" y="71229"/>
                  <a:pt x="505690" y="76200"/>
                </a:cubicBezTo>
                <a:cubicBezTo>
                  <a:pt x="498244" y="79923"/>
                  <a:pt x="491683" y="85215"/>
                  <a:pt x="484909" y="90054"/>
                </a:cubicBezTo>
                <a:cubicBezTo>
                  <a:pt x="475514" y="96765"/>
                  <a:pt x="467750" y="106147"/>
                  <a:pt x="457200" y="110836"/>
                </a:cubicBezTo>
                <a:cubicBezTo>
                  <a:pt x="426478" y="124490"/>
                  <a:pt x="426864" y="110755"/>
                  <a:pt x="401781" y="124691"/>
                </a:cubicBezTo>
                <a:cubicBezTo>
                  <a:pt x="330328" y="164388"/>
                  <a:pt x="386458" y="143654"/>
                  <a:pt x="339436" y="159327"/>
                </a:cubicBezTo>
                <a:cubicBezTo>
                  <a:pt x="332509" y="166254"/>
                  <a:pt x="327160" y="175248"/>
                  <a:pt x="318654" y="180109"/>
                </a:cubicBezTo>
                <a:cubicBezTo>
                  <a:pt x="310388" y="184833"/>
                  <a:pt x="300466" y="187036"/>
                  <a:pt x="290945" y="187036"/>
                </a:cubicBezTo>
                <a:cubicBezTo>
                  <a:pt x="282247" y="187036"/>
                  <a:pt x="252254" y="176448"/>
                  <a:pt x="242454" y="173182"/>
                </a:cubicBezTo>
                <a:cubicBezTo>
                  <a:pt x="226290" y="175491"/>
                  <a:pt x="209974" y="176907"/>
                  <a:pt x="193963" y="180109"/>
                </a:cubicBezTo>
                <a:cubicBezTo>
                  <a:pt x="186803" y="181541"/>
                  <a:pt x="180341" y="185604"/>
                  <a:pt x="173181" y="187036"/>
                </a:cubicBezTo>
                <a:cubicBezTo>
                  <a:pt x="157170" y="190238"/>
                  <a:pt x="140854" y="191654"/>
                  <a:pt x="124690" y="193963"/>
                </a:cubicBezTo>
                <a:cubicBezTo>
                  <a:pt x="117763" y="198581"/>
                  <a:pt x="112151" y="206640"/>
                  <a:pt x="103909" y="207818"/>
                </a:cubicBezTo>
                <a:cubicBezTo>
                  <a:pt x="94484" y="209165"/>
                  <a:pt x="85354" y="203507"/>
                  <a:pt x="76200" y="200891"/>
                </a:cubicBezTo>
                <a:cubicBezTo>
                  <a:pt x="69179" y="198885"/>
                  <a:pt x="62130" y="196839"/>
                  <a:pt x="55418" y="193963"/>
                </a:cubicBezTo>
                <a:cubicBezTo>
                  <a:pt x="45926" y="189895"/>
                  <a:pt x="37727" y="182613"/>
                  <a:pt x="27709" y="180109"/>
                </a:cubicBezTo>
                <a:cubicBezTo>
                  <a:pt x="18748" y="177869"/>
                  <a:pt x="9236" y="180109"/>
                  <a:pt x="0" y="180109"/>
                </a:cubicBezTo>
              </a:path>
            </a:pathLst>
          </a:cu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Rectangle 1"/>
          <p:cNvSpPr>
            <a:spLocks noChangeArrowheads="1"/>
          </p:cNvSpPr>
          <p:nvPr/>
        </p:nvSpPr>
        <p:spPr bwMode="auto">
          <a:xfrm rot="390614">
            <a:off x="2308514" y="4078890"/>
            <a:ext cx="52078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hangingPunct="0"/>
            <a:r>
              <a:rPr lang="en-US" sz="1200" dirty="0" err="1" smtClean="0">
                <a:latin typeface="Ramabhadra" pitchFamily="2" charset="0"/>
                <a:ea typeface="Times New Roman" pitchFamily="18" charset="0"/>
                <a:cs typeface="Ramabhadra" pitchFamily="2" charset="0"/>
              </a:rPr>
              <a:t>తెలంగాణా</a:t>
            </a:r>
            <a:endParaRPr lang="en-US" sz="4000" dirty="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2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22" presetClass="entr" presetSubtype="8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2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3" fill="hold">
                      <p:stCondLst>
                        <p:cond delay="indefinite"/>
                      </p:stCondLst>
                      <p:childTnLst>
                        <p:par>
                          <p:cTn id="134" fill="hold">
                            <p:stCondLst>
                              <p:cond delay="0"/>
                            </p:stCondLst>
                            <p:childTnLst>
                              <p:par>
                                <p:cTn id="1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8" fill="hold">
                      <p:stCondLst>
                        <p:cond delay="indefinite"/>
                      </p:stCondLst>
                      <p:childTnLst>
                        <p:par>
                          <p:cTn id="139" fill="hold">
                            <p:stCondLst>
                              <p:cond delay="0"/>
                            </p:stCondLst>
                            <p:childTnLst>
                              <p:par>
                                <p:cTn id="1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2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3" fill="hold">
                      <p:stCondLst>
                        <p:cond delay="indefinite"/>
                      </p:stCondLst>
                      <p:childTnLst>
                        <p:par>
                          <p:cTn id="144" fill="hold">
                            <p:stCondLst>
                              <p:cond delay="0"/>
                            </p:stCondLst>
                            <p:childTnLst>
                              <p:par>
                                <p:cTn id="1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7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3" fill="hold">
                      <p:stCondLst>
                        <p:cond delay="indefinite"/>
                      </p:stCondLst>
                      <p:childTnLst>
                        <p:par>
                          <p:cTn id="154" fill="hold">
                            <p:stCondLst>
                              <p:cond delay="0"/>
                            </p:stCondLst>
                            <p:childTnLst>
                              <p:par>
                                <p:cTn id="1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7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8" fill="hold">
                      <p:stCondLst>
                        <p:cond delay="indefinite"/>
                      </p:stCondLst>
                      <p:childTnLst>
                        <p:par>
                          <p:cTn id="159" fill="hold">
                            <p:stCondLst>
                              <p:cond delay="0"/>
                            </p:stCondLst>
                            <p:childTnLst>
                              <p:par>
                                <p:cTn id="1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2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3" fill="hold">
                      <p:stCondLst>
                        <p:cond delay="indefinite"/>
                      </p:stCondLst>
                      <p:childTnLst>
                        <p:par>
                          <p:cTn id="164" fill="hold">
                            <p:stCondLst>
                              <p:cond delay="0"/>
                            </p:stCondLst>
                            <p:childTnLst>
                              <p:par>
                                <p:cTn id="1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7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3" fill="hold">
                      <p:stCondLst>
                        <p:cond delay="indefinite"/>
                      </p:stCondLst>
                      <p:childTnLst>
                        <p:par>
                          <p:cTn id="174" fill="hold">
                            <p:stCondLst>
                              <p:cond delay="0"/>
                            </p:stCondLst>
                            <p:childTnLst>
                              <p:par>
                                <p:cTn id="1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7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3" fill="hold">
                      <p:stCondLst>
                        <p:cond delay="indefinite"/>
                      </p:stCondLst>
                      <p:childTnLst>
                        <p:par>
                          <p:cTn id="184" fill="hold">
                            <p:stCondLst>
                              <p:cond delay="0"/>
                            </p:stCondLst>
                            <p:childTnLst>
                              <p:par>
                                <p:cTn id="1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7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3" fill="hold">
                      <p:stCondLst>
                        <p:cond delay="indefinite"/>
                      </p:stCondLst>
                      <p:childTnLst>
                        <p:par>
                          <p:cTn id="194" fill="hold">
                            <p:stCondLst>
                              <p:cond delay="0"/>
                            </p:stCondLst>
                            <p:childTnLst>
                              <p:par>
                                <p:cTn id="19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7" dur="500"/>
                                        <p:tgtEl>
                                          <p:spTgt spid="2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8" fill="hold">
                      <p:stCondLst>
                        <p:cond delay="indefinite"/>
                      </p:stCondLst>
                      <p:childTnLst>
                        <p:par>
                          <p:cTn id="199" fill="hold">
                            <p:stCondLst>
                              <p:cond delay="0"/>
                            </p:stCondLst>
                            <p:childTnLst>
                              <p:par>
                                <p:cTn id="2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3" fill="hold">
                      <p:stCondLst>
                        <p:cond delay="indefinite"/>
                      </p:stCondLst>
                      <p:childTnLst>
                        <p:par>
                          <p:cTn id="204" fill="hold">
                            <p:stCondLst>
                              <p:cond delay="0"/>
                            </p:stCondLst>
                            <p:childTnLst>
                              <p:par>
                                <p:cTn id="2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7" dur="500"/>
                                        <p:tgtEl>
                                          <p:spTgt spid="2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8" fill="hold">
                      <p:stCondLst>
                        <p:cond delay="indefinite"/>
                      </p:stCondLst>
                      <p:childTnLst>
                        <p:par>
                          <p:cTn id="209" fill="hold">
                            <p:stCondLst>
                              <p:cond delay="0"/>
                            </p:stCondLst>
                            <p:childTnLst>
                              <p:par>
                                <p:cTn id="2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3" fill="hold">
                      <p:stCondLst>
                        <p:cond delay="indefinite"/>
                      </p:stCondLst>
                      <p:childTnLst>
                        <p:par>
                          <p:cTn id="214" fill="hold">
                            <p:stCondLst>
                              <p:cond delay="0"/>
                            </p:stCondLst>
                            <p:childTnLst>
                              <p:par>
                                <p:cTn id="2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7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8" fill="hold">
                      <p:stCondLst>
                        <p:cond delay="indefinite"/>
                      </p:stCondLst>
                      <p:childTnLst>
                        <p:par>
                          <p:cTn id="219" fill="hold">
                            <p:stCondLst>
                              <p:cond delay="0"/>
                            </p:stCondLst>
                            <p:childTnLst>
                              <p:par>
                                <p:cTn id="2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2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3" fill="hold">
                      <p:stCondLst>
                        <p:cond delay="indefinite"/>
                      </p:stCondLst>
                      <p:childTnLst>
                        <p:par>
                          <p:cTn id="224" fill="hold">
                            <p:stCondLst>
                              <p:cond delay="0"/>
                            </p:stCondLst>
                            <p:childTnLst>
                              <p:par>
                                <p:cTn id="2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7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8" fill="hold">
                      <p:stCondLst>
                        <p:cond delay="indefinite"/>
                      </p:stCondLst>
                      <p:childTnLst>
                        <p:par>
                          <p:cTn id="229" fill="hold">
                            <p:stCondLst>
                              <p:cond delay="0"/>
                            </p:stCondLst>
                            <p:childTnLst>
                              <p:par>
                                <p:cTn id="2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2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3" fill="hold">
                      <p:stCondLst>
                        <p:cond delay="indefinite"/>
                      </p:stCondLst>
                      <p:childTnLst>
                        <p:par>
                          <p:cTn id="234" fill="hold">
                            <p:stCondLst>
                              <p:cond delay="0"/>
                            </p:stCondLst>
                            <p:childTnLst>
                              <p:par>
                                <p:cTn id="2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8" fill="hold">
                      <p:stCondLst>
                        <p:cond delay="indefinite"/>
                      </p:stCondLst>
                      <p:childTnLst>
                        <p:par>
                          <p:cTn id="239" fill="hold">
                            <p:stCondLst>
                              <p:cond delay="0"/>
                            </p:stCondLst>
                            <p:childTnLst>
                              <p:par>
                                <p:cTn id="2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2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3" fill="hold">
                      <p:stCondLst>
                        <p:cond delay="indefinite"/>
                      </p:stCondLst>
                      <p:childTnLst>
                        <p:par>
                          <p:cTn id="244" fill="hold">
                            <p:stCondLst>
                              <p:cond delay="0"/>
                            </p:stCondLst>
                            <p:childTnLst>
                              <p:par>
                                <p:cTn id="2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7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8" fill="hold">
                      <p:stCondLst>
                        <p:cond delay="indefinite"/>
                      </p:stCondLst>
                      <p:childTnLst>
                        <p:par>
                          <p:cTn id="249" fill="hold">
                            <p:stCondLst>
                              <p:cond delay="0"/>
                            </p:stCondLst>
                            <p:childTnLst>
                              <p:par>
                                <p:cTn id="2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3" fill="hold">
                      <p:stCondLst>
                        <p:cond delay="indefinite"/>
                      </p:stCondLst>
                      <p:childTnLst>
                        <p:par>
                          <p:cTn id="254" fill="hold">
                            <p:stCondLst>
                              <p:cond delay="0"/>
                            </p:stCondLst>
                            <p:childTnLst>
                              <p:par>
                                <p:cTn id="2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8" fill="hold">
                      <p:stCondLst>
                        <p:cond delay="indefinite"/>
                      </p:stCondLst>
                      <p:childTnLst>
                        <p:par>
                          <p:cTn id="259" fill="hold">
                            <p:stCondLst>
                              <p:cond delay="0"/>
                            </p:stCondLst>
                            <p:childTnLst>
                              <p:par>
                                <p:cTn id="2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2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3" fill="hold">
                      <p:stCondLst>
                        <p:cond delay="indefinite"/>
                      </p:stCondLst>
                      <p:childTnLst>
                        <p:par>
                          <p:cTn id="264" fill="hold">
                            <p:stCondLst>
                              <p:cond delay="0"/>
                            </p:stCondLst>
                            <p:childTnLst>
                              <p:par>
                                <p:cTn id="2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7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8" fill="hold">
                      <p:stCondLst>
                        <p:cond delay="indefinite"/>
                      </p:stCondLst>
                      <p:childTnLst>
                        <p:par>
                          <p:cTn id="269" fill="hold">
                            <p:stCondLst>
                              <p:cond delay="0"/>
                            </p:stCondLst>
                            <p:childTnLst>
                              <p:par>
                                <p:cTn id="2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2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3" fill="hold">
                      <p:stCondLst>
                        <p:cond delay="indefinite"/>
                      </p:stCondLst>
                      <p:childTnLst>
                        <p:par>
                          <p:cTn id="274" fill="hold">
                            <p:stCondLst>
                              <p:cond delay="0"/>
                            </p:stCondLst>
                            <p:childTnLst>
                              <p:par>
                                <p:cTn id="2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8" fill="hold">
                      <p:stCondLst>
                        <p:cond delay="indefinite"/>
                      </p:stCondLst>
                      <p:childTnLst>
                        <p:par>
                          <p:cTn id="279" fill="hold">
                            <p:stCondLst>
                              <p:cond delay="0"/>
                            </p:stCondLst>
                            <p:childTnLst>
                              <p:par>
                                <p:cTn id="2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2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3" fill="hold">
                      <p:stCondLst>
                        <p:cond delay="indefinite"/>
                      </p:stCondLst>
                      <p:childTnLst>
                        <p:par>
                          <p:cTn id="284" fill="hold">
                            <p:stCondLst>
                              <p:cond delay="0"/>
                            </p:stCondLst>
                            <p:childTnLst>
                              <p:par>
                                <p:cTn id="2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7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8" fill="hold">
                      <p:stCondLst>
                        <p:cond delay="indefinite"/>
                      </p:stCondLst>
                      <p:childTnLst>
                        <p:par>
                          <p:cTn id="289" fill="hold">
                            <p:stCondLst>
                              <p:cond delay="0"/>
                            </p:stCondLst>
                            <p:childTnLst>
                              <p:par>
                                <p:cTn id="2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2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3" fill="hold">
                      <p:stCondLst>
                        <p:cond delay="indefinite"/>
                      </p:stCondLst>
                      <p:childTnLst>
                        <p:par>
                          <p:cTn id="294" fill="hold">
                            <p:stCondLst>
                              <p:cond delay="0"/>
                            </p:stCondLst>
                            <p:childTnLst>
                              <p:par>
                                <p:cTn id="29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8" fill="hold">
                      <p:stCondLst>
                        <p:cond delay="indefinite"/>
                      </p:stCondLst>
                      <p:childTnLst>
                        <p:par>
                          <p:cTn id="299" fill="hold">
                            <p:stCondLst>
                              <p:cond delay="0"/>
                            </p:stCondLst>
                            <p:childTnLst>
                              <p:par>
                                <p:cTn id="3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2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3" fill="hold">
                      <p:stCondLst>
                        <p:cond delay="indefinite"/>
                      </p:stCondLst>
                      <p:childTnLst>
                        <p:par>
                          <p:cTn id="304" fill="hold">
                            <p:stCondLst>
                              <p:cond delay="0"/>
                            </p:stCondLst>
                            <p:childTnLst>
                              <p:par>
                                <p:cTn id="3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7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8" fill="hold">
                      <p:stCondLst>
                        <p:cond delay="indefinite"/>
                      </p:stCondLst>
                      <p:childTnLst>
                        <p:par>
                          <p:cTn id="309" fill="hold">
                            <p:stCondLst>
                              <p:cond delay="0"/>
                            </p:stCondLst>
                            <p:childTnLst>
                              <p:par>
                                <p:cTn id="3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2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3" fill="hold">
                      <p:stCondLst>
                        <p:cond delay="indefinite"/>
                      </p:stCondLst>
                      <p:childTnLst>
                        <p:par>
                          <p:cTn id="314" fill="hold">
                            <p:stCondLst>
                              <p:cond delay="0"/>
                            </p:stCondLst>
                            <p:childTnLst>
                              <p:par>
                                <p:cTn id="3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8" fill="hold">
                      <p:stCondLst>
                        <p:cond delay="indefinite"/>
                      </p:stCondLst>
                      <p:childTnLst>
                        <p:par>
                          <p:cTn id="319" fill="hold">
                            <p:stCondLst>
                              <p:cond delay="0"/>
                            </p:stCondLst>
                            <p:childTnLst>
                              <p:par>
                                <p:cTn id="3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2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3" fill="hold">
                      <p:stCondLst>
                        <p:cond delay="indefinite"/>
                      </p:stCondLst>
                      <p:childTnLst>
                        <p:par>
                          <p:cTn id="324" fill="hold">
                            <p:stCondLst>
                              <p:cond delay="0"/>
                            </p:stCondLst>
                            <p:childTnLst>
                              <p:par>
                                <p:cTn id="3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7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8" fill="hold">
                      <p:stCondLst>
                        <p:cond delay="indefinite"/>
                      </p:stCondLst>
                      <p:childTnLst>
                        <p:par>
                          <p:cTn id="329" fill="hold">
                            <p:stCondLst>
                              <p:cond delay="0"/>
                            </p:stCondLst>
                            <p:childTnLst>
                              <p:par>
                                <p:cTn id="3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2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3" fill="hold">
                      <p:stCondLst>
                        <p:cond delay="indefinite"/>
                      </p:stCondLst>
                      <p:childTnLst>
                        <p:par>
                          <p:cTn id="334" fill="hold">
                            <p:stCondLst>
                              <p:cond delay="0"/>
                            </p:stCondLst>
                            <p:childTnLst>
                              <p:par>
                                <p:cTn id="3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8" fill="hold">
                      <p:stCondLst>
                        <p:cond delay="indefinite"/>
                      </p:stCondLst>
                      <p:childTnLst>
                        <p:par>
                          <p:cTn id="339" fill="hold">
                            <p:stCondLst>
                              <p:cond delay="0"/>
                            </p:stCondLst>
                            <p:childTnLst>
                              <p:par>
                                <p:cTn id="3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2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3" fill="hold">
                      <p:stCondLst>
                        <p:cond delay="indefinite"/>
                      </p:stCondLst>
                      <p:childTnLst>
                        <p:par>
                          <p:cTn id="344" fill="hold">
                            <p:stCondLst>
                              <p:cond delay="0"/>
                            </p:stCondLst>
                            <p:childTnLst>
                              <p:par>
                                <p:cTn id="3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7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8" fill="hold">
                      <p:stCondLst>
                        <p:cond delay="indefinite"/>
                      </p:stCondLst>
                      <p:childTnLst>
                        <p:par>
                          <p:cTn id="349" fill="hold">
                            <p:stCondLst>
                              <p:cond delay="0"/>
                            </p:stCondLst>
                            <p:childTnLst>
                              <p:par>
                                <p:cTn id="3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2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3" fill="hold">
                      <p:stCondLst>
                        <p:cond delay="indefinite"/>
                      </p:stCondLst>
                      <p:childTnLst>
                        <p:par>
                          <p:cTn id="354" fill="hold">
                            <p:stCondLst>
                              <p:cond delay="0"/>
                            </p:stCondLst>
                            <p:childTnLst>
                              <p:par>
                                <p:cTn id="3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8" fill="hold">
                      <p:stCondLst>
                        <p:cond delay="indefinite"/>
                      </p:stCondLst>
                      <p:childTnLst>
                        <p:par>
                          <p:cTn id="359" fill="hold">
                            <p:stCondLst>
                              <p:cond delay="0"/>
                            </p:stCondLst>
                            <p:childTnLst>
                              <p:par>
                                <p:cTn id="3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2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3" fill="hold">
                      <p:stCondLst>
                        <p:cond delay="indefinite"/>
                      </p:stCondLst>
                      <p:childTnLst>
                        <p:par>
                          <p:cTn id="364" fill="hold">
                            <p:stCondLst>
                              <p:cond delay="0"/>
                            </p:stCondLst>
                            <p:childTnLst>
                              <p:par>
                                <p:cTn id="3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7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8" fill="hold">
                      <p:stCondLst>
                        <p:cond delay="indefinite"/>
                      </p:stCondLst>
                      <p:childTnLst>
                        <p:par>
                          <p:cTn id="369" fill="hold">
                            <p:stCondLst>
                              <p:cond delay="0"/>
                            </p:stCondLst>
                            <p:childTnLst>
                              <p:par>
                                <p:cTn id="3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2" dur="500"/>
                                        <p:tgtEl>
                                          <p:spTgt spid="2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3" fill="hold">
                      <p:stCondLst>
                        <p:cond delay="indefinite"/>
                      </p:stCondLst>
                      <p:childTnLst>
                        <p:par>
                          <p:cTn id="374" fill="hold">
                            <p:stCondLst>
                              <p:cond delay="0"/>
                            </p:stCondLst>
                            <p:childTnLst>
                              <p:par>
                                <p:cTn id="3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8" fill="hold">
                      <p:stCondLst>
                        <p:cond delay="indefinite"/>
                      </p:stCondLst>
                      <p:childTnLst>
                        <p:par>
                          <p:cTn id="379" fill="hold">
                            <p:stCondLst>
                              <p:cond delay="0"/>
                            </p:stCondLst>
                            <p:childTnLst>
                              <p:par>
                                <p:cTn id="3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2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3" fill="hold">
                      <p:stCondLst>
                        <p:cond delay="indefinite"/>
                      </p:stCondLst>
                      <p:childTnLst>
                        <p:par>
                          <p:cTn id="384" fill="hold">
                            <p:stCondLst>
                              <p:cond delay="0"/>
                            </p:stCondLst>
                            <p:childTnLst>
                              <p:par>
                                <p:cTn id="3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7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8" fill="hold">
                      <p:stCondLst>
                        <p:cond delay="indefinite"/>
                      </p:stCondLst>
                      <p:childTnLst>
                        <p:par>
                          <p:cTn id="389" fill="hold">
                            <p:stCondLst>
                              <p:cond delay="0"/>
                            </p:stCondLst>
                            <p:childTnLst>
                              <p:par>
                                <p:cTn id="3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2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3" fill="hold">
                      <p:stCondLst>
                        <p:cond delay="indefinite"/>
                      </p:stCondLst>
                      <p:childTnLst>
                        <p:par>
                          <p:cTn id="394" fill="hold">
                            <p:stCondLst>
                              <p:cond delay="0"/>
                            </p:stCondLst>
                            <p:childTnLst>
                              <p:par>
                                <p:cTn id="39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8" fill="hold">
                      <p:stCondLst>
                        <p:cond delay="indefinite"/>
                      </p:stCondLst>
                      <p:childTnLst>
                        <p:par>
                          <p:cTn id="399" fill="hold">
                            <p:stCondLst>
                              <p:cond delay="0"/>
                            </p:stCondLst>
                            <p:childTnLst>
                              <p:par>
                                <p:cTn id="4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2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3" fill="hold">
                      <p:stCondLst>
                        <p:cond delay="indefinite"/>
                      </p:stCondLst>
                      <p:childTnLst>
                        <p:par>
                          <p:cTn id="404" fill="hold">
                            <p:stCondLst>
                              <p:cond delay="0"/>
                            </p:stCondLst>
                            <p:childTnLst>
                              <p:par>
                                <p:cTn id="4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7" dur="50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8" fill="hold">
                      <p:stCondLst>
                        <p:cond delay="indefinite"/>
                      </p:stCondLst>
                      <p:childTnLst>
                        <p:par>
                          <p:cTn id="409" fill="hold">
                            <p:stCondLst>
                              <p:cond delay="0"/>
                            </p:stCondLst>
                            <p:childTnLst>
                              <p:par>
                                <p:cTn id="4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2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3" fill="hold">
                      <p:stCondLst>
                        <p:cond delay="indefinite"/>
                      </p:stCondLst>
                      <p:childTnLst>
                        <p:par>
                          <p:cTn id="414" fill="hold">
                            <p:stCondLst>
                              <p:cond delay="0"/>
                            </p:stCondLst>
                            <p:childTnLst>
                              <p:par>
                                <p:cTn id="4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8" fill="hold">
                      <p:stCondLst>
                        <p:cond delay="indefinite"/>
                      </p:stCondLst>
                      <p:childTnLst>
                        <p:par>
                          <p:cTn id="419" fill="hold">
                            <p:stCondLst>
                              <p:cond delay="0"/>
                            </p:stCondLst>
                            <p:childTnLst>
                              <p:par>
                                <p:cTn id="4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2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3" fill="hold">
                      <p:stCondLst>
                        <p:cond delay="indefinite"/>
                      </p:stCondLst>
                      <p:childTnLst>
                        <p:par>
                          <p:cTn id="424" fill="hold">
                            <p:stCondLst>
                              <p:cond delay="0"/>
                            </p:stCondLst>
                            <p:childTnLst>
                              <p:par>
                                <p:cTn id="4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7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8" fill="hold">
                      <p:stCondLst>
                        <p:cond delay="indefinite"/>
                      </p:stCondLst>
                      <p:childTnLst>
                        <p:par>
                          <p:cTn id="429" fill="hold">
                            <p:stCondLst>
                              <p:cond delay="0"/>
                            </p:stCondLst>
                            <p:childTnLst>
                              <p:par>
                                <p:cTn id="4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2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3" fill="hold">
                      <p:stCondLst>
                        <p:cond delay="indefinite"/>
                      </p:stCondLst>
                      <p:childTnLst>
                        <p:par>
                          <p:cTn id="434" fill="hold">
                            <p:stCondLst>
                              <p:cond delay="0"/>
                            </p:stCondLst>
                            <p:childTnLst>
                              <p:par>
                                <p:cTn id="4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7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8" fill="hold">
                      <p:stCondLst>
                        <p:cond delay="indefinite"/>
                      </p:stCondLst>
                      <p:childTnLst>
                        <p:par>
                          <p:cTn id="439" fill="hold">
                            <p:stCondLst>
                              <p:cond delay="0"/>
                            </p:stCondLst>
                            <p:childTnLst>
                              <p:par>
                                <p:cTn id="4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3" fill="hold">
                      <p:stCondLst>
                        <p:cond delay="indefinite"/>
                      </p:stCondLst>
                      <p:childTnLst>
                        <p:par>
                          <p:cTn id="444" fill="hold">
                            <p:stCondLst>
                              <p:cond delay="0"/>
                            </p:stCondLst>
                            <p:childTnLst>
                              <p:par>
                                <p:cTn id="4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7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8" fill="hold">
                      <p:stCondLst>
                        <p:cond delay="indefinite"/>
                      </p:stCondLst>
                      <p:childTnLst>
                        <p:par>
                          <p:cTn id="449" fill="hold">
                            <p:stCondLst>
                              <p:cond delay="0"/>
                            </p:stCondLst>
                            <p:childTnLst>
                              <p:par>
                                <p:cTn id="4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2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3" fill="hold">
                      <p:stCondLst>
                        <p:cond delay="indefinite"/>
                      </p:stCondLst>
                      <p:childTnLst>
                        <p:par>
                          <p:cTn id="454" fill="hold">
                            <p:stCondLst>
                              <p:cond delay="0"/>
                            </p:stCondLst>
                            <p:childTnLst>
                              <p:par>
                                <p:cTn id="4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8" fill="hold">
                      <p:stCondLst>
                        <p:cond delay="indefinite"/>
                      </p:stCondLst>
                      <p:childTnLst>
                        <p:par>
                          <p:cTn id="459" fill="hold">
                            <p:stCondLst>
                              <p:cond delay="0"/>
                            </p:stCondLst>
                            <p:childTnLst>
                              <p:par>
                                <p:cTn id="4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2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3" fill="hold">
                      <p:stCondLst>
                        <p:cond delay="indefinite"/>
                      </p:stCondLst>
                      <p:childTnLst>
                        <p:par>
                          <p:cTn id="464" fill="hold">
                            <p:stCondLst>
                              <p:cond delay="0"/>
                            </p:stCondLst>
                            <p:childTnLst>
                              <p:par>
                                <p:cTn id="4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7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8" fill="hold">
                      <p:stCondLst>
                        <p:cond delay="indefinite"/>
                      </p:stCondLst>
                      <p:childTnLst>
                        <p:par>
                          <p:cTn id="469" fill="hold">
                            <p:stCondLst>
                              <p:cond delay="0"/>
                            </p:stCondLst>
                            <p:childTnLst>
                              <p:par>
                                <p:cTn id="4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2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3" fill="hold">
                      <p:stCondLst>
                        <p:cond delay="indefinite"/>
                      </p:stCondLst>
                      <p:childTnLst>
                        <p:par>
                          <p:cTn id="474" fill="hold">
                            <p:stCondLst>
                              <p:cond delay="0"/>
                            </p:stCondLst>
                            <p:childTnLst>
                              <p:par>
                                <p:cTn id="4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8" fill="hold">
                      <p:stCondLst>
                        <p:cond delay="indefinite"/>
                      </p:stCondLst>
                      <p:childTnLst>
                        <p:par>
                          <p:cTn id="479" fill="hold">
                            <p:stCondLst>
                              <p:cond delay="0"/>
                            </p:stCondLst>
                            <p:childTnLst>
                              <p:par>
                                <p:cTn id="4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2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3" fill="hold">
                      <p:stCondLst>
                        <p:cond delay="indefinite"/>
                      </p:stCondLst>
                      <p:childTnLst>
                        <p:par>
                          <p:cTn id="484" fill="hold">
                            <p:stCondLst>
                              <p:cond delay="0"/>
                            </p:stCondLst>
                            <p:childTnLst>
                              <p:par>
                                <p:cTn id="4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7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8" fill="hold">
                      <p:stCondLst>
                        <p:cond delay="indefinite"/>
                      </p:stCondLst>
                      <p:childTnLst>
                        <p:par>
                          <p:cTn id="489" fill="hold">
                            <p:stCondLst>
                              <p:cond delay="0"/>
                            </p:stCondLst>
                            <p:childTnLst>
                              <p:par>
                                <p:cTn id="4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2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3" fill="hold">
                      <p:stCondLst>
                        <p:cond delay="indefinite"/>
                      </p:stCondLst>
                      <p:childTnLst>
                        <p:par>
                          <p:cTn id="494" fill="hold">
                            <p:stCondLst>
                              <p:cond delay="0"/>
                            </p:stCondLst>
                            <p:childTnLst>
                              <p:par>
                                <p:cTn id="49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8" fill="hold">
                      <p:stCondLst>
                        <p:cond delay="indefinite"/>
                      </p:stCondLst>
                      <p:childTnLst>
                        <p:par>
                          <p:cTn id="499" fill="hold">
                            <p:stCondLst>
                              <p:cond delay="0"/>
                            </p:stCondLst>
                            <p:childTnLst>
                              <p:par>
                                <p:cTn id="5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2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3" fill="hold">
                      <p:stCondLst>
                        <p:cond delay="indefinite"/>
                      </p:stCondLst>
                      <p:childTnLst>
                        <p:par>
                          <p:cTn id="504" fill="hold">
                            <p:stCondLst>
                              <p:cond delay="0"/>
                            </p:stCondLst>
                            <p:childTnLst>
                              <p:par>
                                <p:cTn id="5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7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8" fill="hold">
                      <p:stCondLst>
                        <p:cond delay="indefinite"/>
                      </p:stCondLst>
                      <p:childTnLst>
                        <p:par>
                          <p:cTn id="509" fill="hold">
                            <p:stCondLst>
                              <p:cond delay="0"/>
                            </p:stCondLst>
                            <p:childTnLst>
                              <p:par>
                                <p:cTn id="5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2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3" fill="hold">
                      <p:stCondLst>
                        <p:cond delay="indefinite"/>
                      </p:stCondLst>
                      <p:childTnLst>
                        <p:par>
                          <p:cTn id="514" fill="hold">
                            <p:stCondLst>
                              <p:cond delay="0"/>
                            </p:stCondLst>
                            <p:childTnLst>
                              <p:par>
                                <p:cTn id="5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8" fill="hold">
                      <p:stCondLst>
                        <p:cond delay="indefinite"/>
                      </p:stCondLst>
                      <p:childTnLst>
                        <p:par>
                          <p:cTn id="519" fill="hold">
                            <p:stCondLst>
                              <p:cond delay="0"/>
                            </p:stCondLst>
                            <p:childTnLst>
                              <p:par>
                                <p:cTn id="5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2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3" fill="hold">
                      <p:stCondLst>
                        <p:cond delay="indefinite"/>
                      </p:stCondLst>
                      <p:childTnLst>
                        <p:par>
                          <p:cTn id="524" fill="hold">
                            <p:stCondLst>
                              <p:cond delay="0"/>
                            </p:stCondLst>
                            <p:childTnLst>
                              <p:par>
                                <p:cTn id="5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7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8" fill="hold">
                      <p:stCondLst>
                        <p:cond delay="indefinite"/>
                      </p:stCondLst>
                      <p:childTnLst>
                        <p:par>
                          <p:cTn id="529" fill="hold">
                            <p:stCondLst>
                              <p:cond delay="0"/>
                            </p:stCondLst>
                            <p:childTnLst>
                              <p:par>
                                <p:cTn id="5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2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3" fill="hold">
                      <p:stCondLst>
                        <p:cond delay="indefinite"/>
                      </p:stCondLst>
                      <p:childTnLst>
                        <p:par>
                          <p:cTn id="534" fill="hold">
                            <p:stCondLst>
                              <p:cond delay="0"/>
                            </p:stCondLst>
                            <p:childTnLst>
                              <p:par>
                                <p:cTn id="5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8" fill="hold">
                      <p:stCondLst>
                        <p:cond delay="indefinite"/>
                      </p:stCondLst>
                      <p:childTnLst>
                        <p:par>
                          <p:cTn id="539" fill="hold">
                            <p:stCondLst>
                              <p:cond delay="0"/>
                            </p:stCondLst>
                            <p:childTnLst>
                              <p:par>
                                <p:cTn id="5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2" dur="500"/>
                                        <p:tgtEl>
                                          <p:spTgt spid="2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3" fill="hold">
                      <p:stCondLst>
                        <p:cond delay="indefinite"/>
                      </p:stCondLst>
                      <p:childTnLst>
                        <p:par>
                          <p:cTn id="544" fill="hold">
                            <p:stCondLst>
                              <p:cond delay="0"/>
                            </p:stCondLst>
                            <p:childTnLst>
                              <p:par>
                                <p:cTn id="5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7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8" fill="hold">
                      <p:stCondLst>
                        <p:cond delay="indefinite"/>
                      </p:stCondLst>
                      <p:childTnLst>
                        <p:par>
                          <p:cTn id="549" fill="hold">
                            <p:stCondLst>
                              <p:cond delay="0"/>
                            </p:stCondLst>
                            <p:childTnLst>
                              <p:par>
                                <p:cTn id="5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2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3" fill="hold">
                      <p:stCondLst>
                        <p:cond delay="indefinite"/>
                      </p:stCondLst>
                      <p:childTnLst>
                        <p:par>
                          <p:cTn id="554" fill="hold">
                            <p:stCondLst>
                              <p:cond delay="0"/>
                            </p:stCondLst>
                            <p:childTnLst>
                              <p:par>
                                <p:cTn id="5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8" fill="hold">
                      <p:stCondLst>
                        <p:cond delay="indefinite"/>
                      </p:stCondLst>
                      <p:childTnLst>
                        <p:par>
                          <p:cTn id="559" fill="hold">
                            <p:stCondLst>
                              <p:cond delay="0"/>
                            </p:stCondLst>
                            <p:childTnLst>
                              <p:par>
                                <p:cTn id="5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2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3" fill="hold">
                      <p:stCondLst>
                        <p:cond delay="indefinite"/>
                      </p:stCondLst>
                      <p:childTnLst>
                        <p:par>
                          <p:cTn id="564" fill="hold">
                            <p:stCondLst>
                              <p:cond delay="0"/>
                            </p:stCondLst>
                            <p:childTnLst>
                              <p:par>
                                <p:cTn id="5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7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8" fill="hold">
                      <p:stCondLst>
                        <p:cond delay="indefinite"/>
                      </p:stCondLst>
                      <p:childTnLst>
                        <p:par>
                          <p:cTn id="569" fill="hold">
                            <p:stCondLst>
                              <p:cond delay="0"/>
                            </p:stCondLst>
                            <p:childTnLst>
                              <p:par>
                                <p:cTn id="5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2" dur="500"/>
                                        <p:tgtEl>
                                          <p:spTgt spid="2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3" fill="hold">
                      <p:stCondLst>
                        <p:cond delay="indefinite"/>
                      </p:stCondLst>
                      <p:childTnLst>
                        <p:par>
                          <p:cTn id="574" fill="hold">
                            <p:stCondLst>
                              <p:cond delay="0"/>
                            </p:stCondLst>
                            <p:childTnLst>
                              <p:par>
                                <p:cTn id="5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8" fill="hold">
                      <p:stCondLst>
                        <p:cond delay="indefinite"/>
                      </p:stCondLst>
                      <p:childTnLst>
                        <p:par>
                          <p:cTn id="579" fill="hold">
                            <p:stCondLst>
                              <p:cond delay="0"/>
                            </p:stCondLst>
                            <p:childTnLst>
                              <p:par>
                                <p:cTn id="5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2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3" fill="hold">
                      <p:stCondLst>
                        <p:cond delay="indefinite"/>
                      </p:stCondLst>
                      <p:childTnLst>
                        <p:par>
                          <p:cTn id="584" fill="hold">
                            <p:stCondLst>
                              <p:cond delay="0"/>
                            </p:stCondLst>
                            <p:childTnLst>
                              <p:par>
                                <p:cTn id="5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7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8" fill="hold">
                      <p:stCondLst>
                        <p:cond delay="indefinite"/>
                      </p:stCondLst>
                      <p:childTnLst>
                        <p:par>
                          <p:cTn id="589" fill="hold">
                            <p:stCondLst>
                              <p:cond delay="0"/>
                            </p:stCondLst>
                            <p:childTnLst>
                              <p:par>
                                <p:cTn id="5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2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3" fill="hold">
                      <p:stCondLst>
                        <p:cond delay="indefinite"/>
                      </p:stCondLst>
                      <p:childTnLst>
                        <p:par>
                          <p:cTn id="594" fill="hold">
                            <p:stCondLst>
                              <p:cond delay="0"/>
                            </p:stCondLst>
                            <p:childTnLst>
                              <p:par>
                                <p:cTn id="59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7" dur="500"/>
                                        <p:tgtEl>
                                          <p:spTgt spid="2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8" fill="hold">
                      <p:stCondLst>
                        <p:cond delay="indefinite"/>
                      </p:stCondLst>
                      <p:childTnLst>
                        <p:par>
                          <p:cTn id="599" fill="hold">
                            <p:stCondLst>
                              <p:cond delay="0"/>
                            </p:stCondLst>
                            <p:childTnLst>
                              <p:par>
                                <p:cTn id="6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2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3" fill="hold">
                      <p:stCondLst>
                        <p:cond delay="indefinite"/>
                      </p:stCondLst>
                      <p:childTnLst>
                        <p:par>
                          <p:cTn id="604" fill="hold">
                            <p:stCondLst>
                              <p:cond delay="0"/>
                            </p:stCondLst>
                            <p:childTnLst>
                              <p:par>
                                <p:cTn id="6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7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8" fill="hold">
                      <p:stCondLst>
                        <p:cond delay="indefinite"/>
                      </p:stCondLst>
                      <p:childTnLst>
                        <p:par>
                          <p:cTn id="609" fill="hold">
                            <p:stCondLst>
                              <p:cond delay="0"/>
                            </p:stCondLst>
                            <p:childTnLst>
                              <p:par>
                                <p:cTn id="6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2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3" fill="hold">
                      <p:stCondLst>
                        <p:cond delay="indefinite"/>
                      </p:stCondLst>
                      <p:childTnLst>
                        <p:par>
                          <p:cTn id="614" fill="hold">
                            <p:stCondLst>
                              <p:cond delay="0"/>
                            </p:stCondLst>
                            <p:childTnLst>
                              <p:par>
                                <p:cTn id="6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7" dur="500"/>
                                        <p:tgtEl>
                                          <p:spTgt spid="2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8" fill="hold">
                      <p:stCondLst>
                        <p:cond delay="indefinite"/>
                      </p:stCondLst>
                      <p:childTnLst>
                        <p:par>
                          <p:cTn id="619" fill="hold">
                            <p:stCondLst>
                              <p:cond delay="0"/>
                            </p:stCondLst>
                            <p:childTnLst>
                              <p:par>
                                <p:cTn id="6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2" dur="500"/>
                                        <p:tgtEl>
                                          <p:spTgt spid="2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3" fill="hold">
                      <p:stCondLst>
                        <p:cond delay="indefinite"/>
                      </p:stCondLst>
                      <p:childTnLst>
                        <p:par>
                          <p:cTn id="624" fill="hold">
                            <p:stCondLst>
                              <p:cond delay="0"/>
                            </p:stCondLst>
                            <p:childTnLst>
                              <p:par>
                                <p:cTn id="6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7" dur="500"/>
                                        <p:tgtEl>
                                          <p:spTgt spid="2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8" fill="hold">
                      <p:stCondLst>
                        <p:cond delay="indefinite"/>
                      </p:stCondLst>
                      <p:childTnLst>
                        <p:par>
                          <p:cTn id="629" fill="hold">
                            <p:stCondLst>
                              <p:cond delay="0"/>
                            </p:stCondLst>
                            <p:childTnLst>
                              <p:par>
                                <p:cTn id="6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2" dur="500"/>
                                        <p:tgtEl>
                                          <p:spTgt spid="2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3" fill="hold">
                      <p:stCondLst>
                        <p:cond delay="indefinite"/>
                      </p:stCondLst>
                      <p:childTnLst>
                        <p:par>
                          <p:cTn id="634" fill="hold">
                            <p:stCondLst>
                              <p:cond delay="0"/>
                            </p:stCondLst>
                            <p:childTnLst>
                              <p:par>
                                <p:cTn id="6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7" dur="500"/>
                                        <p:tgtEl>
                                          <p:spTgt spid="2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8" fill="hold">
                      <p:stCondLst>
                        <p:cond delay="indefinite"/>
                      </p:stCondLst>
                      <p:childTnLst>
                        <p:par>
                          <p:cTn id="639" fill="hold">
                            <p:stCondLst>
                              <p:cond delay="0"/>
                            </p:stCondLst>
                            <p:childTnLst>
                              <p:par>
                                <p:cTn id="6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2" dur="500"/>
                                        <p:tgtEl>
                                          <p:spTgt spid="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3" fill="hold">
                      <p:stCondLst>
                        <p:cond delay="indefinite"/>
                      </p:stCondLst>
                      <p:childTnLst>
                        <p:par>
                          <p:cTn id="644" fill="hold">
                            <p:stCondLst>
                              <p:cond delay="0"/>
                            </p:stCondLst>
                            <p:childTnLst>
                              <p:par>
                                <p:cTn id="6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7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8" fill="hold">
                      <p:stCondLst>
                        <p:cond delay="indefinite"/>
                      </p:stCondLst>
                      <p:childTnLst>
                        <p:par>
                          <p:cTn id="649" fill="hold">
                            <p:stCondLst>
                              <p:cond delay="0"/>
                            </p:stCondLst>
                            <p:childTnLst>
                              <p:par>
                                <p:cTn id="6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2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3" fill="hold">
                      <p:stCondLst>
                        <p:cond delay="indefinite"/>
                      </p:stCondLst>
                      <p:childTnLst>
                        <p:par>
                          <p:cTn id="654" fill="hold">
                            <p:stCondLst>
                              <p:cond delay="0"/>
                            </p:stCondLst>
                            <p:childTnLst>
                              <p:par>
                                <p:cTn id="6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7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8" fill="hold">
                      <p:stCondLst>
                        <p:cond delay="indefinite"/>
                      </p:stCondLst>
                      <p:childTnLst>
                        <p:par>
                          <p:cTn id="659" fill="hold">
                            <p:stCondLst>
                              <p:cond delay="0"/>
                            </p:stCondLst>
                            <p:childTnLst>
                              <p:par>
                                <p:cTn id="6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2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3" fill="hold">
                      <p:stCondLst>
                        <p:cond delay="indefinite"/>
                      </p:stCondLst>
                      <p:childTnLst>
                        <p:par>
                          <p:cTn id="664" fill="hold">
                            <p:stCondLst>
                              <p:cond delay="0"/>
                            </p:stCondLst>
                            <p:childTnLst>
                              <p:par>
                                <p:cTn id="6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7" dur="500"/>
                                        <p:tgtEl>
                                          <p:spTgt spid="2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8" fill="hold">
                      <p:stCondLst>
                        <p:cond delay="indefinite"/>
                      </p:stCondLst>
                      <p:childTnLst>
                        <p:par>
                          <p:cTn id="669" fill="hold">
                            <p:stCondLst>
                              <p:cond delay="0"/>
                            </p:stCondLst>
                            <p:childTnLst>
                              <p:par>
                                <p:cTn id="6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2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3" fill="hold">
                      <p:stCondLst>
                        <p:cond delay="indefinite"/>
                      </p:stCondLst>
                      <p:childTnLst>
                        <p:par>
                          <p:cTn id="674" fill="hold">
                            <p:stCondLst>
                              <p:cond delay="0"/>
                            </p:stCondLst>
                            <p:childTnLst>
                              <p:par>
                                <p:cTn id="6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7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8" fill="hold">
                      <p:stCondLst>
                        <p:cond delay="indefinite"/>
                      </p:stCondLst>
                      <p:childTnLst>
                        <p:par>
                          <p:cTn id="679" fill="hold">
                            <p:stCondLst>
                              <p:cond delay="0"/>
                            </p:stCondLst>
                            <p:childTnLst>
                              <p:par>
                                <p:cTn id="6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2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3" fill="hold">
                      <p:stCondLst>
                        <p:cond delay="indefinite"/>
                      </p:stCondLst>
                      <p:childTnLst>
                        <p:par>
                          <p:cTn id="684" fill="hold">
                            <p:stCondLst>
                              <p:cond delay="0"/>
                            </p:stCondLst>
                            <p:childTnLst>
                              <p:par>
                                <p:cTn id="68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7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8" fill="hold">
                      <p:stCondLst>
                        <p:cond delay="indefinite"/>
                      </p:stCondLst>
                      <p:childTnLst>
                        <p:par>
                          <p:cTn id="689" fill="hold">
                            <p:stCondLst>
                              <p:cond delay="0"/>
                            </p:stCondLst>
                            <p:childTnLst>
                              <p:par>
                                <p:cTn id="69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2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3" fill="hold">
                      <p:stCondLst>
                        <p:cond delay="indefinite"/>
                      </p:stCondLst>
                      <p:childTnLst>
                        <p:par>
                          <p:cTn id="694" fill="hold">
                            <p:stCondLst>
                              <p:cond delay="0"/>
                            </p:stCondLst>
                            <p:childTnLst>
                              <p:par>
                                <p:cTn id="69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7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8" fill="hold">
                      <p:stCondLst>
                        <p:cond delay="indefinite"/>
                      </p:stCondLst>
                      <p:childTnLst>
                        <p:par>
                          <p:cTn id="699" fill="hold">
                            <p:stCondLst>
                              <p:cond delay="0"/>
                            </p:stCondLst>
                            <p:childTnLst>
                              <p:par>
                                <p:cTn id="7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2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3" fill="hold">
                      <p:stCondLst>
                        <p:cond delay="indefinite"/>
                      </p:stCondLst>
                      <p:childTnLst>
                        <p:par>
                          <p:cTn id="704" fill="hold">
                            <p:stCondLst>
                              <p:cond delay="0"/>
                            </p:stCondLst>
                            <p:childTnLst>
                              <p:par>
                                <p:cTn id="7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7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8" fill="hold">
                      <p:stCondLst>
                        <p:cond delay="indefinite"/>
                      </p:stCondLst>
                      <p:childTnLst>
                        <p:par>
                          <p:cTn id="709" fill="hold">
                            <p:stCondLst>
                              <p:cond delay="0"/>
                            </p:stCondLst>
                            <p:childTnLst>
                              <p:par>
                                <p:cTn id="7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2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3" fill="hold">
                      <p:stCondLst>
                        <p:cond delay="indefinite"/>
                      </p:stCondLst>
                      <p:childTnLst>
                        <p:par>
                          <p:cTn id="714" fill="hold">
                            <p:stCondLst>
                              <p:cond delay="0"/>
                            </p:stCondLst>
                            <p:childTnLst>
                              <p:par>
                                <p:cTn id="7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7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8" fill="hold">
                      <p:stCondLst>
                        <p:cond delay="indefinite"/>
                      </p:stCondLst>
                      <p:childTnLst>
                        <p:par>
                          <p:cTn id="719" fill="hold">
                            <p:stCondLst>
                              <p:cond delay="0"/>
                            </p:stCondLst>
                            <p:childTnLst>
                              <p:par>
                                <p:cTn id="7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2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3" fill="hold">
                      <p:stCondLst>
                        <p:cond delay="indefinite"/>
                      </p:stCondLst>
                      <p:childTnLst>
                        <p:par>
                          <p:cTn id="724" fill="hold">
                            <p:stCondLst>
                              <p:cond delay="0"/>
                            </p:stCondLst>
                            <p:childTnLst>
                              <p:par>
                                <p:cTn id="7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7" dur="500"/>
                                        <p:tgtEl>
                                          <p:spTgt spid="2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8" fill="hold">
                      <p:stCondLst>
                        <p:cond delay="indefinite"/>
                      </p:stCondLst>
                      <p:childTnLst>
                        <p:par>
                          <p:cTn id="729" fill="hold">
                            <p:stCondLst>
                              <p:cond delay="0"/>
                            </p:stCondLst>
                            <p:childTnLst>
                              <p:par>
                                <p:cTn id="7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2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3" fill="hold">
                      <p:stCondLst>
                        <p:cond delay="indefinite"/>
                      </p:stCondLst>
                      <p:childTnLst>
                        <p:par>
                          <p:cTn id="734" fill="hold">
                            <p:stCondLst>
                              <p:cond delay="0"/>
                            </p:stCondLst>
                            <p:childTnLst>
                              <p:par>
                                <p:cTn id="7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7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8" fill="hold">
                      <p:stCondLst>
                        <p:cond delay="indefinite"/>
                      </p:stCondLst>
                      <p:childTnLst>
                        <p:par>
                          <p:cTn id="739" fill="hold">
                            <p:stCondLst>
                              <p:cond delay="0"/>
                            </p:stCondLst>
                            <p:childTnLst>
                              <p:par>
                                <p:cTn id="7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2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3" fill="hold">
                      <p:stCondLst>
                        <p:cond delay="indefinite"/>
                      </p:stCondLst>
                      <p:childTnLst>
                        <p:par>
                          <p:cTn id="744" fill="hold">
                            <p:stCondLst>
                              <p:cond delay="0"/>
                            </p:stCondLst>
                            <p:childTnLst>
                              <p:par>
                                <p:cTn id="7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7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8" fill="hold">
                      <p:stCondLst>
                        <p:cond delay="indefinite"/>
                      </p:stCondLst>
                      <p:childTnLst>
                        <p:par>
                          <p:cTn id="749" fill="hold">
                            <p:stCondLst>
                              <p:cond delay="0"/>
                            </p:stCondLst>
                            <p:childTnLst>
                              <p:par>
                                <p:cTn id="75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2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3" fill="hold">
                      <p:stCondLst>
                        <p:cond delay="indefinite"/>
                      </p:stCondLst>
                      <p:childTnLst>
                        <p:par>
                          <p:cTn id="754" fill="hold">
                            <p:stCondLst>
                              <p:cond delay="0"/>
                            </p:stCondLst>
                            <p:childTnLst>
                              <p:par>
                                <p:cTn id="7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7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8" fill="hold">
                      <p:stCondLst>
                        <p:cond delay="indefinite"/>
                      </p:stCondLst>
                      <p:childTnLst>
                        <p:par>
                          <p:cTn id="759" fill="hold">
                            <p:stCondLst>
                              <p:cond delay="0"/>
                            </p:stCondLst>
                            <p:childTnLst>
                              <p:par>
                                <p:cTn id="7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2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3" fill="hold">
                      <p:stCondLst>
                        <p:cond delay="indefinite"/>
                      </p:stCondLst>
                      <p:childTnLst>
                        <p:par>
                          <p:cTn id="764" fill="hold">
                            <p:stCondLst>
                              <p:cond delay="0"/>
                            </p:stCondLst>
                            <p:childTnLst>
                              <p:par>
                                <p:cTn id="76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8" fill="hold">
                      <p:stCondLst>
                        <p:cond delay="indefinite"/>
                      </p:stCondLst>
                      <p:childTnLst>
                        <p:par>
                          <p:cTn id="769" fill="hold">
                            <p:stCondLst>
                              <p:cond delay="0"/>
                            </p:stCondLst>
                            <p:childTnLst>
                              <p:par>
                                <p:cTn id="7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2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3" fill="hold">
                      <p:stCondLst>
                        <p:cond delay="indefinite"/>
                      </p:stCondLst>
                      <p:childTnLst>
                        <p:par>
                          <p:cTn id="774" fill="hold">
                            <p:stCondLst>
                              <p:cond delay="0"/>
                            </p:stCondLst>
                            <p:childTnLst>
                              <p:par>
                                <p:cTn id="7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7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8" fill="hold">
                      <p:stCondLst>
                        <p:cond delay="indefinite"/>
                      </p:stCondLst>
                      <p:childTnLst>
                        <p:par>
                          <p:cTn id="779" fill="hold">
                            <p:stCondLst>
                              <p:cond delay="0"/>
                            </p:stCondLst>
                            <p:childTnLst>
                              <p:par>
                                <p:cTn id="7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2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57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9" grpId="0" animBg="1"/>
      <p:bldP spid="30" grpId="0" animBg="1"/>
      <p:bldP spid="31" grpId="0" animBg="1"/>
      <p:bldP spid="32" grpId="0" animBg="1"/>
      <p:bldP spid="58" grpId="0" animBg="1"/>
      <p:bldP spid="2128" grpId="0"/>
      <p:bldP spid="2165" grpId="0"/>
      <p:bldP spid="142" grpId="0"/>
      <p:bldP spid="143" grpId="0"/>
      <p:bldP spid="144" grpId="0"/>
      <p:bldP spid="146" grpId="0" animBg="1"/>
      <p:bldP spid="145" grpId="0" animBg="1"/>
      <p:bldP spid="148" grpId="0"/>
      <p:bldP spid="148" grpId="1"/>
      <p:bldP spid="149" grpId="0" animBg="1"/>
      <p:bldP spid="149" grpId="1" animBg="1"/>
      <p:bldP spid="150" grpId="0"/>
      <p:bldP spid="151" grpId="0"/>
      <p:bldP spid="152" grpId="0" animBg="1"/>
      <p:bldP spid="153" grpId="0"/>
      <p:bldP spid="2199" grpId="0"/>
      <p:bldP spid="155" grpId="0"/>
      <p:bldP spid="154" grpId="0" animBg="1"/>
      <p:bldP spid="156" grpId="0"/>
      <p:bldP spid="157" grpId="0"/>
      <p:bldP spid="158" grpId="0" animBg="1"/>
      <p:bldP spid="159" grpId="0"/>
      <p:bldP spid="160" grpId="0"/>
      <p:bldP spid="161" grpId="0" animBg="1"/>
      <p:bldP spid="162" grpId="0"/>
      <p:bldP spid="163" grpId="0"/>
      <p:bldP spid="164" grpId="0" animBg="1"/>
      <p:bldP spid="165" grpId="0"/>
      <p:bldP spid="166" grpId="0"/>
      <p:bldP spid="168" grpId="0"/>
      <p:bldP spid="169" grpId="0"/>
      <p:bldP spid="170" grpId="0" animBg="1"/>
      <p:bldP spid="171" grpId="0"/>
      <p:bldP spid="172" grpId="0"/>
      <p:bldP spid="173" grpId="0" animBg="1"/>
      <p:bldP spid="174" grpId="0"/>
      <p:bldP spid="175" grpId="0"/>
      <p:bldP spid="177" grpId="0"/>
      <p:bldP spid="178" grpId="0"/>
      <p:bldP spid="179" grpId="0" animBg="1"/>
      <p:bldP spid="180" grpId="0"/>
      <p:bldP spid="181" grpId="0"/>
      <p:bldP spid="182" grpId="0" animBg="1"/>
      <p:bldP spid="184" grpId="0"/>
      <p:bldP spid="185" grpId="0" animBg="1"/>
      <p:bldP spid="186" grpId="0"/>
      <p:bldP spid="187" grpId="0"/>
      <p:bldP spid="2233" grpId="0"/>
      <p:bldP spid="189" grpId="0"/>
      <p:bldP spid="190" grpId="0" animBg="1"/>
      <p:bldP spid="191" grpId="0" animBg="1"/>
      <p:bldP spid="192" grpId="0"/>
      <p:bldP spid="193" grpId="0"/>
      <p:bldP spid="194" grpId="0" animBg="1"/>
      <p:bldP spid="195" grpId="0"/>
      <p:bldP spid="196" grpId="0" animBg="1"/>
      <p:bldP spid="197" grpId="0"/>
      <p:bldP spid="198" grpId="0"/>
      <p:bldP spid="199" grpId="0"/>
      <p:bldP spid="200" grpId="0" animBg="1"/>
      <p:bldP spid="201" grpId="0"/>
      <p:bldP spid="202" grpId="0"/>
      <p:bldP spid="203" grpId="0" animBg="1"/>
      <p:bldP spid="204" grpId="0"/>
      <p:bldP spid="205" grpId="0"/>
      <p:bldP spid="206" grpId="0" animBg="1"/>
      <p:bldP spid="207" grpId="0"/>
      <p:bldP spid="208" grpId="0"/>
      <p:bldP spid="209" grpId="0" animBg="1"/>
      <p:bldP spid="210" grpId="0" animBg="1"/>
      <p:bldP spid="211" grpId="0"/>
      <p:bldP spid="212" grpId="0"/>
      <p:bldP spid="213" grpId="0"/>
      <p:bldP spid="214" grpId="0"/>
      <p:bldP spid="215" grpId="0" animBg="1"/>
      <p:bldP spid="216" grpId="0"/>
      <p:bldP spid="217" grpId="0"/>
      <p:bldP spid="218" grpId="0" animBg="1"/>
      <p:bldP spid="219" grpId="0"/>
      <p:bldP spid="2265" grpId="0"/>
      <p:bldP spid="220" grpId="0"/>
      <p:bldP spid="221" grpId="0"/>
      <p:bldP spid="222" grpId="0" animBg="1"/>
      <p:bldP spid="229" grpId="0"/>
      <p:bldP spid="230" grpId="0" animBg="1"/>
      <p:bldP spid="232" grpId="0"/>
      <p:bldP spid="233" grpId="0" animBg="1"/>
      <p:bldP spid="234" grpId="0" animBg="1"/>
      <p:bldP spid="235" grpId="0"/>
      <p:bldP spid="238" grpId="0" animBg="1"/>
      <p:bldP spid="239" grpId="0" animBg="1"/>
      <p:bldP spid="240" grpId="0"/>
      <p:bldP spid="241" grpId="0"/>
      <p:bldP spid="242" grpId="0"/>
      <p:bldP spid="243" grpId="0"/>
      <p:bldP spid="244" grpId="0"/>
      <p:bldP spid="245" grpId="0"/>
      <p:bldP spid="247" grpId="0" animBg="1"/>
      <p:bldP spid="248" grpId="0" animBg="1"/>
      <p:bldP spid="249" grpId="0" animBg="1"/>
      <p:bldP spid="250" grpId="0" animBg="1"/>
      <p:bldP spid="251" grpId="0" animBg="1"/>
      <p:bldP spid="252" grpId="0" animBg="1"/>
      <p:bldP spid="253" grpId="0" animBg="1"/>
      <p:bldP spid="254" grpId="0" animBg="1"/>
      <p:bldP spid="255" grpId="0" animBg="1"/>
      <p:bldP spid="256" grpId="0" animBg="1"/>
      <p:bldP spid="258" grpId="0" animBg="1"/>
      <p:bldP spid="259" grpId="0" animBg="1"/>
      <p:bldP spid="260" grpId="0" animBg="1"/>
      <p:bldP spid="261" grpId="0" animBg="1"/>
      <p:bldP spid="262" grpId="0" animBg="1"/>
      <p:bldP spid="263" grpId="0" animBg="1"/>
      <p:bldP spid="264" grpId="0" animBg="1"/>
      <p:bldP spid="236" grpId="0"/>
      <p:bldP spid="265" grpId="0" animBg="1"/>
      <p:bldP spid="266" grpId="0" animBg="1"/>
      <p:bldP spid="231" grpId="0"/>
      <p:bldP spid="176" grpId="0" animBg="1"/>
      <p:bldP spid="167" grpId="0"/>
      <p:bldP spid="183" grpId="0"/>
      <p:bldP spid="188" grpId="0"/>
      <p:bldP spid="22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76205"/>
            <a:ext cx="7772400" cy="1771651"/>
          </a:xfrm>
        </p:spPr>
        <p:txBody>
          <a:bodyPr>
            <a:noAutofit/>
          </a:bodyPr>
          <a:lstStyle/>
          <a:p>
            <a:r>
              <a:rPr lang="en-US" dirty="0" err="1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విషయావగాహన</a:t>
            </a:r>
            <a:r>
              <a:rPr lang="en-US" dirty="0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పెంపొందించడానికి</a:t>
            </a:r>
            <a:r>
              <a:rPr lang="en-US" dirty="0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చేయవలసిన</a:t>
            </a:r>
            <a:r>
              <a:rPr lang="en-US" dirty="0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006600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పనులు</a:t>
            </a:r>
            <a:endParaRPr lang="en-US" dirty="0">
              <a:solidFill>
                <a:srgbClr val="006600"/>
              </a:soli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85800" y="1676400"/>
            <a:ext cx="7924800" cy="495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ాఠంలోని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ాఠ్యాంతర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శ్నలన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జట్లలో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ర్చించటం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ాఠాన్ని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దివి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ర్థమైన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ంశాలన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ొంత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మాటల్లో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ెప్పించటం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ిత్రాలన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రిశీలింపచేసి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ర్చించటం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కీలక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దాల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,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భావనలపై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ర్చించటం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ివిధ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కార్యాలయాల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ందర్శించటం</a:t>
            </a: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rgbClr val="FF00FF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ాజెక్ట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నుల్లో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తయారుచేసిన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నివేదికన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దర్శించటం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–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ారిని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ోత్సహించడం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జట్ట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నుల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జరిగేటప్పుడ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ఉపాధ్యాయుడు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వసరమైన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జట్టులో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భ్యుడుగా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ఉండాలి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" dur="1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" dur="1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" dur="1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42" dur="1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/>
        </p:nvSpPr>
        <p:spPr>
          <a:xfrm>
            <a:off x="1779589" y="2218269"/>
            <a:ext cx="1909762" cy="1964267"/>
          </a:xfrm>
          <a:custGeom>
            <a:avLst/>
            <a:gdLst>
              <a:gd name="connsiteX0" fmla="*/ 1321522 w 1909918"/>
              <a:gd name="connsiteY0" fmla="*/ 215413 h 1964700"/>
              <a:gd name="connsiteX1" fmla="*/ 1273814 w 1909918"/>
              <a:gd name="connsiteY1" fmla="*/ 199511 h 1964700"/>
              <a:gd name="connsiteX2" fmla="*/ 1226106 w 1909918"/>
              <a:gd name="connsiteY2" fmla="*/ 175657 h 1964700"/>
              <a:gd name="connsiteX3" fmla="*/ 1218155 w 1909918"/>
              <a:gd name="connsiteY3" fmla="*/ 151803 h 1964700"/>
              <a:gd name="connsiteX4" fmla="*/ 1194301 w 1909918"/>
              <a:gd name="connsiteY4" fmla="*/ 143851 h 1964700"/>
              <a:gd name="connsiteX5" fmla="*/ 1082983 w 1909918"/>
              <a:gd name="connsiteY5" fmla="*/ 135900 h 1964700"/>
              <a:gd name="connsiteX6" fmla="*/ 1051177 w 1909918"/>
              <a:gd name="connsiteY6" fmla="*/ 127949 h 1964700"/>
              <a:gd name="connsiteX7" fmla="*/ 1027323 w 1909918"/>
              <a:gd name="connsiteY7" fmla="*/ 119997 h 1964700"/>
              <a:gd name="connsiteX8" fmla="*/ 947810 w 1909918"/>
              <a:gd name="connsiteY8" fmla="*/ 112046 h 1964700"/>
              <a:gd name="connsiteX9" fmla="*/ 923956 w 1909918"/>
              <a:gd name="connsiteY9" fmla="*/ 104095 h 1964700"/>
              <a:gd name="connsiteX10" fmla="*/ 860346 w 1909918"/>
              <a:gd name="connsiteY10" fmla="*/ 119997 h 1964700"/>
              <a:gd name="connsiteX11" fmla="*/ 804687 w 1909918"/>
              <a:gd name="connsiteY11" fmla="*/ 96144 h 1964700"/>
              <a:gd name="connsiteX12" fmla="*/ 796736 w 1909918"/>
              <a:gd name="connsiteY12" fmla="*/ 72290 h 1964700"/>
              <a:gd name="connsiteX13" fmla="*/ 772882 w 1909918"/>
              <a:gd name="connsiteY13" fmla="*/ 64338 h 1964700"/>
              <a:gd name="connsiteX14" fmla="*/ 685417 w 1909918"/>
              <a:gd name="connsiteY14" fmla="*/ 48436 h 1964700"/>
              <a:gd name="connsiteX15" fmla="*/ 661563 w 1909918"/>
              <a:gd name="connsiteY15" fmla="*/ 32533 h 1964700"/>
              <a:gd name="connsiteX16" fmla="*/ 653612 w 1909918"/>
              <a:gd name="connsiteY16" fmla="*/ 8679 h 1964700"/>
              <a:gd name="connsiteX17" fmla="*/ 590002 w 1909918"/>
              <a:gd name="connsiteY17" fmla="*/ 728 h 1964700"/>
              <a:gd name="connsiteX18" fmla="*/ 534343 w 1909918"/>
              <a:gd name="connsiteY18" fmla="*/ 8679 h 1964700"/>
              <a:gd name="connsiteX19" fmla="*/ 486635 w 1909918"/>
              <a:gd name="connsiteY19" fmla="*/ 40484 h 1964700"/>
              <a:gd name="connsiteX20" fmla="*/ 430976 w 1909918"/>
              <a:gd name="connsiteY20" fmla="*/ 64338 h 1964700"/>
              <a:gd name="connsiteX21" fmla="*/ 375316 w 1909918"/>
              <a:gd name="connsiteY21" fmla="*/ 119997 h 1964700"/>
              <a:gd name="connsiteX22" fmla="*/ 335560 w 1909918"/>
              <a:gd name="connsiteY22" fmla="*/ 159754 h 1964700"/>
              <a:gd name="connsiteX23" fmla="*/ 311706 w 1909918"/>
              <a:gd name="connsiteY23" fmla="*/ 207462 h 1964700"/>
              <a:gd name="connsiteX24" fmla="*/ 263998 w 1909918"/>
              <a:gd name="connsiteY24" fmla="*/ 231316 h 1964700"/>
              <a:gd name="connsiteX25" fmla="*/ 256047 w 1909918"/>
              <a:gd name="connsiteY25" fmla="*/ 255170 h 1964700"/>
              <a:gd name="connsiteX26" fmla="*/ 216290 w 1909918"/>
              <a:gd name="connsiteY26" fmla="*/ 294926 h 1964700"/>
              <a:gd name="connsiteX27" fmla="*/ 168583 w 1909918"/>
              <a:gd name="connsiteY27" fmla="*/ 310829 h 1964700"/>
              <a:gd name="connsiteX28" fmla="*/ 144729 w 1909918"/>
              <a:gd name="connsiteY28" fmla="*/ 318780 h 1964700"/>
              <a:gd name="connsiteX29" fmla="*/ 120875 w 1909918"/>
              <a:gd name="connsiteY29" fmla="*/ 366488 h 1964700"/>
              <a:gd name="connsiteX30" fmla="*/ 128826 w 1909918"/>
              <a:gd name="connsiteY30" fmla="*/ 398293 h 1964700"/>
              <a:gd name="connsiteX31" fmla="*/ 176534 w 1909918"/>
              <a:gd name="connsiteY31" fmla="*/ 430098 h 1964700"/>
              <a:gd name="connsiteX32" fmla="*/ 200388 w 1909918"/>
              <a:gd name="connsiteY32" fmla="*/ 446001 h 1964700"/>
              <a:gd name="connsiteX33" fmla="*/ 232193 w 1909918"/>
              <a:gd name="connsiteY33" fmla="*/ 493709 h 1964700"/>
              <a:gd name="connsiteX34" fmla="*/ 240144 w 1909918"/>
              <a:gd name="connsiteY34" fmla="*/ 517563 h 1964700"/>
              <a:gd name="connsiteX35" fmla="*/ 287852 w 1909918"/>
              <a:gd name="connsiteY35" fmla="*/ 533465 h 1964700"/>
              <a:gd name="connsiteX36" fmla="*/ 311706 w 1909918"/>
              <a:gd name="connsiteY36" fmla="*/ 541417 h 1964700"/>
              <a:gd name="connsiteX37" fmla="*/ 335560 w 1909918"/>
              <a:gd name="connsiteY37" fmla="*/ 565271 h 1964700"/>
              <a:gd name="connsiteX38" fmla="*/ 359414 w 1909918"/>
              <a:gd name="connsiteY38" fmla="*/ 581173 h 1964700"/>
              <a:gd name="connsiteX39" fmla="*/ 351463 w 1909918"/>
              <a:gd name="connsiteY39" fmla="*/ 605027 h 1964700"/>
              <a:gd name="connsiteX40" fmla="*/ 351463 w 1909918"/>
              <a:gd name="connsiteY40" fmla="*/ 660686 h 1964700"/>
              <a:gd name="connsiteX41" fmla="*/ 303755 w 1909918"/>
              <a:gd name="connsiteY41" fmla="*/ 676589 h 1964700"/>
              <a:gd name="connsiteX42" fmla="*/ 263998 w 1909918"/>
              <a:gd name="connsiteY42" fmla="*/ 668637 h 1964700"/>
              <a:gd name="connsiteX43" fmla="*/ 256047 w 1909918"/>
              <a:gd name="connsiteY43" fmla="*/ 644784 h 1964700"/>
              <a:gd name="connsiteX44" fmla="*/ 160631 w 1909918"/>
              <a:gd name="connsiteY44" fmla="*/ 652735 h 1964700"/>
              <a:gd name="connsiteX45" fmla="*/ 144729 w 1909918"/>
              <a:gd name="connsiteY45" fmla="*/ 684540 h 1964700"/>
              <a:gd name="connsiteX46" fmla="*/ 120875 w 1909918"/>
              <a:gd name="connsiteY46" fmla="*/ 692491 h 1964700"/>
              <a:gd name="connsiteX47" fmla="*/ 112923 w 1909918"/>
              <a:gd name="connsiteY47" fmla="*/ 716345 h 1964700"/>
              <a:gd name="connsiteX48" fmla="*/ 89070 w 1909918"/>
              <a:gd name="connsiteY48" fmla="*/ 732248 h 1964700"/>
              <a:gd name="connsiteX49" fmla="*/ 73167 w 1909918"/>
              <a:gd name="connsiteY49" fmla="*/ 756102 h 1964700"/>
              <a:gd name="connsiteX50" fmla="*/ 97021 w 1909918"/>
              <a:gd name="connsiteY50" fmla="*/ 819712 h 1964700"/>
              <a:gd name="connsiteX51" fmla="*/ 144729 w 1909918"/>
              <a:gd name="connsiteY51" fmla="*/ 875371 h 1964700"/>
              <a:gd name="connsiteX52" fmla="*/ 303755 w 1909918"/>
              <a:gd name="connsiteY52" fmla="*/ 859469 h 1964700"/>
              <a:gd name="connsiteX53" fmla="*/ 351463 w 1909918"/>
              <a:gd name="connsiteY53" fmla="*/ 843566 h 1964700"/>
              <a:gd name="connsiteX54" fmla="*/ 399170 w 1909918"/>
              <a:gd name="connsiteY54" fmla="*/ 851517 h 1964700"/>
              <a:gd name="connsiteX55" fmla="*/ 391219 w 1909918"/>
              <a:gd name="connsiteY55" fmla="*/ 875371 h 1964700"/>
              <a:gd name="connsiteX56" fmla="*/ 359414 w 1909918"/>
              <a:gd name="connsiteY56" fmla="*/ 923079 h 1964700"/>
              <a:gd name="connsiteX57" fmla="*/ 351463 w 1909918"/>
              <a:gd name="connsiteY57" fmla="*/ 946933 h 1964700"/>
              <a:gd name="connsiteX58" fmla="*/ 327609 w 1909918"/>
              <a:gd name="connsiteY58" fmla="*/ 962836 h 1964700"/>
              <a:gd name="connsiteX59" fmla="*/ 319657 w 1909918"/>
              <a:gd name="connsiteY59" fmla="*/ 986690 h 1964700"/>
              <a:gd name="connsiteX60" fmla="*/ 295803 w 1909918"/>
              <a:gd name="connsiteY60" fmla="*/ 994641 h 1964700"/>
              <a:gd name="connsiteX61" fmla="*/ 240144 w 1909918"/>
              <a:gd name="connsiteY61" fmla="*/ 1010544 h 1964700"/>
              <a:gd name="connsiteX62" fmla="*/ 224242 w 1909918"/>
              <a:gd name="connsiteY62" fmla="*/ 1034397 h 1964700"/>
              <a:gd name="connsiteX63" fmla="*/ 200388 w 1909918"/>
              <a:gd name="connsiteY63" fmla="*/ 1082105 h 1964700"/>
              <a:gd name="connsiteX64" fmla="*/ 176534 w 1909918"/>
              <a:gd name="connsiteY64" fmla="*/ 1161618 h 1964700"/>
              <a:gd name="connsiteX65" fmla="*/ 152680 w 1909918"/>
              <a:gd name="connsiteY65" fmla="*/ 1169570 h 1964700"/>
              <a:gd name="connsiteX66" fmla="*/ 184485 w 1909918"/>
              <a:gd name="connsiteY66" fmla="*/ 1264985 h 1964700"/>
              <a:gd name="connsiteX67" fmla="*/ 208339 w 1909918"/>
              <a:gd name="connsiteY67" fmla="*/ 1280888 h 1964700"/>
              <a:gd name="connsiteX68" fmla="*/ 224242 w 1909918"/>
              <a:gd name="connsiteY68" fmla="*/ 1328596 h 1964700"/>
              <a:gd name="connsiteX69" fmla="*/ 232193 w 1909918"/>
              <a:gd name="connsiteY69" fmla="*/ 1352450 h 1964700"/>
              <a:gd name="connsiteX70" fmla="*/ 279901 w 1909918"/>
              <a:gd name="connsiteY70" fmla="*/ 1368352 h 1964700"/>
              <a:gd name="connsiteX71" fmla="*/ 303755 w 1909918"/>
              <a:gd name="connsiteY71" fmla="*/ 1376304 h 1964700"/>
              <a:gd name="connsiteX72" fmla="*/ 375316 w 1909918"/>
              <a:gd name="connsiteY72" fmla="*/ 1368352 h 1964700"/>
              <a:gd name="connsiteX73" fmla="*/ 383268 w 1909918"/>
              <a:gd name="connsiteY73" fmla="*/ 1344498 h 1964700"/>
              <a:gd name="connsiteX74" fmla="*/ 375316 w 1909918"/>
              <a:gd name="connsiteY74" fmla="*/ 1384255 h 1964700"/>
              <a:gd name="connsiteX75" fmla="*/ 359414 w 1909918"/>
              <a:gd name="connsiteY75" fmla="*/ 1431963 h 1964700"/>
              <a:gd name="connsiteX76" fmla="*/ 367365 w 1909918"/>
              <a:gd name="connsiteY76" fmla="*/ 1471719 h 1964700"/>
              <a:gd name="connsiteX77" fmla="*/ 399170 w 1909918"/>
              <a:gd name="connsiteY77" fmla="*/ 1479671 h 1964700"/>
              <a:gd name="connsiteX78" fmla="*/ 446878 w 1909918"/>
              <a:gd name="connsiteY78" fmla="*/ 1471719 h 1964700"/>
              <a:gd name="connsiteX79" fmla="*/ 526391 w 1909918"/>
              <a:gd name="connsiteY79" fmla="*/ 1463768 h 1964700"/>
              <a:gd name="connsiteX80" fmla="*/ 550245 w 1909918"/>
              <a:gd name="connsiteY80" fmla="*/ 1455817 h 1964700"/>
              <a:gd name="connsiteX81" fmla="*/ 558196 w 1909918"/>
              <a:gd name="connsiteY81" fmla="*/ 1479671 h 1964700"/>
              <a:gd name="connsiteX82" fmla="*/ 534343 w 1909918"/>
              <a:gd name="connsiteY82" fmla="*/ 1575086 h 1964700"/>
              <a:gd name="connsiteX83" fmla="*/ 510489 w 1909918"/>
              <a:gd name="connsiteY83" fmla="*/ 1583037 h 1964700"/>
              <a:gd name="connsiteX84" fmla="*/ 494586 w 1909918"/>
              <a:gd name="connsiteY84" fmla="*/ 1630745 h 1964700"/>
              <a:gd name="connsiteX85" fmla="*/ 446878 w 1909918"/>
              <a:gd name="connsiteY85" fmla="*/ 1646648 h 1964700"/>
              <a:gd name="connsiteX86" fmla="*/ 423024 w 1909918"/>
              <a:gd name="connsiteY86" fmla="*/ 1662551 h 1964700"/>
              <a:gd name="connsiteX87" fmla="*/ 399170 w 1909918"/>
              <a:gd name="connsiteY87" fmla="*/ 1670502 h 1964700"/>
              <a:gd name="connsiteX88" fmla="*/ 359414 w 1909918"/>
              <a:gd name="connsiteY88" fmla="*/ 1710258 h 1964700"/>
              <a:gd name="connsiteX89" fmla="*/ 311706 w 1909918"/>
              <a:gd name="connsiteY89" fmla="*/ 1734112 h 1964700"/>
              <a:gd name="connsiteX90" fmla="*/ 287852 w 1909918"/>
              <a:gd name="connsiteY90" fmla="*/ 1757966 h 1964700"/>
              <a:gd name="connsiteX91" fmla="*/ 240144 w 1909918"/>
              <a:gd name="connsiteY91" fmla="*/ 1781820 h 1964700"/>
              <a:gd name="connsiteX92" fmla="*/ 216290 w 1909918"/>
              <a:gd name="connsiteY92" fmla="*/ 1797723 h 1964700"/>
              <a:gd name="connsiteX93" fmla="*/ 192436 w 1909918"/>
              <a:gd name="connsiteY93" fmla="*/ 1845431 h 1964700"/>
              <a:gd name="connsiteX94" fmla="*/ 144729 w 1909918"/>
              <a:gd name="connsiteY94" fmla="*/ 1861333 h 1964700"/>
              <a:gd name="connsiteX95" fmla="*/ 120875 w 1909918"/>
              <a:gd name="connsiteY95" fmla="*/ 1869284 h 1964700"/>
              <a:gd name="connsiteX96" fmla="*/ 97021 w 1909918"/>
              <a:gd name="connsiteY96" fmla="*/ 1893138 h 1964700"/>
              <a:gd name="connsiteX97" fmla="*/ 49313 w 1909918"/>
              <a:gd name="connsiteY97" fmla="*/ 1924944 h 1964700"/>
              <a:gd name="connsiteX98" fmla="*/ 33410 w 1909918"/>
              <a:gd name="connsiteY98" fmla="*/ 1948797 h 1964700"/>
              <a:gd name="connsiteX99" fmla="*/ 9556 w 1909918"/>
              <a:gd name="connsiteY99" fmla="*/ 1964700 h 1964700"/>
              <a:gd name="connsiteX100" fmla="*/ 57264 w 1909918"/>
              <a:gd name="connsiteY100" fmla="*/ 1948797 h 1964700"/>
              <a:gd name="connsiteX101" fmla="*/ 112923 w 1909918"/>
              <a:gd name="connsiteY101" fmla="*/ 1932895 h 1964700"/>
              <a:gd name="connsiteX102" fmla="*/ 160631 w 1909918"/>
              <a:gd name="connsiteY102" fmla="*/ 1893138 h 1964700"/>
              <a:gd name="connsiteX103" fmla="*/ 168583 w 1909918"/>
              <a:gd name="connsiteY103" fmla="*/ 1869284 h 1964700"/>
              <a:gd name="connsiteX104" fmla="*/ 192436 w 1909918"/>
              <a:gd name="connsiteY104" fmla="*/ 1853382 h 1964700"/>
              <a:gd name="connsiteX105" fmla="*/ 335560 w 1909918"/>
              <a:gd name="connsiteY105" fmla="*/ 1829528 h 1964700"/>
              <a:gd name="connsiteX106" fmla="*/ 359414 w 1909918"/>
              <a:gd name="connsiteY106" fmla="*/ 1821577 h 1964700"/>
              <a:gd name="connsiteX107" fmla="*/ 391219 w 1909918"/>
              <a:gd name="connsiteY107" fmla="*/ 1813625 h 1964700"/>
              <a:gd name="connsiteX108" fmla="*/ 415073 w 1909918"/>
              <a:gd name="connsiteY108" fmla="*/ 1797723 h 1964700"/>
              <a:gd name="connsiteX109" fmla="*/ 462781 w 1909918"/>
              <a:gd name="connsiteY109" fmla="*/ 1781820 h 1964700"/>
              <a:gd name="connsiteX110" fmla="*/ 486635 w 1909918"/>
              <a:gd name="connsiteY110" fmla="*/ 1773869 h 1964700"/>
              <a:gd name="connsiteX111" fmla="*/ 518440 w 1909918"/>
              <a:gd name="connsiteY111" fmla="*/ 1726161 h 1964700"/>
              <a:gd name="connsiteX112" fmla="*/ 534343 w 1909918"/>
              <a:gd name="connsiteY112" fmla="*/ 1702307 h 1964700"/>
              <a:gd name="connsiteX113" fmla="*/ 542294 w 1909918"/>
              <a:gd name="connsiteY113" fmla="*/ 1678453 h 1964700"/>
              <a:gd name="connsiteX114" fmla="*/ 590002 w 1909918"/>
              <a:gd name="connsiteY114" fmla="*/ 1646648 h 1964700"/>
              <a:gd name="connsiteX115" fmla="*/ 613856 w 1909918"/>
              <a:gd name="connsiteY115" fmla="*/ 1630745 h 1964700"/>
              <a:gd name="connsiteX116" fmla="*/ 637710 w 1909918"/>
              <a:gd name="connsiteY116" fmla="*/ 1614843 h 1964700"/>
              <a:gd name="connsiteX117" fmla="*/ 661563 w 1909918"/>
              <a:gd name="connsiteY117" fmla="*/ 1598940 h 1964700"/>
              <a:gd name="connsiteX118" fmla="*/ 669515 w 1909918"/>
              <a:gd name="connsiteY118" fmla="*/ 1575086 h 1964700"/>
              <a:gd name="connsiteX119" fmla="*/ 677466 w 1909918"/>
              <a:gd name="connsiteY119" fmla="*/ 1495573 h 1964700"/>
              <a:gd name="connsiteX120" fmla="*/ 725174 w 1909918"/>
              <a:gd name="connsiteY120" fmla="*/ 1479671 h 1964700"/>
              <a:gd name="connsiteX121" fmla="*/ 749028 w 1909918"/>
              <a:gd name="connsiteY121" fmla="*/ 1471719 h 1964700"/>
              <a:gd name="connsiteX122" fmla="*/ 756979 w 1909918"/>
              <a:gd name="connsiteY122" fmla="*/ 1400157 h 1964700"/>
              <a:gd name="connsiteX123" fmla="*/ 733125 w 1909918"/>
              <a:gd name="connsiteY123" fmla="*/ 1384255 h 1964700"/>
              <a:gd name="connsiteX124" fmla="*/ 741076 w 1909918"/>
              <a:gd name="connsiteY124" fmla="*/ 1360401 h 1964700"/>
              <a:gd name="connsiteX125" fmla="*/ 788784 w 1909918"/>
              <a:gd name="connsiteY125" fmla="*/ 1320644 h 1964700"/>
              <a:gd name="connsiteX126" fmla="*/ 804687 w 1909918"/>
              <a:gd name="connsiteY126" fmla="*/ 1296791 h 1964700"/>
              <a:gd name="connsiteX127" fmla="*/ 836492 w 1909918"/>
              <a:gd name="connsiteY127" fmla="*/ 1225229 h 1964700"/>
              <a:gd name="connsiteX128" fmla="*/ 884200 w 1909918"/>
              <a:gd name="connsiteY128" fmla="*/ 1257034 h 1964700"/>
              <a:gd name="connsiteX129" fmla="*/ 876249 w 1909918"/>
              <a:gd name="connsiteY129" fmla="*/ 1280888 h 1964700"/>
              <a:gd name="connsiteX130" fmla="*/ 828541 w 1909918"/>
              <a:gd name="connsiteY130" fmla="*/ 1312693 h 1964700"/>
              <a:gd name="connsiteX131" fmla="*/ 836492 w 1909918"/>
              <a:gd name="connsiteY131" fmla="*/ 1416060 h 1964700"/>
              <a:gd name="connsiteX132" fmla="*/ 868297 w 1909918"/>
              <a:gd name="connsiteY132" fmla="*/ 1431963 h 1964700"/>
              <a:gd name="connsiteX133" fmla="*/ 923956 w 1909918"/>
              <a:gd name="connsiteY133" fmla="*/ 1416060 h 1964700"/>
              <a:gd name="connsiteX134" fmla="*/ 931908 w 1909918"/>
              <a:gd name="connsiteY134" fmla="*/ 1392206 h 1964700"/>
              <a:gd name="connsiteX135" fmla="*/ 947810 w 1909918"/>
              <a:gd name="connsiteY135" fmla="*/ 1328596 h 1964700"/>
              <a:gd name="connsiteX136" fmla="*/ 987567 w 1909918"/>
              <a:gd name="connsiteY136" fmla="*/ 1336547 h 1964700"/>
              <a:gd name="connsiteX137" fmla="*/ 1035275 w 1909918"/>
              <a:gd name="connsiteY137" fmla="*/ 1368352 h 1964700"/>
              <a:gd name="connsiteX138" fmla="*/ 1035275 w 1909918"/>
              <a:gd name="connsiteY138" fmla="*/ 1272937 h 1964700"/>
              <a:gd name="connsiteX139" fmla="*/ 1059129 w 1909918"/>
              <a:gd name="connsiteY139" fmla="*/ 1257034 h 1964700"/>
              <a:gd name="connsiteX140" fmla="*/ 1114788 w 1909918"/>
              <a:gd name="connsiteY140" fmla="*/ 1264985 h 1964700"/>
              <a:gd name="connsiteX141" fmla="*/ 1130690 w 1909918"/>
              <a:gd name="connsiteY141" fmla="*/ 1312693 h 1964700"/>
              <a:gd name="connsiteX142" fmla="*/ 1146593 w 1909918"/>
              <a:gd name="connsiteY142" fmla="*/ 1336547 h 1964700"/>
              <a:gd name="connsiteX143" fmla="*/ 1202252 w 1909918"/>
              <a:gd name="connsiteY143" fmla="*/ 1352450 h 1964700"/>
              <a:gd name="connsiteX144" fmla="*/ 1226106 w 1909918"/>
              <a:gd name="connsiteY144" fmla="*/ 1360401 h 1964700"/>
              <a:gd name="connsiteX145" fmla="*/ 1289716 w 1909918"/>
              <a:gd name="connsiteY145" fmla="*/ 1376304 h 1964700"/>
              <a:gd name="connsiteX146" fmla="*/ 1337424 w 1909918"/>
              <a:gd name="connsiteY146" fmla="*/ 1392206 h 1964700"/>
              <a:gd name="connsiteX147" fmla="*/ 1416937 w 1909918"/>
              <a:gd name="connsiteY147" fmla="*/ 1400157 h 1964700"/>
              <a:gd name="connsiteX148" fmla="*/ 1464645 w 1909918"/>
              <a:gd name="connsiteY148" fmla="*/ 1416060 h 1964700"/>
              <a:gd name="connsiteX149" fmla="*/ 1488499 w 1909918"/>
              <a:gd name="connsiteY149" fmla="*/ 1424011 h 1964700"/>
              <a:gd name="connsiteX150" fmla="*/ 1544158 w 1909918"/>
              <a:gd name="connsiteY150" fmla="*/ 1487622 h 1964700"/>
              <a:gd name="connsiteX151" fmla="*/ 1568012 w 1909918"/>
              <a:gd name="connsiteY151" fmla="*/ 1559184 h 1964700"/>
              <a:gd name="connsiteX152" fmla="*/ 1591866 w 1909918"/>
              <a:gd name="connsiteY152" fmla="*/ 1606891 h 1964700"/>
              <a:gd name="connsiteX153" fmla="*/ 1615720 w 1909918"/>
              <a:gd name="connsiteY153" fmla="*/ 1622794 h 1964700"/>
              <a:gd name="connsiteX154" fmla="*/ 1647525 w 1909918"/>
              <a:gd name="connsiteY154" fmla="*/ 1670502 h 1964700"/>
              <a:gd name="connsiteX155" fmla="*/ 1663428 w 1909918"/>
              <a:gd name="connsiteY155" fmla="*/ 1694356 h 1964700"/>
              <a:gd name="connsiteX156" fmla="*/ 1687282 w 1909918"/>
              <a:gd name="connsiteY156" fmla="*/ 1742064 h 1964700"/>
              <a:gd name="connsiteX157" fmla="*/ 1711136 w 1909918"/>
              <a:gd name="connsiteY157" fmla="*/ 1765917 h 1964700"/>
              <a:gd name="connsiteX158" fmla="*/ 1766795 w 1909918"/>
              <a:gd name="connsiteY158" fmla="*/ 1837479 h 1964700"/>
              <a:gd name="connsiteX159" fmla="*/ 1790649 w 1909918"/>
              <a:gd name="connsiteY159" fmla="*/ 1845431 h 1964700"/>
              <a:gd name="connsiteX160" fmla="*/ 1814503 w 1909918"/>
              <a:gd name="connsiteY160" fmla="*/ 1837479 h 1964700"/>
              <a:gd name="connsiteX161" fmla="*/ 1830405 w 1909918"/>
              <a:gd name="connsiteY161" fmla="*/ 1781820 h 1964700"/>
              <a:gd name="connsiteX162" fmla="*/ 1870162 w 1909918"/>
              <a:gd name="connsiteY162" fmla="*/ 1789771 h 1964700"/>
              <a:gd name="connsiteX163" fmla="*/ 1894016 w 1909918"/>
              <a:gd name="connsiteY163" fmla="*/ 1797723 h 1964700"/>
              <a:gd name="connsiteX164" fmla="*/ 1909918 w 1909918"/>
              <a:gd name="connsiteY164" fmla="*/ 1773869 h 1964700"/>
              <a:gd name="connsiteX165" fmla="*/ 1894016 w 1909918"/>
              <a:gd name="connsiteY165" fmla="*/ 1710258 h 1964700"/>
              <a:gd name="connsiteX166" fmla="*/ 1870162 w 1909918"/>
              <a:gd name="connsiteY166" fmla="*/ 1686404 h 1964700"/>
              <a:gd name="connsiteX167" fmla="*/ 1822454 w 1909918"/>
              <a:gd name="connsiteY167" fmla="*/ 1654599 h 1964700"/>
              <a:gd name="connsiteX168" fmla="*/ 1774746 w 1909918"/>
              <a:gd name="connsiteY168" fmla="*/ 1583037 h 1964700"/>
              <a:gd name="connsiteX169" fmla="*/ 1758843 w 1909918"/>
              <a:gd name="connsiteY169" fmla="*/ 1559184 h 1964700"/>
              <a:gd name="connsiteX170" fmla="*/ 1750892 w 1909918"/>
              <a:gd name="connsiteY170" fmla="*/ 1535330 h 1964700"/>
              <a:gd name="connsiteX171" fmla="*/ 1719087 w 1909918"/>
              <a:gd name="connsiteY171" fmla="*/ 1487622 h 1964700"/>
              <a:gd name="connsiteX172" fmla="*/ 1695233 w 1909918"/>
              <a:gd name="connsiteY172" fmla="*/ 1439914 h 1964700"/>
              <a:gd name="connsiteX173" fmla="*/ 1647525 w 1909918"/>
              <a:gd name="connsiteY173" fmla="*/ 1424011 h 1964700"/>
              <a:gd name="connsiteX174" fmla="*/ 1623671 w 1909918"/>
              <a:gd name="connsiteY174" fmla="*/ 1416060 h 1964700"/>
              <a:gd name="connsiteX175" fmla="*/ 1599817 w 1909918"/>
              <a:gd name="connsiteY175" fmla="*/ 1408109 h 1964700"/>
              <a:gd name="connsiteX176" fmla="*/ 1568012 w 1909918"/>
              <a:gd name="connsiteY176" fmla="*/ 1392206 h 1964700"/>
              <a:gd name="connsiteX177" fmla="*/ 1528256 w 1909918"/>
              <a:gd name="connsiteY177" fmla="*/ 1384255 h 1964700"/>
              <a:gd name="connsiteX178" fmla="*/ 1504402 w 1909918"/>
              <a:gd name="connsiteY178" fmla="*/ 1368352 h 1964700"/>
              <a:gd name="connsiteX179" fmla="*/ 1480548 w 1909918"/>
              <a:gd name="connsiteY179" fmla="*/ 1360401 h 1964700"/>
              <a:gd name="connsiteX180" fmla="*/ 1448743 w 1909918"/>
              <a:gd name="connsiteY180" fmla="*/ 1312693 h 1964700"/>
              <a:gd name="connsiteX181" fmla="*/ 1385132 w 1909918"/>
              <a:gd name="connsiteY181" fmla="*/ 1296791 h 1964700"/>
              <a:gd name="connsiteX182" fmla="*/ 1361278 w 1909918"/>
              <a:gd name="connsiteY182" fmla="*/ 1288839 h 1964700"/>
              <a:gd name="connsiteX183" fmla="*/ 1345376 w 1909918"/>
              <a:gd name="connsiteY183" fmla="*/ 1257034 h 1964700"/>
              <a:gd name="connsiteX184" fmla="*/ 1329473 w 1909918"/>
              <a:gd name="connsiteY184" fmla="*/ 1209326 h 1964700"/>
              <a:gd name="connsiteX185" fmla="*/ 1337424 w 1909918"/>
              <a:gd name="connsiteY185" fmla="*/ 716345 h 1964700"/>
              <a:gd name="connsiteX186" fmla="*/ 1345376 w 1909918"/>
              <a:gd name="connsiteY186" fmla="*/ 469855 h 1964700"/>
              <a:gd name="connsiteX187" fmla="*/ 1321522 w 1909918"/>
              <a:gd name="connsiteY187" fmla="*/ 215413 h 1964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1909918" h="1964700">
                <a:moveTo>
                  <a:pt x="1321522" y="215413"/>
                </a:moveTo>
                <a:cubicBezTo>
                  <a:pt x="1309595" y="170356"/>
                  <a:pt x="1287761" y="208809"/>
                  <a:pt x="1273814" y="199511"/>
                </a:cubicBezTo>
                <a:cubicBezTo>
                  <a:pt x="1242986" y="178959"/>
                  <a:pt x="1259026" y="186630"/>
                  <a:pt x="1226106" y="175657"/>
                </a:cubicBezTo>
                <a:cubicBezTo>
                  <a:pt x="1223456" y="167706"/>
                  <a:pt x="1224081" y="157730"/>
                  <a:pt x="1218155" y="151803"/>
                </a:cubicBezTo>
                <a:cubicBezTo>
                  <a:pt x="1212228" y="145876"/>
                  <a:pt x="1202625" y="144830"/>
                  <a:pt x="1194301" y="143851"/>
                </a:cubicBezTo>
                <a:cubicBezTo>
                  <a:pt x="1157355" y="139504"/>
                  <a:pt x="1120089" y="138550"/>
                  <a:pt x="1082983" y="135900"/>
                </a:cubicBezTo>
                <a:cubicBezTo>
                  <a:pt x="1072381" y="133250"/>
                  <a:pt x="1061685" y="130951"/>
                  <a:pt x="1051177" y="127949"/>
                </a:cubicBezTo>
                <a:cubicBezTo>
                  <a:pt x="1043118" y="125646"/>
                  <a:pt x="1035607" y="121271"/>
                  <a:pt x="1027323" y="119997"/>
                </a:cubicBezTo>
                <a:cubicBezTo>
                  <a:pt x="1000996" y="115947"/>
                  <a:pt x="974314" y="114696"/>
                  <a:pt x="947810" y="112046"/>
                </a:cubicBezTo>
                <a:cubicBezTo>
                  <a:pt x="939859" y="109396"/>
                  <a:pt x="932337" y="104095"/>
                  <a:pt x="923956" y="104095"/>
                </a:cubicBezTo>
                <a:cubicBezTo>
                  <a:pt x="904767" y="104095"/>
                  <a:pt x="879169" y="113723"/>
                  <a:pt x="860346" y="119997"/>
                </a:cubicBezTo>
                <a:cubicBezTo>
                  <a:pt x="841249" y="115223"/>
                  <a:pt x="818414" y="113303"/>
                  <a:pt x="804687" y="96144"/>
                </a:cubicBezTo>
                <a:cubicBezTo>
                  <a:pt x="799451" y="89599"/>
                  <a:pt x="802662" y="78217"/>
                  <a:pt x="796736" y="72290"/>
                </a:cubicBezTo>
                <a:cubicBezTo>
                  <a:pt x="790809" y="66363"/>
                  <a:pt x="781101" y="65982"/>
                  <a:pt x="772882" y="64338"/>
                </a:cubicBezTo>
                <a:cubicBezTo>
                  <a:pt x="630385" y="35838"/>
                  <a:pt x="779732" y="72013"/>
                  <a:pt x="685417" y="48436"/>
                </a:cubicBezTo>
                <a:cubicBezTo>
                  <a:pt x="677466" y="43135"/>
                  <a:pt x="667533" y="39995"/>
                  <a:pt x="661563" y="32533"/>
                </a:cubicBezTo>
                <a:cubicBezTo>
                  <a:pt x="656327" y="25988"/>
                  <a:pt x="661271" y="12083"/>
                  <a:pt x="653612" y="8679"/>
                </a:cubicBezTo>
                <a:cubicBezTo>
                  <a:pt x="634085" y="0"/>
                  <a:pt x="611205" y="3378"/>
                  <a:pt x="590002" y="728"/>
                </a:cubicBezTo>
                <a:cubicBezTo>
                  <a:pt x="571449" y="3378"/>
                  <a:pt x="551835" y="1951"/>
                  <a:pt x="534343" y="8679"/>
                </a:cubicBezTo>
                <a:cubicBezTo>
                  <a:pt x="516504" y="15540"/>
                  <a:pt x="503730" y="31936"/>
                  <a:pt x="486635" y="40484"/>
                </a:cubicBezTo>
                <a:cubicBezTo>
                  <a:pt x="447333" y="60135"/>
                  <a:pt x="466075" y="52639"/>
                  <a:pt x="430976" y="64338"/>
                </a:cubicBezTo>
                <a:cubicBezTo>
                  <a:pt x="394521" y="119020"/>
                  <a:pt x="417302" y="106002"/>
                  <a:pt x="375316" y="119997"/>
                </a:cubicBezTo>
                <a:cubicBezTo>
                  <a:pt x="351464" y="135900"/>
                  <a:pt x="348812" y="133251"/>
                  <a:pt x="335560" y="159754"/>
                </a:cubicBezTo>
                <a:cubicBezTo>
                  <a:pt x="322625" y="185623"/>
                  <a:pt x="334495" y="184674"/>
                  <a:pt x="311706" y="207462"/>
                </a:cubicBezTo>
                <a:cubicBezTo>
                  <a:pt x="296293" y="222874"/>
                  <a:pt x="283397" y="224849"/>
                  <a:pt x="263998" y="231316"/>
                </a:cubicBezTo>
                <a:cubicBezTo>
                  <a:pt x="261348" y="239267"/>
                  <a:pt x="259795" y="247673"/>
                  <a:pt x="256047" y="255170"/>
                </a:cubicBezTo>
                <a:cubicBezTo>
                  <a:pt x="246202" y="274860"/>
                  <a:pt x="236737" y="285839"/>
                  <a:pt x="216290" y="294926"/>
                </a:cubicBezTo>
                <a:cubicBezTo>
                  <a:pt x="200972" y="301734"/>
                  <a:pt x="184485" y="305528"/>
                  <a:pt x="168583" y="310829"/>
                </a:cubicBezTo>
                <a:lnTo>
                  <a:pt x="144729" y="318780"/>
                </a:lnTo>
                <a:cubicBezTo>
                  <a:pt x="136688" y="330841"/>
                  <a:pt x="120875" y="350027"/>
                  <a:pt x="120875" y="366488"/>
                </a:cubicBezTo>
                <a:cubicBezTo>
                  <a:pt x="120875" y="377416"/>
                  <a:pt x="121630" y="390069"/>
                  <a:pt x="128826" y="398293"/>
                </a:cubicBezTo>
                <a:cubicBezTo>
                  <a:pt x="141412" y="412677"/>
                  <a:pt x="160631" y="419496"/>
                  <a:pt x="176534" y="430098"/>
                </a:cubicBezTo>
                <a:lnTo>
                  <a:pt x="200388" y="446001"/>
                </a:lnTo>
                <a:cubicBezTo>
                  <a:pt x="210990" y="461904"/>
                  <a:pt x="226149" y="475577"/>
                  <a:pt x="232193" y="493709"/>
                </a:cubicBezTo>
                <a:cubicBezTo>
                  <a:pt x="234843" y="501660"/>
                  <a:pt x="233324" y="512691"/>
                  <a:pt x="240144" y="517563"/>
                </a:cubicBezTo>
                <a:cubicBezTo>
                  <a:pt x="253785" y="527306"/>
                  <a:pt x="271949" y="528164"/>
                  <a:pt x="287852" y="533465"/>
                </a:cubicBezTo>
                <a:lnTo>
                  <a:pt x="311706" y="541417"/>
                </a:lnTo>
                <a:cubicBezTo>
                  <a:pt x="319657" y="549368"/>
                  <a:pt x="326921" y="558072"/>
                  <a:pt x="335560" y="565271"/>
                </a:cubicBezTo>
                <a:cubicBezTo>
                  <a:pt x="342901" y="571389"/>
                  <a:pt x="355865" y="572300"/>
                  <a:pt x="359414" y="581173"/>
                </a:cubicBezTo>
                <a:cubicBezTo>
                  <a:pt x="362527" y="588955"/>
                  <a:pt x="354113" y="597076"/>
                  <a:pt x="351463" y="605027"/>
                </a:cubicBezTo>
                <a:cubicBezTo>
                  <a:pt x="354236" y="616119"/>
                  <a:pt x="368400" y="648588"/>
                  <a:pt x="351463" y="660686"/>
                </a:cubicBezTo>
                <a:cubicBezTo>
                  <a:pt x="337823" y="670429"/>
                  <a:pt x="303755" y="676589"/>
                  <a:pt x="303755" y="676589"/>
                </a:cubicBezTo>
                <a:cubicBezTo>
                  <a:pt x="290503" y="673938"/>
                  <a:pt x="275243" y="676134"/>
                  <a:pt x="263998" y="668637"/>
                </a:cubicBezTo>
                <a:cubicBezTo>
                  <a:pt x="257024" y="663988"/>
                  <a:pt x="264331" y="646058"/>
                  <a:pt x="256047" y="644784"/>
                </a:cubicBezTo>
                <a:cubicBezTo>
                  <a:pt x="224503" y="639931"/>
                  <a:pt x="192436" y="650085"/>
                  <a:pt x="160631" y="652735"/>
                </a:cubicBezTo>
                <a:cubicBezTo>
                  <a:pt x="155330" y="663337"/>
                  <a:pt x="153110" y="676159"/>
                  <a:pt x="144729" y="684540"/>
                </a:cubicBezTo>
                <a:cubicBezTo>
                  <a:pt x="138802" y="690467"/>
                  <a:pt x="126802" y="686565"/>
                  <a:pt x="120875" y="692491"/>
                </a:cubicBezTo>
                <a:cubicBezTo>
                  <a:pt x="114948" y="698418"/>
                  <a:pt x="118159" y="709800"/>
                  <a:pt x="112923" y="716345"/>
                </a:cubicBezTo>
                <a:cubicBezTo>
                  <a:pt x="106953" y="723807"/>
                  <a:pt x="97021" y="726947"/>
                  <a:pt x="89070" y="732248"/>
                </a:cubicBezTo>
                <a:cubicBezTo>
                  <a:pt x="83769" y="740199"/>
                  <a:pt x="74352" y="746619"/>
                  <a:pt x="73167" y="756102"/>
                </a:cubicBezTo>
                <a:cubicBezTo>
                  <a:pt x="69547" y="785061"/>
                  <a:pt x="83129" y="798874"/>
                  <a:pt x="97021" y="819712"/>
                </a:cubicBezTo>
                <a:cubicBezTo>
                  <a:pt x="116379" y="877787"/>
                  <a:pt x="96661" y="863355"/>
                  <a:pt x="144729" y="875371"/>
                </a:cubicBezTo>
                <a:cubicBezTo>
                  <a:pt x="172086" y="873267"/>
                  <a:pt x="265242" y="868357"/>
                  <a:pt x="303755" y="859469"/>
                </a:cubicBezTo>
                <a:cubicBezTo>
                  <a:pt x="320089" y="855700"/>
                  <a:pt x="351463" y="843566"/>
                  <a:pt x="351463" y="843566"/>
                </a:cubicBezTo>
                <a:cubicBezTo>
                  <a:pt x="367365" y="846216"/>
                  <a:pt x="386581" y="841446"/>
                  <a:pt x="399170" y="851517"/>
                </a:cubicBezTo>
                <a:cubicBezTo>
                  <a:pt x="405715" y="856753"/>
                  <a:pt x="395289" y="868044"/>
                  <a:pt x="391219" y="875371"/>
                </a:cubicBezTo>
                <a:cubicBezTo>
                  <a:pt x="381937" y="892078"/>
                  <a:pt x="365458" y="904947"/>
                  <a:pt x="359414" y="923079"/>
                </a:cubicBezTo>
                <a:cubicBezTo>
                  <a:pt x="356764" y="931030"/>
                  <a:pt x="356699" y="940388"/>
                  <a:pt x="351463" y="946933"/>
                </a:cubicBezTo>
                <a:cubicBezTo>
                  <a:pt x="345493" y="954395"/>
                  <a:pt x="335560" y="957535"/>
                  <a:pt x="327609" y="962836"/>
                </a:cubicBezTo>
                <a:cubicBezTo>
                  <a:pt x="324958" y="970787"/>
                  <a:pt x="325584" y="980763"/>
                  <a:pt x="319657" y="986690"/>
                </a:cubicBezTo>
                <a:cubicBezTo>
                  <a:pt x="313730" y="992616"/>
                  <a:pt x="303862" y="992339"/>
                  <a:pt x="295803" y="994641"/>
                </a:cubicBezTo>
                <a:cubicBezTo>
                  <a:pt x="225941" y="1014601"/>
                  <a:pt x="297318" y="991484"/>
                  <a:pt x="240144" y="1010544"/>
                </a:cubicBezTo>
                <a:cubicBezTo>
                  <a:pt x="234843" y="1018495"/>
                  <a:pt x="228516" y="1025850"/>
                  <a:pt x="224242" y="1034397"/>
                </a:cubicBezTo>
                <a:cubicBezTo>
                  <a:pt x="191320" y="1100241"/>
                  <a:pt x="245963" y="1013739"/>
                  <a:pt x="200388" y="1082105"/>
                </a:cubicBezTo>
                <a:cubicBezTo>
                  <a:pt x="196908" y="1106461"/>
                  <a:pt x="199862" y="1142955"/>
                  <a:pt x="176534" y="1161618"/>
                </a:cubicBezTo>
                <a:cubicBezTo>
                  <a:pt x="169989" y="1166854"/>
                  <a:pt x="160631" y="1166919"/>
                  <a:pt x="152680" y="1169570"/>
                </a:cubicBezTo>
                <a:cubicBezTo>
                  <a:pt x="157948" y="1201177"/>
                  <a:pt x="159834" y="1240333"/>
                  <a:pt x="184485" y="1264985"/>
                </a:cubicBezTo>
                <a:cubicBezTo>
                  <a:pt x="191242" y="1271742"/>
                  <a:pt x="200388" y="1275587"/>
                  <a:pt x="208339" y="1280888"/>
                </a:cubicBezTo>
                <a:lnTo>
                  <a:pt x="224242" y="1328596"/>
                </a:lnTo>
                <a:cubicBezTo>
                  <a:pt x="226892" y="1336547"/>
                  <a:pt x="224242" y="1349800"/>
                  <a:pt x="232193" y="1352450"/>
                </a:cubicBezTo>
                <a:lnTo>
                  <a:pt x="279901" y="1368352"/>
                </a:lnTo>
                <a:lnTo>
                  <a:pt x="303755" y="1376304"/>
                </a:lnTo>
                <a:cubicBezTo>
                  <a:pt x="327609" y="1373653"/>
                  <a:pt x="353032" y="1377266"/>
                  <a:pt x="375316" y="1368352"/>
                </a:cubicBezTo>
                <a:cubicBezTo>
                  <a:pt x="383098" y="1365239"/>
                  <a:pt x="383268" y="1336116"/>
                  <a:pt x="383268" y="1344498"/>
                </a:cubicBezTo>
                <a:cubicBezTo>
                  <a:pt x="383268" y="1358013"/>
                  <a:pt x="378872" y="1371216"/>
                  <a:pt x="375316" y="1384255"/>
                </a:cubicBezTo>
                <a:cubicBezTo>
                  <a:pt x="370905" y="1400427"/>
                  <a:pt x="359414" y="1431963"/>
                  <a:pt x="359414" y="1431963"/>
                </a:cubicBezTo>
                <a:cubicBezTo>
                  <a:pt x="362064" y="1445215"/>
                  <a:pt x="358713" y="1461337"/>
                  <a:pt x="367365" y="1471719"/>
                </a:cubicBezTo>
                <a:cubicBezTo>
                  <a:pt x="374361" y="1480114"/>
                  <a:pt x="388242" y="1479671"/>
                  <a:pt x="399170" y="1479671"/>
                </a:cubicBezTo>
                <a:cubicBezTo>
                  <a:pt x="415292" y="1479671"/>
                  <a:pt x="430880" y="1473719"/>
                  <a:pt x="446878" y="1471719"/>
                </a:cubicBezTo>
                <a:cubicBezTo>
                  <a:pt x="473309" y="1468415"/>
                  <a:pt x="499887" y="1466418"/>
                  <a:pt x="526391" y="1463768"/>
                </a:cubicBezTo>
                <a:cubicBezTo>
                  <a:pt x="534342" y="1461118"/>
                  <a:pt x="542748" y="1452069"/>
                  <a:pt x="550245" y="1455817"/>
                </a:cubicBezTo>
                <a:cubicBezTo>
                  <a:pt x="557742" y="1459565"/>
                  <a:pt x="558196" y="1471290"/>
                  <a:pt x="558196" y="1479671"/>
                </a:cubicBezTo>
                <a:cubicBezTo>
                  <a:pt x="558196" y="1502159"/>
                  <a:pt x="559972" y="1554583"/>
                  <a:pt x="534343" y="1575086"/>
                </a:cubicBezTo>
                <a:cubicBezTo>
                  <a:pt x="527798" y="1580322"/>
                  <a:pt x="518440" y="1580387"/>
                  <a:pt x="510489" y="1583037"/>
                </a:cubicBezTo>
                <a:cubicBezTo>
                  <a:pt x="505188" y="1598940"/>
                  <a:pt x="510489" y="1625444"/>
                  <a:pt x="494586" y="1630745"/>
                </a:cubicBezTo>
                <a:lnTo>
                  <a:pt x="446878" y="1646648"/>
                </a:lnTo>
                <a:cubicBezTo>
                  <a:pt x="438927" y="1651949"/>
                  <a:pt x="431571" y="1658277"/>
                  <a:pt x="423024" y="1662551"/>
                </a:cubicBezTo>
                <a:cubicBezTo>
                  <a:pt x="415527" y="1666299"/>
                  <a:pt x="405715" y="1665266"/>
                  <a:pt x="399170" y="1670502"/>
                </a:cubicBezTo>
                <a:cubicBezTo>
                  <a:pt x="346158" y="1712912"/>
                  <a:pt x="423029" y="1678450"/>
                  <a:pt x="359414" y="1710258"/>
                </a:cubicBezTo>
                <a:cubicBezTo>
                  <a:pt x="323557" y="1728186"/>
                  <a:pt x="345882" y="1705632"/>
                  <a:pt x="311706" y="1734112"/>
                </a:cubicBezTo>
                <a:cubicBezTo>
                  <a:pt x="303067" y="1741311"/>
                  <a:pt x="296491" y="1750767"/>
                  <a:pt x="287852" y="1757966"/>
                </a:cubicBezTo>
                <a:cubicBezTo>
                  <a:pt x="267299" y="1775093"/>
                  <a:pt x="264052" y="1773851"/>
                  <a:pt x="240144" y="1781820"/>
                </a:cubicBezTo>
                <a:cubicBezTo>
                  <a:pt x="232193" y="1787121"/>
                  <a:pt x="222260" y="1790261"/>
                  <a:pt x="216290" y="1797723"/>
                </a:cubicBezTo>
                <a:cubicBezTo>
                  <a:pt x="199826" y="1818303"/>
                  <a:pt x="219249" y="1828673"/>
                  <a:pt x="192436" y="1845431"/>
                </a:cubicBezTo>
                <a:cubicBezTo>
                  <a:pt x="178221" y="1854315"/>
                  <a:pt x="160631" y="1856032"/>
                  <a:pt x="144729" y="1861333"/>
                </a:cubicBezTo>
                <a:lnTo>
                  <a:pt x="120875" y="1869284"/>
                </a:lnTo>
                <a:cubicBezTo>
                  <a:pt x="112924" y="1877235"/>
                  <a:pt x="105897" y="1886234"/>
                  <a:pt x="97021" y="1893138"/>
                </a:cubicBezTo>
                <a:cubicBezTo>
                  <a:pt x="81934" y="1904872"/>
                  <a:pt x="49313" y="1924944"/>
                  <a:pt x="49313" y="1924944"/>
                </a:cubicBezTo>
                <a:cubicBezTo>
                  <a:pt x="44012" y="1932895"/>
                  <a:pt x="40167" y="1942040"/>
                  <a:pt x="33410" y="1948797"/>
                </a:cubicBezTo>
                <a:cubicBezTo>
                  <a:pt x="26653" y="1955554"/>
                  <a:pt x="0" y="1964700"/>
                  <a:pt x="9556" y="1964700"/>
                </a:cubicBezTo>
                <a:cubicBezTo>
                  <a:pt x="26319" y="1964700"/>
                  <a:pt x="41002" y="1952862"/>
                  <a:pt x="57264" y="1948797"/>
                </a:cubicBezTo>
                <a:cubicBezTo>
                  <a:pt x="97201" y="1938813"/>
                  <a:pt x="78703" y="1944302"/>
                  <a:pt x="112923" y="1932895"/>
                </a:cubicBezTo>
                <a:cubicBezTo>
                  <a:pt x="130524" y="1921160"/>
                  <a:pt x="148386" y="1911505"/>
                  <a:pt x="160631" y="1893138"/>
                </a:cubicBezTo>
                <a:cubicBezTo>
                  <a:pt x="165280" y="1886164"/>
                  <a:pt x="163347" y="1875829"/>
                  <a:pt x="168583" y="1869284"/>
                </a:cubicBezTo>
                <a:cubicBezTo>
                  <a:pt x="174553" y="1861822"/>
                  <a:pt x="183704" y="1857263"/>
                  <a:pt x="192436" y="1853382"/>
                </a:cubicBezTo>
                <a:cubicBezTo>
                  <a:pt x="246428" y="1829386"/>
                  <a:pt x="269122" y="1835064"/>
                  <a:pt x="335560" y="1829528"/>
                </a:cubicBezTo>
                <a:cubicBezTo>
                  <a:pt x="343511" y="1826878"/>
                  <a:pt x="351355" y="1823880"/>
                  <a:pt x="359414" y="1821577"/>
                </a:cubicBezTo>
                <a:cubicBezTo>
                  <a:pt x="369922" y="1818575"/>
                  <a:pt x="381175" y="1817930"/>
                  <a:pt x="391219" y="1813625"/>
                </a:cubicBezTo>
                <a:cubicBezTo>
                  <a:pt x="400003" y="1809861"/>
                  <a:pt x="406340" y="1801604"/>
                  <a:pt x="415073" y="1797723"/>
                </a:cubicBezTo>
                <a:cubicBezTo>
                  <a:pt x="430391" y="1790915"/>
                  <a:pt x="446878" y="1787121"/>
                  <a:pt x="462781" y="1781820"/>
                </a:cubicBezTo>
                <a:lnTo>
                  <a:pt x="486635" y="1773869"/>
                </a:lnTo>
                <a:lnTo>
                  <a:pt x="518440" y="1726161"/>
                </a:lnTo>
                <a:lnTo>
                  <a:pt x="534343" y="1702307"/>
                </a:lnTo>
                <a:cubicBezTo>
                  <a:pt x="536993" y="1694356"/>
                  <a:pt x="536367" y="1684380"/>
                  <a:pt x="542294" y="1678453"/>
                </a:cubicBezTo>
                <a:cubicBezTo>
                  <a:pt x="555809" y="1664938"/>
                  <a:pt x="574099" y="1657250"/>
                  <a:pt x="590002" y="1646648"/>
                </a:cubicBezTo>
                <a:lnTo>
                  <a:pt x="613856" y="1630745"/>
                </a:lnTo>
                <a:lnTo>
                  <a:pt x="637710" y="1614843"/>
                </a:lnTo>
                <a:lnTo>
                  <a:pt x="661563" y="1598940"/>
                </a:lnTo>
                <a:cubicBezTo>
                  <a:pt x="664214" y="1590989"/>
                  <a:pt x="668241" y="1583370"/>
                  <a:pt x="669515" y="1575086"/>
                </a:cubicBezTo>
                <a:cubicBezTo>
                  <a:pt x="673565" y="1548759"/>
                  <a:pt x="664045" y="1518581"/>
                  <a:pt x="677466" y="1495573"/>
                </a:cubicBezTo>
                <a:cubicBezTo>
                  <a:pt x="685912" y="1481094"/>
                  <a:pt x="709271" y="1484972"/>
                  <a:pt x="725174" y="1479671"/>
                </a:cubicBezTo>
                <a:lnTo>
                  <a:pt x="749028" y="1471719"/>
                </a:lnTo>
                <a:cubicBezTo>
                  <a:pt x="756667" y="1448802"/>
                  <a:pt x="775688" y="1423542"/>
                  <a:pt x="756979" y="1400157"/>
                </a:cubicBezTo>
                <a:cubicBezTo>
                  <a:pt x="751009" y="1392695"/>
                  <a:pt x="741076" y="1389556"/>
                  <a:pt x="733125" y="1384255"/>
                </a:cubicBezTo>
                <a:cubicBezTo>
                  <a:pt x="735775" y="1376304"/>
                  <a:pt x="736427" y="1367375"/>
                  <a:pt x="741076" y="1360401"/>
                </a:cubicBezTo>
                <a:cubicBezTo>
                  <a:pt x="753320" y="1342035"/>
                  <a:pt x="771183" y="1332378"/>
                  <a:pt x="788784" y="1320644"/>
                </a:cubicBezTo>
                <a:cubicBezTo>
                  <a:pt x="794085" y="1312693"/>
                  <a:pt x="802173" y="1306010"/>
                  <a:pt x="804687" y="1296791"/>
                </a:cubicBezTo>
                <a:cubicBezTo>
                  <a:pt x="825366" y="1220967"/>
                  <a:pt x="787781" y="1241465"/>
                  <a:pt x="836492" y="1225229"/>
                </a:cubicBezTo>
                <a:cubicBezTo>
                  <a:pt x="864756" y="1230881"/>
                  <a:pt x="884200" y="1222804"/>
                  <a:pt x="884200" y="1257034"/>
                </a:cubicBezTo>
                <a:cubicBezTo>
                  <a:pt x="884200" y="1265415"/>
                  <a:pt x="882176" y="1274961"/>
                  <a:pt x="876249" y="1280888"/>
                </a:cubicBezTo>
                <a:cubicBezTo>
                  <a:pt x="862734" y="1294403"/>
                  <a:pt x="828541" y="1312693"/>
                  <a:pt x="828541" y="1312693"/>
                </a:cubicBezTo>
                <a:cubicBezTo>
                  <a:pt x="831191" y="1347149"/>
                  <a:pt x="825564" y="1383276"/>
                  <a:pt x="836492" y="1416060"/>
                </a:cubicBezTo>
                <a:cubicBezTo>
                  <a:pt x="840240" y="1427305"/>
                  <a:pt x="856535" y="1430493"/>
                  <a:pt x="868297" y="1431963"/>
                </a:cubicBezTo>
                <a:cubicBezTo>
                  <a:pt x="875557" y="1432870"/>
                  <a:pt x="914796" y="1419113"/>
                  <a:pt x="923956" y="1416060"/>
                </a:cubicBezTo>
                <a:cubicBezTo>
                  <a:pt x="926607" y="1408109"/>
                  <a:pt x="929875" y="1400337"/>
                  <a:pt x="931908" y="1392206"/>
                </a:cubicBezTo>
                <a:cubicBezTo>
                  <a:pt x="951102" y="1315432"/>
                  <a:pt x="929632" y="1383132"/>
                  <a:pt x="947810" y="1328596"/>
                </a:cubicBezTo>
                <a:cubicBezTo>
                  <a:pt x="961062" y="1331246"/>
                  <a:pt x="975264" y="1330955"/>
                  <a:pt x="987567" y="1336547"/>
                </a:cubicBezTo>
                <a:cubicBezTo>
                  <a:pt x="1004966" y="1344456"/>
                  <a:pt x="1035275" y="1368352"/>
                  <a:pt x="1035275" y="1368352"/>
                </a:cubicBezTo>
                <a:cubicBezTo>
                  <a:pt x="1032726" y="1347962"/>
                  <a:pt x="1018684" y="1297824"/>
                  <a:pt x="1035275" y="1272937"/>
                </a:cubicBezTo>
                <a:cubicBezTo>
                  <a:pt x="1040576" y="1264986"/>
                  <a:pt x="1051178" y="1262335"/>
                  <a:pt x="1059129" y="1257034"/>
                </a:cubicBezTo>
                <a:cubicBezTo>
                  <a:pt x="1077682" y="1259684"/>
                  <a:pt x="1099995" y="1253479"/>
                  <a:pt x="1114788" y="1264985"/>
                </a:cubicBezTo>
                <a:cubicBezTo>
                  <a:pt x="1128020" y="1275276"/>
                  <a:pt x="1121392" y="1298746"/>
                  <a:pt x="1130690" y="1312693"/>
                </a:cubicBezTo>
                <a:cubicBezTo>
                  <a:pt x="1135991" y="1320644"/>
                  <a:pt x="1139131" y="1330577"/>
                  <a:pt x="1146593" y="1336547"/>
                </a:cubicBezTo>
                <a:cubicBezTo>
                  <a:pt x="1151887" y="1340782"/>
                  <a:pt x="1200033" y="1351816"/>
                  <a:pt x="1202252" y="1352450"/>
                </a:cubicBezTo>
                <a:cubicBezTo>
                  <a:pt x="1210311" y="1354753"/>
                  <a:pt x="1218020" y="1358196"/>
                  <a:pt x="1226106" y="1360401"/>
                </a:cubicBezTo>
                <a:cubicBezTo>
                  <a:pt x="1247192" y="1366152"/>
                  <a:pt x="1268982" y="1369393"/>
                  <a:pt x="1289716" y="1376304"/>
                </a:cubicBezTo>
                <a:cubicBezTo>
                  <a:pt x="1305619" y="1381605"/>
                  <a:pt x="1320744" y="1390538"/>
                  <a:pt x="1337424" y="1392206"/>
                </a:cubicBezTo>
                <a:lnTo>
                  <a:pt x="1416937" y="1400157"/>
                </a:lnTo>
                <a:lnTo>
                  <a:pt x="1464645" y="1416060"/>
                </a:lnTo>
                <a:lnTo>
                  <a:pt x="1488499" y="1424011"/>
                </a:lnTo>
                <a:cubicBezTo>
                  <a:pt x="1516329" y="1442565"/>
                  <a:pt x="1530905" y="1447865"/>
                  <a:pt x="1544158" y="1487622"/>
                </a:cubicBezTo>
                <a:lnTo>
                  <a:pt x="1568012" y="1559184"/>
                </a:lnTo>
                <a:cubicBezTo>
                  <a:pt x="1574479" y="1578585"/>
                  <a:pt x="1576452" y="1591477"/>
                  <a:pt x="1591866" y="1606891"/>
                </a:cubicBezTo>
                <a:cubicBezTo>
                  <a:pt x="1598623" y="1613648"/>
                  <a:pt x="1607769" y="1617493"/>
                  <a:pt x="1615720" y="1622794"/>
                </a:cubicBezTo>
                <a:lnTo>
                  <a:pt x="1647525" y="1670502"/>
                </a:lnTo>
                <a:lnTo>
                  <a:pt x="1663428" y="1694356"/>
                </a:lnTo>
                <a:cubicBezTo>
                  <a:pt x="1671397" y="1718264"/>
                  <a:pt x="1670155" y="1721512"/>
                  <a:pt x="1687282" y="1742064"/>
                </a:cubicBezTo>
                <a:cubicBezTo>
                  <a:pt x="1694481" y="1750702"/>
                  <a:pt x="1704232" y="1757041"/>
                  <a:pt x="1711136" y="1765917"/>
                </a:cubicBezTo>
                <a:cubicBezTo>
                  <a:pt x="1728149" y="1787791"/>
                  <a:pt x="1741799" y="1820815"/>
                  <a:pt x="1766795" y="1837479"/>
                </a:cubicBezTo>
                <a:cubicBezTo>
                  <a:pt x="1773769" y="1842128"/>
                  <a:pt x="1782698" y="1842780"/>
                  <a:pt x="1790649" y="1845431"/>
                </a:cubicBezTo>
                <a:cubicBezTo>
                  <a:pt x="1798600" y="1842780"/>
                  <a:pt x="1808576" y="1843406"/>
                  <a:pt x="1814503" y="1837479"/>
                </a:cubicBezTo>
                <a:cubicBezTo>
                  <a:pt x="1818305" y="1833677"/>
                  <a:pt x="1830336" y="1782095"/>
                  <a:pt x="1830405" y="1781820"/>
                </a:cubicBezTo>
                <a:cubicBezTo>
                  <a:pt x="1843657" y="1784470"/>
                  <a:pt x="1857051" y="1786493"/>
                  <a:pt x="1870162" y="1789771"/>
                </a:cubicBezTo>
                <a:cubicBezTo>
                  <a:pt x="1878293" y="1791804"/>
                  <a:pt x="1886234" y="1800836"/>
                  <a:pt x="1894016" y="1797723"/>
                </a:cubicBezTo>
                <a:cubicBezTo>
                  <a:pt x="1902889" y="1794174"/>
                  <a:pt x="1904617" y="1781820"/>
                  <a:pt x="1909918" y="1773869"/>
                </a:cubicBezTo>
                <a:cubicBezTo>
                  <a:pt x="1908771" y="1768135"/>
                  <a:pt x="1901001" y="1720736"/>
                  <a:pt x="1894016" y="1710258"/>
                </a:cubicBezTo>
                <a:cubicBezTo>
                  <a:pt x="1887779" y="1700902"/>
                  <a:pt x="1879038" y="1693308"/>
                  <a:pt x="1870162" y="1686404"/>
                </a:cubicBezTo>
                <a:cubicBezTo>
                  <a:pt x="1855075" y="1674670"/>
                  <a:pt x="1822454" y="1654599"/>
                  <a:pt x="1822454" y="1654599"/>
                </a:cubicBezTo>
                <a:lnTo>
                  <a:pt x="1774746" y="1583037"/>
                </a:lnTo>
                <a:lnTo>
                  <a:pt x="1758843" y="1559184"/>
                </a:lnTo>
                <a:cubicBezTo>
                  <a:pt x="1756193" y="1551233"/>
                  <a:pt x="1754962" y="1542657"/>
                  <a:pt x="1750892" y="1535330"/>
                </a:cubicBezTo>
                <a:cubicBezTo>
                  <a:pt x="1741610" y="1518623"/>
                  <a:pt x="1719087" y="1487622"/>
                  <a:pt x="1719087" y="1487622"/>
                </a:cubicBezTo>
                <a:cubicBezTo>
                  <a:pt x="1714754" y="1474624"/>
                  <a:pt x="1708214" y="1448027"/>
                  <a:pt x="1695233" y="1439914"/>
                </a:cubicBezTo>
                <a:cubicBezTo>
                  <a:pt x="1681018" y="1431030"/>
                  <a:pt x="1663428" y="1429312"/>
                  <a:pt x="1647525" y="1424011"/>
                </a:cubicBezTo>
                <a:lnTo>
                  <a:pt x="1623671" y="1416060"/>
                </a:lnTo>
                <a:cubicBezTo>
                  <a:pt x="1615720" y="1413410"/>
                  <a:pt x="1607314" y="1411857"/>
                  <a:pt x="1599817" y="1408109"/>
                </a:cubicBezTo>
                <a:cubicBezTo>
                  <a:pt x="1589215" y="1402808"/>
                  <a:pt x="1579257" y="1395954"/>
                  <a:pt x="1568012" y="1392206"/>
                </a:cubicBezTo>
                <a:cubicBezTo>
                  <a:pt x="1555191" y="1387932"/>
                  <a:pt x="1541508" y="1386905"/>
                  <a:pt x="1528256" y="1384255"/>
                </a:cubicBezTo>
                <a:cubicBezTo>
                  <a:pt x="1520305" y="1378954"/>
                  <a:pt x="1512949" y="1372626"/>
                  <a:pt x="1504402" y="1368352"/>
                </a:cubicBezTo>
                <a:cubicBezTo>
                  <a:pt x="1496905" y="1364604"/>
                  <a:pt x="1485784" y="1366946"/>
                  <a:pt x="1480548" y="1360401"/>
                </a:cubicBezTo>
                <a:cubicBezTo>
                  <a:pt x="1440998" y="1310965"/>
                  <a:pt x="1507293" y="1341969"/>
                  <a:pt x="1448743" y="1312693"/>
                </a:cubicBezTo>
                <a:cubicBezTo>
                  <a:pt x="1430569" y="1303606"/>
                  <a:pt x="1403275" y="1301327"/>
                  <a:pt x="1385132" y="1296791"/>
                </a:cubicBezTo>
                <a:cubicBezTo>
                  <a:pt x="1377001" y="1294758"/>
                  <a:pt x="1369229" y="1291490"/>
                  <a:pt x="1361278" y="1288839"/>
                </a:cubicBezTo>
                <a:cubicBezTo>
                  <a:pt x="1355977" y="1278237"/>
                  <a:pt x="1349778" y="1268039"/>
                  <a:pt x="1345376" y="1257034"/>
                </a:cubicBezTo>
                <a:cubicBezTo>
                  <a:pt x="1339150" y="1241470"/>
                  <a:pt x="1329473" y="1209326"/>
                  <a:pt x="1329473" y="1209326"/>
                </a:cubicBezTo>
                <a:cubicBezTo>
                  <a:pt x="1332123" y="1044999"/>
                  <a:pt x="1333890" y="880655"/>
                  <a:pt x="1337424" y="716345"/>
                </a:cubicBezTo>
                <a:cubicBezTo>
                  <a:pt x="1339192" y="634158"/>
                  <a:pt x="1344092" y="552051"/>
                  <a:pt x="1345376" y="469855"/>
                </a:cubicBezTo>
                <a:cubicBezTo>
                  <a:pt x="1346743" y="382401"/>
                  <a:pt x="1333449" y="260470"/>
                  <a:pt x="1321522" y="215413"/>
                </a:cubicBezTo>
                <a:close/>
              </a:path>
            </a:pathLst>
          </a:custGeom>
          <a:solidFill>
            <a:srgbClr val="FF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3832225" y="6477006"/>
            <a:ext cx="167640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0" hangingPunct="0"/>
            <a:r>
              <a:rPr lang="en-US" sz="1400">
                <a:latin typeface="Ramabhadra" pitchFamily="2" charset="0"/>
                <a:cs typeface="Ramabhadra" pitchFamily="2" charset="0"/>
              </a:rPr>
              <a:t>పనామా కాలువ</a:t>
            </a: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5435601" y="6669617"/>
            <a:ext cx="649288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6"/>
          <p:cNvSpPr/>
          <p:nvPr/>
        </p:nvSpPr>
        <p:spPr>
          <a:xfrm>
            <a:off x="1547813" y="2057404"/>
            <a:ext cx="215900" cy="2379133"/>
          </a:xfrm>
          <a:custGeom>
            <a:avLst/>
            <a:gdLst>
              <a:gd name="connsiteX0" fmla="*/ 139996 w 139996"/>
              <a:gd name="connsiteY0" fmla="*/ 0 h 1254642"/>
              <a:gd name="connsiteX1" fmla="*/ 1772 w 139996"/>
              <a:gd name="connsiteY1" fmla="*/ 457200 h 1254642"/>
              <a:gd name="connsiteX2" fmla="*/ 129363 w 139996"/>
              <a:gd name="connsiteY2" fmla="*/ 1254642 h 1254642"/>
              <a:gd name="connsiteX3" fmla="*/ 129363 w 139996"/>
              <a:gd name="connsiteY3" fmla="*/ 1254642 h 1254642"/>
              <a:gd name="connsiteX4" fmla="*/ 139996 w 139996"/>
              <a:gd name="connsiteY4" fmla="*/ 1244009 h 125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996" h="1254642">
                <a:moveTo>
                  <a:pt x="139996" y="0"/>
                </a:moveTo>
                <a:cubicBezTo>
                  <a:pt x="71770" y="124046"/>
                  <a:pt x="3544" y="248093"/>
                  <a:pt x="1772" y="457200"/>
                </a:cubicBezTo>
                <a:cubicBezTo>
                  <a:pt x="0" y="666307"/>
                  <a:pt x="129363" y="1254642"/>
                  <a:pt x="129363" y="1254642"/>
                </a:cubicBezTo>
                <a:lnTo>
                  <a:pt x="129363" y="1254642"/>
                </a:lnTo>
                <a:lnTo>
                  <a:pt x="139996" y="1244009"/>
                </a:lnTo>
              </a:path>
            </a:pathLst>
          </a:custGeom>
          <a:ln w="28575">
            <a:solidFill>
              <a:srgbClr val="0033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solidFill>
                <a:srgbClr val="0033CC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 rot="-5867836">
            <a:off x="67207" y="3200943"/>
            <a:ext cx="264371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>
                <a:latin typeface="Ramabhadra" pitchFamily="2" charset="0"/>
                <a:cs typeface="Ramabhadra" pitchFamily="2" charset="0"/>
              </a:rPr>
              <a:t>బేరింగ్ జలసంధి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287588" y="171451"/>
            <a:ext cx="3213100" cy="40011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ఆర్కిటిక్</a:t>
            </a:r>
            <a:r>
              <a:rPr lang="en-US" sz="2000" spc="600" dirty="0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2000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2000" spc="600" dirty="0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2000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2000" spc="600" dirty="0">
              <a:solidFill>
                <a:srgbClr val="C0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5815013" y="6049435"/>
            <a:ext cx="430212" cy="190500"/>
          </a:xfrm>
          <a:custGeom>
            <a:avLst/>
            <a:gdLst>
              <a:gd name="connsiteX0" fmla="*/ 2540 w 430635"/>
              <a:gd name="connsiteY0" fmla="*/ 64302 h 188975"/>
              <a:gd name="connsiteX1" fmla="*/ 25400 w 430635"/>
              <a:gd name="connsiteY1" fmla="*/ 56682 h 188975"/>
              <a:gd name="connsiteX2" fmla="*/ 59690 w 430635"/>
              <a:gd name="connsiteY2" fmla="*/ 49062 h 188975"/>
              <a:gd name="connsiteX3" fmla="*/ 63500 w 430635"/>
              <a:gd name="connsiteY3" fmla="*/ 37632 h 188975"/>
              <a:gd name="connsiteX4" fmla="*/ 86360 w 430635"/>
              <a:gd name="connsiteY4" fmla="*/ 30012 h 188975"/>
              <a:gd name="connsiteX5" fmla="*/ 97790 w 430635"/>
              <a:gd name="connsiteY5" fmla="*/ 26202 h 188975"/>
              <a:gd name="connsiteX6" fmla="*/ 120650 w 430635"/>
              <a:gd name="connsiteY6" fmla="*/ 14772 h 188975"/>
              <a:gd name="connsiteX7" fmla="*/ 143510 w 430635"/>
              <a:gd name="connsiteY7" fmla="*/ 3342 h 188975"/>
              <a:gd name="connsiteX8" fmla="*/ 193040 w 430635"/>
              <a:gd name="connsiteY8" fmla="*/ 10962 h 188975"/>
              <a:gd name="connsiteX9" fmla="*/ 204470 w 430635"/>
              <a:gd name="connsiteY9" fmla="*/ 18582 h 188975"/>
              <a:gd name="connsiteX10" fmla="*/ 238760 w 430635"/>
              <a:gd name="connsiteY10" fmla="*/ 33822 h 188975"/>
              <a:gd name="connsiteX11" fmla="*/ 246380 w 430635"/>
              <a:gd name="connsiteY11" fmla="*/ 45252 h 188975"/>
              <a:gd name="connsiteX12" fmla="*/ 284480 w 430635"/>
              <a:gd name="connsiteY12" fmla="*/ 56682 h 188975"/>
              <a:gd name="connsiteX13" fmla="*/ 295910 w 430635"/>
              <a:gd name="connsiteY13" fmla="*/ 83352 h 188975"/>
              <a:gd name="connsiteX14" fmla="*/ 318770 w 430635"/>
              <a:gd name="connsiteY14" fmla="*/ 90972 h 188975"/>
              <a:gd name="connsiteX15" fmla="*/ 326390 w 430635"/>
              <a:gd name="connsiteY15" fmla="*/ 102402 h 188975"/>
              <a:gd name="connsiteX16" fmla="*/ 375920 w 430635"/>
              <a:gd name="connsiteY16" fmla="*/ 121452 h 188975"/>
              <a:gd name="connsiteX17" fmla="*/ 398780 w 430635"/>
              <a:gd name="connsiteY17" fmla="*/ 132882 h 188975"/>
              <a:gd name="connsiteX18" fmla="*/ 421640 w 430635"/>
              <a:gd name="connsiteY18" fmla="*/ 148122 h 188975"/>
              <a:gd name="connsiteX19" fmla="*/ 429260 w 430635"/>
              <a:gd name="connsiteY19" fmla="*/ 159552 h 188975"/>
              <a:gd name="connsiteX20" fmla="*/ 414020 w 430635"/>
              <a:gd name="connsiteY20" fmla="*/ 178602 h 188975"/>
              <a:gd name="connsiteX21" fmla="*/ 360680 w 430635"/>
              <a:gd name="connsiteY21" fmla="*/ 182412 h 188975"/>
              <a:gd name="connsiteX22" fmla="*/ 314960 w 430635"/>
              <a:gd name="connsiteY22" fmla="*/ 178602 h 188975"/>
              <a:gd name="connsiteX23" fmla="*/ 273050 w 430635"/>
              <a:gd name="connsiteY23" fmla="*/ 140502 h 188975"/>
              <a:gd name="connsiteX24" fmla="*/ 269240 w 430635"/>
              <a:gd name="connsiteY24" fmla="*/ 121452 h 188975"/>
              <a:gd name="connsiteX25" fmla="*/ 257810 w 430635"/>
              <a:gd name="connsiteY25" fmla="*/ 117642 h 188975"/>
              <a:gd name="connsiteX26" fmla="*/ 212090 w 430635"/>
              <a:gd name="connsiteY26" fmla="*/ 106212 h 188975"/>
              <a:gd name="connsiteX27" fmla="*/ 200660 w 430635"/>
              <a:gd name="connsiteY27" fmla="*/ 75732 h 188975"/>
              <a:gd name="connsiteX28" fmla="*/ 170180 w 430635"/>
              <a:gd name="connsiteY28" fmla="*/ 79542 h 188975"/>
              <a:gd name="connsiteX29" fmla="*/ 135890 w 430635"/>
              <a:gd name="connsiteY29" fmla="*/ 79542 h 188975"/>
              <a:gd name="connsiteX30" fmla="*/ 128270 w 430635"/>
              <a:gd name="connsiteY30" fmla="*/ 68112 h 188975"/>
              <a:gd name="connsiteX31" fmla="*/ 116840 w 430635"/>
              <a:gd name="connsiteY31" fmla="*/ 60492 h 188975"/>
              <a:gd name="connsiteX32" fmla="*/ 74930 w 430635"/>
              <a:gd name="connsiteY32" fmla="*/ 68112 h 188975"/>
              <a:gd name="connsiteX33" fmla="*/ 63500 w 430635"/>
              <a:gd name="connsiteY33" fmla="*/ 75732 h 188975"/>
              <a:gd name="connsiteX34" fmla="*/ 40640 w 430635"/>
              <a:gd name="connsiteY34" fmla="*/ 83352 h 188975"/>
              <a:gd name="connsiteX35" fmla="*/ 2540 w 430635"/>
              <a:gd name="connsiteY35" fmla="*/ 64302 h 188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30635" h="188975">
                <a:moveTo>
                  <a:pt x="2540" y="64302"/>
                </a:moveTo>
                <a:cubicBezTo>
                  <a:pt x="0" y="59857"/>
                  <a:pt x="17524" y="58257"/>
                  <a:pt x="25400" y="56682"/>
                </a:cubicBezTo>
                <a:cubicBezTo>
                  <a:pt x="49585" y="51845"/>
                  <a:pt x="38168" y="54443"/>
                  <a:pt x="59690" y="49062"/>
                </a:cubicBezTo>
                <a:cubicBezTo>
                  <a:pt x="60960" y="45252"/>
                  <a:pt x="60232" y="39966"/>
                  <a:pt x="63500" y="37632"/>
                </a:cubicBezTo>
                <a:cubicBezTo>
                  <a:pt x="70036" y="32963"/>
                  <a:pt x="78740" y="32552"/>
                  <a:pt x="86360" y="30012"/>
                </a:cubicBezTo>
                <a:cubicBezTo>
                  <a:pt x="90170" y="28742"/>
                  <a:pt x="94448" y="28430"/>
                  <a:pt x="97790" y="26202"/>
                </a:cubicBezTo>
                <a:cubicBezTo>
                  <a:pt x="130547" y="4364"/>
                  <a:pt x="89102" y="30546"/>
                  <a:pt x="120650" y="14772"/>
                </a:cubicBezTo>
                <a:cubicBezTo>
                  <a:pt x="150193" y="0"/>
                  <a:pt x="114780" y="12919"/>
                  <a:pt x="143510" y="3342"/>
                </a:cubicBezTo>
                <a:cubicBezTo>
                  <a:pt x="160020" y="5882"/>
                  <a:pt x="176835" y="6911"/>
                  <a:pt x="193040" y="10962"/>
                </a:cubicBezTo>
                <a:cubicBezTo>
                  <a:pt x="197482" y="12073"/>
                  <a:pt x="200286" y="16722"/>
                  <a:pt x="204470" y="18582"/>
                </a:cubicBezTo>
                <a:cubicBezTo>
                  <a:pt x="245276" y="36718"/>
                  <a:pt x="212892" y="16577"/>
                  <a:pt x="238760" y="33822"/>
                </a:cubicBezTo>
                <a:cubicBezTo>
                  <a:pt x="241300" y="37632"/>
                  <a:pt x="243142" y="42014"/>
                  <a:pt x="246380" y="45252"/>
                </a:cubicBezTo>
                <a:cubicBezTo>
                  <a:pt x="257931" y="56803"/>
                  <a:pt x="267693" y="54284"/>
                  <a:pt x="284480" y="56682"/>
                </a:cubicBezTo>
                <a:cubicBezTo>
                  <a:pt x="286280" y="63883"/>
                  <a:pt x="288114" y="78479"/>
                  <a:pt x="295910" y="83352"/>
                </a:cubicBezTo>
                <a:cubicBezTo>
                  <a:pt x="302721" y="87609"/>
                  <a:pt x="318770" y="90972"/>
                  <a:pt x="318770" y="90972"/>
                </a:cubicBezTo>
                <a:cubicBezTo>
                  <a:pt x="321310" y="94782"/>
                  <a:pt x="322944" y="99387"/>
                  <a:pt x="326390" y="102402"/>
                </a:cubicBezTo>
                <a:cubicBezTo>
                  <a:pt x="348091" y="121390"/>
                  <a:pt x="348647" y="117556"/>
                  <a:pt x="375920" y="121452"/>
                </a:cubicBezTo>
                <a:cubicBezTo>
                  <a:pt x="387376" y="125271"/>
                  <a:pt x="388932" y="124676"/>
                  <a:pt x="398780" y="132882"/>
                </a:cubicBezTo>
                <a:cubicBezTo>
                  <a:pt x="417806" y="148737"/>
                  <a:pt x="401553" y="141426"/>
                  <a:pt x="421640" y="148122"/>
                </a:cubicBezTo>
                <a:cubicBezTo>
                  <a:pt x="424180" y="151932"/>
                  <a:pt x="428507" y="155035"/>
                  <a:pt x="429260" y="159552"/>
                </a:cubicBezTo>
                <a:cubicBezTo>
                  <a:pt x="430635" y="167805"/>
                  <a:pt x="421228" y="177330"/>
                  <a:pt x="414020" y="178602"/>
                </a:cubicBezTo>
                <a:cubicBezTo>
                  <a:pt x="396466" y="181700"/>
                  <a:pt x="378460" y="181142"/>
                  <a:pt x="360680" y="182412"/>
                </a:cubicBezTo>
                <a:cubicBezTo>
                  <a:pt x="345440" y="181142"/>
                  <a:pt x="326197" y="188975"/>
                  <a:pt x="314960" y="178602"/>
                </a:cubicBezTo>
                <a:cubicBezTo>
                  <a:pt x="261086" y="128872"/>
                  <a:pt x="369609" y="130846"/>
                  <a:pt x="273050" y="140502"/>
                </a:cubicBezTo>
                <a:cubicBezTo>
                  <a:pt x="271780" y="134152"/>
                  <a:pt x="272832" y="126840"/>
                  <a:pt x="269240" y="121452"/>
                </a:cubicBezTo>
                <a:cubicBezTo>
                  <a:pt x="267012" y="118110"/>
                  <a:pt x="261402" y="119438"/>
                  <a:pt x="257810" y="117642"/>
                </a:cubicBezTo>
                <a:cubicBezTo>
                  <a:pt x="227812" y="102643"/>
                  <a:pt x="273533" y="113039"/>
                  <a:pt x="212090" y="106212"/>
                </a:cubicBezTo>
                <a:cubicBezTo>
                  <a:pt x="211676" y="104144"/>
                  <a:pt x="208835" y="77367"/>
                  <a:pt x="200660" y="75732"/>
                </a:cubicBezTo>
                <a:cubicBezTo>
                  <a:pt x="190620" y="73724"/>
                  <a:pt x="180340" y="78272"/>
                  <a:pt x="170180" y="79542"/>
                </a:cubicBezTo>
                <a:cubicBezTo>
                  <a:pt x="156999" y="83936"/>
                  <a:pt x="151983" y="87588"/>
                  <a:pt x="135890" y="79542"/>
                </a:cubicBezTo>
                <a:cubicBezTo>
                  <a:pt x="131794" y="77494"/>
                  <a:pt x="131508" y="71350"/>
                  <a:pt x="128270" y="68112"/>
                </a:cubicBezTo>
                <a:cubicBezTo>
                  <a:pt x="125032" y="64874"/>
                  <a:pt x="120650" y="63032"/>
                  <a:pt x="116840" y="60492"/>
                </a:cubicBezTo>
                <a:cubicBezTo>
                  <a:pt x="110660" y="61375"/>
                  <a:pt x="83912" y="64263"/>
                  <a:pt x="74930" y="68112"/>
                </a:cubicBezTo>
                <a:cubicBezTo>
                  <a:pt x="70721" y="69916"/>
                  <a:pt x="67684" y="73872"/>
                  <a:pt x="63500" y="75732"/>
                </a:cubicBezTo>
                <a:cubicBezTo>
                  <a:pt x="56160" y="78994"/>
                  <a:pt x="40640" y="83352"/>
                  <a:pt x="40640" y="83352"/>
                </a:cubicBezTo>
                <a:cubicBezTo>
                  <a:pt x="4565" y="79344"/>
                  <a:pt x="5080" y="68747"/>
                  <a:pt x="2540" y="64302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6084894" y="6273806"/>
            <a:ext cx="111125" cy="55033"/>
          </a:xfrm>
          <a:custGeom>
            <a:avLst/>
            <a:gdLst>
              <a:gd name="connsiteX0" fmla="*/ 64770 w 110669"/>
              <a:gd name="connsiteY0" fmla="*/ 5791 h 55321"/>
              <a:gd name="connsiteX1" fmla="*/ 30480 w 110669"/>
              <a:gd name="connsiteY1" fmla="*/ 13411 h 55321"/>
              <a:gd name="connsiteX2" fmla="*/ 7620 w 110669"/>
              <a:gd name="connsiteY2" fmla="*/ 21031 h 55321"/>
              <a:gd name="connsiteX3" fmla="*/ 0 w 110669"/>
              <a:gd name="connsiteY3" fmla="*/ 32461 h 55321"/>
              <a:gd name="connsiteX4" fmla="*/ 7620 w 110669"/>
              <a:gd name="connsiteY4" fmla="*/ 43891 h 55321"/>
              <a:gd name="connsiteX5" fmla="*/ 30480 w 110669"/>
              <a:gd name="connsiteY5" fmla="*/ 55321 h 55321"/>
              <a:gd name="connsiteX6" fmla="*/ 106680 w 110669"/>
              <a:gd name="connsiteY6" fmla="*/ 51511 h 55321"/>
              <a:gd name="connsiteX7" fmla="*/ 95250 w 110669"/>
              <a:gd name="connsiteY7" fmla="*/ 47701 h 55321"/>
              <a:gd name="connsiteX8" fmla="*/ 91440 w 110669"/>
              <a:gd name="connsiteY8" fmla="*/ 24841 h 55321"/>
              <a:gd name="connsiteX9" fmla="*/ 64770 w 110669"/>
              <a:gd name="connsiteY9" fmla="*/ 5791 h 55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0669" h="55321">
                <a:moveTo>
                  <a:pt x="64770" y="5791"/>
                </a:moveTo>
                <a:cubicBezTo>
                  <a:pt x="54610" y="3886"/>
                  <a:pt x="84123" y="0"/>
                  <a:pt x="30480" y="13411"/>
                </a:cubicBezTo>
                <a:cubicBezTo>
                  <a:pt x="22688" y="15359"/>
                  <a:pt x="7620" y="21031"/>
                  <a:pt x="7620" y="21031"/>
                </a:cubicBezTo>
                <a:cubicBezTo>
                  <a:pt x="5080" y="24841"/>
                  <a:pt x="0" y="27882"/>
                  <a:pt x="0" y="32461"/>
                </a:cubicBezTo>
                <a:cubicBezTo>
                  <a:pt x="0" y="37040"/>
                  <a:pt x="4382" y="40653"/>
                  <a:pt x="7620" y="43891"/>
                </a:cubicBezTo>
                <a:cubicBezTo>
                  <a:pt x="15006" y="51277"/>
                  <a:pt x="21184" y="52222"/>
                  <a:pt x="30480" y="55321"/>
                </a:cubicBezTo>
                <a:cubicBezTo>
                  <a:pt x="55880" y="54051"/>
                  <a:pt x="81422" y="54482"/>
                  <a:pt x="106680" y="51511"/>
                </a:cubicBezTo>
                <a:cubicBezTo>
                  <a:pt x="110669" y="51042"/>
                  <a:pt x="97243" y="51188"/>
                  <a:pt x="95250" y="47701"/>
                </a:cubicBezTo>
                <a:cubicBezTo>
                  <a:pt x="91417" y="40994"/>
                  <a:pt x="96527" y="30655"/>
                  <a:pt x="91440" y="24841"/>
                </a:cubicBezTo>
                <a:cubicBezTo>
                  <a:pt x="81961" y="14008"/>
                  <a:pt x="74930" y="7696"/>
                  <a:pt x="64770" y="5791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6238881" y="6197604"/>
            <a:ext cx="269875" cy="118533"/>
          </a:xfrm>
          <a:custGeom>
            <a:avLst/>
            <a:gdLst>
              <a:gd name="connsiteX0" fmla="*/ 62395 w 269931"/>
              <a:gd name="connsiteY0" fmla="*/ 24049 h 119299"/>
              <a:gd name="connsiteX1" fmla="*/ 142405 w 269931"/>
              <a:gd name="connsiteY1" fmla="*/ 24049 h 119299"/>
              <a:gd name="connsiteX2" fmla="*/ 165265 w 269931"/>
              <a:gd name="connsiteY2" fmla="*/ 16429 h 119299"/>
              <a:gd name="connsiteX3" fmla="*/ 180505 w 269931"/>
              <a:gd name="connsiteY3" fmla="*/ 12619 h 119299"/>
              <a:gd name="connsiteX4" fmla="*/ 230035 w 269931"/>
              <a:gd name="connsiteY4" fmla="*/ 39289 h 119299"/>
              <a:gd name="connsiteX5" fmla="*/ 241465 w 269931"/>
              <a:gd name="connsiteY5" fmla="*/ 43099 h 119299"/>
              <a:gd name="connsiteX6" fmla="*/ 264325 w 269931"/>
              <a:gd name="connsiteY6" fmla="*/ 58339 h 119299"/>
              <a:gd name="connsiteX7" fmla="*/ 268135 w 269931"/>
              <a:gd name="connsiteY7" fmla="*/ 69769 h 119299"/>
              <a:gd name="connsiteX8" fmla="*/ 256705 w 269931"/>
              <a:gd name="connsiteY8" fmla="*/ 73579 h 119299"/>
              <a:gd name="connsiteX9" fmla="*/ 237655 w 269931"/>
              <a:gd name="connsiteY9" fmla="*/ 77389 h 119299"/>
              <a:gd name="connsiteX10" fmla="*/ 214795 w 269931"/>
              <a:gd name="connsiteY10" fmla="*/ 85009 h 119299"/>
              <a:gd name="connsiteX11" fmla="*/ 191935 w 269931"/>
              <a:gd name="connsiteY11" fmla="*/ 92629 h 119299"/>
              <a:gd name="connsiteX12" fmla="*/ 180505 w 269931"/>
              <a:gd name="connsiteY12" fmla="*/ 96439 h 119299"/>
              <a:gd name="connsiteX13" fmla="*/ 157645 w 269931"/>
              <a:gd name="connsiteY13" fmla="*/ 111679 h 119299"/>
              <a:gd name="connsiteX14" fmla="*/ 146215 w 269931"/>
              <a:gd name="connsiteY14" fmla="*/ 119299 h 119299"/>
              <a:gd name="connsiteX15" fmla="*/ 100495 w 269931"/>
              <a:gd name="connsiteY15" fmla="*/ 115489 h 119299"/>
              <a:gd name="connsiteX16" fmla="*/ 77635 w 269931"/>
              <a:gd name="connsiteY16" fmla="*/ 107869 h 119299"/>
              <a:gd name="connsiteX17" fmla="*/ 58585 w 269931"/>
              <a:gd name="connsiteY17" fmla="*/ 104059 h 119299"/>
              <a:gd name="connsiteX18" fmla="*/ 43345 w 269931"/>
              <a:gd name="connsiteY18" fmla="*/ 100249 h 119299"/>
              <a:gd name="connsiteX19" fmla="*/ 5245 w 269931"/>
              <a:gd name="connsiteY19" fmla="*/ 92629 h 119299"/>
              <a:gd name="connsiteX20" fmla="*/ 77635 w 269931"/>
              <a:gd name="connsiteY20" fmla="*/ 73579 h 119299"/>
              <a:gd name="connsiteX21" fmla="*/ 70015 w 269931"/>
              <a:gd name="connsiteY21" fmla="*/ 62149 h 119299"/>
              <a:gd name="connsiteX22" fmla="*/ 62395 w 269931"/>
              <a:gd name="connsiteY22" fmla="*/ 39289 h 119299"/>
              <a:gd name="connsiteX23" fmla="*/ 62395 w 269931"/>
              <a:gd name="connsiteY23" fmla="*/ 24049 h 119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69931" h="119299">
                <a:moveTo>
                  <a:pt x="62395" y="24049"/>
                </a:moveTo>
                <a:cubicBezTo>
                  <a:pt x="75730" y="21509"/>
                  <a:pt x="104688" y="30705"/>
                  <a:pt x="142405" y="24049"/>
                </a:cubicBezTo>
                <a:cubicBezTo>
                  <a:pt x="150315" y="22653"/>
                  <a:pt x="157473" y="18377"/>
                  <a:pt x="165265" y="16429"/>
                </a:cubicBezTo>
                <a:lnTo>
                  <a:pt x="180505" y="12619"/>
                </a:lnTo>
                <a:cubicBezTo>
                  <a:pt x="265848" y="19731"/>
                  <a:pt x="207584" y="0"/>
                  <a:pt x="230035" y="39289"/>
                </a:cubicBezTo>
                <a:cubicBezTo>
                  <a:pt x="232028" y="42776"/>
                  <a:pt x="237954" y="41149"/>
                  <a:pt x="241465" y="43099"/>
                </a:cubicBezTo>
                <a:cubicBezTo>
                  <a:pt x="249471" y="47547"/>
                  <a:pt x="264325" y="58339"/>
                  <a:pt x="264325" y="58339"/>
                </a:cubicBezTo>
                <a:cubicBezTo>
                  <a:pt x="265595" y="62149"/>
                  <a:pt x="269931" y="66177"/>
                  <a:pt x="268135" y="69769"/>
                </a:cubicBezTo>
                <a:cubicBezTo>
                  <a:pt x="266339" y="73361"/>
                  <a:pt x="260601" y="72605"/>
                  <a:pt x="256705" y="73579"/>
                </a:cubicBezTo>
                <a:cubicBezTo>
                  <a:pt x="250423" y="75150"/>
                  <a:pt x="243903" y="75685"/>
                  <a:pt x="237655" y="77389"/>
                </a:cubicBezTo>
                <a:cubicBezTo>
                  <a:pt x="229906" y="79502"/>
                  <a:pt x="222415" y="82469"/>
                  <a:pt x="214795" y="85009"/>
                </a:cubicBezTo>
                <a:lnTo>
                  <a:pt x="191935" y="92629"/>
                </a:lnTo>
                <a:cubicBezTo>
                  <a:pt x="188125" y="93899"/>
                  <a:pt x="183847" y="94211"/>
                  <a:pt x="180505" y="96439"/>
                </a:cubicBezTo>
                <a:lnTo>
                  <a:pt x="157645" y="111679"/>
                </a:lnTo>
                <a:lnTo>
                  <a:pt x="146215" y="119299"/>
                </a:lnTo>
                <a:cubicBezTo>
                  <a:pt x="130975" y="118029"/>
                  <a:pt x="115580" y="118003"/>
                  <a:pt x="100495" y="115489"/>
                </a:cubicBezTo>
                <a:cubicBezTo>
                  <a:pt x="92572" y="114169"/>
                  <a:pt x="85511" y="109444"/>
                  <a:pt x="77635" y="107869"/>
                </a:cubicBezTo>
                <a:cubicBezTo>
                  <a:pt x="71285" y="106599"/>
                  <a:pt x="64907" y="105464"/>
                  <a:pt x="58585" y="104059"/>
                </a:cubicBezTo>
                <a:cubicBezTo>
                  <a:pt x="53473" y="102923"/>
                  <a:pt x="48465" y="101346"/>
                  <a:pt x="43345" y="100249"/>
                </a:cubicBezTo>
                <a:cubicBezTo>
                  <a:pt x="30681" y="97535"/>
                  <a:pt x="5245" y="92629"/>
                  <a:pt x="5245" y="92629"/>
                </a:cubicBezTo>
                <a:cubicBezTo>
                  <a:pt x="15483" y="51676"/>
                  <a:pt x="0" y="92988"/>
                  <a:pt x="77635" y="73579"/>
                </a:cubicBezTo>
                <a:cubicBezTo>
                  <a:pt x="82077" y="72468"/>
                  <a:pt x="71875" y="66333"/>
                  <a:pt x="70015" y="62149"/>
                </a:cubicBezTo>
                <a:cubicBezTo>
                  <a:pt x="66753" y="54809"/>
                  <a:pt x="62395" y="39289"/>
                  <a:pt x="62395" y="39289"/>
                </a:cubicBezTo>
                <a:cubicBezTo>
                  <a:pt x="70583" y="22913"/>
                  <a:pt x="49060" y="26589"/>
                  <a:pt x="62395" y="24049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6535739" y="6252636"/>
            <a:ext cx="101600" cy="67733"/>
          </a:xfrm>
          <a:custGeom>
            <a:avLst/>
            <a:gdLst>
              <a:gd name="connsiteX0" fmla="*/ 97382 w 102033"/>
              <a:gd name="connsiteY0" fmla="*/ 5080 h 69685"/>
              <a:gd name="connsiteX1" fmla="*/ 74522 w 102033"/>
              <a:gd name="connsiteY1" fmla="*/ 8890 h 69685"/>
              <a:gd name="connsiteX2" fmla="*/ 9752 w 102033"/>
              <a:gd name="connsiteY2" fmla="*/ 12700 h 69685"/>
              <a:gd name="connsiteX3" fmla="*/ 13562 w 102033"/>
              <a:gd name="connsiteY3" fmla="*/ 46990 h 69685"/>
              <a:gd name="connsiteX4" fmla="*/ 36422 w 102033"/>
              <a:gd name="connsiteY4" fmla="*/ 54610 h 69685"/>
              <a:gd name="connsiteX5" fmla="*/ 101192 w 102033"/>
              <a:gd name="connsiteY5" fmla="*/ 39370 h 69685"/>
              <a:gd name="connsiteX6" fmla="*/ 97382 w 102033"/>
              <a:gd name="connsiteY6" fmla="*/ 5080 h 6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033" h="69685">
                <a:moveTo>
                  <a:pt x="97382" y="5080"/>
                </a:moveTo>
                <a:cubicBezTo>
                  <a:pt x="92937" y="0"/>
                  <a:pt x="82218" y="8221"/>
                  <a:pt x="74522" y="8890"/>
                </a:cubicBezTo>
                <a:cubicBezTo>
                  <a:pt x="52976" y="10764"/>
                  <a:pt x="28092" y="1238"/>
                  <a:pt x="9752" y="12700"/>
                </a:cubicBezTo>
                <a:cubicBezTo>
                  <a:pt x="0" y="18795"/>
                  <a:pt x="7388" y="37288"/>
                  <a:pt x="13562" y="46990"/>
                </a:cubicBezTo>
                <a:cubicBezTo>
                  <a:pt x="17874" y="53766"/>
                  <a:pt x="36422" y="54610"/>
                  <a:pt x="36422" y="54610"/>
                </a:cubicBezTo>
                <a:cubicBezTo>
                  <a:pt x="66512" y="52729"/>
                  <a:pt x="97824" y="69685"/>
                  <a:pt x="101192" y="39370"/>
                </a:cubicBezTo>
                <a:cubicBezTo>
                  <a:pt x="102033" y="31797"/>
                  <a:pt x="101827" y="10160"/>
                  <a:pt x="97382" y="5080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6721478" y="6256867"/>
            <a:ext cx="106363" cy="264584"/>
          </a:xfrm>
          <a:custGeom>
            <a:avLst/>
            <a:gdLst>
              <a:gd name="connsiteX0" fmla="*/ 19050 w 106680"/>
              <a:gd name="connsiteY0" fmla="*/ 3810 h 265283"/>
              <a:gd name="connsiteX1" fmla="*/ 7620 w 106680"/>
              <a:gd name="connsiteY1" fmla="*/ 7620 h 265283"/>
              <a:gd name="connsiteX2" fmla="*/ 0 w 106680"/>
              <a:gd name="connsiteY2" fmla="*/ 30480 h 265283"/>
              <a:gd name="connsiteX3" fmla="*/ 3810 w 106680"/>
              <a:gd name="connsiteY3" fmla="*/ 64770 h 265283"/>
              <a:gd name="connsiteX4" fmla="*/ 7620 w 106680"/>
              <a:gd name="connsiteY4" fmla="*/ 76200 h 265283"/>
              <a:gd name="connsiteX5" fmla="*/ 30480 w 106680"/>
              <a:gd name="connsiteY5" fmla="*/ 83820 h 265283"/>
              <a:gd name="connsiteX6" fmla="*/ 34290 w 106680"/>
              <a:gd name="connsiteY6" fmla="*/ 118110 h 265283"/>
              <a:gd name="connsiteX7" fmla="*/ 49530 w 106680"/>
              <a:gd name="connsiteY7" fmla="*/ 140970 h 265283"/>
              <a:gd name="connsiteX8" fmla="*/ 53340 w 106680"/>
              <a:gd name="connsiteY8" fmla="*/ 152400 h 265283"/>
              <a:gd name="connsiteX9" fmla="*/ 76200 w 106680"/>
              <a:gd name="connsiteY9" fmla="*/ 167640 h 265283"/>
              <a:gd name="connsiteX10" fmla="*/ 80010 w 106680"/>
              <a:gd name="connsiteY10" fmla="*/ 179070 h 265283"/>
              <a:gd name="connsiteX11" fmla="*/ 83820 w 106680"/>
              <a:gd name="connsiteY11" fmla="*/ 259080 h 265283"/>
              <a:gd name="connsiteX12" fmla="*/ 102870 w 106680"/>
              <a:gd name="connsiteY12" fmla="*/ 255270 h 265283"/>
              <a:gd name="connsiteX13" fmla="*/ 106680 w 106680"/>
              <a:gd name="connsiteY13" fmla="*/ 175260 h 265283"/>
              <a:gd name="connsiteX14" fmla="*/ 95250 w 106680"/>
              <a:gd name="connsiteY14" fmla="*/ 125730 h 265283"/>
              <a:gd name="connsiteX15" fmla="*/ 72390 w 106680"/>
              <a:gd name="connsiteY15" fmla="*/ 114300 h 265283"/>
              <a:gd name="connsiteX16" fmla="*/ 64770 w 106680"/>
              <a:gd name="connsiteY16" fmla="*/ 91440 h 265283"/>
              <a:gd name="connsiteX17" fmla="*/ 53340 w 106680"/>
              <a:gd name="connsiteY17" fmla="*/ 41910 h 265283"/>
              <a:gd name="connsiteX18" fmla="*/ 41910 w 106680"/>
              <a:gd name="connsiteY18" fmla="*/ 38100 h 265283"/>
              <a:gd name="connsiteX19" fmla="*/ 30480 w 106680"/>
              <a:gd name="connsiteY19" fmla="*/ 30480 h 265283"/>
              <a:gd name="connsiteX20" fmla="*/ 19050 w 106680"/>
              <a:gd name="connsiteY20" fmla="*/ 3810 h 265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06680" h="265283">
                <a:moveTo>
                  <a:pt x="19050" y="3810"/>
                </a:moveTo>
                <a:cubicBezTo>
                  <a:pt x="15240" y="0"/>
                  <a:pt x="9954" y="4352"/>
                  <a:pt x="7620" y="7620"/>
                </a:cubicBezTo>
                <a:cubicBezTo>
                  <a:pt x="2951" y="14156"/>
                  <a:pt x="0" y="30480"/>
                  <a:pt x="0" y="30480"/>
                </a:cubicBezTo>
                <a:cubicBezTo>
                  <a:pt x="1270" y="41910"/>
                  <a:pt x="1919" y="53426"/>
                  <a:pt x="3810" y="64770"/>
                </a:cubicBezTo>
                <a:cubicBezTo>
                  <a:pt x="4470" y="68731"/>
                  <a:pt x="4352" y="73866"/>
                  <a:pt x="7620" y="76200"/>
                </a:cubicBezTo>
                <a:cubicBezTo>
                  <a:pt x="14156" y="80869"/>
                  <a:pt x="30480" y="83820"/>
                  <a:pt x="30480" y="83820"/>
                </a:cubicBezTo>
                <a:cubicBezTo>
                  <a:pt x="45090" y="105735"/>
                  <a:pt x="34290" y="83889"/>
                  <a:pt x="34290" y="118110"/>
                </a:cubicBezTo>
                <a:cubicBezTo>
                  <a:pt x="34290" y="129138"/>
                  <a:pt x="42658" y="134098"/>
                  <a:pt x="49530" y="140970"/>
                </a:cubicBezTo>
                <a:cubicBezTo>
                  <a:pt x="50800" y="144780"/>
                  <a:pt x="50500" y="149560"/>
                  <a:pt x="53340" y="152400"/>
                </a:cubicBezTo>
                <a:cubicBezTo>
                  <a:pt x="59816" y="158876"/>
                  <a:pt x="76200" y="167640"/>
                  <a:pt x="76200" y="167640"/>
                </a:cubicBezTo>
                <a:cubicBezTo>
                  <a:pt x="77470" y="171450"/>
                  <a:pt x="79676" y="175068"/>
                  <a:pt x="80010" y="179070"/>
                </a:cubicBezTo>
                <a:cubicBezTo>
                  <a:pt x="82227" y="205678"/>
                  <a:pt x="76148" y="233506"/>
                  <a:pt x="83820" y="259080"/>
                </a:cubicBezTo>
                <a:cubicBezTo>
                  <a:pt x="85681" y="265283"/>
                  <a:pt x="96520" y="256540"/>
                  <a:pt x="102870" y="255270"/>
                </a:cubicBezTo>
                <a:cubicBezTo>
                  <a:pt x="104140" y="228600"/>
                  <a:pt x="106680" y="201960"/>
                  <a:pt x="106680" y="175260"/>
                </a:cubicBezTo>
                <a:cubicBezTo>
                  <a:pt x="106680" y="171223"/>
                  <a:pt x="101286" y="129754"/>
                  <a:pt x="95250" y="125730"/>
                </a:cubicBezTo>
                <a:cubicBezTo>
                  <a:pt x="80478" y="115882"/>
                  <a:pt x="88164" y="119558"/>
                  <a:pt x="72390" y="114300"/>
                </a:cubicBezTo>
                <a:cubicBezTo>
                  <a:pt x="69850" y="106680"/>
                  <a:pt x="65569" y="99432"/>
                  <a:pt x="64770" y="91440"/>
                </a:cubicBezTo>
                <a:cubicBezTo>
                  <a:pt x="63622" y="79959"/>
                  <a:pt x="66921" y="52775"/>
                  <a:pt x="53340" y="41910"/>
                </a:cubicBezTo>
                <a:cubicBezTo>
                  <a:pt x="50204" y="39401"/>
                  <a:pt x="45502" y="39896"/>
                  <a:pt x="41910" y="38100"/>
                </a:cubicBezTo>
                <a:cubicBezTo>
                  <a:pt x="37814" y="36052"/>
                  <a:pt x="34576" y="32528"/>
                  <a:pt x="30480" y="30480"/>
                </a:cubicBezTo>
                <a:cubicBezTo>
                  <a:pt x="26888" y="28684"/>
                  <a:pt x="22860" y="7620"/>
                  <a:pt x="19050" y="3810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6627819" y="6000752"/>
            <a:ext cx="76495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IN" sz="1600">
                <a:latin typeface="Ramabhadra" pitchFamily="2" charset="0"/>
                <a:cs typeface="Ramabhadra" pitchFamily="2" charset="0"/>
              </a:rPr>
              <a:t>వెస్టిండీస్</a:t>
            </a:r>
            <a:endParaRPr lang="en-US" sz="16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5907094" y="6644217"/>
            <a:ext cx="223837" cy="101600"/>
          </a:xfrm>
          <a:custGeom>
            <a:avLst/>
            <a:gdLst>
              <a:gd name="connsiteX0" fmla="*/ 200390 w 223250"/>
              <a:gd name="connsiteY0" fmla="*/ 89272 h 102796"/>
              <a:gd name="connsiteX1" fmla="*/ 185150 w 223250"/>
              <a:gd name="connsiteY1" fmla="*/ 54982 h 102796"/>
              <a:gd name="connsiteX2" fmla="*/ 173720 w 223250"/>
              <a:gd name="connsiteY2" fmla="*/ 43552 h 102796"/>
              <a:gd name="connsiteX3" fmla="*/ 162290 w 223250"/>
              <a:gd name="connsiteY3" fmla="*/ 35932 h 102796"/>
              <a:gd name="connsiteX4" fmla="*/ 131810 w 223250"/>
              <a:gd name="connsiteY4" fmla="*/ 43552 h 102796"/>
              <a:gd name="connsiteX5" fmla="*/ 120380 w 223250"/>
              <a:gd name="connsiteY5" fmla="*/ 51172 h 102796"/>
              <a:gd name="connsiteX6" fmla="*/ 116570 w 223250"/>
              <a:gd name="connsiteY6" fmla="*/ 62602 h 102796"/>
              <a:gd name="connsiteX7" fmla="*/ 108950 w 223250"/>
              <a:gd name="connsiteY7" fmla="*/ 74032 h 102796"/>
              <a:gd name="connsiteX8" fmla="*/ 105140 w 223250"/>
              <a:gd name="connsiteY8" fmla="*/ 96892 h 102796"/>
              <a:gd name="connsiteX9" fmla="*/ 67040 w 223250"/>
              <a:gd name="connsiteY9" fmla="*/ 70222 h 102796"/>
              <a:gd name="connsiteX10" fmla="*/ 67040 w 223250"/>
              <a:gd name="connsiteY10" fmla="*/ 70222 h 102796"/>
              <a:gd name="connsiteX11" fmla="*/ 9890 w 223250"/>
              <a:gd name="connsiteY11" fmla="*/ 62602 h 102796"/>
              <a:gd name="connsiteX12" fmla="*/ 25130 w 223250"/>
              <a:gd name="connsiteY12" fmla="*/ 16882 h 102796"/>
              <a:gd name="connsiteX13" fmla="*/ 36560 w 223250"/>
              <a:gd name="connsiteY13" fmla="*/ 9262 h 102796"/>
              <a:gd name="connsiteX14" fmla="*/ 70850 w 223250"/>
              <a:gd name="connsiteY14" fmla="*/ 13072 h 102796"/>
              <a:gd name="connsiteX15" fmla="*/ 93710 w 223250"/>
              <a:gd name="connsiteY15" fmla="*/ 24502 h 102796"/>
              <a:gd name="connsiteX16" fmla="*/ 105140 w 223250"/>
              <a:gd name="connsiteY16" fmla="*/ 28312 h 102796"/>
              <a:gd name="connsiteX17" fmla="*/ 124190 w 223250"/>
              <a:gd name="connsiteY17" fmla="*/ 13072 h 102796"/>
              <a:gd name="connsiteX18" fmla="*/ 147050 w 223250"/>
              <a:gd name="connsiteY18" fmla="*/ 1642 h 102796"/>
              <a:gd name="connsiteX19" fmla="*/ 181340 w 223250"/>
              <a:gd name="connsiteY19" fmla="*/ 5452 h 102796"/>
              <a:gd name="connsiteX20" fmla="*/ 196580 w 223250"/>
              <a:gd name="connsiteY20" fmla="*/ 28312 h 102796"/>
              <a:gd name="connsiteX21" fmla="*/ 219440 w 223250"/>
              <a:gd name="connsiteY21" fmla="*/ 47362 h 102796"/>
              <a:gd name="connsiteX22" fmla="*/ 223250 w 223250"/>
              <a:gd name="connsiteY22" fmla="*/ 58792 h 102796"/>
              <a:gd name="connsiteX23" fmla="*/ 208010 w 223250"/>
              <a:gd name="connsiteY23" fmla="*/ 81652 h 102796"/>
              <a:gd name="connsiteX24" fmla="*/ 200390 w 223250"/>
              <a:gd name="connsiteY24" fmla="*/ 89272 h 10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23250" h="102796">
                <a:moveTo>
                  <a:pt x="200390" y="89272"/>
                </a:moveTo>
                <a:cubicBezTo>
                  <a:pt x="196580" y="84827"/>
                  <a:pt x="195213" y="67057"/>
                  <a:pt x="185150" y="54982"/>
                </a:cubicBezTo>
                <a:cubicBezTo>
                  <a:pt x="181701" y="50843"/>
                  <a:pt x="177859" y="47001"/>
                  <a:pt x="173720" y="43552"/>
                </a:cubicBezTo>
                <a:cubicBezTo>
                  <a:pt x="170202" y="40621"/>
                  <a:pt x="166100" y="38472"/>
                  <a:pt x="162290" y="35932"/>
                </a:cubicBezTo>
                <a:cubicBezTo>
                  <a:pt x="155044" y="37381"/>
                  <a:pt x="139620" y="39647"/>
                  <a:pt x="131810" y="43552"/>
                </a:cubicBezTo>
                <a:cubicBezTo>
                  <a:pt x="127714" y="45600"/>
                  <a:pt x="124190" y="48632"/>
                  <a:pt x="120380" y="51172"/>
                </a:cubicBezTo>
                <a:cubicBezTo>
                  <a:pt x="119110" y="54982"/>
                  <a:pt x="118366" y="59010"/>
                  <a:pt x="116570" y="62602"/>
                </a:cubicBezTo>
                <a:cubicBezTo>
                  <a:pt x="114522" y="66698"/>
                  <a:pt x="110398" y="69688"/>
                  <a:pt x="108950" y="74032"/>
                </a:cubicBezTo>
                <a:cubicBezTo>
                  <a:pt x="106507" y="81361"/>
                  <a:pt x="106410" y="89272"/>
                  <a:pt x="105140" y="96892"/>
                </a:cubicBezTo>
                <a:cubicBezTo>
                  <a:pt x="66690" y="92086"/>
                  <a:pt x="77898" y="102796"/>
                  <a:pt x="67040" y="70222"/>
                </a:cubicBezTo>
                <a:lnTo>
                  <a:pt x="67040" y="70222"/>
                </a:lnTo>
                <a:cubicBezTo>
                  <a:pt x="41102" y="61576"/>
                  <a:pt x="59612" y="66746"/>
                  <a:pt x="9890" y="62602"/>
                </a:cubicBezTo>
                <a:cubicBezTo>
                  <a:pt x="15435" y="1606"/>
                  <a:pt x="0" y="29447"/>
                  <a:pt x="25130" y="16882"/>
                </a:cubicBezTo>
                <a:cubicBezTo>
                  <a:pt x="29226" y="14834"/>
                  <a:pt x="32750" y="11802"/>
                  <a:pt x="36560" y="9262"/>
                </a:cubicBezTo>
                <a:cubicBezTo>
                  <a:pt x="47990" y="10532"/>
                  <a:pt x="59506" y="11181"/>
                  <a:pt x="70850" y="13072"/>
                </a:cubicBezTo>
                <a:cubicBezTo>
                  <a:pt x="85215" y="15466"/>
                  <a:pt x="80545" y="17920"/>
                  <a:pt x="93710" y="24502"/>
                </a:cubicBezTo>
                <a:cubicBezTo>
                  <a:pt x="97302" y="26298"/>
                  <a:pt x="101330" y="27042"/>
                  <a:pt x="105140" y="28312"/>
                </a:cubicBezTo>
                <a:cubicBezTo>
                  <a:pt x="127392" y="20895"/>
                  <a:pt x="106956" y="30306"/>
                  <a:pt x="124190" y="13072"/>
                </a:cubicBezTo>
                <a:cubicBezTo>
                  <a:pt x="131576" y="5686"/>
                  <a:pt x="137754" y="4741"/>
                  <a:pt x="147050" y="1642"/>
                </a:cubicBezTo>
                <a:cubicBezTo>
                  <a:pt x="158480" y="2912"/>
                  <a:pt x="171214" y="0"/>
                  <a:pt x="181340" y="5452"/>
                </a:cubicBezTo>
                <a:cubicBezTo>
                  <a:pt x="189403" y="9794"/>
                  <a:pt x="188960" y="23232"/>
                  <a:pt x="196580" y="28312"/>
                </a:cubicBezTo>
                <a:cubicBezTo>
                  <a:pt x="212493" y="38921"/>
                  <a:pt x="204772" y="32694"/>
                  <a:pt x="219440" y="47362"/>
                </a:cubicBezTo>
                <a:cubicBezTo>
                  <a:pt x="220710" y="51172"/>
                  <a:pt x="223250" y="54776"/>
                  <a:pt x="223250" y="58792"/>
                </a:cubicBezTo>
                <a:cubicBezTo>
                  <a:pt x="223250" y="68795"/>
                  <a:pt x="214882" y="76154"/>
                  <a:pt x="208010" y="81652"/>
                </a:cubicBezTo>
                <a:cubicBezTo>
                  <a:pt x="205792" y="83426"/>
                  <a:pt x="204200" y="93717"/>
                  <a:pt x="200390" y="89272"/>
                </a:cubicBezTo>
                <a:close/>
              </a:path>
            </a:pathLst>
          </a:cu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5781681" y="6574369"/>
            <a:ext cx="161925" cy="135467"/>
          </a:xfrm>
          <a:custGeom>
            <a:avLst/>
            <a:gdLst>
              <a:gd name="connsiteX0" fmla="*/ 159701 w 162459"/>
              <a:gd name="connsiteY0" fmla="*/ 70339 h 133780"/>
              <a:gd name="connsiteX1" fmla="*/ 130738 w 162459"/>
              <a:gd name="connsiteY1" fmla="*/ 45513 h 133780"/>
              <a:gd name="connsiteX2" fmla="*/ 118326 w 162459"/>
              <a:gd name="connsiteY2" fmla="*/ 33101 h 133780"/>
              <a:gd name="connsiteX3" fmla="*/ 105913 w 162459"/>
              <a:gd name="connsiteY3" fmla="*/ 28963 h 133780"/>
              <a:gd name="connsiteX4" fmla="*/ 93500 w 162459"/>
              <a:gd name="connsiteY4" fmla="*/ 20688 h 133780"/>
              <a:gd name="connsiteX5" fmla="*/ 76950 w 162459"/>
              <a:gd name="connsiteY5" fmla="*/ 16551 h 133780"/>
              <a:gd name="connsiteX6" fmla="*/ 39712 w 162459"/>
              <a:gd name="connsiteY6" fmla="*/ 0 h 133780"/>
              <a:gd name="connsiteX7" fmla="*/ 27299 w 162459"/>
              <a:gd name="connsiteY7" fmla="*/ 4138 h 133780"/>
              <a:gd name="connsiteX8" fmla="*/ 2474 w 162459"/>
              <a:gd name="connsiteY8" fmla="*/ 20688 h 133780"/>
              <a:gd name="connsiteX9" fmla="*/ 19024 w 162459"/>
              <a:gd name="connsiteY9" fmla="*/ 57926 h 133780"/>
              <a:gd name="connsiteX10" fmla="*/ 31437 w 162459"/>
              <a:gd name="connsiteY10" fmla="*/ 53789 h 133780"/>
              <a:gd name="connsiteX11" fmla="*/ 39712 w 162459"/>
              <a:gd name="connsiteY11" fmla="*/ 45513 h 133780"/>
              <a:gd name="connsiteX12" fmla="*/ 43850 w 162459"/>
              <a:gd name="connsiteY12" fmla="*/ 57926 h 133780"/>
              <a:gd name="connsiteX13" fmla="*/ 60400 w 162459"/>
              <a:gd name="connsiteY13" fmla="*/ 82752 h 133780"/>
              <a:gd name="connsiteX14" fmla="*/ 72813 w 162459"/>
              <a:gd name="connsiteY14" fmla="*/ 95164 h 133780"/>
              <a:gd name="connsiteX15" fmla="*/ 85225 w 162459"/>
              <a:gd name="connsiteY15" fmla="*/ 99302 h 133780"/>
              <a:gd name="connsiteX16" fmla="*/ 122463 w 162459"/>
              <a:gd name="connsiteY16" fmla="*/ 103439 h 133780"/>
              <a:gd name="connsiteX17" fmla="*/ 139013 w 162459"/>
              <a:gd name="connsiteY17" fmla="*/ 111714 h 133780"/>
              <a:gd name="connsiteX18" fmla="*/ 147289 w 162459"/>
              <a:gd name="connsiteY18" fmla="*/ 70339 h 133780"/>
              <a:gd name="connsiteX19" fmla="*/ 159701 w 162459"/>
              <a:gd name="connsiteY19" fmla="*/ 70339 h 133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62459" h="133780">
                <a:moveTo>
                  <a:pt x="159701" y="70339"/>
                </a:moveTo>
                <a:cubicBezTo>
                  <a:pt x="156943" y="66201"/>
                  <a:pt x="150805" y="65580"/>
                  <a:pt x="130738" y="45513"/>
                </a:cubicBezTo>
                <a:cubicBezTo>
                  <a:pt x="126601" y="41376"/>
                  <a:pt x="123877" y="34951"/>
                  <a:pt x="118326" y="33101"/>
                </a:cubicBezTo>
                <a:cubicBezTo>
                  <a:pt x="114188" y="31722"/>
                  <a:pt x="109814" y="30914"/>
                  <a:pt x="105913" y="28963"/>
                </a:cubicBezTo>
                <a:cubicBezTo>
                  <a:pt x="101465" y="26739"/>
                  <a:pt x="98071" y="22647"/>
                  <a:pt x="93500" y="20688"/>
                </a:cubicBezTo>
                <a:cubicBezTo>
                  <a:pt x="88273" y="18448"/>
                  <a:pt x="82397" y="18185"/>
                  <a:pt x="76950" y="16551"/>
                </a:cubicBezTo>
                <a:cubicBezTo>
                  <a:pt x="50096" y="8494"/>
                  <a:pt x="57850" y="12092"/>
                  <a:pt x="39712" y="0"/>
                </a:cubicBezTo>
                <a:cubicBezTo>
                  <a:pt x="35574" y="1379"/>
                  <a:pt x="31112" y="2020"/>
                  <a:pt x="27299" y="4138"/>
                </a:cubicBezTo>
                <a:cubicBezTo>
                  <a:pt x="18605" y="8968"/>
                  <a:pt x="2474" y="20688"/>
                  <a:pt x="2474" y="20688"/>
                </a:cubicBezTo>
                <a:cubicBezTo>
                  <a:pt x="4369" y="33953"/>
                  <a:pt x="0" y="54755"/>
                  <a:pt x="19024" y="57926"/>
                </a:cubicBezTo>
                <a:cubicBezTo>
                  <a:pt x="23326" y="58643"/>
                  <a:pt x="27299" y="55168"/>
                  <a:pt x="31437" y="53789"/>
                </a:cubicBezTo>
                <a:cubicBezTo>
                  <a:pt x="34195" y="51030"/>
                  <a:pt x="36011" y="44280"/>
                  <a:pt x="39712" y="45513"/>
                </a:cubicBezTo>
                <a:cubicBezTo>
                  <a:pt x="43850" y="46892"/>
                  <a:pt x="41732" y="54113"/>
                  <a:pt x="43850" y="57926"/>
                </a:cubicBezTo>
                <a:cubicBezTo>
                  <a:pt x="48680" y="66620"/>
                  <a:pt x="53367" y="75720"/>
                  <a:pt x="60400" y="82752"/>
                </a:cubicBezTo>
                <a:cubicBezTo>
                  <a:pt x="64538" y="86889"/>
                  <a:pt x="67944" y="91918"/>
                  <a:pt x="72813" y="95164"/>
                </a:cubicBezTo>
                <a:cubicBezTo>
                  <a:pt x="76442" y="97583"/>
                  <a:pt x="80923" y="98585"/>
                  <a:pt x="85225" y="99302"/>
                </a:cubicBezTo>
                <a:cubicBezTo>
                  <a:pt x="97544" y="101355"/>
                  <a:pt x="110050" y="102060"/>
                  <a:pt x="122463" y="103439"/>
                </a:cubicBezTo>
                <a:cubicBezTo>
                  <a:pt x="122463" y="103440"/>
                  <a:pt x="127980" y="133780"/>
                  <a:pt x="139013" y="111714"/>
                </a:cubicBezTo>
                <a:cubicBezTo>
                  <a:pt x="139059" y="111622"/>
                  <a:pt x="142173" y="77160"/>
                  <a:pt x="147289" y="70339"/>
                </a:cubicBezTo>
                <a:cubicBezTo>
                  <a:pt x="149139" y="67872"/>
                  <a:pt x="162459" y="74477"/>
                  <a:pt x="159701" y="70339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5737225" y="6405033"/>
            <a:ext cx="160338" cy="177800"/>
          </a:xfrm>
          <a:custGeom>
            <a:avLst/>
            <a:gdLst>
              <a:gd name="connsiteX0" fmla="*/ 51449 w 159997"/>
              <a:gd name="connsiteY0" fmla="*/ 160105 h 176655"/>
              <a:gd name="connsiteX1" fmla="*/ 47311 w 159997"/>
              <a:gd name="connsiteY1" fmla="*/ 147693 h 176655"/>
              <a:gd name="connsiteX2" fmla="*/ 22486 w 159997"/>
              <a:gd name="connsiteY2" fmla="*/ 114592 h 176655"/>
              <a:gd name="connsiteX3" fmla="*/ 18348 w 159997"/>
              <a:gd name="connsiteY3" fmla="*/ 102179 h 176655"/>
              <a:gd name="connsiteX4" fmla="*/ 5936 w 159997"/>
              <a:gd name="connsiteY4" fmla="*/ 98042 h 176655"/>
              <a:gd name="connsiteX5" fmla="*/ 1798 w 159997"/>
              <a:gd name="connsiteY5" fmla="*/ 81492 h 176655"/>
              <a:gd name="connsiteX6" fmla="*/ 34898 w 159997"/>
              <a:gd name="connsiteY6" fmla="*/ 69079 h 176655"/>
              <a:gd name="connsiteX7" fmla="*/ 39036 w 159997"/>
              <a:gd name="connsiteY7" fmla="*/ 56666 h 176655"/>
              <a:gd name="connsiteX8" fmla="*/ 63861 w 159997"/>
              <a:gd name="connsiteY8" fmla="*/ 48391 h 176655"/>
              <a:gd name="connsiteX9" fmla="*/ 72136 w 159997"/>
              <a:gd name="connsiteY9" fmla="*/ 35979 h 176655"/>
              <a:gd name="connsiteX10" fmla="*/ 76274 w 159997"/>
              <a:gd name="connsiteY10" fmla="*/ 23566 h 176655"/>
              <a:gd name="connsiteX11" fmla="*/ 88687 w 159997"/>
              <a:gd name="connsiteY11" fmla="*/ 15291 h 176655"/>
              <a:gd name="connsiteX12" fmla="*/ 154888 w 159997"/>
              <a:gd name="connsiteY12" fmla="*/ 31841 h 176655"/>
              <a:gd name="connsiteX13" fmla="*/ 159025 w 159997"/>
              <a:gd name="connsiteY13" fmla="*/ 56666 h 176655"/>
              <a:gd name="connsiteX14" fmla="*/ 150750 w 159997"/>
              <a:gd name="connsiteY14" fmla="*/ 164243 h 176655"/>
              <a:gd name="connsiteX15" fmla="*/ 146612 w 159997"/>
              <a:gd name="connsiteY15" fmla="*/ 176655 h 176655"/>
              <a:gd name="connsiteX16" fmla="*/ 105237 w 159997"/>
              <a:gd name="connsiteY16" fmla="*/ 172518 h 176655"/>
              <a:gd name="connsiteX17" fmla="*/ 92824 w 159997"/>
              <a:gd name="connsiteY17" fmla="*/ 164243 h 176655"/>
              <a:gd name="connsiteX18" fmla="*/ 51449 w 159997"/>
              <a:gd name="connsiteY18" fmla="*/ 160105 h 176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9997" h="176655">
                <a:moveTo>
                  <a:pt x="51449" y="160105"/>
                </a:moveTo>
                <a:cubicBezTo>
                  <a:pt x="43864" y="157347"/>
                  <a:pt x="49555" y="151433"/>
                  <a:pt x="47311" y="147693"/>
                </a:cubicBezTo>
                <a:cubicBezTo>
                  <a:pt x="32609" y="123190"/>
                  <a:pt x="39657" y="166101"/>
                  <a:pt x="22486" y="114592"/>
                </a:cubicBezTo>
                <a:cubicBezTo>
                  <a:pt x="21107" y="110454"/>
                  <a:pt x="21432" y="105263"/>
                  <a:pt x="18348" y="102179"/>
                </a:cubicBezTo>
                <a:cubicBezTo>
                  <a:pt x="15264" y="99095"/>
                  <a:pt x="10073" y="99421"/>
                  <a:pt x="5936" y="98042"/>
                </a:cubicBezTo>
                <a:cubicBezTo>
                  <a:pt x="4557" y="92525"/>
                  <a:pt x="0" y="86887"/>
                  <a:pt x="1798" y="81492"/>
                </a:cubicBezTo>
                <a:cubicBezTo>
                  <a:pt x="4842" y="72361"/>
                  <a:pt x="30859" y="69887"/>
                  <a:pt x="34898" y="69079"/>
                </a:cubicBezTo>
                <a:cubicBezTo>
                  <a:pt x="36277" y="64941"/>
                  <a:pt x="35487" y="59201"/>
                  <a:pt x="39036" y="56666"/>
                </a:cubicBezTo>
                <a:cubicBezTo>
                  <a:pt x="46134" y="51596"/>
                  <a:pt x="63861" y="48391"/>
                  <a:pt x="63861" y="48391"/>
                </a:cubicBezTo>
                <a:cubicBezTo>
                  <a:pt x="66619" y="44254"/>
                  <a:pt x="69912" y="40427"/>
                  <a:pt x="72136" y="35979"/>
                </a:cubicBezTo>
                <a:cubicBezTo>
                  <a:pt x="74087" y="32078"/>
                  <a:pt x="73549" y="26972"/>
                  <a:pt x="76274" y="23566"/>
                </a:cubicBezTo>
                <a:cubicBezTo>
                  <a:pt x="79381" y="19683"/>
                  <a:pt x="84549" y="18049"/>
                  <a:pt x="88687" y="15291"/>
                </a:cubicBezTo>
                <a:cubicBezTo>
                  <a:pt x="137897" y="18571"/>
                  <a:pt x="147812" y="0"/>
                  <a:pt x="154888" y="31841"/>
                </a:cubicBezTo>
                <a:cubicBezTo>
                  <a:pt x="156708" y="40030"/>
                  <a:pt x="157646" y="48391"/>
                  <a:pt x="159025" y="56666"/>
                </a:cubicBezTo>
                <a:cubicBezTo>
                  <a:pt x="156936" y="100542"/>
                  <a:pt x="159997" y="127258"/>
                  <a:pt x="150750" y="164243"/>
                </a:cubicBezTo>
                <a:cubicBezTo>
                  <a:pt x="149692" y="168474"/>
                  <a:pt x="147991" y="172518"/>
                  <a:pt x="146612" y="176655"/>
                </a:cubicBezTo>
                <a:cubicBezTo>
                  <a:pt x="132820" y="175276"/>
                  <a:pt x="118743" y="175635"/>
                  <a:pt x="105237" y="172518"/>
                </a:cubicBezTo>
                <a:cubicBezTo>
                  <a:pt x="100392" y="171400"/>
                  <a:pt x="97747" y="164946"/>
                  <a:pt x="92824" y="164243"/>
                </a:cubicBezTo>
                <a:cubicBezTo>
                  <a:pt x="77805" y="162098"/>
                  <a:pt x="59034" y="162863"/>
                  <a:pt x="51449" y="160105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5654675" y="6354233"/>
            <a:ext cx="249238" cy="137584"/>
          </a:xfrm>
          <a:custGeom>
            <a:avLst/>
            <a:gdLst>
              <a:gd name="connsiteX0" fmla="*/ 244833 w 247984"/>
              <a:gd name="connsiteY0" fmla="*/ 66464 h 136802"/>
              <a:gd name="connsiteX1" fmla="*/ 240695 w 247984"/>
              <a:gd name="connsiteY1" fmla="*/ 37501 h 136802"/>
              <a:gd name="connsiteX2" fmla="*/ 207595 w 247984"/>
              <a:gd name="connsiteY2" fmla="*/ 33363 h 136802"/>
              <a:gd name="connsiteX3" fmla="*/ 195182 w 247984"/>
              <a:gd name="connsiteY3" fmla="*/ 29226 h 136802"/>
              <a:gd name="connsiteX4" fmla="*/ 178632 w 247984"/>
              <a:gd name="connsiteY4" fmla="*/ 25088 h 136802"/>
              <a:gd name="connsiteX5" fmla="*/ 13129 w 247984"/>
              <a:gd name="connsiteY5" fmla="*/ 45776 h 136802"/>
              <a:gd name="connsiteX6" fmla="*/ 4854 w 247984"/>
              <a:gd name="connsiteY6" fmla="*/ 58189 h 136802"/>
              <a:gd name="connsiteX7" fmla="*/ 717 w 247984"/>
              <a:gd name="connsiteY7" fmla="*/ 70601 h 136802"/>
              <a:gd name="connsiteX8" fmla="*/ 21405 w 247984"/>
              <a:gd name="connsiteY8" fmla="*/ 87152 h 136802"/>
              <a:gd name="connsiteX9" fmla="*/ 50367 w 247984"/>
              <a:gd name="connsiteY9" fmla="*/ 124390 h 136802"/>
              <a:gd name="connsiteX10" fmla="*/ 62780 w 247984"/>
              <a:gd name="connsiteY10" fmla="*/ 128527 h 136802"/>
              <a:gd name="connsiteX11" fmla="*/ 95881 w 247984"/>
              <a:gd name="connsiteY11" fmla="*/ 136802 h 136802"/>
              <a:gd name="connsiteX12" fmla="*/ 116568 w 247984"/>
              <a:gd name="connsiteY12" fmla="*/ 132665 h 136802"/>
              <a:gd name="connsiteX13" fmla="*/ 133119 w 247984"/>
              <a:gd name="connsiteY13" fmla="*/ 111977 h 136802"/>
              <a:gd name="connsiteX14" fmla="*/ 157944 w 247984"/>
              <a:gd name="connsiteY14" fmla="*/ 107839 h 136802"/>
              <a:gd name="connsiteX15" fmla="*/ 170357 w 247984"/>
              <a:gd name="connsiteY15" fmla="*/ 99564 h 136802"/>
              <a:gd name="connsiteX16" fmla="*/ 191044 w 247984"/>
              <a:gd name="connsiteY16" fmla="*/ 70601 h 136802"/>
              <a:gd name="connsiteX17" fmla="*/ 236558 w 247984"/>
              <a:gd name="connsiteY17" fmla="*/ 66464 h 136802"/>
              <a:gd name="connsiteX18" fmla="*/ 244833 w 247984"/>
              <a:gd name="connsiteY18" fmla="*/ 66464 h 136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47984" h="136802">
                <a:moveTo>
                  <a:pt x="244833" y="66464"/>
                </a:moveTo>
                <a:cubicBezTo>
                  <a:pt x="245522" y="61637"/>
                  <a:pt x="247984" y="43980"/>
                  <a:pt x="240695" y="37501"/>
                </a:cubicBezTo>
                <a:cubicBezTo>
                  <a:pt x="232384" y="30114"/>
                  <a:pt x="218535" y="35352"/>
                  <a:pt x="207595" y="33363"/>
                </a:cubicBezTo>
                <a:cubicBezTo>
                  <a:pt x="203304" y="32583"/>
                  <a:pt x="199376" y="30424"/>
                  <a:pt x="195182" y="29226"/>
                </a:cubicBezTo>
                <a:cubicBezTo>
                  <a:pt x="189714" y="27664"/>
                  <a:pt x="184149" y="26467"/>
                  <a:pt x="178632" y="25088"/>
                </a:cubicBezTo>
                <a:cubicBezTo>
                  <a:pt x="142586" y="26118"/>
                  <a:pt x="49751" y="0"/>
                  <a:pt x="13129" y="45776"/>
                </a:cubicBezTo>
                <a:cubicBezTo>
                  <a:pt x="10022" y="49659"/>
                  <a:pt x="7612" y="54051"/>
                  <a:pt x="4854" y="58189"/>
                </a:cubicBezTo>
                <a:cubicBezTo>
                  <a:pt x="3475" y="62326"/>
                  <a:pt x="0" y="66299"/>
                  <a:pt x="717" y="70601"/>
                </a:cubicBezTo>
                <a:cubicBezTo>
                  <a:pt x="2919" y="83812"/>
                  <a:pt x="11723" y="83924"/>
                  <a:pt x="21405" y="87152"/>
                </a:cubicBezTo>
                <a:cubicBezTo>
                  <a:pt x="27978" y="97012"/>
                  <a:pt x="38702" y="116614"/>
                  <a:pt x="50367" y="124390"/>
                </a:cubicBezTo>
                <a:cubicBezTo>
                  <a:pt x="53996" y="126809"/>
                  <a:pt x="58549" y="127469"/>
                  <a:pt x="62780" y="128527"/>
                </a:cubicBezTo>
                <a:lnTo>
                  <a:pt x="95881" y="136802"/>
                </a:lnTo>
                <a:cubicBezTo>
                  <a:pt x="102777" y="135423"/>
                  <a:pt x="110717" y="136566"/>
                  <a:pt x="116568" y="132665"/>
                </a:cubicBezTo>
                <a:cubicBezTo>
                  <a:pt x="148181" y="111590"/>
                  <a:pt x="87544" y="127169"/>
                  <a:pt x="133119" y="111977"/>
                </a:cubicBezTo>
                <a:cubicBezTo>
                  <a:pt x="141078" y="109324"/>
                  <a:pt x="149669" y="109218"/>
                  <a:pt x="157944" y="107839"/>
                </a:cubicBezTo>
                <a:cubicBezTo>
                  <a:pt x="162082" y="105081"/>
                  <a:pt x="167721" y="103781"/>
                  <a:pt x="170357" y="99564"/>
                </a:cubicBezTo>
                <a:cubicBezTo>
                  <a:pt x="183877" y="77933"/>
                  <a:pt x="168424" y="73832"/>
                  <a:pt x="191044" y="70601"/>
                </a:cubicBezTo>
                <a:cubicBezTo>
                  <a:pt x="206125" y="68447"/>
                  <a:pt x="221387" y="67843"/>
                  <a:pt x="236558" y="66464"/>
                </a:cubicBezTo>
                <a:cubicBezTo>
                  <a:pt x="245598" y="52904"/>
                  <a:pt x="244144" y="71291"/>
                  <a:pt x="244833" y="66464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5610226" y="6434667"/>
            <a:ext cx="101600" cy="61384"/>
          </a:xfrm>
          <a:custGeom>
            <a:avLst/>
            <a:gdLst>
              <a:gd name="connsiteX0" fmla="*/ 0 w 101748"/>
              <a:gd name="connsiteY0" fmla="*/ 37238 h 62064"/>
              <a:gd name="connsiteX1" fmla="*/ 20687 w 101748"/>
              <a:gd name="connsiteY1" fmla="*/ 28963 h 62064"/>
              <a:gd name="connsiteX2" fmla="*/ 33100 w 101748"/>
              <a:gd name="connsiteY2" fmla="*/ 24826 h 62064"/>
              <a:gd name="connsiteX3" fmla="*/ 37238 w 101748"/>
              <a:gd name="connsiteY3" fmla="*/ 12413 h 62064"/>
              <a:gd name="connsiteX4" fmla="*/ 45513 w 101748"/>
              <a:gd name="connsiteY4" fmla="*/ 0 h 62064"/>
              <a:gd name="connsiteX5" fmla="*/ 57925 w 101748"/>
              <a:gd name="connsiteY5" fmla="*/ 4138 h 62064"/>
              <a:gd name="connsiteX6" fmla="*/ 74476 w 101748"/>
              <a:gd name="connsiteY6" fmla="*/ 24826 h 62064"/>
              <a:gd name="connsiteX7" fmla="*/ 86888 w 101748"/>
              <a:gd name="connsiteY7" fmla="*/ 33101 h 62064"/>
              <a:gd name="connsiteX8" fmla="*/ 99301 w 101748"/>
              <a:gd name="connsiteY8" fmla="*/ 57926 h 62064"/>
              <a:gd name="connsiteX9" fmla="*/ 86888 w 101748"/>
              <a:gd name="connsiteY9" fmla="*/ 62064 h 62064"/>
              <a:gd name="connsiteX10" fmla="*/ 33100 w 101748"/>
              <a:gd name="connsiteY10" fmla="*/ 57926 h 62064"/>
              <a:gd name="connsiteX11" fmla="*/ 20687 w 101748"/>
              <a:gd name="connsiteY11" fmla="*/ 53789 h 62064"/>
              <a:gd name="connsiteX12" fmla="*/ 4137 w 101748"/>
              <a:gd name="connsiteY12" fmla="*/ 49651 h 62064"/>
              <a:gd name="connsiteX13" fmla="*/ 0 w 101748"/>
              <a:gd name="connsiteY13" fmla="*/ 37238 h 62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1748" h="62064">
                <a:moveTo>
                  <a:pt x="0" y="37238"/>
                </a:moveTo>
                <a:cubicBezTo>
                  <a:pt x="6896" y="34480"/>
                  <a:pt x="13733" y="31571"/>
                  <a:pt x="20687" y="28963"/>
                </a:cubicBezTo>
                <a:cubicBezTo>
                  <a:pt x="24771" y="27432"/>
                  <a:pt x="30016" y="27910"/>
                  <a:pt x="33100" y="24826"/>
                </a:cubicBezTo>
                <a:cubicBezTo>
                  <a:pt x="36184" y="21742"/>
                  <a:pt x="35287" y="16314"/>
                  <a:pt x="37238" y="12413"/>
                </a:cubicBezTo>
                <a:cubicBezTo>
                  <a:pt x="39462" y="7965"/>
                  <a:pt x="42755" y="4138"/>
                  <a:pt x="45513" y="0"/>
                </a:cubicBezTo>
                <a:cubicBezTo>
                  <a:pt x="49650" y="1379"/>
                  <a:pt x="54185" y="1894"/>
                  <a:pt x="57925" y="4138"/>
                </a:cubicBezTo>
                <a:cubicBezTo>
                  <a:pt x="68166" y="10283"/>
                  <a:pt x="66015" y="16365"/>
                  <a:pt x="74476" y="24826"/>
                </a:cubicBezTo>
                <a:cubicBezTo>
                  <a:pt x="77992" y="28342"/>
                  <a:pt x="82751" y="30343"/>
                  <a:pt x="86888" y="33101"/>
                </a:cubicBezTo>
                <a:cubicBezTo>
                  <a:pt x="88281" y="35190"/>
                  <a:pt x="101748" y="53033"/>
                  <a:pt x="99301" y="57926"/>
                </a:cubicBezTo>
                <a:cubicBezTo>
                  <a:pt x="97350" y="61827"/>
                  <a:pt x="91026" y="60685"/>
                  <a:pt x="86888" y="62064"/>
                </a:cubicBezTo>
                <a:cubicBezTo>
                  <a:pt x="68959" y="60685"/>
                  <a:pt x="50943" y="60156"/>
                  <a:pt x="33100" y="57926"/>
                </a:cubicBezTo>
                <a:cubicBezTo>
                  <a:pt x="28772" y="57385"/>
                  <a:pt x="24881" y="54987"/>
                  <a:pt x="20687" y="53789"/>
                </a:cubicBezTo>
                <a:cubicBezTo>
                  <a:pt x="15219" y="52227"/>
                  <a:pt x="9654" y="51030"/>
                  <a:pt x="4137" y="49651"/>
                </a:cubicBezTo>
                <a:lnTo>
                  <a:pt x="0" y="37238"/>
                </a:ln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2" name="Freeform 21"/>
          <p:cNvSpPr/>
          <p:nvPr/>
        </p:nvSpPr>
        <p:spPr>
          <a:xfrm>
            <a:off x="5626106" y="6254753"/>
            <a:ext cx="98425" cy="124883"/>
          </a:xfrm>
          <a:custGeom>
            <a:avLst/>
            <a:gdLst>
              <a:gd name="connsiteX0" fmla="*/ 62471 w 98473"/>
              <a:gd name="connsiteY0" fmla="*/ 113669 h 124013"/>
              <a:gd name="connsiteX1" fmla="*/ 29371 w 98473"/>
              <a:gd name="connsiteY1" fmla="*/ 14367 h 124013"/>
              <a:gd name="connsiteX2" fmla="*/ 54196 w 98473"/>
              <a:gd name="connsiteY2" fmla="*/ 6092 h 124013"/>
              <a:gd name="connsiteX3" fmla="*/ 66609 w 98473"/>
              <a:gd name="connsiteY3" fmla="*/ 1955 h 124013"/>
              <a:gd name="connsiteX4" fmla="*/ 95572 w 98473"/>
              <a:gd name="connsiteY4" fmla="*/ 6092 h 124013"/>
              <a:gd name="connsiteX5" fmla="*/ 79021 w 98473"/>
              <a:gd name="connsiteY5" fmla="*/ 26780 h 124013"/>
              <a:gd name="connsiteX6" fmla="*/ 66609 w 98473"/>
              <a:gd name="connsiteY6" fmla="*/ 64018 h 124013"/>
              <a:gd name="connsiteX7" fmla="*/ 62471 w 98473"/>
              <a:gd name="connsiteY7" fmla="*/ 76431 h 124013"/>
              <a:gd name="connsiteX8" fmla="*/ 62471 w 98473"/>
              <a:gd name="connsiteY8" fmla="*/ 113669 h 124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8473" h="124013">
                <a:moveTo>
                  <a:pt x="62471" y="113669"/>
                </a:moveTo>
                <a:cubicBezTo>
                  <a:pt x="56954" y="103325"/>
                  <a:pt x="0" y="119265"/>
                  <a:pt x="29371" y="14367"/>
                </a:cubicBezTo>
                <a:cubicBezTo>
                  <a:pt x="31723" y="5967"/>
                  <a:pt x="45921" y="8850"/>
                  <a:pt x="54196" y="6092"/>
                </a:cubicBezTo>
                <a:lnTo>
                  <a:pt x="66609" y="1955"/>
                </a:lnTo>
                <a:cubicBezTo>
                  <a:pt x="76263" y="3334"/>
                  <a:pt x="87957" y="0"/>
                  <a:pt x="95572" y="6092"/>
                </a:cubicBezTo>
                <a:cubicBezTo>
                  <a:pt x="98473" y="8413"/>
                  <a:pt x="80349" y="25453"/>
                  <a:pt x="79021" y="26780"/>
                </a:cubicBezTo>
                <a:lnTo>
                  <a:pt x="66609" y="64018"/>
                </a:lnTo>
                <a:lnTo>
                  <a:pt x="62471" y="76431"/>
                </a:lnTo>
                <a:cubicBezTo>
                  <a:pt x="58163" y="110900"/>
                  <a:pt x="67988" y="124013"/>
                  <a:pt x="62471" y="113669"/>
                </a:cubicBezTo>
                <a:close/>
              </a:path>
            </a:pathLst>
          </a:cu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5514981" y="6265339"/>
            <a:ext cx="200025" cy="209551"/>
          </a:xfrm>
          <a:custGeom>
            <a:avLst/>
            <a:gdLst>
              <a:gd name="connsiteX0" fmla="*/ 141416 w 200501"/>
              <a:gd name="connsiteY0" fmla="*/ 10344 h 208947"/>
              <a:gd name="connsiteX1" fmla="*/ 116590 w 200501"/>
              <a:gd name="connsiteY1" fmla="*/ 14482 h 208947"/>
              <a:gd name="connsiteX2" fmla="*/ 100040 w 200501"/>
              <a:gd name="connsiteY2" fmla="*/ 18619 h 208947"/>
              <a:gd name="connsiteX3" fmla="*/ 71077 w 200501"/>
              <a:gd name="connsiteY3" fmla="*/ 22757 h 208947"/>
              <a:gd name="connsiteX4" fmla="*/ 58665 w 200501"/>
              <a:gd name="connsiteY4" fmla="*/ 26895 h 208947"/>
              <a:gd name="connsiteX5" fmla="*/ 54527 w 200501"/>
              <a:gd name="connsiteY5" fmla="*/ 39307 h 208947"/>
              <a:gd name="connsiteX6" fmla="*/ 42114 w 200501"/>
              <a:gd name="connsiteY6" fmla="*/ 64133 h 208947"/>
              <a:gd name="connsiteX7" fmla="*/ 50390 w 200501"/>
              <a:gd name="connsiteY7" fmla="*/ 72408 h 208947"/>
              <a:gd name="connsiteX8" fmla="*/ 62802 w 200501"/>
              <a:gd name="connsiteY8" fmla="*/ 76545 h 208947"/>
              <a:gd name="connsiteX9" fmla="*/ 46252 w 200501"/>
              <a:gd name="connsiteY9" fmla="*/ 80683 h 208947"/>
              <a:gd name="connsiteX10" fmla="*/ 25564 w 200501"/>
              <a:gd name="connsiteY10" fmla="*/ 84820 h 208947"/>
              <a:gd name="connsiteX11" fmla="*/ 9014 w 200501"/>
              <a:gd name="connsiteY11" fmla="*/ 122058 h 208947"/>
              <a:gd name="connsiteX12" fmla="*/ 739 w 200501"/>
              <a:gd name="connsiteY12" fmla="*/ 146884 h 208947"/>
              <a:gd name="connsiteX13" fmla="*/ 4876 w 200501"/>
              <a:gd name="connsiteY13" fmla="*/ 171709 h 208947"/>
              <a:gd name="connsiteX14" fmla="*/ 21427 w 200501"/>
              <a:gd name="connsiteY14" fmla="*/ 175847 h 208947"/>
              <a:gd name="connsiteX15" fmla="*/ 83490 w 200501"/>
              <a:gd name="connsiteY15" fmla="*/ 179984 h 208947"/>
              <a:gd name="connsiteX16" fmla="*/ 91765 w 200501"/>
              <a:gd name="connsiteY16" fmla="*/ 192397 h 208947"/>
              <a:gd name="connsiteX17" fmla="*/ 95903 w 200501"/>
              <a:gd name="connsiteY17" fmla="*/ 208947 h 208947"/>
              <a:gd name="connsiteX18" fmla="*/ 120728 w 200501"/>
              <a:gd name="connsiteY18" fmla="*/ 192397 h 208947"/>
              <a:gd name="connsiteX19" fmla="*/ 124866 w 200501"/>
              <a:gd name="connsiteY19" fmla="*/ 171709 h 208947"/>
              <a:gd name="connsiteX20" fmla="*/ 149691 w 200501"/>
              <a:gd name="connsiteY20" fmla="*/ 155159 h 208947"/>
              <a:gd name="connsiteX21" fmla="*/ 145553 w 200501"/>
              <a:gd name="connsiteY21" fmla="*/ 142746 h 208947"/>
              <a:gd name="connsiteX22" fmla="*/ 174516 w 200501"/>
              <a:gd name="connsiteY22" fmla="*/ 126196 h 208947"/>
              <a:gd name="connsiteX23" fmla="*/ 191066 w 200501"/>
              <a:gd name="connsiteY23" fmla="*/ 101371 h 208947"/>
              <a:gd name="connsiteX24" fmla="*/ 166241 w 200501"/>
              <a:gd name="connsiteY24" fmla="*/ 93095 h 208947"/>
              <a:gd name="connsiteX25" fmla="*/ 153828 w 200501"/>
              <a:gd name="connsiteY25" fmla="*/ 88958 h 208947"/>
              <a:gd name="connsiteX26" fmla="*/ 145553 w 200501"/>
              <a:gd name="connsiteY26" fmla="*/ 76545 h 208947"/>
              <a:gd name="connsiteX27" fmla="*/ 141416 w 200501"/>
              <a:gd name="connsiteY27" fmla="*/ 10344 h 208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00501" h="208947">
                <a:moveTo>
                  <a:pt x="141416" y="10344"/>
                </a:moveTo>
                <a:cubicBezTo>
                  <a:pt x="136589" y="0"/>
                  <a:pt x="124817" y="12837"/>
                  <a:pt x="116590" y="14482"/>
                </a:cubicBezTo>
                <a:cubicBezTo>
                  <a:pt x="111014" y="15597"/>
                  <a:pt x="105635" y="17602"/>
                  <a:pt x="100040" y="18619"/>
                </a:cubicBezTo>
                <a:cubicBezTo>
                  <a:pt x="90445" y="20364"/>
                  <a:pt x="80731" y="21378"/>
                  <a:pt x="71077" y="22757"/>
                </a:cubicBezTo>
                <a:cubicBezTo>
                  <a:pt x="66940" y="24136"/>
                  <a:pt x="61749" y="23811"/>
                  <a:pt x="58665" y="26895"/>
                </a:cubicBezTo>
                <a:cubicBezTo>
                  <a:pt x="55581" y="29979"/>
                  <a:pt x="56477" y="35406"/>
                  <a:pt x="54527" y="39307"/>
                </a:cubicBezTo>
                <a:cubicBezTo>
                  <a:pt x="38486" y="71387"/>
                  <a:pt x="52514" y="32936"/>
                  <a:pt x="42114" y="64133"/>
                </a:cubicBezTo>
                <a:cubicBezTo>
                  <a:pt x="44873" y="66891"/>
                  <a:pt x="47045" y="70401"/>
                  <a:pt x="50390" y="72408"/>
                </a:cubicBezTo>
                <a:cubicBezTo>
                  <a:pt x="54130" y="74652"/>
                  <a:pt x="64753" y="72644"/>
                  <a:pt x="62802" y="76545"/>
                </a:cubicBezTo>
                <a:cubicBezTo>
                  <a:pt x="60259" y="81631"/>
                  <a:pt x="51803" y="79449"/>
                  <a:pt x="46252" y="80683"/>
                </a:cubicBezTo>
                <a:cubicBezTo>
                  <a:pt x="39387" y="82209"/>
                  <a:pt x="32460" y="83441"/>
                  <a:pt x="25564" y="84820"/>
                </a:cubicBezTo>
                <a:cubicBezTo>
                  <a:pt x="3243" y="99701"/>
                  <a:pt x="17375" y="85826"/>
                  <a:pt x="9014" y="122058"/>
                </a:cubicBezTo>
                <a:cubicBezTo>
                  <a:pt x="7053" y="130558"/>
                  <a:pt x="739" y="146884"/>
                  <a:pt x="739" y="146884"/>
                </a:cubicBezTo>
                <a:cubicBezTo>
                  <a:pt x="2118" y="155159"/>
                  <a:pt x="0" y="164883"/>
                  <a:pt x="4876" y="171709"/>
                </a:cubicBezTo>
                <a:cubicBezTo>
                  <a:pt x="8181" y="176337"/>
                  <a:pt x="15771" y="175252"/>
                  <a:pt x="21427" y="175847"/>
                </a:cubicBezTo>
                <a:cubicBezTo>
                  <a:pt x="42047" y="178017"/>
                  <a:pt x="62802" y="178605"/>
                  <a:pt x="83490" y="179984"/>
                </a:cubicBezTo>
                <a:cubicBezTo>
                  <a:pt x="86248" y="184122"/>
                  <a:pt x="89806" y="187826"/>
                  <a:pt x="91765" y="192397"/>
                </a:cubicBezTo>
                <a:cubicBezTo>
                  <a:pt x="94005" y="197624"/>
                  <a:pt x="90217" y="208947"/>
                  <a:pt x="95903" y="208947"/>
                </a:cubicBezTo>
                <a:cubicBezTo>
                  <a:pt x="105848" y="208947"/>
                  <a:pt x="120728" y="192397"/>
                  <a:pt x="120728" y="192397"/>
                </a:cubicBezTo>
                <a:cubicBezTo>
                  <a:pt x="122107" y="185501"/>
                  <a:pt x="119893" y="176682"/>
                  <a:pt x="124866" y="171709"/>
                </a:cubicBezTo>
                <a:cubicBezTo>
                  <a:pt x="159818" y="136756"/>
                  <a:pt x="137135" y="192822"/>
                  <a:pt x="149691" y="155159"/>
                </a:cubicBezTo>
                <a:cubicBezTo>
                  <a:pt x="148312" y="151021"/>
                  <a:pt x="145553" y="147108"/>
                  <a:pt x="145553" y="142746"/>
                </a:cubicBezTo>
                <a:cubicBezTo>
                  <a:pt x="145553" y="123506"/>
                  <a:pt x="158451" y="128873"/>
                  <a:pt x="174516" y="126196"/>
                </a:cubicBezTo>
                <a:cubicBezTo>
                  <a:pt x="180033" y="117921"/>
                  <a:pt x="200501" y="104516"/>
                  <a:pt x="191066" y="101371"/>
                </a:cubicBezTo>
                <a:lnTo>
                  <a:pt x="166241" y="93095"/>
                </a:lnTo>
                <a:lnTo>
                  <a:pt x="153828" y="88958"/>
                </a:lnTo>
                <a:cubicBezTo>
                  <a:pt x="151070" y="84820"/>
                  <a:pt x="147777" y="80993"/>
                  <a:pt x="145553" y="76545"/>
                </a:cubicBezTo>
                <a:cubicBezTo>
                  <a:pt x="135311" y="56059"/>
                  <a:pt x="146243" y="20688"/>
                  <a:pt x="141416" y="10344"/>
                </a:cubicBezTo>
                <a:close/>
              </a:path>
            </a:pathLst>
          </a:cu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4" name="Freeform 23"/>
          <p:cNvSpPr/>
          <p:nvPr/>
        </p:nvSpPr>
        <p:spPr>
          <a:xfrm>
            <a:off x="4303717" y="5503333"/>
            <a:ext cx="1468437" cy="950384"/>
          </a:xfrm>
          <a:custGeom>
            <a:avLst/>
            <a:gdLst>
              <a:gd name="connsiteX0" fmla="*/ 3448 w 1468112"/>
              <a:gd name="connsiteY0" fmla="*/ 3406 h 951313"/>
              <a:gd name="connsiteX1" fmla="*/ 44824 w 1468112"/>
              <a:gd name="connsiteY1" fmla="*/ 7543 h 951313"/>
              <a:gd name="connsiteX2" fmla="*/ 61374 w 1468112"/>
              <a:gd name="connsiteY2" fmla="*/ 11681 h 951313"/>
              <a:gd name="connsiteX3" fmla="*/ 73787 w 1468112"/>
              <a:gd name="connsiteY3" fmla="*/ 15818 h 951313"/>
              <a:gd name="connsiteX4" fmla="*/ 152400 w 1468112"/>
              <a:gd name="connsiteY4" fmla="*/ 19956 h 951313"/>
              <a:gd name="connsiteX5" fmla="*/ 189638 w 1468112"/>
              <a:gd name="connsiteY5" fmla="*/ 32369 h 951313"/>
              <a:gd name="connsiteX6" fmla="*/ 202051 w 1468112"/>
              <a:gd name="connsiteY6" fmla="*/ 36506 h 951313"/>
              <a:gd name="connsiteX7" fmla="*/ 214464 w 1468112"/>
              <a:gd name="connsiteY7" fmla="*/ 40644 h 951313"/>
              <a:gd name="connsiteX8" fmla="*/ 231014 w 1468112"/>
              <a:gd name="connsiteY8" fmla="*/ 44781 h 951313"/>
              <a:gd name="connsiteX9" fmla="*/ 243427 w 1468112"/>
              <a:gd name="connsiteY9" fmla="*/ 48919 h 951313"/>
              <a:gd name="connsiteX10" fmla="*/ 264114 w 1468112"/>
              <a:gd name="connsiteY10" fmla="*/ 53056 h 951313"/>
              <a:gd name="connsiteX11" fmla="*/ 309628 w 1468112"/>
              <a:gd name="connsiteY11" fmla="*/ 65469 h 951313"/>
              <a:gd name="connsiteX12" fmla="*/ 355141 w 1468112"/>
              <a:gd name="connsiteY12" fmla="*/ 61332 h 951313"/>
              <a:gd name="connsiteX13" fmla="*/ 371691 w 1468112"/>
              <a:gd name="connsiteY13" fmla="*/ 57194 h 951313"/>
              <a:gd name="connsiteX14" fmla="*/ 404791 w 1468112"/>
              <a:gd name="connsiteY14" fmla="*/ 53056 h 951313"/>
              <a:gd name="connsiteX15" fmla="*/ 417204 w 1468112"/>
              <a:gd name="connsiteY15" fmla="*/ 48919 h 951313"/>
              <a:gd name="connsiteX16" fmla="*/ 429617 w 1468112"/>
              <a:gd name="connsiteY16" fmla="*/ 40644 h 951313"/>
              <a:gd name="connsiteX17" fmla="*/ 508230 w 1468112"/>
              <a:gd name="connsiteY17" fmla="*/ 44781 h 951313"/>
              <a:gd name="connsiteX18" fmla="*/ 520643 w 1468112"/>
              <a:gd name="connsiteY18" fmla="*/ 48919 h 951313"/>
              <a:gd name="connsiteX19" fmla="*/ 533056 w 1468112"/>
              <a:gd name="connsiteY19" fmla="*/ 57194 h 951313"/>
              <a:gd name="connsiteX20" fmla="*/ 557881 w 1468112"/>
              <a:gd name="connsiteY20" fmla="*/ 65469 h 951313"/>
              <a:gd name="connsiteX21" fmla="*/ 582706 w 1468112"/>
              <a:gd name="connsiteY21" fmla="*/ 82019 h 951313"/>
              <a:gd name="connsiteX22" fmla="*/ 595119 w 1468112"/>
              <a:gd name="connsiteY22" fmla="*/ 90294 h 951313"/>
              <a:gd name="connsiteX23" fmla="*/ 611669 w 1468112"/>
              <a:gd name="connsiteY23" fmla="*/ 127532 h 951313"/>
              <a:gd name="connsiteX24" fmla="*/ 615807 w 1468112"/>
              <a:gd name="connsiteY24" fmla="*/ 148220 h 951313"/>
              <a:gd name="connsiteX25" fmla="*/ 628219 w 1468112"/>
              <a:gd name="connsiteY25" fmla="*/ 173046 h 951313"/>
              <a:gd name="connsiteX26" fmla="*/ 640632 w 1468112"/>
              <a:gd name="connsiteY26" fmla="*/ 177183 h 951313"/>
              <a:gd name="connsiteX27" fmla="*/ 677870 w 1468112"/>
              <a:gd name="connsiteY27" fmla="*/ 197871 h 951313"/>
              <a:gd name="connsiteX28" fmla="*/ 686145 w 1468112"/>
              <a:gd name="connsiteY28" fmla="*/ 185458 h 951313"/>
              <a:gd name="connsiteX29" fmla="*/ 690283 w 1468112"/>
              <a:gd name="connsiteY29" fmla="*/ 173046 h 951313"/>
              <a:gd name="connsiteX30" fmla="*/ 706833 w 1468112"/>
              <a:gd name="connsiteY30" fmla="*/ 168908 h 951313"/>
              <a:gd name="connsiteX31" fmla="*/ 719246 w 1468112"/>
              <a:gd name="connsiteY31" fmla="*/ 160633 h 951313"/>
              <a:gd name="connsiteX32" fmla="*/ 756484 w 1468112"/>
              <a:gd name="connsiteY32" fmla="*/ 168908 h 951313"/>
              <a:gd name="connsiteX33" fmla="*/ 768896 w 1468112"/>
              <a:gd name="connsiteY33" fmla="*/ 173046 h 951313"/>
              <a:gd name="connsiteX34" fmla="*/ 793722 w 1468112"/>
              <a:gd name="connsiteY34" fmla="*/ 189596 h 951313"/>
              <a:gd name="connsiteX35" fmla="*/ 806134 w 1468112"/>
              <a:gd name="connsiteY35" fmla="*/ 197871 h 951313"/>
              <a:gd name="connsiteX36" fmla="*/ 818547 w 1468112"/>
              <a:gd name="connsiteY36" fmla="*/ 206146 h 951313"/>
              <a:gd name="connsiteX37" fmla="*/ 826822 w 1468112"/>
              <a:gd name="connsiteY37" fmla="*/ 218559 h 951313"/>
              <a:gd name="connsiteX38" fmla="*/ 835097 w 1468112"/>
              <a:gd name="connsiteY38" fmla="*/ 243384 h 951313"/>
              <a:gd name="connsiteX39" fmla="*/ 855785 w 1468112"/>
              <a:gd name="connsiteY39" fmla="*/ 268209 h 951313"/>
              <a:gd name="connsiteX40" fmla="*/ 872335 w 1468112"/>
              <a:gd name="connsiteY40" fmla="*/ 293035 h 951313"/>
              <a:gd name="connsiteX41" fmla="*/ 884748 w 1468112"/>
              <a:gd name="connsiteY41" fmla="*/ 313723 h 951313"/>
              <a:gd name="connsiteX42" fmla="*/ 897161 w 1468112"/>
              <a:gd name="connsiteY42" fmla="*/ 334410 h 951313"/>
              <a:gd name="connsiteX43" fmla="*/ 921986 w 1468112"/>
              <a:gd name="connsiteY43" fmla="*/ 342685 h 951313"/>
              <a:gd name="connsiteX44" fmla="*/ 930261 w 1468112"/>
              <a:gd name="connsiteY44" fmla="*/ 350961 h 951313"/>
              <a:gd name="connsiteX45" fmla="*/ 963362 w 1468112"/>
              <a:gd name="connsiteY45" fmla="*/ 359236 h 951313"/>
              <a:gd name="connsiteX46" fmla="*/ 955086 w 1468112"/>
              <a:gd name="connsiteY46" fmla="*/ 367511 h 951313"/>
              <a:gd name="connsiteX47" fmla="*/ 942674 w 1468112"/>
              <a:gd name="connsiteY47" fmla="*/ 375786 h 951313"/>
              <a:gd name="connsiteX48" fmla="*/ 938536 w 1468112"/>
              <a:gd name="connsiteY48" fmla="*/ 388199 h 951313"/>
              <a:gd name="connsiteX49" fmla="*/ 942674 w 1468112"/>
              <a:gd name="connsiteY49" fmla="*/ 611627 h 951313"/>
              <a:gd name="connsiteX50" fmla="*/ 959224 w 1468112"/>
              <a:gd name="connsiteY50" fmla="*/ 636452 h 951313"/>
              <a:gd name="connsiteX51" fmla="*/ 975774 w 1468112"/>
              <a:gd name="connsiteY51" fmla="*/ 661277 h 951313"/>
              <a:gd name="connsiteX52" fmla="*/ 984049 w 1468112"/>
              <a:gd name="connsiteY52" fmla="*/ 673690 h 951313"/>
              <a:gd name="connsiteX53" fmla="*/ 1008875 w 1468112"/>
              <a:gd name="connsiteY53" fmla="*/ 690240 h 951313"/>
              <a:gd name="connsiteX54" fmla="*/ 1021287 w 1468112"/>
              <a:gd name="connsiteY54" fmla="*/ 698515 h 951313"/>
              <a:gd name="connsiteX55" fmla="*/ 1050250 w 1468112"/>
              <a:gd name="connsiteY55" fmla="*/ 731616 h 951313"/>
              <a:gd name="connsiteX56" fmla="*/ 1062663 w 1468112"/>
              <a:gd name="connsiteY56" fmla="*/ 735753 h 951313"/>
              <a:gd name="connsiteX57" fmla="*/ 1075076 w 1468112"/>
              <a:gd name="connsiteY57" fmla="*/ 748166 h 951313"/>
              <a:gd name="connsiteX58" fmla="*/ 1099901 w 1468112"/>
              <a:gd name="connsiteY58" fmla="*/ 756441 h 951313"/>
              <a:gd name="connsiteX59" fmla="*/ 1153689 w 1468112"/>
              <a:gd name="connsiteY59" fmla="*/ 752304 h 951313"/>
              <a:gd name="connsiteX60" fmla="*/ 1195065 w 1468112"/>
              <a:gd name="connsiteY60" fmla="*/ 739891 h 951313"/>
              <a:gd name="connsiteX61" fmla="*/ 1207477 w 1468112"/>
              <a:gd name="connsiteY61" fmla="*/ 735753 h 951313"/>
              <a:gd name="connsiteX62" fmla="*/ 1228165 w 1468112"/>
              <a:gd name="connsiteY62" fmla="*/ 731616 h 951313"/>
              <a:gd name="connsiteX63" fmla="*/ 1240578 w 1468112"/>
              <a:gd name="connsiteY63" fmla="*/ 727478 h 951313"/>
              <a:gd name="connsiteX64" fmla="*/ 1257128 w 1468112"/>
              <a:gd name="connsiteY64" fmla="*/ 723341 h 951313"/>
              <a:gd name="connsiteX65" fmla="*/ 1269541 w 1468112"/>
              <a:gd name="connsiteY65" fmla="*/ 715066 h 951313"/>
              <a:gd name="connsiteX66" fmla="*/ 1277816 w 1468112"/>
              <a:gd name="connsiteY66" fmla="*/ 690240 h 951313"/>
              <a:gd name="connsiteX67" fmla="*/ 1286091 w 1468112"/>
              <a:gd name="connsiteY67" fmla="*/ 677828 h 951313"/>
              <a:gd name="connsiteX68" fmla="*/ 1294366 w 1468112"/>
              <a:gd name="connsiteY68" fmla="*/ 640589 h 951313"/>
              <a:gd name="connsiteX69" fmla="*/ 1302641 w 1468112"/>
              <a:gd name="connsiteY69" fmla="*/ 615764 h 951313"/>
              <a:gd name="connsiteX70" fmla="*/ 1306779 w 1468112"/>
              <a:gd name="connsiteY70" fmla="*/ 603351 h 951313"/>
              <a:gd name="connsiteX71" fmla="*/ 1331604 w 1468112"/>
              <a:gd name="connsiteY71" fmla="*/ 595076 h 951313"/>
              <a:gd name="connsiteX72" fmla="*/ 1344017 w 1468112"/>
              <a:gd name="connsiteY72" fmla="*/ 590939 h 951313"/>
              <a:gd name="connsiteX73" fmla="*/ 1447456 w 1468112"/>
              <a:gd name="connsiteY73" fmla="*/ 595076 h 951313"/>
              <a:gd name="connsiteX74" fmla="*/ 1459868 w 1468112"/>
              <a:gd name="connsiteY74" fmla="*/ 599214 h 951313"/>
              <a:gd name="connsiteX75" fmla="*/ 1447456 w 1468112"/>
              <a:gd name="connsiteY75" fmla="*/ 648865 h 951313"/>
              <a:gd name="connsiteX76" fmla="*/ 1430905 w 1468112"/>
              <a:gd name="connsiteY76" fmla="*/ 669552 h 951313"/>
              <a:gd name="connsiteX77" fmla="*/ 1426768 w 1468112"/>
              <a:gd name="connsiteY77" fmla="*/ 681965 h 951313"/>
              <a:gd name="connsiteX78" fmla="*/ 1414355 w 1468112"/>
              <a:gd name="connsiteY78" fmla="*/ 706790 h 951313"/>
              <a:gd name="connsiteX79" fmla="*/ 1410218 w 1468112"/>
              <a:gd name="connsiteY79" fmla="*/ 748166 h 951313"/>
              <a:gd name="connsiteX80" fmla="*/ 1377117 w 1468112"/>
              <a:gd name="connsiteY80" fmla="*/ 752304 h 951313"/>
              <a:gd name="connsiteX81" fmla="*/ 1368842 w 1468112"/>
              <a:gd name="connsiteY81" fmla="*/ 764716 h 951313"/>
              <a:gd name="connsiteX82" fmla="*/ 1356429 w 1468112"/>
              <a:gd name="connsiteY82" fmla="*/ 768854 h 951313"/>
              <a:gd name="connsiteX83" fmla="*/ 1310916 w 1468112"/>
              <a:gd name="connsiteY83" fmla="*/ 772991 h 951313"/>
              <a:gd name="connsiteX84" fmla="*/ 1265403 w 1468112"/>
              <a:gd name="connsiteY84" fmla="*/ 781266 h 951313"/>
              <a:gd name="connsiteX85" fmla="*/ 1252990 w 1468112"/>
              <a:gd name="connsiteY85" fmla="*/ 785404 h 951313"/>
              <a:gd name="connsiteX86" fmla="*/ 1252990 w 1468112"/>
              <a:gd name="connsiteY86" fmla="*/ 822642 h 951313"/>
              <a:gd name="connsiteX87" fmla="*/ 1273678 w 1468112"/>
              <a:gd name="connsiteY87" fmla="*/ 843330 h 951313"/>
              <a:gd name="connsiteX88" fmla="*/ 1261266 w 1468112"/>
              <a:gd name="connsiteY88" fmla="*/ 851605 h 951313"/>
              <a:gd name="connsiteX89" fmla="*/ 1224028 w 1468112"/>
              <a:gd name="connsiteY89" fmla="*/ 864018 h 951313"/>
              <a:gd name="connsiteX90" fmla="*/ 1211615 w 1468112"/>
              <a:gd name="connsiteY90" fmla="*/ 888843 h 951313"/>
              <a:gd name="connsiteX91" fmla="*/ 1207477 w 1468112"/>
              <a:gd name="connsiteY91" fmla="*/ 901256 h 951313"/>
              <a:gd name="connsiteX92" fmla="*/ 1203340 w 1468112"/>
              <a:gd name="connsiteY92" fmla="*/ 946769 h 951313"/>
              <a:gd name="connsiteX93" fmla="*/ 1190927 w 1468112"/>
              <a:gd name="connsiteY93" fmla="*/ 938494 h 951313"/>
              <a:gd name="connsiteX94" fmla="*/ 1186790 w 1468112"/>
              <a:gd name="connsiteY94" fmla="*/ 926081 h 951313"/>
              <a:gd name="connsiteX95" fmla="*/ 1153689 w 1468112"/>
              <a:gd name="connsiteY95" fmla="*/ 897118 h 951313"/>
              <a:gd name="connsiteX96" fmla="*/ 1141276 w 1468112"/>
              <a:gd name="connsiteY96" fmla="*/ 880568 h 951313"/>
              <a:gd name="connsiteX97" fmla="*/ 1116451 w 1468112"/>
              <a:gd name="connsiteY97" fmla="*/ 872293 h 951313"/>
              <a:gd name="connsiteX98" fmla="*/ 1062663 w 1468112"/>
              <a:gd name="connsiteY98" fmla="*/ 884705 h 951313"/>
              <a:gd name="connsiteX99" fmla="*/ 1050250 w 1468112"/>
              <a:gd name="connsiteY99" fmla="*/ 888843 h 951313"/>
              <a:gd name="connsiteX100" fmla="*/ 1037838 w 1468112"/>
              <a:gd name="connsiteY100" fmla="*/ 892980 h 951313"/>
              <a:gd name="connsiteX101" fmla="*/ 963362 w 1468112"/>
              <a:gd name="connsiteY101" fmla="*/ 888843 h 951313"/>
              <a:gd name="connsiteX102" fmla="*/ 938536 w 1468112"/>
              <a:gd name="connsiteY102" fmla="*/ 880568 h 951313"/>
              <a:gd name="connsiteX103" fmla="*/ 926123 w 1468112"/>
              <a:gd name="connsiteY103" fmla="*/ 876430 h 951313"/>
              <a:gd name="connsiteX104" fmla="*/ 897161 w 1468112"/>
              <a:gd name="connsiteY104" fmla="*/ 855742 h 951313"/>
              <a:gd name="connsiteX105" fmla="*/ 872335 w 1468112"/>
              <a:gd name="connsiteY105" fmla="*/ 847467 h 951313"/>
              <a:gd name="connsiteX106" fmla="*/ 847510 w 1468112"/>
              <a:gd name="connsiteY106" fmla="*/ 839192 h 951313"/>
              <a:gd name="connsiteX107" fmla="*/ 822685 w 1468112"/>
              <a:gd name="connsiteY107" fmla="*/ 830917 h 951313"/>
              <a:gd name="connsiteX108" fmla="*/ 810272 w 1468112"/>
              <a:gd name="connsiteY108" fmla="*/ 826780 h 951313"/>
              <a:gd name="connsiteX109" fmla="*/ 801997 w 1468112"/>
              <a:gd name="connsiteY109" fmla="*/ 818504 h 951313"/>
              <a:gd name="connsiteX110" fmla="*/ 777171 w 1468112"/>
              <a:gd name="connsiteY110" fmla="*/ 810229 h 951313"/>
              <a:gd name="connsiteX111" fmla="*/ 739933 w 1468112"/>
              <a:gd name="connsiteY111" fmla="*/ 781266 h 951313"/>
              <a:gd name="connsiteX112" fmla="*/ 715108 w 1468112"/>
              <a:gd name="connsiteY112" fmla="*/ 772991 h 951313"/>
              <a:gd name="connsiteX113" fmla="*/ 690283 w 1468112"/>
              <a:gd name="connsiteY113" fmla="*/ 764716 h 951313"/>
              <a:gd name="connsiteX114" fmla="*/ 677870 w 1468112"/>
              <a:gd name="connsiteY114" fmla="*/ 760579 h 951313"/>
              <a:gd name="connsiteX115" fmla="*/ 665457 w 1468112"/>
              <a:gd name="connsiteY115" fmla="*/ 752304 h 951313"/>
              <a:gd name="connsiteX116" fmla="*/ 657182 w 1468112"/>
              <a:gd name="connsiteY116" fmla="*/ 744028 h 951313"/>
              <a:gd name="connsiteX117" fmla="*/ 644770 w 1468112"/>
              <a:gd name="connsiteY117" fmla="*/ 739891 h 951313"/>
              <a:gd name="connsiteX118" fmla="*/ 632357 w 1468112"/>
              <a:gd name="connsiteY118" fmla="*/ 731616 h 951313"/>
              <a:gd name="connsiteX119" fmla="*/ 619944 w 1468112"/>
              <a:gd name="connsiteY119" fmla="*/ 727478 h 951313"/>
              <a:gd name="connsiteX120" fmla="*/ 611669 w 1468112"/>
              <a:gd name="connsiteY120" fmla="*/ 715066 h 951313"/>
              <a:gd name="connsiteX121" fmla="*/ 590981 w 1468112"/>
              <a:gd name="connsiteY121" fmla="*/ 698515 h 951313"/>
              <a:gd name="connsiteX122" fmla="*/ 578569 w 1468112"/>
              <a:gd name="connsiteY122" fmla="*/ 694378 h 951313"/>
              <a:gd name="connsiteX123" fmla="*/ 566156 w 1468112"/>
              <a:gd name="connsiteY123" fmla="*/ 669552 h 951313"/>
              <a:gd name="connsiteX124" fmla="*/ 557881 w 1468112"/>
              <a:gd name="connsiteY124" fmla="*/ 657140 h 951313"/>
              <a:gd name="connsiteX125" fmla="*/ 562019 w 1468112"/>
              <a:gd name="connsiteY125" fmla="*/ 628177 h 951313"/>
              <a:gd name="connsiteX126" fmla="*/ 570294 w 1468112"/>
              <a:gd name="connsiteY126" fmla="*/ 603351 h 951313"/>
              <a:gd name="connsiteX127" fmla="*/ 566156 w 1468112"/>
              <a:gd name="connsiteY127" fmla="*/ 553701 h 951313"/>
              <a:gd name="connsiteX128" fmla="*/ 562019 w 1468112"/>
              <a:gd name="connsiteY128" fmla="*/ 541288 h 951313"/>
              <a:gd name="connsiteX129" fmla="*/ 541331 w 1468112"/>
              <a:gd name="connsiteY129" fmla="*/ 520600 h 951313"/>
              <a:gd name="connsiteX130" fmla="*/ 528918 w 1468112"/>
              <a:gd name="connsiteY130" fmla="*/ 516463 h 951313"/>
              <a:gd name="connsiteX131" fmla="*/ 504093 w 1468112"/>
              <a:gd name="connsiteY131" fmla="*/ 495775 h 951313"/>
              <a:gd name="connsiteX132" fmla="*/ 491680 w 1468112"/>
              <a:gd name="connsiteY132" fmla="*/ 483362 h 951313"/>
              <a:gd name="connsiteX133" fmla="*/ 487542 w 1468112"/>
              <a:gd name="connsiteY133" fmla="*/ 470950 h 951313"/>
              <a:gd name="connsiteX134" fmla="*/ 475130 w 1468112"/>
              <a:gd name="connsiteY134" fmla="*/ 441987 h 951313"/>
              <a:gd name="connsiteX135" fmla="*/ 462717 w 1468112"/>
              <a:gd name="connsiteY135" fmla="*/ 437849 h 951313"/>
              <a:gd name="connsiteX136" fmla="*/ 442029 w 1468112"/>
              <a:gd name="connsiteY136" fmla="*/ 417161 h 951313"/>
              <a:gd name="connsiteX137" fmla="*/ 429617 w 1468112"/>
              <a:gd name="connsiteY137" fmla="*/ 404749 h 951313"/>
              <a:gd name="connsiteX138" fmla="*/ 417204 w 1468112"/>
              <a:gd name="connsiteY138" fmla="*/ 400611 h 951313"/>
              <a:gd name="connsiteX139" fmla="*/ 392379 w 1468112"/>
              <a:gd name="connsiteY139" fmla="*/ 384061 h 951313"/>
              <a:gd name="connsiteX140" fmla="*/ 379966 w 1468112"/>
              <a:gd name="connsiteY140" fmla="*/ 375786 h 951313"/>
              <a:gd name="connsiteX141" fmla="*/ 367553 w 1468112"/>
              <a:gd name="connsiteY141" fmla="*/ 371648 h 951313"/>
              <a:gd name="connsiteX142" fmla="*/ 363416 w 1468112"/>
              <a:gd name="connsiteY142" fmla="*/ 326135 h 951313"/>
              <a:gd name="connsiteX143" fmla="*/ 355141 w 1468112"/>
              <a:gd name="connsiteY143" fmla="*/ 313723 h 951313"/>
              <a:gd name="connsiteX144" fmla="*/ 322040 w 1468112"/>
              <a:gd name="connsiteY144" fmla="*/ 293035 h 951313"/>
              <a:gd name="connsiteX145" fmla="*/ 317903 w 1468112"/>
              <a:gd name="connsiteY145" fmla="*/ 280622 h 951313"/>
              <a:gd name="connsiteX146" fmla="*/ 293077 w 1468112"/>
              <a:gd name="connsiteY146" fmla="*/ 259934 h 951313"/>
              <a:gd name="connsiteX147" fmla="*/ 276527 w 1468112"/>
              <a:gd name="connsiteY147" fmla="*/ 230971 h 951313"/>
              <a:gd name="connsiteX148" fmla="*/ 259977 w 1468112"/>
              <a:gd name="connsiteY148" fmla="*/ 206146 h 951313"/>
              <a:gd name="connsiteX149" fmla="*/ 247564 w 1468112"/>
              <a:gd name="connsiteY149" fmla="*/ 181321 h 951313"/>
              <a:gd name="connsiteX150" fmla="*/ 239289 w 1468112"/>
              <a:gd name="connsiteY150" fmla="*/ 156495 h 951313"/>
              <a:gd name="connsiteX151" fmla="*/ 235152 w 1468112"/>
              <a:gd name="connsiteY151" fmla="*/ 144083 h 951313"/>
              <a:gd name="connsiteX152" fmla="*/ 222739 w 1468112"/>
              <a:gd name="connsiteY152" fmla="*/ 139945 h 951313"/>
              <a:gd name="connsiteX153" fmla="*/ 193776 w 1468112"/>
              <a:gd name="connsiteY153" fmla="*/ 102707 h 951313"/>
              <a:gd name="connsiteX154" fmla="*/ 185501 w 1468112"/>
              <a:gd name="connsiteY154" fmla="*/ 90294 h 951313"/>
              <a:gd name="connsiteX155" fmla="*/ 177226 w 1468112"/>
              <a:gd name="connsiteY155" fmla="*/ 73744 h 951313"/>
              <a:gd name="connsiteX156" fmla="*/ 148263 w 1468112"/>
              <a:gd name="connsiteY156" fmla="*/ 61332 h 951313"/>
              <a:gd name="connsiteX157" fmla="*/ 115162 w 1468112"/>
              <a:gd name="connsiteY157" fmla="*/ 65469 h 951313"/>
              <a:gd name="connsiteX158" fmla="*/ 119300 w 1468112"/>
              <a:gd name="connsiteY158" fmla="*/ 123395 h 951313"/>
              <a:gd name="connsiteX159" fmla="*/ 135850 w 1468112"/>
              <a:gd name="connsiteY159" fmla="*/ 160633 h 951313"/>
              <a:gd name="connsiteX160" fmla="*/ 148263 w 1468112"/>
              <a:gd name="connsiteY160" fmla="*/ 164770 h 951313"/>
              <a:gd name="connsiteX161" fmla="*/ 164813 w 1468112"/>
              <a:gd name="connsiteY161" fmla="*/ 185458 h 951313"/>
              <a:gd name="connsiteX162" fmla="*/ 177226 w 1468112"/>
              <a:gd name="connsiteY162" fmla="*/ 210284 h 951313"/>
              <a:gd name="connsiteX163" fmla="*/ 189638 w 1468112"/>
              <a:gd name="connsiteY163" fmla="*/ 218559 h 951313"/>
              <a:gd name="connsiteX164" fmla="*/ 197914 w 1468112"/>
              <a:gd name="connsiteY164" fmla="*/ 226834 h 951313"/>
              <a:gd name="connsiteX165" fmla="*/ 222739 w 1468112"/>
              <a:gd name="connsiteY165" fmla="*/ 243384 h 951313"/>
              <a:gd name="connsiteX166" fmla="*/ 235152 w 1468112"/>
              <a:gd name="connsiteY166" fmla="*/ 251659 h 951313"/>
              <a:gd name="connsiteX167" fmla="*/ 251702 w 1468112"/>
              <a:gd name="connsiteY167" fmla="*/ 280622 h 951313"/>
              <a:gd name="connsiteX168" fmla="*/ 264114 w 1468112"/>
              <a:gd name="connsiteY168" fmla="*/ 284760 h 951313"/>
              <a:gd name="connsiteX169" fmla="*/ 280665 w 1468112"/>
              <a:gd name="connsiteY169" fmla="*/ 317860 h 951313"/>
              <a:gd name="connsiteX170" fmla="*/ 288940 w 1468112"/>
              <a:gd name="connsiteY170" fmla="*/ 342685 h 951313"/>
              <a:gd name="connsiteX171" fmla="*/ 293077 w 1468112"/>
              <a:gd name="connsiteY171" fmla="*/ 355098 h 951313"/>
              <a:gd name="connsiteX172" fmla="*/ 301352 w 1468112"/>
              <a:gd name="connsiteY172" fmla="*/ 367511 h 951313"/>
              <a:gd name="connsiteX173" fmla="*/ 313765 w 1468112"/>
              <a:gd name="connsiteY173" fmla="*/ 388199 h 951313"/>
              <a:gd name="connsiteX174" fmla="*/ 322040 w 1468112"/>
              <a:gd name="connsiteY174" fmla="*/ 413024 h 951313"/>
              <a:gd name="connsiteX175" fmla="*/ 330315 w 1468112"/>
              <a:gd name="connsiteY175" fmla="*/ 425437 h 951313"/>
              <a:gd name="connsiteX176" fmla="*/ 334453 w 1468112"/>
              <a:gd name="connsiteY176" fmla="*/ 437849 h 951313"/>
              <a:gd name="connsiteX177" fmla="*/ 355141 w 1468112"/>
              <a:gd name="connsiteY177" fmla="*/ 462675 h 951313"/>
              <a:gd name="connsiteX178" fmla="*/ 363416 w 1468112"/>
              <a:gd name="connsiteY178" fmla="*/ 475087 h 951313"/>
              <a:gd name="connsiteX179" fmla="*/ 351003 w 1468112"/>
              <a:gd name="connsiteY179" fmla="*/ 520600 h 951313"/>
              <a:gd name="connsiteX180" fmla="*/ 338590 w 1468112"/>
              <a:gd name="connsiteY180" fmla="*/ 524738 h 951313"/>
              <a:gd name="connsiteX181" fmla="*/ 326178 w 1468112"/>
              <a:gd name="connsiteY181" fmla="*/ 499913 h 951313"/>
              <a:gd name="connsiteX182" fmla="*/ 317903 w 1468112"/>
              <a:gd name="connsiteY182" fmla="*/ 491637 h 951313"/>
              <a:gd name="connsiteX183" fmla="*/ 309628 w 1468112"/>
              <a:gd name="connsiteY183" fmla="*/ 479225 h 951313"/>
              <a:gd name="connsiteX184" fmla="*/ 284802 w 1468112"/>
              <a:gd name="connsiteY184" fmla="*/ 470950 h 951313"/>
              <a:gd name="connsiteX185" fmla="*/ 264114 w 1468112"/>
              <a:gd name="connsiteY185" fmla="*/ 450262 h 951313"/>
              <a:gd name="connsiteX186" fmla="*/ 239289 w 1468112"/>
              <a:gd name="connsiteY186" fmla="*/ 437849 h 951313"/>
              <a:gd name="connsiteX187" fmla="*/ 235152 w 1468112"/>
              <a:gd name="connsiteY187" fmla="*/ 400611 h 951313"/>
              <a:gd name="connsiteX188" fmla="*/ 222739 w 1468112"/>
              <a:gd name="connsiteY188" fmla="*/ 342685 h 951313"/>
              <a:gd name="connsiteX189" fmla="*/ 210326 w 1468112"/>
              <a:gd name="connsiteY189" fmla="*/ 338548 h 951313"/>
              <a:gd name="connsiteX190" fmla="*/ 197914 w 1468112"/>
              <a:gd name="connsiteY190" fmla="*/ 330273 h 951313"/>
              <a:gd name="connsiteX191" fmla="*/ 173088 w 1468112"/>
              <a:gd name="connsiteY191" fmla="*/ 321998 h 951313"/>
              <a:gd name="connsiteX192" fmla="*/ 156538 w 1468112"/>
              <a:gd name="connsiteY192" fmla="*/ 301310 h 951313"/>
              <a:gd name="connsiteX193" fmla="*/ 131713 w 1468112"/>
              <a:gd name="connsiteY193" fmla="*/ 288897 h 951313"/>
              <a:gd name="connsiteX194" fmla="*/ 102750 w 1468112"/>
              <a:gd name="connsiteY194" fmla="*/ 276485 h 951313"/>
              <a:gd name="connsiteX195" fmla="*/ 111025 w 1468112"/>
              <a:gd name="connsiteY195" fmla="*/ 268209 h 951313"/>
              <a:gd name="connsiteX196" fmla="*/ 135850 w 1468112"/>
              <a:gd name="connsiteY196" fmla="*/ 259934 h 951313"/>
              <a:gd name="connsiteX197" fmla="*/ 139988 w 1468112"/>
              <a:gd name="connsiteY197" fmla="*/ 247522 h 951313"/>
              <a:gd name="connsiteX198" fmla="*/ 148263 w 1468112"/>
              <a:gd name="connsiteY198" fmla="*/ 235109 h 951313"/>
              <a:gd name="connsiteX199" fmla="*/ 139988 w 1468112"/>
              <a:gd name="connsiteY199" fmla="*/ 206146 h 951313"/>
              <a:gd name="connsiteX200" fmla="*/ 131713 w 1468112"/>
              <a:gd name="connsiteY200" fmla="*/ 193733 h 951313"/>
              <a:gd name="connsiteX201" fmla="*/ 106887 w 1468112"/>
              <a:gd name="connsiteY201" fmla="*/ 177183 h 951313"/>
              <a:gd name="connsiteX202" fmla="*/ 90337 w 1468112"/>
              <a:gd name="connsiteY202" fmla="*/ 152358 h 951313"/>
              <a:gd name="connsiteX203" fmla="*/ 82062 w 1468112"/>
              <a:gd name="connsiteY203" fmla="*/ 139945 h 951313"/>
              <a:gd name="connsiteX204" fmla="*/ 69649 w 1468112"/>
              <a:gd name="connsiteY204" fmla="*/ 135808 h 951313"/>
              <a:gd name="connsiteX205" fmla="*/ 57237 w 1468112"/>
              <a:gd name="connsiteY205" fmla="*/ 110982 h 951313"/>
              <a:gd name="connsiteX206" fmla="*/ 40686 w 1468112"/>
              <a:gd name="connsiteY206" fmla="*/ 90294 h 951313"/>
              <a:gd name="connsiteX207" fmla="*/ 28274 w 1468112"/>
              <a:gd name="connsiteY207" fmla="*/ 19956 h 951313"/>
              <a:gd name="connsiteX208" fmla="*/ 24136 w 1468112"/>
              <a:gd name="connsiteY208" fmla="*/ 3406 h 951313"/>
              <a:gd name="connsiteX209" fmla="*/ 3448 w 1468112"/>
              <a:gd name="connsiteY209" fmla="*/ 3406 h 951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</a:cxnLst>
            <a:rect l="l" t="t" r="r" b="b"/>
            <a:pathLst>
              <a:path w="1468112" h="951313">
                <a:moveTo>
                  <a:pt x="3448" y="3406"/>
                </a:moveTo>
                <a:cubicBezTo>
                  <a:pt x="6896" y="4095"/>
                  <a:pt x="31103" y="5583"/>
                  <a:pt x="44824" y="7543"/>
                </a:cubicBezTo>
                <a:cubicBezTo>
                  <a:pt x="50453" y="8347"/>
                  <a:pt x="55906" y="10119"/>
                  <a:pt x="61374" y="11681"/>
                </a:cubicBezTo>
                <a:cubicBezTo>
                  <a:pt x="65568" y="12879"/>
                  <a:pt x="69443" y="15423"/>
                  <a:pt x="73787" y="15818"/>
                </a:cubicBezTo>
                <a:cubicBezTo>
                  <a:pt x="99920" y="18194"/>
                  <a:pt x="126196" y="18577"/>
                  <a:pt x="152400" y="19956"/>
                </a:cubicBezTo>
                <a:lnTo>
                  <a:pt x="189638" y="32369"/>
                </a:lnTo>
                <a:lnTo>
                  <a:pt x="202051" y="36506"/>
                </a:lnTo>
                <a:cubicBezTo>
                  <a:pt x="206189" y="37885"/>
                  <a:pt x="210233" y="39586"/>
                  <a:pt x="214464" y="40644"/>
                </a:cubicBezTo>
                <a:cubicBezTo>
                  <a:pt x="219981" y="42023"/>
                  <a:pt x="225546" y="43219"/>
                  <a:pt x="231014" y="44781"/>
                </a:cubicBezTo>
                <a:cubicBezTo>
                  <a:pt x="235208" y="45979"/>
                  <a:pt x="239196" y="47861"/>
                  <a:pt x="243427" y="48919"/>
                </a:cubicBezTo>
                <a:cubicBezTo>
                  <a:pt x="250249" y="50625"/>
                  <a:pt x="257330" y="51206"/>
                  <a:pt x="264114" y="53056"/>
                </a:cubicBezTo>
                <a:cubicBezTo>
                  <a:pt x="321854" y="68804"/>
                  <a:pt x="259229" y="55391"/>
                  <a:pt x="309628" y="65469"/>
                </a:cubicBezTo>
                <a:cubicBezTo>
                  <a:pt x="324799" y="64090"/>
                  <a:pt x="340041" y="63345"/>
                  <a:pt x="355141" y="61332"/>
                </a:cubicBezTo>
                <a:cubicBezTo>
                  <a:pt x="360778" y="60580"/>
                  <a:pt x="366082" y="58129"/>
                  <a:pt x="371691" y="57194"/>
                </a:cubicBezTo>
                <a:cubicBezTo>
                  <a:pt x="382659" y="55366"/>
                  <a:pt x="393758" y="54435"/>
                  <a:pt x="404791" y="53056"/>
                </a:cubicBezTo>
                <a:cubicBezTo>
                  <a:pt x="408929" y="51677"/>
                  <a:pt x="413303" y="50869"/>
                  <a:pt x="417204" y="48919"/>
                </a:cubicBezTo>
                <a:cubicBezTo>
                  <a:pt x="421652" y="46695"/>
                  <a:pt x="424649" y="40870"/>
                  <a:pt x="429617" y="40644"/>
                </a:cubicBezTo>
                <a:lnTo>
                  <a:pt x="508230" y="44781"/>
                </a:lnTo>
                <a:cubicBezTo>
                  <a:pt x="512368" y="46160"/>
                  <a:pt x="516742" y="46968"/>
                  <a:pt x="520643" y="48919"/>
                </a:cubicBezTo>
                <a:cubicBezTo>
                  <a:pt x="525091" y="51143"/>
                  <a:pt x="528512" y="55174"/>
                  <a:pt x="533056" y="57194"/>
                </a:cubicBezTo>
                <a:cubicBezTo>
                  <a:pt x="541027" y="60737"/>
                  <a:pt x="557881" y="65469"/>
                  <a:pt x="557881" y="65469"/>
                </a:cubicBezTo>
                <a:lnTo>
                  <a:pt x="582706" y="82019"/>
                </a:lnTo>
                <a:lnTo>
                  <a:pt x="595119" y="90294"/>
                </a:lnTo>
                <a:cubicBezTo>
                  <a:pt x="604966" y="119837"/>
                  <a:pt x="598555" y="107862"/>
                  <a:pt x="611669" y="127532"/>
                </a:cubicBezTo>
                <a:cubicBezTo>
                  <a:pt x="613048" y="134428"/>
                  <a:pt x="614281" y="141355"/>
                  <a:pt x="615807" y="148220"/>
                </a:cubicBezTo>
                <a:cubicBezTo>
                  <a:pt x="618400" y="159890"/>
                  <a:pt x="617631" y="166693"/>
                  <a:pt x="628219" y="173046"/>
                </a:cubicBezTo>
                <a:cubicBezTo>
                  <a:pt x="631959" y="175290"/>
                  <a:pt x="636494" y="175804"/>
                  <a:pt x="640632" y="177183"/>
                </a:cubicBezTo>
                <a:cubicBezTo>
                  <a:pt x="669086" y="196152"/>
                  <a:pt x="656022" y="190588"/>
                  <a:pt x="677870" y="197871"/>
                </a:cubicBezTo>
                <a:cubicBezTo>
                  <a:pt x="680628" y="193733"/>
                  <a:pt x="683921" y="189906"/>
                  <a:pt x="686145" y="185458"/>
                </a:cubicBezTo>
                <a:cubicBezTo>
                  <a:pt x="688095" y="181557"/>
                  <a:pt x="686877" y="175770"/>
                  <a:pt x="690283" y="173046"/>
                </a:cubicBezTo>
                <a:cubicBezTo>
                  <a:pt x="694723" y="169494"/>
                  <a:pt x="701316" y="170287"/>
                  <a:pt x="706833" y="168908"/>
                </a:cubicBezTo>
                <a:cubicBezTo>
                  <a:pt x="710971" y="166150"/>
                  <a:pt x="714273" y="160633"/>
                  <a:pt x="719246" y="160633"/>
                </a:cubicBezTo>
                <a:cubicBezTo>
                  <a:pt x="731961" y="160633"/>
                  <a:pt x="744148" y="165824"/>
                  <a:pt x="756484" y="168908"/>
                </a:cubicBezTo>
                <a:cubicBezTo>
                  <a:pt x="760715" y="169966"/>
                  <a:pt x="765084" y="170928"/>
                  <a:pt x="768896" y="173046"/>
                </a:cubicBezTo>
                <a:cubicBezTo>
                  <a:pt x="777590" y="177876"/>
                  <a:pt x="785447" y="184079"/>
                  <a:pt x="793722" y="189596"/>
                </a:cubicBezTo>
                <a:lnTo>
                  <a:pt x="806134" y="197871"/>
                </a:lnTo>
                <a:lnTo>
                  <a:pt x="818547" y="206146"/>
                </a:lnTo>
                <a:cubicBezTo>
                  <a:pt x="821305" y="210284"/>
                  <a:pt x="824802" y="214015"/>
                  <a:pt x="826822" y="218559"/>
                </a:cubicBezTo>
                <a:cubicBezTo>
                  <a:pt x="830365" y="226530"/>
                  <a:pt x="830259" y="236126"/>
                  <a:pt x="835097" y="243384"/>
                </a:cubicBezTo>
                <a:cubicBezTo>
                  <a:pt x="864667" y="287741"/>
                  <a:pt x="818617" y="220422"/>
                  <a:pt x="855785" y="268209"/>
                </a:cubicBezTo>
                <a:cubicBezTo>
                  <a:pt x="861891" y="276060"/>
                  <a:pt x="869189" y="283600"/>
                  <a:pt x="872335" y="293035"/>
                </a:cubicBezTo>
                <a:cubicBezTo>
                  <a:pt x="877707" y="309148"/>
                  <a:pt x="873389" y="302363"/>
                  <a:pt x="884748" y="313723"/>
                </a:cubicBezTo>
                <a:cubicBezTo>
                  <a:pt x="887579" y="322218"/>
                  <a:pt x="888072" y="329866"/>
                  <a:pt x="897161" y="334410"/>
                </a:cubicBezTo>
                <a:cubicBezTo>
                  <a:pt x="904963" y="338311"/>
                  <a:pt x="921986" y="342685"/>
                  <a:pt x="921986" y="342685"/>
                </a:cubicBezTo>
                <a:cubicBezTo>
                  <a:pt x="924744" y="345444"/>
                  <a:pt x="926916" y="348954"/>
                  <a:pt x="930261" y="350961"/>
                </a:cubicBezTo>
                <a:cubicBezTo>
                  <a:pt x="936619" y="354776"/>
                  <a:pt x="958918" y="358347"/>
                  <a:pt x="963362" y="359236"/>
                </a:cubicBezTo>
                <a:cubicBezTo>
                  <a:pt x="960603" y="361994"/>
                  <a:pt x="958132" y="365074"/>
                  <a:pt x="955086" y="367511"/>
                </a:cubicBezTo>
                <a:cubicBezTo>
                  <a:pt x="951203" y="370617"/>
                  <a:pt x="945780" y="371903"/>
                  <a:pt x="942674" y="375786"/>
                </a:cubicBezTo>
                <a:cubicBezTo>
                  <a:pt x="939949" y="379192"/>
                  <a:pt x="939915" y="384061"/>
                  <a:pt x="938536" y="388199"/>
                </a:cubicBezTo>
                <a:cubicBezTo>
                  <a:pt x="939915" y="462675"/>
                  <a:pt x="936488" y="537396"/>
                  <a:pt x="942674" y="611627"/>
                </a:cubicBezTo>
                <a:cubicBezTo>
                  <a:pt x="943500" y="621538"/>
                  <a:pt x="953707" y="628177"/>
                  <a:pt x="959224" y="636452"/>
                </a:cubicBezTo>
                <a:lnTo>
                  <a:pt x="975774" y="661277"/>
                </a:lnTo>
                <a:cubicBezTo>
                  <a:pt x="978532" y="665415"/>
                  <a:pt x="979911" y="670932"/>
                  <a:pt x="984049" y="673690"/>
                </a:cubicBezTo>
                <a:lnTo>
                  <a:pt x="1008875" y="690240"/>
                </a:lnTo>
                <a:lnTo>
                  <a:pt x="1021287" y="698515"/>
                </a:lnTo>
                <a:cubicBezTo>
                  <a:pt x="1027919" y="708464"/>
                  <a:pt x="1039876" y="728159"/>
                  <a:pt x="1050250" y="731616"/>
                </a:cubicBezTo>
                <a:lnTo>
                  <a:pt x="1062663" y="735753"/>
                </a:lnTo>
                <a:cubicBezTo>
                  <a:pt x="1066801" y="739891"/>
                  <a:pt x="1069961" y="745324"/>
                  <a:pt x="1075076" y="748166"/>
                </a:cubicBezTo>
                <a:cubicBezTo>
                  <a:pt x="1082701" y="752402"/>
                  <a:pt x="1099901" y="756441"/>
                  <a:pt x="1099901" y="756441"/>
                </a:cubicBezTo>
                <a:cubicBezTo>
                  <a:pt x="1117830" y="755062"/>
                  <a:pt x="1135830" y="754405"/>
                  <a:pt x="1153689" y="752304"/>
                </a:cubicBezTo>
                <a:cubicBezTo>
                  <a:pt x="1163348" y="751168"/>
                  <a:pt x="1188396" y="742114"/>
                  <a:pt x="1195065" y="739891"/>
                </a:cubicBezTo>
                <a:cubicBezTo>
                  <a:pt x="1199202" y="738512"/>
                  <a:pt x="1203200" y="736608"/>
                  <a:pt x="1207477" y="735753"/>
                </a:cubicBezTo>
                <a:cubicBezTo>
                  <a:pt x="1214373" y="734374"/>
                  <a:pt x="1221342" y="733322"/>
                  <a:pt x="1228165" y="731616"/>
                </a:cubicBezTo>
                <a:cubicBezTo>
                  <a:pt x="1232396" y="730558"/>
                  <a:pt x="1236384" y="728676"/>
                  <a:pt x="1240578" y="727478"/>
                </a:cubicBezTo>
                <a:cubicBezTo>
                  <a:pt x="1246046" y="725916"/>
                  <a:pt x="1251611" y="724720"/>
                  <a:pt x="1257128" y="723341"/>
                </a:cubicBezTo>
                <a:cubicBezTo>
                  <a:pt x="1261266" y="720583"/>
                  <a:pt x="1266905" y="719283"/>
                  <a:pt x="1269541" y="715066"/>
                </a:cubicBezTo>
                <a:cubicBezTo>
                  <a:pt x="1274164" y="707669"/>
                  <a:pt x="1272977" y="697498"/>
                  <a:pt x="1277816" y="690240"/>
                </a:cubicBezTo>
                <a:lnTo>
                  <a:pt x="1286091" y="677828"/>
                </a:lnTo>
                <a:cubicBezTo>
                  <a:pt x="1297930" y="642304"/>
                  <a:pt x="1279797" y="698863"/>
                  <a:pt x="1294366" y="640589"/>
                </a:cubicBezTo>
                <a:cubicBezTo>
                  <a:pt x="1296482" y="632127"/>
                  <a:pt x="1299883" y="624039"/>
                  <a:pt x="1302641" y="615764"/>
                </a:cubicBezTo>
                <a:cubicBezTo>
                  <a:pt x="1304020" y="611626"/>
                  <a:pt x="1302641" y="604730"/>
                  <a:pt x="1306779" y="603351"/>
                </a:cubicBezTo>
                <a:lnTo>
                  <a:pt x="1331604" y="595076"/>
                </a:lnTo>
                <a:lnTo>
                  <a:pt x="1344017" y="590939"/>
                </a:lnTo>
                <a:cubicBezTo>
                  <a:pt x="1378497" y="592318"/>
                  <a:pt x="1413036" y="592617"/>
                  <a:pt x="1447456" y="595076"/>
                </a:cubicBezTo>
                <a:cubicBezTo>
                  <a:pt x="1451806" y="595387"/>
                  <a:pt x="1459088" y="594923"/>
                  <a:pt x="1459868" y="599214"/>
                </a:cubicBezTo>
                <a:cubicBezTo>
                  <a:pt x="1468112" y="644558"/>
                  <a:pt x="1461937" y="630763"/>
                  <a:pt x="1447456" y="648865"/>
                </a:cubicBezTo>
                <a:cubicBezTo>
                  <a:pt x="1426588" y="674951"/>
                  <a:pt x="1450879" y="649580"/>
                  <a:pt x="1430905" y="669552"/>
                </a:cubicBezTo>
                <a:cubicBezTo>
                  <a:pt x="1429526" y="673690"/>
                  <a:pt x="1428718" y="678064"/>
                  <a:pt x="1426768" y="681965"/>
                </a:cubicBezTo>
                <a:cubicBezTo>
                  <a:pt x="1410722" y="714059"/>
                  <a:pt x="1424759" y="675583"/>
                  <a:pt x="1414355" y="706790"/>
                </a:cubicBezTo>
                <a:cubicBezTo>
                  <a:pt x="1412976" y="720582"/>
                  <a:pt x="1418995" y="737438"/>
                  <a:pt x="1410218" y="748166"/>
                </a:cubicBezTo>
                <a:cubicBezTo>
                  <a:pt x="1403177" y="756772"/>
                  <a:pt x="1387441" y="748174"/>
                  <a:pt x="1377117" y="752304"/>
                </a:cubicBezTo>
                <a:cubicBezTo>
                  <a:pt x="1372500" y="754151"/>
                  <a:pt x="1372725" y="761610"/>
                  <a:pt x="1368842" y="764716"/>
                </a:cubicBezTo>
                <a:cubicBezTo>
                  <a:pt x="1365436" y="767441"/>
                  <a:pt x="1360747" y="768237"/>
                  <a:pt x="1356429" y="768854"/>
                </a:cubicBezTo>
                <a:cubicBezTo>
                  <a:pt x="1341349" y="771008"/>
                  <a:pt x="1326087" y="771612"/>
                  <a:pt x="1310916" y="772991"/>
                </a:cubicBezTo>
                <a:cubicBezTo>
                  <a:pt x="1282451" y="782481"/>
                  <a:pt x="1316865" y="771910"/>
                  <a:pt x="1265403" y="781266"/>
                </a:cubicBezTo>
                <a:cubicBezTo>
                  <a:pt x="1261112" y="782046"/>
                  <a:pt x="1257128" y="784025"/>
                  <a:pt x="1252990" y="785404"/>
                </a:cubicBezTo>
                <a:cubicBezTo>
                  <a:pt x="1248376" y="799248"/>
                  <a:pt x="1243951" y="806071"/>
                  <a:pt x="1252990" y="822642"/>
                </a:cubicBezTo>
                <a:cubicBezTo>
                  <a:pt x="1257660" y="831204"/>
                  <a:pt x="1273678" y="843330"/>
                  <a:pt x="1273678" y="843330"/>
                </a:cubicBezTo>
                <a:cubicBezTo>
                  <a:pt x="1269541" y="846088"/>
                  <a:pt x="1266029" y="850176"/>
                  <a:pt x="1261266" y="851605"/>
                </a:cubicBezTo>
                <a:cubicBezTo>
                  <a:pt x="1221073" y="863662"/>
                  <a:pt x="1242146" y="845898"/>
                  <a:pt x="1224028" y="864018"/>
                </a:cubicBezTo>
                <a:cubicBezTo>
                  <a:pt x="1213626" y="895219"/>
                  <a:pt x="1227658" y="856757"/>
                  <a:pt x="1211615" y="888843"/>
                </a:cubicBezTo>
                <a:cubicBezTo>
                  <a:pt x="1209664" y="892744"/>
                  <a:pt x="1208856" y="897118"/>
                  <a:pt x="1207477" y="901256"/>
                </a:cubicBezTo>
                <a:cubicBezTo>
                  <a:pt x="1206098" y="916427"/>
                  <a:pt x="1209527" y="932848"/>
                  <a:pt x="1203340" y="946769"/>
                </a:cubicBezTo>
                <a:cubicBezTo>
                  <a:pt x="1201320" y="951313"/>
                  <a:pt x="1194033" y="942377"/>
                  <a:pt x="1190927" y="938494"/>
                </a:cubicBezTo>
                <a:cubicBezTo>
                  <a:pt x="1188202" y="935088"/>
                  <a:pt x="1189407" y="929570"/>
                  <a:pt x="1186790" y="926081"/>
                </a:cubicBezTo>
                <a:cubicBezTo>
                  <a:pt x="1146541" y="872414"/>
                  <a:pt x="1182398" y="925826"/>
                  <a:pt x="1153689" y="897118"/>
                </a:cubicBezTo>
                <a:cubicBezTo>
                  <a:pt x="1148813" y="892242"/>
                  <a:pt x="1147014" y="884393"/>
                  <a:pt x="1141276" y="880568"/>
                </a:cubicBezTo>
                <a:cubicBezTo>
                  <a:pt x="1134018" y="875730"/>
                  <a:pt x="1116451" y="872293"/>
                  <a:pt x="1116451" y="872293"/>
                </a:cubicBezTo>
                <a:cubicBezTo>
                  <a:pt x="1078855" y="877663"/>
                  <a:pt x="1096738" y="873346"/>
                  <a:pt x="1062663" y="884705"/>
                </a:cubicBezTo>
                <a:lnTo>
                  <a:pt x="1050250" y="888843"/>
                </a:lnTo>
                <a:lnTo>
                  <a:pt x="1037838" y="892980"/>
                </a:lnTo>
                <a:cubicBezTo>
                  <a:pt x="1013013" y="891601"/>
                  <a:pt x="988034" y="891927"/>
                  <a:pt x="963362" y="888843"/>
                </a:cubicBezTo>
                <a:cubicBezTo>
                  <a:pt x="954706" y="887761"/>
                  <a:pt x="946811" y="883326"/>
                  <a:pt x="938536" y="880568"/>
                </a:cubicBezTo>
                <a:lnTo>
                  <a:pt x="926123" y="876430"/>
                </a:lnTo>
                <a:cubicBezTo>
                  <a:pt x="923909" y="874770"/>
                  <a:pt x="902103" y="857939"/>
                  <a:pt x="897161" y="855742"/>
                </a:cubicBezTo>
                <a:cubicBezTo>
                  <a:pt x="889190" y="852199"/>
                  <a:pt x="880610" y="850225"/>
                  <a:pt x="872335" y="847467"/>
                </a:cubicBezTo>
                <a:lnTo>
                  <a:pt x="847510" y="839192"/>
                </a:lnTo>
                <a:lnTo>
                  <a:pt x="822685" y="830917"/>
                </a:lnTo>
                <a:lnTo>
                  <a:pt x="810272" y="826780"/>
                </a:lnTo>
                <a:cubicBezTo>
                  <a:pt x="807514" y="824021"/>
                  <a:pt x="805486" y="820249"/>
                  <a:pt x="801997" y="818504"/>
                </a:cubicBezTo>
                <a:cubicBezTo>
                  <a:pt x="794195" y="814603"/>
                  <a:pt x="777171" y="810229"/>
                  <a:pt x="777171" y="810229"/>
                </a:cubicBezTo>
                <a:cubicBezTo>
                  <a:pt x="766461" y="799519"/>
                  <a:pt x="754780" y="786215"/>
                  <a:pt x="739933" y="781266"/>
                </a:cubicBezTo>
                <a:lnTo>
                  <a:pt x="715108" y="772991"/>
                </a:lnTo>
                <a:lnTo>
                  <a:pt x="690283" y="764716"/>
                </a:lnTo>
                <a:lnTo>
                  <a:pt x="677870" y="760579"/>
                </a:lnTo>
                <a:cubicBezTo>
                  <a:pt x="673732" y="757821"/>
                  <a:pt x="669340" y="755411"/>
                  <a:pt x="665457" y="752304"/>
                </a:cubicBezTo>
                <a:cubicBezTo>
                  <a:pt x="662411" y="749867"/>
                  <a:pt x="660527" y="746035"/>
                  <a:pt x="657182" y="744028"/>
                </a:cubicBezTo>
                <a:cubicBezTo>
                  <a:pt x="653442" y="741784"/>
                  <a:pt x="648907" y="741270"/>
                  <a:pt x="644770" y="739891"/>
                </a:cubicBezTo>
                <a:cubicBezTo>
                  <a:pt x="640632" y="737133"/>
                  <a:pt x="636805" y="733840"/>
                  <a:pt x="632357" y="731616"/>
                </a:cubicBezTo>
                <a:cubicBezTo>
                  <a:pt x="628456" y="729665"/>
                  <a:pt x="623350" y="730203"/>
                  <a:pt x="619944" y="727478"/>
                </a:cubicBezTo>
                <a:cubicBezTo>
                  <a:pt x="616061" y="724372"/>
                  <a:pt x="614775" y="718949"/>
                  <a:pt x="611669" y="715066"/>
                </a:cubicBezTo>
                <a:cubicBezTo>
                  <a:pt x="606536" y="708650"/>
                  <a:pt x="598153" y="702101"/>
                  <a:pt x="590981" y="698515"/>
                </a:cubicBezTo>
                <a:cubicBezTo>
                  <a:pt x="587080" y="696565"/>
                  <a:pt x="582706" y="695757"/>
                  <a:pt x="578569" y="694378"/>
                </a:cubicBezTo>
                <a:cubicBezTo>
                  <a:pt x="554851" y="658800"/>
                  <a:pt x="583289" y="703817"/>
                  <a:pt x="566156" y="669552"/>
                </a:cubicBezTo>
                <a:cubicBezTo>
                  <a:pt x="563932" y="665104"/>
                  <a:pt x="560639" y="661277"/>
                  <a:pt x="557881" y="657140"/>
                </a:cubicBezTo>
                <a:cubicBezTo>
                  <a:pt x="559260" y="647486"/>
                  <a:pt x="559826" y="637680"/>
                  <a:pt x="562019" y="628177"/>
                </a:cubicBezTo>
                <a:cubicBezTo>
                  <a:pt x="563980" y="619677"/>
                  <a:pt x="570294" y="603351"/>
                  <a:pt x="570294" y="603351"/>
                </a:cubicBezTo>
                <a:cubicBezTo>
                  <a:pt x="568915" y="586801"/>
                  <a:pt x="568351" y="570163"/>
                  <a:pt x="566156" y="553701"/>
                </a:cubicBezTo>
                <a:cubicBezTo>
                  <a:pt x="565580" y="549378"/>
                  <a:pt x="564636" y="544777"/>
                  <a:pt x="562019" y="541288"/>
                </a:cubicBezTo>
                <a:cubicBezTo>
                  <a:pt x="556168" y="533486"/>
                  <a:pt x="550583" y="523684"/>
                  <a:pt x="541331" y="520600"/>
                </a:cubicBezTo>
                <a:lnTo>
                  <a:pt x="528918" y="516463"/>
                </a:lnTo>
                <a:cubicBezTo>
                  <a:pt x="492652" y="480197"/>
                  <a:pt x="538656" y="524578"/>
                  <a:pt x="504093" y="495775"/>
                </a:cubicBezTo>
                <a:cubicBezTo>
                  <a:pt x="499598" y="492029"/>
                  <a:pt x="495818" y="487500"/>
                  <a:pt x="491680" y="483362"/>
                </a:cubicBezTo>
                <a:cubicBezTo>
                  <a:pt x="490301" y="479225"/>
                  <a:pt x="488740" y="475143"/>
                  <a:pt x="487542" y="470950"/>
                </a:cubicBezTo>
                <a:cubicBezTo>
                  <a:pt x="484597" y="460642"/>
                  <a:pt x="484463" y="449453"/>
                  <a:pt x="475130" y="441987"/>
                </a:cubicBezTo>
                <a:cubicBezTo>
                  <a:pt x="471724" y="439262"/>
                  <a:pt x="466855" y="439228"/>
                  <a:pt x="462717" y="437849"/>
                </a:cubicBezTo>
                <a:lnTo>
                  <a:pt x="442029" y="417161"/>
                </a:lnTo>
                <a:cubicBezTo>
                  <a:pt x="437892" y="413024"/>
                  <a:pt x="435168" y="406599"/>
                  <a:pt x="429617" y="404749"/>
                </a:cubicBezTo>
                <a:cubicBezTo>
                  <a:pt x="425479" y="403370"/>
                  <a:pt x="421017" y="402729"/>
                  <a:pt x="417204" y="400611"/>
                </a:cubicBezTo>
                <a:cubicBezTo>
                  <a:pt x="408510" y="395781"/>
                  <a:pt x="400654" y="389578"/>
                  <a:pt x="392379" y="384061"/>
                </a:cubicBezTo>
                <a:cubicBezTo>
                  <a:pt x="388241" y="381303"/>
                  <a:pt x="384684" y="377359"/>
                  <a:pt x="379966" y="375786"/>
                </a:cubicBezTo>
                <a:lnTo>
                  <a:pt x="367553" y="371648"/>
                </a:lnTo>
                <a:cubicBezTo>
                  <a:pt x="366174" y="356477"/>
                  <a:pt x="366608" y="341030"/>
                  <a:pt x="363416" y="326135"/>
                </a:cubicBezTo>
                <a:cubicBezTo>
                  <a:pt x="362374" y="321273"/>
                  <a:pt x="358377" y="317498"/>
                  <a:pt x="355141" y="313723"/>
                </a:cubicBezTo>
                <a:cubicBezTo>
                  <a:pt x="338309" y="294086"/>
                  <a:pt x="343434" y="298383"/>
                  <a:pt x="322040" y="293035"/>
                </a:cubicBezTo>
                <a:cubicBezTo>
                  <a:pt x="320661" y="288897"/>
                  <a:pt x="320322" y="284251"/>
                  <a:pt x="317903" y="280622"/>
                </a:cubicBezTo>
                <a:cubicBezTo>
                  <a:pt x="311531" y="271064"/>
                  <a:pt x="302236" y="266040"/>
                  <a:pt x="293077" y="259934"/>
                </a:cubicBezTo>
                <a:cubicBezTo>
                  <a:pt x="252360" y="205642"/>
                  <a:pt x="299094" y="271590"/>
                  <a:pt x="276527" y="230971"/>
                </a:cubicBezTo>
                <a:cubicBezTo>
                  <a:pt x="271697" y="222277"/>
                  <a:pt x="263122" y="215581"/>
                  <a:pt x="259977" y="206146"/>
                </a:cubicBezTo>
                <a:cubicBezTo>
                  <a:pt x="254266" y="189016"/>
                  <a:pt x="258258" y="197362"/>
                  <a:pt x="247564" y="181321"/>
                </a:cubicBezTo>
                <a:lnTo>
                  <a:pt x="239289" y="156495"/>
                </a:lnTo>
                <a:cubicBezTo>
                  <a:pt x="237910" y="152358"/>
                  <a:pt x="239289" y="145462"/>
                  <a:pt x="235152" y="144083"/>
                </a:cubicBezTo>
                <a:lnTo>
                  <a:pt x="222739" y="139945"/>
                </a:lnTo>
                <a:cubicBezTo>
                  <a:pt x="203294" y="120500"/>
                  <a:pt x="213571" y="132400"/>
                  <a:pt x="193776" y="102707"/>
                </a:cubicBezTo>
                <a:cubicBezTo>
                  <a:pt x="191018" y="98569"/>
                  <a:pt x="187725" y="94742"/>
                  <a:pt x="185501" y="90294"/>
                </a:cubicBezTo>
                <a:cubicBezTo>
                  <a:pt x="182743" y="84777"/>
                  <a:pt x="181175" y="78482"/>
                  <a:pt x="177226" y="73744"/>
                </a:cubicBezTo>
                <a:cubicBezTo>
                  <a:pt x="169706" y="64721"/>
                  <a:pt x="158631" y="63924"/>
                  <a:pt x="148263" y="61332"/>
                </a:cubicBezTo>
                <a:cubicBezTo>
                  <a:pt x="137229" y="62711"/>
                  <a:pt x="119864" y="55393"/>
                  <a:pt x="115162" y="65469"/>
                </a:cubicBezTo>
                <a:cubicBezTo>
                  <a:pt x="106976" y="83011"/>
                  <a:pt x="116428" y="104251"/>
                  <a:pt x="119300" y="123395"/>
                </a:cubicBezTo>
                <a:cubicBezTo>
                  <a:pt x="120248" y="129715"/>
                  <a:pt x="127810" y="154201"/>
                  <a:pt x="135850" y="160633"/>
                </a:cubicBezTo>
                <a:cubicBezTo>
                  <a:pt x="139256" y="163358"/>
                  <a:pt x="144125" y="163391"/>
                  <a:pt x="148263" y="164770"/>
                </a:cubicBezTo>
                <a:cubicBezTo>
                  <a:pt x="155958" y="172466"/>
                  <a:pt x="159594" y="175021"/>
                  <a:pt x="164813" y="185458"/>
                </a:cubicBezTo>
                <a:cubicBezTo>
                  <a:pt x="171544" y="198919"/>
                  <a:pt x="165369" y="198426"/>
                  <a:pt x="177226" y="210284"/>
                </a:cubicBezTo>
                <a:cubicBezTo>
                  <a:pt x="180742" y="213800"/>
                  <a:pt x="185755" y="215453"/>
                  <a:pt x="189638" y="218559"/>
                </a:cubicBezTo>
                <a:cubicBezTo>
                  <a:pt x="192684" y="220996"/>
                  <a:pt x="194793" y="224493"/>
                  <a:pt x="197914" y="226834"/>
                </a:cubicBezTo>
                <a:cubicBezTo>
                  <a:pt x="205870" y="232801"/>
                  <a:pt x="214464" y="237867"/>
                  <a:pt x="222739" y="243384"/>
                </a:cubicBezTo>
                <a:lnTo>
                  <a:pt x="235152" y="251659"/>
                </a:lnTo>
                <a:cubicBezTo>
                  <a:pt x="239277" y="264035"/>
                  <a:pt x="240139" y="270986"/>
                  <a:pt x="251702" y="280622"/>
                </a:cubicBezTo>
                <a:cubicBezTo>
                  <a:pt x="255052" y="283414"/>
                  <a:pt x="259977" y="283381"/>
                  <a:pt x="264114" y="284760"/>
                </a:cubicBezTo>
                <a:cubicBezTo>
                  <a:pt x="278558" y="299202"/>
                  <a:pt x="271157" y="289335"/>
                  <a:pt x="280665" y="317860"/>
                </a:cubicBezTo>
                <a:lnTo>
                  <a:pt x="288940" y="342685"/>
                </a:lnTo>
                <a:cubicBezTo>
                  <a:pt x="290319" y="346823"/>
                  <a:pt x="290658" y="351469"/>
                  <a:pt x="293077" y="355098"/>
                </a:cubicBezTo>
                <a:cubicBezTo>
                  <a:pt x="295835" y="359236"/>
                  <a:pt x="299128" y="363063"/>
                  <a:pt x="301352" y="367511"/>
                </a:cubicBezTo>
                <a:cubicBezTo>
                  <a:pt x="312095" y="388995"/>
                  <a:pt x="297602" y="372034"/>
                  <a:pt x="313765" y="388199"/>
                </a:cubicBezTo>
                <a:cubicBezTo>
                  <a:pt x="316523" y="396474"/>
                  <a:pt x="317202" y="405766"/>
                  <a:pt x="322040" y="413024"/>
                </a:cubicBezTo>
                <a:cubicBezTo>
                  <a:pt x="324798" y="417162"/>
                  <a:pt x="328091" y="420989"/>
                  <a:pt x="330315" y="425437"/>
                </a:cubicBezTo>
                <a:cubicBezTo>
                  <a:pt x="332265" y="429338"/>
                  <a:pt x="332503" y="433948"/>
                  <a:pt x="334453" y="437849"/>
                </a:cubicBezTo>
                <a:cubicBezTo>
                  <a:pt x="342159" y="453260"/>
                  <a:pt x="343701" y="448947"/>
                  <a:pt x="355141" y="462675"/>
                </a:cubicBezTo>
                <a:cubicBezTo>
                  <a:pt x="358324" y="466495"/>
                  <a:pt x="360658" y="470950"/>
                  <a:pt x="363416" y="475087"/>
                </a:cubicBezTo>
                <a:cubicBezTo>
                  <a:pt x="361801" y="488003"/>
                  <a:pt x="364042" y="510169"/>
                  <a:pt x="351003" y="520600"/>
                </a:cubicBezTo>
                <a:cubicBezTo>
                  <a:pt x="347597" y="523325"/>
                  <a:pt x="342728" y="523359"/>
                  <a:pt x="338590" y="524738"/>
                </a:cubicBezTo>
                <a:cubicBezTo>
                  <a:pt x="334220" y="511626"/>
                  <a:pt x="335346" y="511373"/>
                  <a:pt x="326178" y="499913"/>
                </a:cubicBezTo>
                <a:cubicBezTo>
                  <a:pt x="323741" y="496867"/>
                  <a:pt x="320340" y="494683"/>
                  <a:pt x="317903" y="491637"/>
                </a:cubicBezTo>
                <a:cubicBezTo>
                  <a:pt x="314797" y="487754"/>
                  <a:pt x="313845" y="481860"/>
                  <a:pt x="309628" y="479225"/>
                </a:cubicBezTo>
                <a:cubicBezTo>
                  <a:pt x="302231" y="474602"/>
                  <a:pt x="284802" y="470950"/>
                  <a:pt x="284802" y="470950"/>
                </a:cubicBezTo>
                <a:cubicBezTo>
                  <a:pt x="277906" y="464054"/>
                  <a:pt x="273366" y="453346"/>
                  <a:pt x="264114" y="450262"/>
                </a:cubicBezTo>
                <a:cubicBezTo>
                  <a:pt x="246984" y="444551"/>
                  <a:pt x="255331" y="448543"/>
                  <a:pt x="239289" y="437849"/>
                </a:cubicBezTo>
                <a:cubicBezTo>
                  <a:pt x="229635" y="408886"/>
                  <a:pt x="228255" y="421299"/>
                  <a:pt x="235152" y="400611"/>
                </a:cubicBezTo>
                <a:cubicBezTo>
                  <a:pt x="234081" y="388827"/>
                  <a:pt x="238316" y="355146"/>
                  <a:pt x="222739" y="342685"/>
                </a:cubicBezTo>
                <a:cubicBezTo>
                  <a:pt x="219333" y="339960"/>
                  <a:pt x="214464" y="339927"/>
                  <a:pt x="210326" y="338548"/>
                </a:cubicBezTo>
                <a:cubicBezTo>
                  <a:pt x="206189" y="335790"/>
                  <a:pt x="202458" y="332293"/>
                  <a:pt x="197914" y="330273"/>
                </a:cubicBezTo>
                <a:cubicBezTo>
                  <a:pt x="189943" y="326730"/>
                  <a:pt x="173088" y="321998"/>
                  <a:pt x="173088" y="321998"/>
                </a:cubicBezTo>
                <a:cubicBezTo>
                  <a:pt x="137515" y="298282"/>
                  <a:pt x="179380" y="329862"/>
                  <a:pt x="156538" y="301310"/>
                </a:cubicBezTo>
                <a:cubicBezTo>
                  <a:pt x="148634" y="291430"/>
                  <a:pt x="141706" y="293894"/>
                  <a:pt x="131713" y="288897"/>
                </a:cubicBezTo>
                <a:cubicBezTo>
                  <a:pt x="103144" y="274612"/>
                  <a:pt x="137188" y="285093"/>
                  <a:pt x="102750" y="276485"/>
                </a:cubicBezTo>
                <a:cubicBezTo>
                  <a:pt x="105508" y="273726"/>
                  <a:pt x="107536" y="269954"/>
                  <a:pt x="111025" y="268209"/>
                </a:cubicBezTo>
                <a:cubicBezTo>
                  <a:pt x="118827" y="264308"/>
                  <a:pt x="135850" y="259934"/>
                  <a:pt x="135850" y="259934"/>
                </a:cubicBezTo>
                <a:cubicBezTo>
                  <a:pt x="137229" y="255797"/>
                  <a:pt x="138038" y="251423"/>
                  <a:pt x="139988" y="247522"/>
                </a:cubicBezTo>
                <a:cubicBezTo>
                  <a:pt x="142212" y="243074"/>
                  <a:pt x="147560" y="240032"/>
                  <a:pt x="148263" y="235109"/>
                </a:cubicBezTo>
                <a:cubicBezTo>
                  <a:pt x="148557" y="233050"/>
                  <a:pt x="141712" y="209595"/>
                  <a:pt x="139988" y="206146"/>
                </a:cubicBezTo>
                <a:cubicBezTo>
                  <a:pt x="137764" y="201698"/>
                  <a:pt x="135455" y="197008"/>
                  <a:pt x="131713" y="193733"/>
                </a:cubicBezTo>
                <a:cubicBezTo>
                  <a:pt x="124228" y="187184"/>
                  <a:pt x="106887" y="177183"/>
                  <a:pt x="106887" y="177183"/>
                </a:cubicBezTo>
                <a:lnTo>
                  <a:pt x="90337" y="152358"/>
                </a:lnTo>
                <a:cubicBezTo>
                  <a:pt x="87579" y="148220"/>
                  <a:pt x="86780" y="141517"/>
                  <a:pt x="82062" y="139945"/>
                </a:cubicBezTo>
                <a:lnTo>
                  <a:pt x="69649" y="135808"/>
                </a:lnTo>
                <a:cubicBezTo>
                  <a:pt x="45931" y="100229"/>
                  <a:pt x="74369" y="145248"/>
                  <a:pt x="57237" y="110982"/>
                </a:cubicBezTo>
                <a:cubicBezTo>
                  <a:pt x="52018" y="100545"/>
                  <a:pt x="48382" y="97990"/>
                  <a:pt x="40686" y="90294"/>
                </a:cubicBezTo>
                <a:cubicBezTo>
                  <a:pt x="25399" y="44432"/>
                  <a:pt x="37034" y="85656"/>
                  <a:pt x="28274" y="19956"/>
                </a:cubicBezTo>
                <a:cubicBezTo>
                  <a:pt x="27522" y="14319"/>
                  <a:pt x="27688" y="7846"/>
                  <a:pt x="24136" y="3406"/>
                </a:cubicBezTo>
                <a:cubicBezTo>
                  <a:pt x="21411" y="0"/>
                  <a:pt x="0" y="2717"/>
                  <a:pt x="3448" y="3406"/>
                </a:cubicBezTo>
                <a:close/>
              </a:path>
            </a:pathLst>
          </a:custGeom>
          <a:solidFill>
            <a:srgbClr val="00CC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6" name="Freeform 25"/>
          <p:cNvSpPr/>
          <p:nvPr/>
        </p:nvSpPr>
        <p:spPr>
          <a:xfrm>
            <a:off x="3914775" y="4387855"/>
            <a:ext cx="2871788" cy="1534583"/>
          </a:xfrm>
          <a:custGeom>
            <a:avLst/>
            <a:gdLst>
              <a:gd name="connsiteX0" fmla="*/ 111661 w 2872959"/>
              <a:gd name="connsiteY0" fmla="*/ 13792 h 1532275"/>
              <a:gd name="connsiteX1" fmla="*/ 306126 w 2872959"/>
              <a:gd name="connsiteY1" fmla="*/ 22067 h 1532275"/>
              <a:gd name="connsiteX2" fmla="*/ 318538 w 2872959"/>
              <a:gd name="connsiteY2" fmla="*/ 26205 h 1532275"/>
              <a:gd name="connsiteX3" fmla="*/ 335089 w 2872959"/>
              <a:gd name="connsiteY3" fmla="*/ 34480 h 1532275"/>
              <a:gd name="connsiteX4" fmla="*/ 831595 w 2872959"/>
              <a:gd name="connsiteY4" fmla="*/ 38618 h 1532275"/>
              <a:gd name="connsiteX5" fmla="*/ 943309 w 2872959"/>
              <a:gd name="connsiteY5" fmla="*/ 34480 h 1532275"/>
              <a:gd name="connsiteX6" fmla="*/ 968135 w 2872959"/>
              <a:gd name="connsiteY6" fmla="*/ 26205 h 1532275"/>
              <a:gd name="connsiteX7" fmla="*/ 1228801 w 2872959"/>
              <a:gd name="connsiteY7" fmla="*/ 26205 h 1532275"/>
              <a:gd name="connsiteX8" fmla="*/ 1253626 w 2872959"/>
              <a:gd name="connsiteY8" fmla="*/ 22067 h 1532275"/>
              <a:gd name="connsiteX9" fmla="*/ 1477054 w 2872959"/>
              <a:gd name="connsiteY9" fmla="*/ 26205 h 1532275"/>
              <a:gd name="connsiteX10" fmla="*/ 1489467 w 2872959"/>
              <a:gd name="connsiteY10" fmla="*/ 51030 h 1532275"/>
              <a:gd name="connsiteX11" fmla="*/ 1514292 w 2872959"/>
              <a:gd name="connsiteY11" fmla="*/ 67580 h 1532275"/>
              <a:gd name="connsiteX12" fmla="*/ 1539118 w 2872959"/>
              <a:gd name="connsiteY12" fmla="*/ 75856 h 1532275"/>
              <a:gd name="connsiteX13" fmla="*/ 1572218 w 2872959"/>
              <a:gd name="connsiteY13" fmla="*/ 84131 h 1532275"/>
              <a:gd name="connsiteX14" fmla="*/ 1597043 w 2872959"/>
              <a:gd name="connsiteY14" fmla="*/ 96543 h 1532275"/>
              <a:gd name="connsiteX15" fmla="*/ 1692207 w 2872959"/>
              <a:gd name="connsiteY15" fmla="*/ 100681 h 1532275"/>
              <a:gd name="connsiteX16" fmla="*/ 1679794 w 2872959"/>
              <a:gd name="connsiteY16" fmla="*/ 108956 h 1532275"/>
              <a:gd name="connsiteX17" fmla="*/ 1654969 w 2872959"/>
              <a:gd name="connsiteY17" fmla="*/ 117231 h 1532275"/>
              <a:gd name="connsiteX18" fmla="*/ 1642556 w 2872959"/>
              <a:gd name="connsiteY18" fmla="*/ 125506 h 1532275"/>
              <a:gd name="connsiteX19" fmla="*/ 1630144 w 2872959"/>
              <a:gd name="connsiteY19" fmla="*/ 129644 h 1532275"/>
              <a:gd name="connsiteX20" fmla="*/ 1592906 w 2872959"/>
              <a:gd name="connsiteY20" fmla="*/ 150332 h 1532275"/>
              <a:gd name="connsiteX21" fmla="*/ 1588768 w 2872959"/>
              <a:gd name="connsiteY21" fmla="*/ 162744 h 1532275"/>
              <a:gd name="connsiteX22" fmla="*/ 1584631 w 2872959"/>
              <a:gd name="connsiteY22" fmla="*/ 183432 h 1532275"/>
              <a:gd name="connsiteX23" fmla="*/ 1572218 w 2872959"/>
              <a:gd name="connsiteY23" fmla="*/ 191707 h 1532275"/>
              <a:gd name="connsiteX24" fmla="*/ 1584631 w 2872959"/>
              <a:gd name="connsiteY24" fmla="*/ 195845 h 1532275"/>
              <a:gd name="connsiteX25" fmla="*/ 1634281 w 2872959"/>
              <a:gd name="connsiteY25" fmla="*/ 199982 h 1532275"/>
              <a:gd name="connsiteX26" fmla="*/ 1646694 w 2872959"/>
              <a:gd name="connsiteY26" fmla="*/ 208257 h 1532275"/>
              <a:gd name="connsiteX27" fmla="*/ 1712895 w 2872959"/>
              <a:gd name="connsiteY27" fmla="*/ 195845 h 1532275"/>
              <a:gd name="connsiteX28" fmla="*/ 1725308 w 2872959"/>
              <a:gd name="connsiteY28" fmla="*/ 191707 h 1532275"/>
              <a:gd name="connsiteX29" fmla="*/ 1750133 w 2872959"/>
              <a:gd name="connsiteY29" fmla="*/ 175157 h 1532275"/>
              <a:gd name="connsiteX30" fmla="*/ 1762546 w 2872959"/>
              <a:gd name="connsiteY30" fmla="*/ 166882 h 1532275"/>
              <a:gd name="connsiteX31" fmla="*/ 1770821 w 2872959"/>
              <a:gd name="connsiteY31" fmla="*/ 154469 h 1532275"/>
              <a:gd name="connsiteX32" fmla="*/ 1795646 w 2872959"/>
              <a:gd name="connsiteY32" fmla="*/ 158607 h 1532275"/>
              <a:gd name="connsiteX33" fmla="*/ 1783233 w 2872959"/>
              <a:gd name="connsiteY33" fmla="*/ 166882 h 1532275"/>
              <a:gd name="connsiteX34" fmla="*/ 1779096 w 2872959"/>
              <a:gd name="connsiteY34" fmla="*/ 179294 h 1532275"/>
              <a:gd name="connsiteX35" fmla="*/ 1787371 w 2872959"/>
              <a:gd name="connsiteY35" fmla="*/ 187570 h 1532275"/>
              <a:gd name="connsiteX36" fmla="*/ 1799784 w 2872959"/>
              <a:gd name="connsiteY36" fmla="*/ 212395 h 1532275"/>
              <a:gd name="connsiteX37" fmla="*/ 1816334 w 2872959"/>
              <a:gd name="connsiteY37" fmla="*/ 208257 h 1532275"/>
              <a:gd name="connsiteX38" fmla="*/ 1828747 w 2872959"/>
              <a:gd name="connsiteY38" fmla="*/ 199982 h 1532275"/>
              <a:gd name="connsiteX39" fmla="*/ 1841159 w 2872959"/>
              <a:gd name="connsiteY39" fmla="*/ 195845 h 1532275"/>
              <a:gd name="connsiteX40" fmla="*/ 1853572 w 2872959"/>
              <a:gd name="connsiteY40" fmla="*/ 187570 h 1532275"/>
              <a:gd name="connsiteX41" fmla="*/ 1886672 w 2872959"/>
              <a:gd name="connsiteY41" fmla="*/ 195845 h 1532275"/>
              <a:gd name="connsiteX42" fmla="*/ 1932185 w 2872959"/>
              <a:gd name="connsiteY42" fmla="*/ 204120 h 1532275"/>
              <a:gd name="connsiteX43" fmla="*/ 1940461 w 2872959"/>
              <a:gd name="connsiteY43" fmla="*/ 212395 h 1532275"/>
              <a:gd name="connsiteX44" fmla="*/ 1944598 w 2872959"/>
              <a:gd name="connsiteY44" fmla="*/ 224808 h 1532275"/>
              <a:gd name="connsiteX45" fmla="*/ 1969423 w 2872959"/>
              <a:gd name="connsiteY45" fmla="*/ 233083 h 1532275"/>
              <a:gd name="connsiteX46" fmla="*/ 1957011 w 2872959"/>
              <a:gd name="connsiteY46" fmla="*/ 241358 h 1532275"/>
              <a:gd name="connsiteX47" fmla="*/ 1944598 w 2872959"/>
              <a:gd name="connsiteY47" fmla="*/ 245495 h 1532275"/>
              <a:gd name="connsiteX48" fmla="*/ 1845297 w 2872959"/>
              <a:gd name="connsiteY48" fmla="*/ 249633 h 1532275"/>
              <a:gd name="connsiteX49" fmla="*/ 1816334 w 2872959"/>
              <a:gd name="connsiteY49" fmla="*/ 257908 h 1532275"/>
              <a:gd name="connsiteX50" fmla="*/ 1791508 w 2872959"/>
              <a:gd name="connsiteY50" fmla="*/ 278596 h 1532275"/>
              <a:gd name="connsiteX51" fmla="*/ 1774958 w 2872959"/>
              <a:gd name="connsiteY51" fmla="*/ 299284 h 1532275"/>
              <a:gd name="connsiteX52" fmla="*/ 1770821 w 2872959"/>
              <a:gd name="connsiteY52" fmla="*/ 319971 h 1532275"/>
              <a:gd name="connsiteX53" fmla="*/ 1795646 w 2872959"/>
              <a:gd name="connsiteY53" fmla="*/ 315834 h 1532275"/>
              <a:gd name="connsiteX54" fmla="*/ 1803921 w 2872959"/>
              <a:gd name="connsiteY54" fmla="*/ 303421 h 1532275"/>
              <a:gd name="connsiteX55" fmla="*/ 1795646 w 2872959"/>
              <a:gd name="connsiteY55" fmla="*/ 336522 h 1532275"/>
              <a:gd name="connsiteX56" fmla="*/ 1791508 w 2872959"/>
              <a:gd name="connsiteY56" fmla="*/ 348934 h 1532275"/>
              <a:gd name="connsiteX57" fmla="*/ 1783233 w 2872959"/>
              <a:gd name="connsiteY57" fmla="*/ 377897 h 1532275"/>
              <a:gd name="connsiteX58" fmla="*/ 1787371 w 2872959"/>
              <a:gd name="connsiteY58" fmla="*/ 444098 h 1532275"/>
              <a:gd name="connsiteX59" fmla="*/ 1795646 w 2872959"/>
              <a:gd name="connsiteY59" fmla="*/ 468923 h 1532275"/>
              <a:gd name="connsiteX60" fmla="*/ 1799784 w 2872959"/>
              <a:gd name="connsiteY60" fmla="*/ 485474 h 1532275"/>
              <a:gd name="connsiteX61" fmla="*/ 1808059 w 2872959"/>
              <a:gd name="connsiteY61" fmla="*/ 551675 h 1532275"/>
              <a:gd name="connsiteX62" fmla="*/ 1820471 w 2872959"/>
              <a:gd name="connsiteY62" fmla="*/ 530987 h 1532275"/>
              <a:gd name="connsiteX63" fmla="*/ 1841159 w 2872959"/>
              <a:gd name="connsiteY63" fmla="*/ 514437 h 1532275"/>
              <a:gd name="connsiteX64" fmla="*/ 1849434 w 2872959"/>
              <a:gd name="connsiteY64" fmla="*/ 506161 h 1532275"/>
              <a:gd name="connsiteX65" fmla="*/ 1865985 w 2872959"/>
              <a:gd name="connsiteY65" fmla="*/ 481336 h 1532275"/>
              <a:gd name="connsiteX66" fmla="*/ 1853572 w 2872959"/>
              <a:gd name="connsiteY66" fmla="*/ 402722 h 1532275"/>
              <a:gd name="connsiteX67" fmla="*/ 1845297 w 2872959"/>
              <a:gd name="connsiteY67" fmla="*/ 377897 h 1532275"/>
              <a:gd name="connsiteX68" fmla="*/ 1841159 w 2872959"/>
              <a:gd name="connsiteY68" fmla="*/ 365484 h 1532275"/>
              <a:gd name="connsiteX69" fmla="*/ 1849434 w 2872959"/>
              <a:gd name="connsiteY69" fmla="*/ 328246 h 1532275"/>
              <a:gd name="connsiteX70" fmla="*/ 1874260 w 2872959"/>
              <a:gd name="connsiteY70" fmla="*/ 315834 h 1532275"/>
              <a:gd name="connsiteX71" fmla="*/ 1911498 w 2872959"/>
              <a:gd name="connsiteY71" fmla="*/ 315834 h 1532275"/>
              <a:gd name="connsiteX72" fmla="*/ 1915635 w 2872959"/>
              <a:gd name="connsiteY72" fmla="*/ 303421 h 1532275"/>
              <a:gd name="connsiteX73" fmla="*/ 1936323 w 2872959"/>
              <a:gd name="connsiteY73" fmla="*/ 282733 h 1532275"/>
              <a:gd name="connsiteX74" fmla="*/ 1973561 w 2872959"/>
              <a:gd name="connsiteY74" fmla="*/ 291008 h 1532275"/>
              <a:gd name="connsiteX75" fmla="*/ 1981836 w 2872959"/>
              <a:gd name="connsiteY75" fmla="*/ 299284 h 1532275"/>
              <a:gd name="connsiteX76" fmla="*/ 1985974 w 2872959"/>
              <a:gd name="connsiteY76" fmla="*/ 311696 h 1532275"/>
              <a:gd name="connsiteX77" fmla="*/ 1994249 w 2872959"/>
              <a:gd name="connsiteY77" fmla="*/ 324109 h 1532275"/>
              <a:gd name="connsiteX78" fmla="*/ 1985974 w 2872959"/>
              <a:gd name="connsiteY78" fmla="*/ 398585 h 1532275"/>
              <a:gd name="connsiteX79" fmla="*/ 1998386 w 2872959"/>
              <a:gd name="connsiteY79" fmla="*/ 402722 h 1532275"/>
              <a:gd name="connsiteX80" fmla="*/ 2023212 w 2872959"/>
              <a:gd name="connsiteY80" fmla="*/ 406860 h 1532275"/>
              <a:gd name="connsiteX81" fmla="*/ 2027349 w 2872959"/>
              <a:gd name="connsiteY81" fmla="*/ 419273 h 1532275"/>
              <a:gd name="connsiteX82" fmla="*/ 2031487 w 2872959"/>
              <a:gd name="connsiteY82" fmla="*/ 439961 h 1532275"/>
              <a:gd name="connsiteX83" fmla="*/ 2043899 w 2872959"/>
              <a:gd name="connsiteY83" fmla="*/ 435823 h 1532275"/>
              <a:gd name="connsiteX84" fmla="*/ 2027349 w 2872959"/>
              <a:gd name="connsiteY84" fmla="*/ 464786 h 1532275"/>
              <a:gd name="connsiteX85" fmla="*/ 2010799 w 2872959"/>
              <a:gd name="connsiteY85" fmla="*/ 506161 h 1532275"/>
              <a:gd name="connsiteX86" fmla="*/ 1998386 w 2872959"/>
              <a:gd name="connsiteY86" fmla="*/ 510299 h 1532275"/>
              <a:gd name="connsiteX87" fmla="*/ 1994249 w 2872959"/>
              <a:gd name="connsiteY87" fmla="*/ 543399 h 1532275"/>
              <a:gd name="connsiteX88" fmla="*/ 2010799 w 2872959"/>
              <a:gd name="connsiteY88" fmla="*/ 547537 h 1532275"/>
              <a:gd name="connsiteX89" fmla="*/ 2031487 w 2872959"/>
              <a:gd name="connsiteY89" fmla="*/ 543399 h 1532275"/>
              <a:gd name="connsiteX90" fmla="*/ 2056312 w 2872959"/>
              <a:gd name="connsiteY90" fmla="*/ 535124 h 1532275"/>
              <a:gd name="connsiteX91" fmla="*/ 2077000 w 2872959"/>
              <a:gd name="connsiteY91" fmla="*/ 530987 h 1532275"/>
              <a:gd name="connsiteX92" fmla="*/ 2089413 w 2872959"/>
              <a:gd name="connsiteY92" fmla="*/ 526849 h 1532275"/>
              <a:gd name="connsiteX93" fmla="*/ 2122513 w 2872959"/>
              <a:gd name="connsiteY93" fmla="*/ 522712 h 1532275"/>
              <a:gd name="connsiteX94" fmla="*/ 2172164 w 2872959"/>
              <a:gd name="connsiteY94" fmla="*/ 514437 h 1532275"/>
              <a:gd name="connsiteX95" fmla="*/ 2196989 w 2872959"/>
              <a:gd name="connsiteY95" fmla="*/ 502024 h 1532275"/>
              <a:gd name="connsiteX96" fmla="*/ 2221814 w 2872959"/>
              <a:gd name="connsiteY96" fmla="*/ 468923 h 1532275"/>
              <a:gd name="connsiteX97" fmla="*/ 2225952 w 2872959"/>
              <a:gd name="connsiteY97" fmla="*/ 427548 h 1532275"/>
              <a:gd name="connsiteX98" fmla="*/ 2213539 w 2872959"/>
              <a:gd name="connsiteY98" fmla="*/ 419273 h 1532275"/>
              <a:gd name="connsiteX99" fmla="*/ 2201127 w 2872959"/>
              <a:gd name="connsiteY99" fmla="*/ 415135 h 1532275"/>
              <a:gd name="connsiteX100" fmla="*/ 2242502 w 2872959"/>
              <a:gd name="connsiteY100" fmla="*/ 423410 h 1532275"/>
              <a:gd name="connsiteX101" fmla="*/ 2267328 w 2872959"/>
              <a:gd name="connsiteY101" fmla="*/ 427548 h 1532275"/>
              <a:gd name="connsiteX102" fmla="*/ 2304566 w 2872959"/>
              <a:gd name="connsiteY102" fmla="*/ 423410 h 1532275"/>
              <a:gd name="connsiteX103" fmla="*/ 2316978 w 2872959"/>
              <a:gd name="connsiteY103" fmla="*/ 415135 h 1532275"/>
              <a:gd name="connsiteX104" fmla="*/ 2329391 w 2872959"/>
              <a:gd name="connsiteY104" fmla="*/ 410998 h 1532275"/>
              <a:gd name="connsiteX105" fmla="*/ 2345941 w 2872959"/>
              <a:gd name="connsiteY105" fmla="*/ 377897 h 1532275"/>
              <a:gd name="connsiteX106" fmla="*/ 2350079 w 2872959"/>
              <a:gd name="connsiteY106" fmla="*/ 365484 h 1532275"/>
              <a:gd name="connsiteX107" fmla="*/ 2354216 w 2872959"/>
              <a:gd name="connsiteY107" fmla="*/ 340659 h 1532275"/>
              <a:gd name="connsiteX108" fmla="*/ 2379042 w 2872959"/>
              <a:gd name="connsiteY108" fmla="*/ 324109 h 1532275"/>
              <a:gd name="connsiteX109" fmla="*/ 2403867 w 2872959"/>
              <a:gd name="connsiteY109" fmla="*/ 291008 h 1532275"/>
              <a:gd name="connsiteX110" fmla="*/ 2416280 w 2872959"/>
              <a:gd name="connsiteY110" fmla="*/ 286871 h 1532275"/>
              <a:gd name="connsiteX111" fmla="*/ 2590057 w 2872959"/>
              <a:gd name="connsiteY111" fmla="*/ 286871 h 1532275"/>
              <a:gd name="connsiteX112" fmla="*/ 2598332 w 2872959"/>
              <a:gd name="connsiteY112" fmla="*/ 274458 h 1532275"/>
              <a:gd name="connsiteX113" fmla="*/ 2606607 w 2872959"/>
              <a:gd name="connsiteY113" fmla="*/ 249633 h 1532275"/>
              <a:gd name="connsiteX114" fmla="*/ 2610745 w 2872959"/>
              <a:gd name="connsiteY114" fmla="*/ 237220 h 1532275"/>
              <a:gd name="connsiteX115" fmla="*/ 2614882 w 2872959"/>
              <a:gd name="connsiteY115" fmla="*/ 224808 h 1532275"/>
              <a:gd name="connsiteX116" fmla="*/ 2627295 w 2872959"/>
              <a:gd name="connsiteY116" fmla="*/ 220670 h 1532275"/>
              <a:gd name="connsiteX117" fmla="*/ 2643845 w 2872959"/>
              <a:gd name="connsiteY117" fmla="*/ 195845 h 1532275"/>
              <a:gd name="connsiteX118" fmla="*/ 2656258 w 2872959"/>
              <a:gd name="connsiteY118" fmla="*/ 158607 h 1532275"/>
              <a:gd name="connsiteX119" fmla="*/ 2660395 w 2872959"/>
              <a:gd name="connsiteY119" fmla="*/ 146194 h 1532275"/>
              <a:gd name="connsiteX120" fmla="*/ 2672808 w 2872959"/>
              <a:gd name="connsiteY120" fmla="*/ 137919 h 1532275"/>
              <a:gd name="connsiteX121" fmla="*/ 2701771 w 2872959"/>
              <a:gd name="connsiteY121" fmla="*/ 142056 h 1532275"/>
              <a:gd name="connsiteX122" fmla="*/ 2718321 w 2872959"/>
              <a:gd name="connsiteY122" fmla="*/ 162744 h 1532275"/>
              <a:gd name="connsiteX123" fmla="*/ 2734871 w 2872959"/>
              <a:gd name="connsiteY123" fmla="*/ 158607 h 1532275"/>
              <a:gd name="connsiteX124" fmla="*/ 2743147 w 2872959"/>
              <a:gd name="connsiteY124" fmla="*/ 150332 h 1532275"/>
              <a:gd name="connsiteX125" fmla="*/ 2747284 w 2872959"/>
              <a:gd name="connsiteY125" fmla="*/ 162744 h 1532275"/>
              <a:gd name="connsiteX126" fmla="*/ 2759697 w 2872959"/>
              <a:gd name="connsiteY126" fmla="*/ 208257 h 1532275"/>
              <a:gd name="connsiteX127" fmla="*/ 2776247 w 2872959"/>
              <a:gd name="connsiteY127" fmla="*/ 233083 h 1532275"/>
              <a:gd name="connsiteX128" fmla="*/ 2788660 w 2872959"/>
              <a:gd name="connsiteY128" fmla="*/ 245495 h 1532275"/>
              <a:gd name="connsiteX129" fmla="*/ 2805210 w 2872959"/>
              <a:gd name="connsiteY129" fmla="*/ 270321 h 1532275"/>
              <a:gd name="connsiteX130" fmla="*/ 2817623 w 2872959"/>
              <a:gd name="connsiteY130" fmla="*/ 291008 h 1532275"/>
              <a:gd name="connsiteX131" fmla="*/ 2838310 w 2872959"/>
              <a:gd name="connsiteY131" fmla="*/ 311696 h 1532275"/>
              <a:gd name="connsiteX132" fmla="*/ 2850723 w 2872959"/>
              <a:gd name="connsiteY132" fmla="*/ 307559 h 1532275"/>
              <a:gd name="connsiteX133" fmla="*/ 2867273 w 2872959"/>
              <a:gd name="connsiteY133" fmla="*/ 303421 h 1532275"/>
              <a:gd name="connsiteX134" fmla="*/ 2825898 w 2872959"/>
              <a:gd name="connsiteY134" fmla="*/ 307559 h 1532275"/>
              <a:gd name="connsiteX135" fmla="*/ 2809347 w 2872959"/>
              <a:gd name="connsiteY135" fmla="*/ 344797 h 1532275"/>
              <a:gd name="connsiteX136" fmla="*/ 2784522 w 2872959"/>
              <a:gd name="connsiteY136" fmla="*/ 353072 h 1532275"/>
              <a:gd name="connsiteX137" fmla="*/ 2759697 w 2872959"/>
              <a:gd name="connsiteY137" fmla="*/ 361347 h 1532275"/>
              <a:gd name="connsiteX138" fmla="*/ 2747284 w 2872959"/>
              <a:gd name="connsiteY138" fmla="*/ 365484 h 1532275"/>
              <a:gd name="connsiteX139" fmla="*/ 2730734 w 2872959"/>
              <a:gd name="connsiteY139" fmla="*/ 369622 h 1532275"/>
              <a:gd name="connsiteX140" fmla="*/ 2718321 w 2872959"/>
              <a:gd name="connsiteY140" fmla="*/ 373760 h 1532275"/>
              <a:gd name="connsiteX141" fmla="*/ 2693496 w 2872959"/>
              <a:gd name="connsiteY141" fmla="*/ 377897 h 1532275"/>
              <a:gd name="connsiteX142" fmla="*/ 2668670 w 2872959"/>
              <a:gd name="connsiteY142" fmla="*/ 390310 h 1532275"/>
              <a:gd name="connsiteX143" fmla="*/ 2656258 w 2872959"/>
              <a:gd name="connsiteY143" fmla="*/ 398585 h 1532275"/>
              <a:gd name="connsiteX144" fmla="*/ 2639708 w 2872959"/>
              <a:gd name="connsiteY144" fmla="*/ 402722 h 1532275"/>
              <a:gd name="connsiteX145" fmla="*/ 2627295 w 2872959"/>
              <a:gd name="connsiteY145" fmla="*/ 406860 h 1532275"/>
              <a:gd name="connsiteX146" fmla="*/ 2619020 w 2872959"/>
              <a:gd name="connsiteY146" fmla="*/ 473061 h 1532275"/>
              <a:gd name="connsiteX147" fmla="*/ 2614882 w 2872959"/>
              <a:gd name="connsiteY147" fmla="*/ 489611 h 1532275"/>
              <a:gd name="connsiteX148" fmla="*/ 2619020 w 2872959"/>
              <a:gd name="connsiteY148" fmla="*/ 506161 h 1532275"/>
              <a:gd name="connsiteX149" fmla="*/ 2627295 w 2872959"/>
              <a:gd name="connsiteY149" fmla="*/ 514437 h 1532275"/>
              <a:gd name="connsiteX150" fmla="*/ 2676946 w 2872959"/>
              <a:gd name="connsiteY150" fmla="*/ 526849 h 1532275"/>
              <a:gd name="connsiteX151" fmla="*/ 2681083 w 2872959"/>
              <a:gd name="connsiteY151" fmla="*/ 543399 h 1532275"/>
              <a:gd name="connsiteX152" fmla="*/ 2590057 w 2872959"/>
              <a:gd name="connsiteY152" fmla="*/ 572362 h 1532275"/>
              <a:gd name="connsiteX153" fmla="*/ 2540406 w 2872959"/>
              <a:gd name="connsiteY153" fmla="*/ 580637 h 1532275"/>
              <a:gd name="connsiteX154" fmla="*/ 2536269 w 2872959"/>
              <a:gd name="connsiteY154" fmla="*/ 593050 h 1532275"/>
              <a:gd name="connsiteX155" fmla="*/ 2523856 w 2872959"/>
              <a:gd name="connsiteY155" fmla="*/ 605463 h 1532275"/>
              <a:gd name="connsiteX156" fmla="*/ 2499031 w 2872959"/>
              <a:gd name="connsiteY156" fmla="*/ 622013 h 1532275"/>
              <a:gd name="connsiteX157" fmla="*/ 2486618 w 2872959"/>
              <a:gd name="connsiteY157" fmla="*/ 630288 h 1532275"/>
              <a:gd name="connsiteX158" fmla="*/ 2478343 w 2872959"/>
              <a:gd name="connsiteY158" fmla="*/ 663389 h 1532275"/>
              <a:gd name="connsiteX159" fmla="*/ 2474205 w 2872959"/>
              <a:gd name="connsiteY159" fmla="*/ 675801 h 1532275"/>
              <a:gd name="connsiteX160" fmla="*/ 2436967 w 2872959"/>
              <a:gd name="connsiteY160" fmla="*/ 708902 h 1532275"/>
              <a:gd name="connsiteX161" fmla="*/ 2416280 w 2872959"/>
              <a:gd name="connsiteY161" fmla="*/ 713039 h 1532275"/>
              <a:gd name="connsiteX162" fmla="*/ 2408004 w 2872959"/>
              <a:gd name="connsiteY162" fmla="*/ 742002 h 1532275"/>
              <a:gd name="connsiteX163" fmla="*/ 2383179 w 2872959"/>
              <a:gd name="connsiteY163" fmla="*/ 775103 h 1532275"/>
              <a:gd name="connsiteX164" fmla="*/ 2366629 w 2872959"/>
              <a:gd name="connsiteY164" fmla="*/ 791653 h 1532275"/>
              <a:gd name="connsiteX165" fmla="*/ 2362491 w 2872959"/>
              <a:gd name="connsiteY165" fmla="*/ 779240 h 1532275"/>
              <a:gd name="connsiteX166" fmla="*/ 2358354 w 2872959"/>
              <a:gd name="connsiteY166" fmla="*/ 791653 h 1532275"/>
              <a:gd name="connsiteX167" fmla="*/ 2362491 w 2872959"/>
              <a:gd name="connsiteY167" fmla="*/ 849579 h 1532275"/>
              <a:gd name="connsiteX168" fmla="*/ 2374904 w 2872959"/>
              <a:gd name="connsiteY168" fmla="*/ 890954 h 1532275"/>
              <a:gd name="connsiteX169" fmla="*/ 2383179 w 2872959"/>
              <a:gd name="connsiteY169" fmla="*/ 915780 h 1532275"/>
              <a:gd name="connsiteX170" fmla="*/ 2387317 w 2872959"/>
              <a:gd name="connsiteY170" fmla="*/ 928192 h 1532275"/>
              <a:gd name="connsiteX171" fmla="*/ 2379042 w 2872959"/>
              <a:gd name="connsiteY171" fmla="*/ 957155 h 1532275"/>
              <a:gd name="connsiteX172" fmla="*/ 2366629 w 2872959"/>
              <a:gd name="connsiteY172" fmla="*/ 961293 h 1532275"/>
              <a:gd name="connsiteX173" fmla="*/ 2341804 w 2872959"/>
              <a:gd name="connsiteY173" fmla="*/ 973705 h 1532275"/>
              <a:gd name="connsiteX174" fmla="*/ 2321116 w 2872959"/>
              <a:gd name="connsiteY174" fmla="*/ 990256 h 1532275"/>
              <a:gd name="connsiteX175" fmla="*/ 2308703 w 2872959"/>
              <a:gd name="connsiteY175" fmla="*/ 994393 h 1532275"/>
              <a:gd name="connsiteX176" fmla="*/ 2292153 w 2872959"/>
              <a:gd name="connsiteY176" fmla="*/ 1006806 h 1532275"/>
              <a:gd name="connsiteX177" fmla="*/ 2275603 w 2872959"/>
              <a:gd name="connsiteY177" fmla="*/ 1010943 h 1532275"/>
              <a:gd name="connsiteX178" fmla="*/ 2254915 w 2872959"/>
              <a:gd name="connsiteY178" fmla="*/ 1027494 h 1532275"/>
              <a:gd name="connsiteX179" fmla="*/ 2230089 w 2872959"/>
              <a:gd name="connsiteY179" fmla="*/ 1044044 h 1532275"/>
              <a:gd name="connsiteX180" fmla="*/ 2225952 w 2872959"/>
              <a:gd name="connsiteY180" fmla="*/ 1056456 h 1532275"/>
              <a:gd name="connsiteX181" fmla="*/ 2217677 w 2872959"/>
              <a:gd name="connsiteY181" fmla="*/ 1064732 h 1532275"/>
              <a:gd name="connsiteX182" fmla="*/ 2192851 w 2872959"/>
              <a:gd name="connsiteY182" fmla="*/ 1077144 h 1532275"/>
              <a:gd name="connsiteX183" fmla="*/ 2180439 w 2872959"/>
              <a:gd name="connsiteY183" fmla="*/ 1085419 h 1532275"/>
              <a:gd name="connsiteX184" fmla="*/ 2151476 w 2872959"/>
              <a:gd name="connsiteY184" fmla="*/ 1122657 h 1532275"/>
              <a:gd name="connsiteX185" fmla="*/ 2143201 w 2872959"/>
              <a:gd name="connsiteY185" fmla="*/ 1135070 h 1532275"/>
              <a:gd name="connsiteX186" fmla="*/ 2134926 w 2872959"/>
              <a:gd name="connsiteY186" fmla="*/ 1159895 h 1532275"/>
              <a:gd name="connsiteX187" fmla="*/ 2126651 w 2872959"/>
              <a:gd name="connsiteY187" fmla="*/ 1176446 h 1532275"/>
              <a:gd name="connsiteX188" fmla="*/ 2122513 w 2872959"/>
              <a:gd name="connsiteY188" fmla="*/ 1192996 h 1532275"/>
              <a:gd name="connsiteX189" fmla="*/ 2118375 w 2872959"/>
              <a:gd name="connsiteY189" fmla="*/ 1205408 h 1532275"/>
              <a:gd name="connsiteX190" fmla="*/ 2122513 w 2872959"/>
              <a:gd name="connsiteY190" fmla="*/ 1246784 h 1532275"/>
              <a:gd name="connsiteX191" fmla="*/ 2134926 w 2872959"/>
              <a:gd name="connsiteY191" fmla="*/ 1255059 h 1532275"/>
              <a:gd name="connsiteX192" fmla="*/ 2155613 w 2872959"/>
              <a:gd name="connsiteY192" fmla="*/ 1271609 h 1532275"/>
              <a:gd name="connsiteX193" fmla="*/ 2172164 w 2872959"/>
              <a:gd name="connsiteY193" fmla="*/ 1296435 h 1532275"/>
              <a:gd name="connsiteX194" fmla="*/ 2176301 w 2872959"/>
              <a:gd name="connsiteY194" fmla="*/ 1308847 h 1532275"/>
              <a:gd name="connsiteX195" fmla="*/ 2184576 w 2872959"/>
              <a:gd name="connsiteY195" fmla="*/ 1321260 h 1532275"/>
              <a:gd name="connsiteX196" fmla="*/ 2180439 w 2872959"/>
              <a:gd name="connsiteY196" fmla="*/ 1519863 h 1532275"/>
              <a:gd name="connsiteX197" fmla="*/ 2155613 w 2872959"/>
              <a:gd name="connsiteY197" fmla="*/ 1528138 h 1532275"/>
              <a:gd name="connsiteX198" fmla="*/ 2143201 w 2872959"/>
              <a:gd name="connsiteY198" fmla="*/ 1532275 h 1532275"/>
              <a:gd name="connsiteX199" fmla="*/ 2126651 w 2872959"/>
              <a:gd name="connsiteY199" fmla="*/ 1528138 h 1532275"/>
              <a:gd name="connsiteX200" fmla="*/ 2110100 w 2872959"/>
              <a:gd name="connsiteY200" fmla="*/ 1495037 h 1532275"/>
              <a:gd name="connsiteX201" fmla="*/ 2085275 w 2872959"/>
              <a:gd name="connsiteY201" fmla="*/ 1457799 h 1532275"/>
              <a:gd name="connsiteX202" fmla="*/ 2077000 w 2872959"/>
              <a:gd name="connsiteY202" fmla="*/ 1445387 h 1532275"/>
              <a:gd name="connsiteX203" fmla="*/ 2064587 w 2872959"/>
              <a:gd name="connsiteY203" fmla="*/ 1441249 h 1532275"/>
              <a:gd name="connsiteX204" fmla="*/ 2056312 w 2872959"/>
              <a:gd name="connsiteY204" fmla="*/ 1416424 h 1532275"/>
              <a:gd name="connsiteX205" fmla="*/ 2052175 w 2872959"/>
              <a:gd name="connsiteY205" fmla="*/ 1404011 h 1532275"/>
              <a:gd name="connsiteX206" fmla="*/ 2043899 w 2872959"/>
              <a:gd name="connsiteY206" fmla="*/ 1370911 h 1532275"/>
              <a:gd name="connsiteX207" fmla="*/ 2039762 w 2872959"/>
              <a:gd name="connsiteY207" fmla="*/ 1284022 h 1532275"/>
              <a:gd name="connsiteX208" fmla="*/ 2035624 w 2872959"/>
              <a:gd name="connsiteY208" fmla="*/ 1267472 h 1532275"/>
              <a:gd name="connsiteX209" fmla="*/ 2023212 w 2872959"/>
              <a:gd name="connsiteY209" fmla="*/ 1255059 h 1532275"/>
              <a:gd name="connsiteX210" fmla="*/ 2010799 w 2872959"/>
              <a:gd name="connsiteY210" fmla="*/ 1230234 h 1532275"/>
              <a:gd name="connsiteX211" fmla="*/ 1985974 w 2872959"/>
              <a:gd name="connsiteY211" fmla="*/ 1234371 h 1532275"/>
              <a:gd name="connsiteX212" fmla="*/ 1973561 w 2872959"/>
              <a:gd name="connsiteY212" fmla="*/ 1242646 h 1532275"/>
              <a:gd name="connsiteX213" fmla="*/ 1961148 w 2872959"/>
              <a:gd name="connsiteY213" fmla="*/ 1246784 h 1532275"/>
              <a:gd name="connsiteX214" fmla="*/ 1857709 w 2872959"/>
              <a:gd name="connsiteY214" fmla="*/ 1242646 h 1532275"/>
              <a:gd name="connsiteX215" fmla="*/ 1729445 w 2872959"/>
              <a:gd name="connsiteY215" fmla="*/ 1238509 h 1532275"/>
              <a:gd name="connsiteX216" fmla="*/ 1725308 w 2872959"/>
              <a:gd name="connsiteY216" fmla="*/ 1250922 h 1532275"/>
              <a:gd name="connsiteX217" fmla="*/ 1721170 w 2872959"/>
              <a:gd name="connsiteY217" fmla="*/ 1284022 h 1532275"/>
              <a:gd name="connsiteX218" fmla="*/ 1696345 w 2872959"/>
              <a:gd name="connsiteY218" fmla="*/ 1292297 h 1532275"/>
              <a:gd name="connsiteX219" fmla="*/ 1654969 w 2872959"/>
              <a:gd name="connsiteY219" fmla="*/ 1288160 h 1532275"/>
              <a:gd name="connsiteX220" fmla="*/ 1642556 w 2872959"/>
              <a:gd name="connsiteY220" fmla="*/ 1284022 h 1532275"/>
              <a:gd name="connsiteX221" fmla="*/ 1588768 w 2872959"/>
              <a:gd name="connsiteY221" fmla="*/ 1275747 h 1532275"/>
              <a:gd name="connsiteX222" fmla="*/ 1576356 w 2872959"/>
              <a:gd name="connsiteY222" fmla="*/ 1271609 h 1532275"/>
              <a:gd name="connsiteX223" fmla="*/ 1518430 w 2872959"/>
              <a:gd name="connsiteY223" fmla="*/ 1279884 h 1532275"/>
              <a:gd name="connsiteX224" fmla="*/ 1506017 w 2872959"/>
              <a:gd name="connsiteY224" fmla="*/ 1284022 h 1532275"/>
              <a:gd name="connsiteX225" fmla="*/ 1489467 w 2872959"/>
              <a:gd name="connsiteY225" fmla="*/ 1288160 h 1532275"/>
              <a:gd name="connsiteX226" fmla="*/ 1452229 w 2872959"/>
              <a:gd name="connsiteY226" fmla="*/ 1300572 h 1532275"/>
              <a:gd name="connsiteX227" fmla="*/ 1439816 w 2872959"/>
              <a:gd name="connsiteY227" fmla="*/ 1304710 h 1532275"/>
              <a:gd name="connsiteX228" fmla="*/ 1427404 w 2872959"/>
              <a:gd name="connsiteY228" fmla="*/ 1317122 h 1532275"/>
              <a:gd name="connsiteX229" fmla="*/ 1423266 w 2872959"/>
              <a:gd name="connsiteY229" fmla="*/ 1329535 h 1532275"/>
              <a:gd name="connsiteX230" fmla="*/ 1373615 w 2872959"/>
              <a:gd name="connsiteY230" fmla="*/ 1341948 h 1532275"/>
              <a:gd name="connsiteX231" fmla="*/ 1361203 w 2872959"/>
              <a:gd name="connsiteY231" fmla="*/ 1366773 h 1532275"/>
              <a:gd name="connsiteX232" fmla="*/ 1357065 w 2872959"/>
              <a:gd name="connsiteY232" fmla="*/ 1379186 h 1532275"/>
              <a:gd name="connsiteX233" fmla="*/ 1340515 w 2872959"/>
              <a:gd name="connsiteY233" fmla="*/ 1404011 h 1532275"/>
              <a:gd name="connsiteX234" fmla="*/ 1332240 w 2872959"/>
              <a:gd name="connsiteY234" fmla="*/ 1428837 h 1532275"/>
              <a:gd name="connsiteX235" fmla="*/ 1328102 w 2872959"/>
              <a:gd name="connsiteY235" fmla="*/ 1441249 h 1532275"/>
              <a:gd name="connsiteX236" fmla="*/ 1323965 w 2872959"/>
              <a:gd name="connsiteY236" fmla="*/ 1478487 h 1532275"/>
              <a:gd name="connsiteX237" fmla="*/ 1286727 w 2872959"/>
              <a:gd name="connsiteY237" fmla="*/ 1474350 h 1532275"/>
              <a:gd name="connsiteX238" fmla="*/ 1270176 w 2872959"/>
              <a:gd name="connsiteY238" fmla="*/ 1457799 h 1532275"/>
              <a:gd name="connsiteX239" fmla="*/ 1266039 w 2872959"/>
              <a:gd name="connsiteY239" fmla="*/ 1445387 h 1532275"/>
              <a:gd name="connsiteX240" fmla="*/ 1249489 w 2872959"/>
              <a:gd name="connsiteY240" fmla="*/ 1420561 h 1532275"/>
              <a:gd name="connsiteX241" fmla="*/ 1237076 w 2872959"/>
              <a:gd name="connsiteY241" fmla="*/ 1395736 h 1532275"/>
              <a:gd name="connsiteX242" fmla="*/ 1224663 w 2872959"/>
              <a:gd name="connsiteY242" fmla="*/ 1387461 h 1532275"/>
              <a:gd name="connsiteX243" fmla="*/ 1212251 w 2872959"/>
              <a:gd name="connsiteY243" fmla="*/ 1362636 h 1532275"/>
              <a:gd name="connsiteX244" fmla="*/ 1199838 w 2872959"/>
              <a:gd name="connsiteY244" fmla="*/ 1312985 h 1532275"/>
              <a:gd name="connsiteX245" fmla="*/ 1183288 w 2872959"/>
              <a:gd name="connsiteY245" fmla="*/ 1288160 h 1532275"/>
              <a:gd name="connsiteX246" fmla="*/ 1175013 w 2872959"/>
              <a:gd name="connsiteY246" fmla="*/ 1275747 h 1532275"/>
              <a:gd name="connsiteX247" fmla="*/ 1166737 w 2872959"/>
              <a:gd name="connsiteY247" fmla="*/ 1267472 h 1532275"/>
              <a:gd name="connsiteX248" fmla="*/ 1092261 w 2872959"/>
              <a:gd name="connsiteY248" fmla="*/ 1279884 h 1532275"/>
              <a:gd name="connsiteX249" fmla="*/ 1088124 w 2872959"/>
              <a:gd name="connsiteY249" fmla="*/ 1296435 h 1532275"/>
              <a:gd name="connsiteX250" fmla="*/ 1083986 w 2872959"/>
              <a:gd name="connsiteY250" fmla="*/ 1308847 h 1532275"/>
              <a:gd name="connsiteX251" fmla="*/ 1059161 w 2872959"/>
              <a:gd name="connsiteY251" fmla="*/ 1300572 h 1532275"/>
              <a:gd name="connsiteX252" fmla="*/ 1030198 w 2872959"/>
              <a:gd name="connsiteY252" fmla="*/ 1284022 h 1532275"/>
              <a:gd name="connsiteX253" fmla="*/ 1021923 w 2872959"/>
              <a:gd name="connsiteY253" fmla="*/ 1271609 h 1532275"/>
              <a:gd name="connsiteX254" fmla="*/ 1009510 w 2872959"/>
              <a:gd name="connsiteY254" fmla="*/ 1246784 h 1532275"/>
              <a:gd name="connsiteX255" fmla="*/ 997098 w 2872959"/>
              <a:gd name="connsiteY255" fmla="*/ 1221959 h 1532275"/>
              <a:gd name="connsiteX256" fmla="*/ 992960 w 2872959"/>
              <a:gd name="connsiteY256" fmla="*/ 1205408 h 1532275"/>
              <a:gd name="connsiteX257" fmla="*/ 988823 w 2872959"/>
              <a:gd name="connsiteY257" fmla="*/ 1192996 h 1532275"/>
              <a:gd name="connsiteX258" fmla="*/ 963997 w 2872959"/>
              <a:gd name="connsiteY258" fmla="*/ 1184721 h 1532275"/>
              <a:gd name="connsiteX259" fmla="*/ 906071 w 2872959"/>
              <a:gd name="connsiteY259" fmla="*/ 1176446 h 1532275"/>
              <a:gd name="connsiteX260" fmla="*/ 881246 w 2872959"/>
              <a:gd name="connsiteY260" fmla="*/ 1168170 h 1532275"/>
              <a:gd name="connsiteX261" fmla="*/ 868833 w 2872959"/>
              <a:gd name="connsiteY261" fmla="*/ 1164033 h 1532275"/>
              <a:gd name="connsiteX262" fmla="*/ 839870 w 2872959"/>
              <a:gd name="connsiteY262" fmla="*/ 1168170 h 1532275"/>
              <a:gd name="connsiteX263" fmla="*/ 831595 w 2872959"/>
              <a:gd name="connsiteY263" fmla="*/ 1176446 h 1532275"/>
              <a:gd name="connsiteX264" fmla="*/ 690918 w 2872959"/>
              <a:gd name="connsiteY264" fmla="*/ 1172308 h 1532275"/>
              <a:gd name="connsiteX265" fmla="*/ 649543 w 2872959"/>
              <a:gd name="connsiteY265" fmla="*/ 1168170 h 1532275"/>
              <a:gd name="connsiteX266" fmla="*/ 624718 w 2872959"/>
              <a:gd name="connsiteY266" fmla="*/ 1159895 h 1532275"/>
              <a:gd name="connsiteX267" fmla="*/ 612305 w 2872959"/>
              <a:gd name="connsiteY267" fmla="*/ 1155758 h 1532275"/>
              <a:gd name="connsiteX268" fmla="*/ 579204 w 2872959"/>
              <a:gd name="connsiteY268" fmla="*/ 1147483 h 1532275"/>
              <a:gd name="connsiteX269" fmla="*/ 513004 w 2872959"/>
              <a:gd name="connsiteY269" fmla="*/ 1130932 h 1532275"/>
              <a:gd name="connsiteX270" fmla="*/ 401289 w 2872959"/>
              <a:gd name="connsiteY270" fmla="*/ 1126795 h 1532275"/>
              <a:gd name="connsiteX271" fmla="*/ 388877 w 2872959"/>
              <a:gd name="connsiteY271" fmla="*/ 1114382 h 1532275"/>
              <a:gd name="connsiteX272" fmla="*/ 380602 w 2872959"/>
              <a:gd name="connsiteY272" fmla="*/ 1089557 h 1532275"/>
              <a:gd name="connsiteX273" fmla="*/ 376464 w 2872959"/>
              <a:gd name="connsiteY273" fmla="*/ 1077144 h 1532275"/>
              <a:gd name="connsiteX274" fmla="*/ 372327 w 2872959"/>
              <a:gd name="connsiteY274" fmla="*/ 1064732 h 1532275"/>
              <a:gd name="connsiteX275" fmla="*/ 364051 w 2872959"/>
              <a:gd name="connsiteY275" fmla="*/ 1052319 h 1532275"/>
              <a:gd name="connsiteX276" fmla="*/ 351639 w 2872959"/>
              <a:gd name="connsiteY276" fmla="*/ 1035769 h 1532275"/>
              <a:gd name="connsiteX277" fmla="*/ 339226 w 2872959"/>
              <a:gd name="connsiteY277" fmla="*/ 1031631 h 1532275"/>
              <a:gd name="connsiteX278" fmla="*/ 326813 w 2872959"/>
              <a:gd name="connsiteY278" fmla="*/ 1023356 h 1532275"/>
              <a:gd name="connsiteX279" fmla="*/ 301988 w 2872959"/>
              <a:gd name="connsiteY279" fmla="*/ 1015081 h 1532275"/>
              <a:gd name="connsiteX280" fmla="*/ 273025 w 2872959"/>
              <a:gd name="connsiteY280" fmla="*/ 1006806 h 1532275"/>
              <a:gd name="connsiteX281" fmla="*/ 260613 w 2872959"/>
              <a:gd name="connsiteY281" fmla="*/ 998531 h 1532275"/>
              <a:gd name="connsiteX282" fmla="*/ 248200 w 2872959"/>
              <a:gd name="connsiteY282" fmla="*/ 994393 h 1532275"/>
              <a:gd name="connsiteX283" fmla="*/ 227512 w 2872959"/>
              <a:gd name="connsiteY283" fmla="*/ 957155 h 1532275"/>
              <a:gd name="connsiteX284" fmla="*/ 219237 w 2872959"/>
              <a:gd name="connsiteY284" fmla="*/ 944742 h 1532275"/>
              <a:gd name="connsiteX285" fmla="*/ 210962 w 2872959"/>
              <a:gd name="connsiteY285" fmla="*/ 919917 h 1532275"/>
              <a:gd name="connsiteX286" fmla="*/ 194412 w 2872959"/>
              <a:gd name="connsiteY286" fmla="*/ 895092 h 1532275"/>
              <a:gd name="connsiteX287" fmla="*/ 186137 w 2872959"/>
              <a:gd name="connsiteY287" fmla="*/ 882679 h 1532275"/>
              <a:gd name="connsiteX288" fmla="*/ 173724 w 2872959"/>
              <a:gd name="connsiteY288" fmla="*/ 857854 h 1532275"/>
              <a:gd name="connsiteX289" fmla="*/ 169586 w 2872959"/>
              <a:gd name="connsiteY289" fmla="*/ 845441 h 1532275"/>
              <a:gd name="connsiteX290" fmla="*/ 148899 w 2872959"/>
              <a:gd name="connsiteY290" fmla="*/ 820616 h 1532275"/>
              <a:gd name="connsiteX291" fmla="*/ 128211 w 2872959"/>
              <a:gd name="connsiteY291" fmla="*/ 783378 h 1532275"/>
              <a:gd name="connsiteX292" fmla="*/ 115798 w 2872959"/>
              <a:gd name="connsiteY292" fmla="*/ 754415 h 1532275"/>
              <a:gd name="connsiteX293" fmla="*/ 107523 w 2872959"/>
              <a:gd name="connsiteY293" fmla="*/ 729589 h 1532275"/>
              <a:gd name="connsiteX294" fmla="*/ 103385 w 2872959"/>
              <a:gd name="connsiteY294" fmla="*/ 717177 h 1532275"/>
              <a:gd name="connsiteX295" fmla="*/ 90973 w 2872959"/>
              <a:gd name="connsiteY295" fmla="*/ 704764 h 1532275"/>
              <a:gd name="connsiteX296" fmla="*/ 82698 w 2872959"/>
              <a:gd name="connsiteY296" fmla="*/ 679939 h 1532275"/>
              <a:gd name="connsiteX297" fmla="*/ 66147 w 2872959"/>
              <a:gd name="connsiteY297" fmla="*/ 659251 h 1532275"/>
              <a:gd name="connsiteX298" fmla="*/ 57872 w 2872959"/>
              <a:gd name="connsiteY298" fmla="*/ 646838 h 1532275"/>
              <a:gd name="connsiteX299" fmla="*/ 53735 w 2872959"/>
              <a:gd name="connsiteY299" fmla="*/ 634426 h 1532275"/>
              <a:gd name="connsiteX300" fmla="*/ 28909 w 2872959"/>
              <a:gd name="connsiteY300" fmla="*/ 601325 h 1532275"/>
              <a:gd name="connsiteX301" fmla="*/ 33047 w 2872959"/>
              <a:gd name="connsiteY301" fmla="*/ 543399 h 1532275"/>
              <a:gd name="connsiteX302" fmla="*/ 37185 w 2872959"/>
              <a:gd name="connsiteY302" fmla="*/ 530987 h 1532275"/>
              <a:gd name="connsiteX303" fmla="*/ 41322 w 2872959"/>
              <a:gd name="connsiteY303" fmla="*/ 274458 h 1532275"/>
              <a:gd name="connsiteX304" fmla="*/ 53735 w 2872959"/>
              <a:gd name="connsiteY304" fmla="*/ 249633 h 1532275"/>
              <a:gd name="connsiteX305" fmla="*/ 66147 w 2872959"/>
              <a:gd name="connsiteY305" fmla="*/ 245495 h 1532275"/>
              <a:gd name="connsiteX306" fmla="*/ 53735 w 2872959"/>
              <a:gd name="connsiteY306" fmla="*/ 241358 h 1532275"/>
              <a:gd name="connsiteX307" fmla="*/ 28909 w 2872959"/>
              <a:gd name="connsiteY307" fmla="*/ 220670 h 1532275"/>
              <a:gd name="connsiteX308" fmla="*/ 20634 w 2872959"/>
              <a:gd name="connsiteY308" fmla="*/ 208257 h 1532275"/>
              <a:gd name="connsiteX309" fmla="*/ 20634 w 2872959"/>
              <a:gd name="connsiteY309" fmla="*/ 84131 h 1532275"/>
              <a:gd name="connsiteX310" fmla="*/ 49597 w 2872959"/>
              <a:gd name="connsiteY310" fmla="*/ 88268 h 1532275"/>
              <a:gd name="connsiteX311" fmla="*/ 90973 w 2872959"/>
              <a:gd name="connsiteY311" fmla="*/ 100681 h 1532275"/>
              <a:gd name="connsiteX312" fmla="*/ 103385 w 2872959"/>
              <a:gd name="connsiteY312" fmla="*/ 104818 h 1532275"/>
              <a:gd name="connsiteX313" fmla="*/ 111661 w 2872959"/>
              <a:gd name="connsiteY313" fmla="*/ 13792 h 1532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</a:cxnLst>
            <a:rect l="l" t="t" r="r" b="b"/>
            <a:pathLst>
              <a:path w="2872959" h="1532275">
                <a:moveTo>
                  <a:pt x="111661" y="13792"/>
                </a:moveTo>
                <a:cubicBezTo>
                  <a:pt x="145451" y="0"/>
                  <a:pt x="107004" y="13594"/>
                  <a:pt x="306126" y="22067"/>
                </a:cubicBezTo>
                <a:cubicBezTo>
                  <a:pt x="310483" y="22252"/>
                  <a:pt x="314529" y="24487"/>
                  <a:pt x="318538" y="26205"/>
                </a:cubicBezTo>
                <a:cubicBezTo>
                  <a:pt x="324207" y="28635"/>
                  <a:pt x="328923" y="34331"/>
                  <a:pt x="335089" y="34480"/>
                </a:cubicBezTo>
                <a:cubicBezTo>
                  <a:pt x="500548" y="38483"/>
                  <a:pt x="666093" y="37239"/>
                  <a:pt x="831595" y="38618"/>
                </a:cubicBezTo>
                <a:cubicBezTo>
                  <a:pt x="868833" y="37239"/>
                  <a:pt x="906199" y="37854"/>
                  <a:pt x="943309" y="34480"/>
                </a:cubicBezTo>
                <a:cubicBezTo>
                  <a:pt x="951996" y="33690"/>
                  <a:pt x="968135" y="26205"/>
                  <a:pt x="968135" y="26205"/>
                </a:cubicBezTo>
                <a:cubicBezTo>
                  <a:pt x="1096256" y="31132"/>
                  <a:pt x="1083178" y="32978"/>
                  <a:pt x="1228801" y="26205"/>
                </a:cubicBezTo>
                <a:cubicBezTo>
                  <a:pt x="1237181" y="25815"/>
                  <a:pt x="1245351" y="23446"/>
                  <a:pt x="1253626" y="22067"/>
                </a:cubicBezTo>
                <a:cubicBezTo>
                  <a:pt x="1328102" y="23446"/>
                  <a:pt x="1402755" y="20898"/>
                  <a:pt x="1477054" y="26205"/>
                </a:cubicBezTo>
                <a:cubicBezTo>
                  <a:pt x="1485317" y="26795"/>
                  <a:pt x="1485889" y="47452"/>
                  <a:pt x="1489467" y="51030"/>
                </a:cubicBezTo>
                <a:cubicBezTo>
                  <a:pt x="1496500" y="58062"/>
                  <a:pt x="1504857" y="64435"/>
                  <a:pt x="1514292" y="67580"/>
                </a:cubicBezTo>
                <a:cubicBezTo>
                  <a:pt x="1522567" y="70339"/>
                  <a:pt x="1530564" y="74145"/>
                  <a:pt x="1539118" y="75856"/>
                </a:cubicBezTo>
                <a:cubicBezTo>
                  <a:pt x="1546991" y="77430"/>
                  <a:pt x="1563734" y="79889"/>
                  <a:pt x="1572218" y="84131"/>
                </a:cubicBezTo>
                <a:cubicBezTo>
                  <a:pt x="1582742" y="89393"/>
                  <a:pt x="1584753" y="95598"/>
                  <a:pt x="1597043" y="96543"/>
                </a:cubicBezTo>
                <a:cubicBezTo>
                  <a:pt x="1628701" y="98978"/>
                  <a:pt x="1660486" y="99302"/>
                  <a:pt x="1692207" y="100681"/>
                </a:cubicBezTo>
                <a:cubicBezTo>
                  <a:pt x="1688069" y="103439"/>
                  <a:pt x="1684338" y="106936"/>
                  <a:pt x="1679794" y="108956"/>
                </a:cubicBezTo>
                <a:cubicBezTo>
                  <a:pt x="1671823" y="112499"/>
                  <a:pt x="1654969" y="117231"/>
                  <a:pt x="1654969" y="117231"/>
                </a:cubicBezTo>
                <a:cubicBezTo>
                  <a:pt x="1650831" y="119989"/>
                  <a:pt x="1647004" y="123282"/>
                  <a:pt x="1642556" y="125506"/>
                </a:cubicBezTo>
                <a:cubicBezTo>
                  <a:pt x="1638655" y="127456"/>
                  <a:pt x="1633956" y="127526"/>
                  <a:pt x="1630144" y="129644"/>
                </a:cubicBezTo>
                <a:cubicBezTo>
                  <a:pt x="1587463" y="153356"/>
                  <a:pt x="1620991" y="140969"/>
                  <a:pt x="1592906" y="150332"/>
                </a:cubicBezTo>
                <a:cubicBezTo>
                  <a:pt x="1591527" y="154469"/>
                  <a:pt x="1589826" y="158513"/>
                  <a:pt x="1588768" y="162744"/>
                </a:cubicBezTo>
                <a:cubicBezTo>
                  <a:pt x="1587062" y="169567"/>
                  <a:pt x="1588120" y="177326"/>
                  <a:pt x="1584631" y="183432"/>
                </a:cubicBezTo>
                <a:cubicBezTo>
                  <a:pt x="1582164" y="187750"/>
                  <a:pt x="1576356" y="188949"/>
                  <a:pt x="1572218" y="191707"/>
                </a:cubicBezTo>
                <a:cubicBezTo>
                  <a:pt x="1576356" y="193086"/>
                  <a:pt x="1580308" y="195269"/>
                  <a:pt x="1584631" y="195845"/>
                </a:cubicBezTo>
                <a:cubicBezTo>
                  <a:pt x="1601093" y="198040"/>
                  <a:pt x="1617996" y="196725"/>
                  <a:pt x="1634281" y="199982"/>
                </a:cubicBezTo>
                <a:cubicBezTo>
                  <a:pt x="1639157" y="200957"/>
                  <a:pt x="1642556" y="205499"/>
                  <a:pt x="1646694" y="208257"/>
                </a:cubicBezTo>
                <a:cubicBezTo>
                  <a:pt x="1696747" y="203252"/>
                  <a:pt x="1674922" y="208503"/>
                  <a:pt x="1712895" y="195845"/>
                </a:cubicBezTo>
                <a:cubicBezTo>
                  <a:pt x="1717033" y="194466"/>
                  <a:pt x="1721679" y="194126"/>
                  <a:pt x="1725308" y="191707"/>
                </a:cubicBezTo>
                <a:lnTo>
                  <a:pt x="1750133" y="175157"/>
                </a:lnTo>
                <a:lnTo>
                  <a:pt x="1762546" y="166882"/>
                </a:lnTo>
                <a:cubicBezTo>
                  <a:pt x="1765304" y="162744"/>
                  <a:pt x="1765997" y="155675"/>
                  <a:pt x="1770821" y="154469"/>
                </a:cubicBezTo>
                <a:cubicBezTo>
                  <a:pt x="1778960" y="152434"/>
                  <a:pt x="1789714" y="152675"/>
                  <a:pt x="1795646" y="158607"/>
                </a:cubicBezTo>
                <a:cubicBezTo>
                  <a:pt x="1799162" y="162123"/>
                  <a:pt x="1787371" y="164124"/>
                  <a:pt x="1783233" y="166882"/>
                </a:cubicBezTo>
                <a:cubicBezTo>
                  <a:pt x="1781854" y="171019"/>
                  <a:pt x="1778241" y="175018"/>
                  <a:pt x="1779096" y="179294"/>
                </a:cubicBezTo>
                <a:cubicBezTo>
                  <a:pt x="1779861" y="183119"/>
                  <a:pt x="1784934" y="184524"/>
                  <a:pt x="1787371" y="187570"/>
                </a:cubicBezTo>
                <a:cubicBezTo>
                  <a:pt x="1796538" y="199029"/>
                  <a:pt x="1795413" y="199284"/>
                  <a:pt x="1799784" y="212395"/>
                </a:cubicBezTo>
                <a:cubicBezTo>
                  <a:pt x="1805301" y="211016"/>
                  <a:pt x="1811107" y="210497"/>
                  <a:pt x="1816334" y="208257"/>
                </a:cubicBezTo>
                <a:cubicBezTo>
                  <a:pt x="1820905" y="206298"/>
                  <a:pt x="1824299" y="202206"/>
                  <a:pt x="1828747" y="199982"/>
                </a:cubicBezTo>
                <a:cubicBezTo>
                  <a:pt x="1832648" y="198032"/>
                  <a:pt x="1837022" y="197224"/>
                  <a:pt x="1841159" y="195845"/>
                </a:cubicBezTo>
                <a:cubicBezTo>
                  <a:pt x="1845297" y="193087"/>
                  <a:pt x="1848599" y="187570"/>
                  <a:pt x="1853572" y="187570"/>
                </a:cubicBezTo>
                <a:cubicBezTo>
                  <a:pt x="1864945" y="187570"/>
                  <a:pt x="1875639" y="193087"/>
                  <a:pt x="1886672" y="195845"/>
                </a:cubicBezTo>
                <a:cubicBezTo>
                  <a:pt x="1912677" y="202346"/>
                  <a:pt x="1897606" y="199179"/>
                  <a:pt x="1932185" y="204120"/>
                </a:cubicBezTo>
                <a:cubicBezTo>
                  <a:pt x="1934944" y="206878"/>
                  <a:pt x="1938454" y="209050"/>
                  <a:pt x="1940461" y="212395"/>
                </a:cubicBezTo>
                <a:cubicBezTo>
                  <a:pt x="1942705" y="216135"/>
                  <a:pt x="1941049" y="222273"/>
                  <a:pt x="1944598" y="224808"/>
                </a:cubicBezTo>
                <a:cubicBezTo>
                  <a:pt x="1951696" y="229878"/>
                  <a:pt x="1969423" y="233083"/>
                  <a:pt x="1969423" y="233083"/>
                </a:cubicBezTo>
                <a:cubicBezTo>
                  <a:pt x="1965286" y="235841"/>
                  <a:pt x="1961459" y="239134"/>
                  <a:pt x="1957011" y="241358"/>
                </a:cubicBezTo>
                <a:cubicBezTo>
                  <a:pt x="1953110" y="243308"/>
                  <a:pt x="1948947" y="245173"/>
                  <a:pt x="1944598" y="245495"/>
                </a:cubicBezTo>
                <a:cubicBezTo>
                  <a:pt x="1911559" y="247942"/>
                  <a:pt x="1878397" y="248254"/>
                  <a:pt x="1845297" y="249633"/>
                </a:cubicBezTo>
                <a:cubicBezTo>
                  <a:pt x="1839989" y="250960"/>
                  <a:pt x="1822273" y="254938"/>
                  <a:pt x="1816334" y="257908"/>
                </a:cubicBezTo>
                <a:cubicBezTo>
                  <a:pt x="1807034" y="262558"/>
                  <a:pt x="1798045" y="270751"/>
                  <a:pt x="1791508" y="278596"/>
                </a:cubicBezTo>
                <a:cubicBezTo>
                  <a:pt x="1765400" y="309924"/>
                  <a:pt x="1799041" y="275198"/>
                  <a:pt x="1774958" y="299284"/>
                </a:cubicBezTo>
                <a:cubicBezTo>
                  <a:pt x="1773579" y="306180"/>
                  <a:pt x="1768597" y="313300"/>
                  <a:pt x="1770821" y="319971"/>
                </a:cubicBezTo>
                <a:cubicBezTo>
                  <a:pt x="1775493" y="333987"/>
                  <a:pt x="1793809" y="317059"/>
                  <a:pt x="1795646" y="315834"/>
                </a:cubicBezTo>
                <a:cubicBezTo>
                  <a:pt x="1798404" y="311696"/>
                  <a:pt x="1803921" y="298448"/>
                  <a:pt x="1803921" y="303421"/>
                </a:cubicBezTo>
                <a:cubicBezTo>
                  <a:pt x="1803921" y="314794"/>
                  <a:pt x="1799243" y="325733"/>
                  <a:pt x="1795646" y="336522"/>
                </a:cubicBezTo>
                <a:cubicBezTo>
                  <a:pt x="1794267" y="340659"/>
                  <a:pt x="1792706" y="344741"/>
                  <a:pt x="1791508" y="348934"/>
                </a:cubicBezTo>
                <a:cubicBezTo>
                  <a:pt x="1781115" y="385309"/>
                  <a:pt x="1793157" y="348129"/>
                  <a:pt x="1783233" y="377897"/>
                </a:cubicBezTo>
                <a:cubicBezTo>
                  <a:pt x="1784612" y="399964"/>
                  <a:pt x="1784384" y="422191"/>
                  <a:pt x="1787371" y="444098"/>
                </a:cubicBezTo>
                <a:cubicBezTo>
                  <a:pt x="1788550" y="452741"/>
                  <a:pt x="1793530" y="460461"/>
                  <a:pt x="1795646" y="468923"/>
                </a:cubicBezTo>
                <a:cubicBezTo>
                  <a:pt x="1797025" y="474440"/>
                  <a:pt x="1798767" y="479879"/>
                  <a:pt x="1799784" y="485474"/>
                </a:cubicBezTo>
                <a:cubicBezTo>
                  <a:pt x="1803155" y="504015"/>
                  <a:pt x="1806086" y="533924"/>
                  <a:pt x="1808059" y="551675"/>
                </a:cubicBezTo>
                <a:cubicBezTo>
                  <a:pt x="1829032" y="530700"/>
                  <a:pt x="1804353" y="557849"/>
                  <a:pt x="1820471" y="530987"/>
                </a:cubicBezTo>
                <a:cubicBezTo>
                  <a:pt x="1825081" y="523304"/>
                  <a:pt x="1834656" y="519640"/>
                  <a:pt x="1841159" y="514437"/>
                </a:cubicBezTo>
                <a:cubicBezTo>
                  <a:pt x="1844205" y="512000"/>
                  <a:pt x="1847093" y="509282"/>
                  <a:pt x="1849434" y="506161"/>
                </a:cubicBezTo>
                <a:cubicBezTo>
                  <a:pt x="1855401" y="498205"/>
                  <a:pt x="1865985" y="481336"/>
                  <a:pt x="1865985" y="481336"/>
                </a:cubicBezTo>
                <a:cubicBezTo>
                  <a:pt x="1861178" y="418858"/>
                  <a:pt x="1867533" y="444604"/>
                  <a:pt x="1853572" y="402722"/>
                </a:cubicBezTo>
                <a:lnTo>
                  <a:pt x="1845297" y="377897"/>
                </a:lnTo>
                <a:lnTo>
                  <a:pt x="1841159" y="365484"/>
                </a:lnTo>
                <a:cubicBezTo>
                  <a:pt x="1841249" y="365032"/>
                  <a:pt x="1847767" y="330747"/>
                  <a:pt x="1849434" y="328246"/>
                </a:cubicBezTo>
                <a:cubicBezTo>
                  <a:pt x="1854017" y="321371"/>
                  <a:pt x="1867179" y="318194"/>
                  <a:pt x="1874260" y="315834"/>
                </a:cubicBezTo>
                <a:cubicBezTo>
                  <a:pt x="1886820" y="318974"/>
                  <a:pt x="1898606" y="324429"/>
                  <a:pt x="1911498" y="315834"/>
                </a:cubicBezTo>
                <a:cubicBezTo>
                  <a:pt x="1915127" y="313415"/>
                  <a:pt x="1913685" y="307322"/>
                  <a:pt x="1915635" y="303421"/>
                </a:cubicBezTo>
                <a:cubicBezTo>
                  <a:pt x="1922531" y="289629"/>
                  <a:pt x="1923910" y="291008"/>
                  <a:pt x="1936323" y="282733"/>
                </a:cubicBezTo>
                <a:cubicBezTo>
                  <a:pt x="1941330" y="283568"/>
                  <a:pt x="1965729" y="286309"/>
                  <a:pt x="1973561" y="291008"/>
                </a:cubicBezTo>
                <a:cubicBezTo>
                  <a:pt x="1976906" y="293015"/>
                  <a:pt x="1979078" y="296525"/>
                  <a:pt x="1981836" y="299284"/>
                </a:cubicBezTo>
                <a:cubicBezTo>
                  <a:pt x="1983215" y="303421"/>
                  <a:pt x="1984024" y="307795"/>
                  <a:pt x="1985974" y="311696"/>
                </a:cubicBezTo>
                <a:cubicBezTo>
                  <a:pt x="1988198" y="316144"/>
                  <a:pt x="1993973" y="319144"/>
                  <a:pt x="1994249" y="324109"/>
                </a:cubicBezTo>
                <a:cubicBezTo>
                  <a:pt x="1996779" y="369647"/>
                  <a:pt x="1995203" y="370894"/>
                  <a:pt x="1985974" y="398585"/>
                </a:cubicBezTo>
                <a:cubicBezTo>
                  <a:pt x="1990111" y="399964"/>
                  <a:pt x="1994129" y="401776"/>
                  <a:pt x="1998386" y="402722"/>
                </a:cubicBezTo>
                <a:cubicBezTo>
                  <a:pt x="2006576" y="404542"/>
                  <a:pt x="2015928" y="402698"/>
                  <a:pt x="2023212" y="406860"/>
                </a:cubicBezTo>
                <a:cubicBezTo>
                  <a:pt x="2026999" y="409024"/>
                  <a:pt x="2026291" y="415042"/>
                  <a:pt x="2027349" y="419273"/>
                </a:cubicBezTo>
                <a:cubicBezTo>
                  <a:pt x="2029055" y="426096"/>
                  <a:pt x="2030108" y="433065"/>
                  <a:pt x="2031487" y="439961"/>
                </a:cubicBezTo>
                <a:cubicBezTo>
                  <a:pt x="2035624" y="438582"/>
                  <a:pt x="2042520" y="431686"/>
                  <a:pt x="2043899" y="435823"/>
                </a:cubicBezTo>
                <a:cubicBezTo>
                  <a:pt x="2045065" y="439322"/>
                  <a:pt x="2029640" y="461349"/>
                  <a:pt x="2027349" y="464786"/>
                </a:cubicBezTo>
                <a:cubicBezTo>
                  <a:pt x="2024078" y="487687"/>
                  <a:pt x="2029092" y="493966"/>
                  <a:pt x="2010799" y="506161"/>
                </a:cubicBezTo>
                <a:cubicBezTo>
                  <a:pt x="2007170" y="508580"/>
                  <a:pt x="2002524" y="508920"/>
                  <a:pt x="1998386" y="510299"/>
                </a:cubicBezTo>
                <a:cubicBezTo>
                  <a:pt x="1991298" y="520931"/>
                  <a:pt x="1981940" y="528629"/>
                  <a:pt x="1994249" y="543399"/>
                </a:cubicBezTo>
                <a:cubicBezTo>
                  <a:pt x="1997889" y="547767"/>
                  <a:pt x="2005282" y="546158"/>
                  <a:pt x="2010799" y="547537"/>
                </a:cubicBezTo>
                <a:cubicBezTo>
                  <a:pt x="2017695" y="546158"/>
                  <a:pt x="2024702" y="545249"/>
                  <a:pt x="2031487" y="543399"/>
                </a:cubicBezTo>
                <a:cubicBezTo>
                  <a:pt x="2039902" y="541104"/>
                  <a:pt x="2047759" y="536834"/>
                  <a:pt x="2056312" y="535124"/>
                </a:cubicBezTo>
                <a:cubicBezTo>
                  <a:pt x="2063208" y="533745"/>
                  <a:pt x="2070177" y="532693"/>
                  <a:pt x="2077000" y="530987"/>
                </a:cubicBezTo>
                <a:cubicBezTo>
                  <a:pt x="2081231" y="529929"/>
                  <a:pt x="2085122" y="527629"/>
                  <a:pt x="2089413" y="526849"/>
                </a:cubicBezTo>
                <a:cubicBezTo>
                  <a:pt x="2100353" y="524860"/>
                  <a:pt x="2111480" y="524091"/>
                  <a:pt x="2122513" y="522712"/>
                </a:cubicBezTo>
                <a:cubicBezTo>
                  <a:pt x="2151614" y="513011"/>
                  <a:pt x="2116732" y="523676"/>
                  <a:pt x="2172164" y="514437"/>
                </a:cubicBezTo>
                <a:cubicBezTo>
                  <a:pt x="2183582" y="512534"/>
                  <a:pt x="2187460" y="508376"/>
                  <a:pt x="2196989" y="502024"/>
                </a:cubicBezTo>
                <a:cubicBezTo>
                  <a:pt x="2215703" y="473953"/>
                  <a:pt x="2206507" y="484232"/>
                  <a:pt x="2221814" y="468923"/>
                </a:cubicBezTo>
                <a:cubicBezTo>
                  <a:pt x="2226558" y="454691"/>
                  <a:pt x="2235678" y="442138"/>
                  <a:pt x="2225952" y="427548"/>
                </a:cubicBezTo>
                <a:cubicBezTo>
                  <a:pt x="2223194" y="423410"/>
                  <a:pt x="2217987" y="421497"/>
                  <a:pt x="2213539" y="419273"/>
                </a:cubicBezTo>
                <a:cubicBezTo>
                  <a:pt x="2209638" y="417323"/>
                  <a:pt x="2196766" y="415135"/>
                  <a:pt x="2201127" y="415135"/>
                </a:cubicBezTo>
                <a:cubicBezTo>
                  <a:pt x="2215297" y="415135"/>
                  <a:pt x="2228837" y="420677"/>
                  <a:pt x="2242502" y="423410"/>
                </a:cubicBezTo>
                <a:cubicBezTo>
                  <a:pt x="2250729" y="425055"/>
                  <a:pt x="2259053" y="426169"/>
                  <a:pt x="2267328" y="427548"/>
                </a:cubicBezTo>
                <a:cubicBezTo>
                  <a:pt x="2279741" y="426169"/>
                  <a:pt x="2292450" y="426439"/>
                  <a:pt x="2304566" y="423410"/>
                </a:cubicBezTo>
                <a:cubicBezTo>
                  <a:pt x="2309390" y="422204"/>
                  <a:pt x="2312530" y="417359"/>
                  <a:pt x="2316978" y="415135"/>
                </a:cubicBezTo>
                <a:cubicBezTo>
                  <a:pt x="2320879" y="413185"/>
                  <a:pt x="2325253" y="412377"/>
                  <a:pt x="2329391" y="410998"/>
                </a:cubicBezTo>
                <a:cubicBezTo>
                  <a:pt x="2343834" y="396554"/>
                  <a:pt x="2336432" y="406423"/>
                  <a:pt x="2345941" y="377897"/>
                </a:cubicBezTo>
                <a:lnTo>
                  <a:pt x="2350079" y="365484"/>
                </a:lnTo>
                <a:cubicBezTo>
                  <a:pt x="2351458" y="357209"/>
                  <a:pt x="2349405" y="347532"/>
                  <a:pt x="2354216" y="340659"/>
                </a:cubicBezTo>
                <a:cubicBezTo>
                  <a:pt x="2359919" y="332511"/>
                  <a:pt x="2379042" y="324109"/>
                  <a:pt x="2379042" y="324109"/>
                </a:cubicBezTo>
                <a:cubicBezTo>
                  <a:pt x="2380407" y="322061"/>
                  <a:pt x="2395365" y="296109"/>
                  <a:pt x="2403867" y="291008"/>
                </a:cubicBezTo>
                <a:cubicBezTo>
                  <a:pt x="2407607" y="288764"/>
                  <a:pt x="2412142" y="288250"/>
                  <a:pt x="2416280" y="286871"/>
                </a:cubicBezTo>
                <a:cubicBezTo>
                  <a:pt x="2471625" y="289784"/>
                  <a:pt x="2535198" y="295648"/>
                  <a:pt x="2590057" y="286871"/>
                </a:cubicBezTo>
                <a:cubicBezTo>
                  <a:pt x="2594967" y="286085"/>
                  <a:pt x="2596312" y="279002"/>
                  <a:pt x="2598332" y="274458"/>
                </a:cubicBezTo>
                <a:cubicBezTo>
                  <a:pt x="2601875" y="266487"/>
                  <a:pt x="2603849" y="257908"/>
                  <a:pt x="2606607" y="249633"/>
                </a:cubicBezTo>
                <a:lnTo>
                  <a:pt x="2610745" y="237220"/>
                </a:lnTo>
                <a:cubicBezTo>
                  <a:pt x="2612124" y="233083"/>
                  <a:pt x="2610745" y="226187"/>
                  <a:pt x="2614882" y="224808"/>
                </a:cubicBezTo>
                <a:lnTo>
                  <a:pt x="2627295" y="220670"/>
                </a:lnTo>
                <a:cubicBezTo>
                  <a:pt x="2632812" y="212395"/>
                  <a:pt x="2640700" y="205280"/>
                  <a:pt x="2643845" y="195845"/>
                </a:cubicBezTo>
                <a:lnTo>
                  <a:pt x="2656258" y="158607"/>
                </a:lnTo>
                <a:cubicBezTo>
                  <a:pt x="2657637" y="154469"/>
                  <a:pt x="2656766" y="148613"/>
                  <a:pt x="2660395" y="146194"/>
                </a:cubicBezTo>
                <a:lnTo>
                  <a:pt x="2672808" y="137919"/>
                </a:lnTo>
                <a:cubicBezTo>
                  <a:pt x="2682462" y="139298"/>
                  <a:pt x="2692519" y="138972"/>
                  <a:pt x="2701771" y="142056"/>
                </a:cubicBezTo>
                <a:cubicBezTo>
                  <a:pt x="2706823" y="143740"/>
                  <a:pt x="2716472" y="159971"/>
                  <a:pt x="2718321" y="162744"/>
                </a:cubicBezTo>
                <a:cubicBezTo>
                  <a:pt x="2723838" y="161365"/>
                  <a:pt x="2729785" y="161150"/>
                  <a:pt x="2734871" y="158607"/>
                </a:cubicBezTo>
                <a:cubicBezTo>
                  <a:pt x="2738360" y="156862"/>
                  <a:pt x="2739446" y="149099"/>
                  <a:pt x="2743147" y="150332"/>
                </a:cubicBezTo>
                <a:cubicBezTo>
                  <a:pt x="2747284" y="151711"/>
                  <a:pt x="2746226" y="158513"/>
                  <a:pt x="2747284" y="162744"/>
                </a:cubicBezTo>
                <a:cubicBezTo>
                  <a:pt x="2750393" y="175178"/>
                  <a:pt x="2752597" y="197606"/>
                  <a:pt x="2759697" y="208257"/>
                </a:cubicBezTo>
                <a:cubicBezTo>
                  <a:pt x="2765214" y="216532"/>
                  <a:pt x="2769214" y="226051"/>
                  <a:pt x="2776247" y="233083"/>
                </a:cubicBezTo>
                <a:cubicBezTo>
                  <a:pt x="2780385" y="237220"/>
                  <a:pt x="2785068" y="240876"/>
                  <a:pt x="2788660" y="245495"/>
                </a:cubicBezTo>
                <a:cubicBezTo>
                  <a:pt x="2794766" y="253346"/>
                  <a:pt x="2805210" y="270321"/>
                  <a:pt x="2805210" y="270321"/>
                </a:cubicBezTo>
                <a:cubicBezTo>
                  <a:pt x="2812395" y="291878"/>
                  <a:pt x="2804640" y="274780"/>
                  <a:pt x="2817623" y="291008"/>
                </a:cubicBezTo>
                <a:cubicBezTo>
                  <a:pt x="2833387" y="310713"/>
                  <a:pt x="2817030" y="297509"/>
                  <a:pt x="2838310" y="311696"/>
                </a:cubicBezTo>
                <a:cubicBezTo>
                  <a:pt x="2842448" y="310317"/>
                  <a:pt x="2846529" y="308757"/>
                  <a:pt x="2850723" y="307559"/>
                </a:cubicBezTo>
                <a:cubicBezTo>
                  <a:pt x="2856191" y="305997"/>
                  <a:pt x="2872959" y="303421"/>
                  <a:pt x="2867273" y="303421"/>
                </a:cubicBezTo>
                <a:cubicBezTo>
                  <a:pt x="2853413" y="303421"/>
                  <a:pt x="2839690" y="306180"/>
                  <a:pt x="2825898" y="307559"/>
                </a:cubicBezTo>
                <a:cubicBezTo>
                  <a:pt x="2791926" y="318881"/>
                  <a:pt x="2842095" y="298013"/>
                  <a:pt x="2809347" y="344797"/>
                </a:cubicBezTo>
                <a:cubicBezTo>
                  <a:pt x="2804345" y="351943"/>
                  <a:pt x="2792797" y="350314"/>
                  <a:pt x="2784522" y="353072"/>
                </a:cubicBezTo>
                <a:lnTo>
                  <a:pt x="2759697" y="361347"/>
                </a:lnTo>
                <a:cubicBezTo>
                  <a:pt x="2755559" y="362726"/>
                  <a:pt x="2751515" y="364426"/>
                  <a:pt x="2747284" y="365484"/>
                </a:cubicBezTo>
                <a:cubicBezTo>
                  <a:pt x="2741767" y="366863"/>
                  <a:pt x="2736202" y="368060"/>
                  <a:pt x="2730734" y="369622"/>
                </a:cubicBezTo>
                <a:cubicBezTo>
                  <a:pt x="2726540" y="370820"/>
                  <a:pt x="2722579" y="372814"/>
                  <a:pt x="2718321" y="373760"/>
                </a:cubicBezTo>
                <a:cubicBezTo>
                  <a:pt x="2710132" y="375580"/>
                  <a:pt x="2701771" y="376518"/>
                  <a:pt x="2693496" y="377897"/>
                </a:cubicBezTo>
                <a:cubicBezTo>
                  <a:pt x="2657918" y="401615"/>
                  <a:pt x="2702935" y="373177"/>
                  <a:pt x="2668670" y="390310"/>
                </a:cubicBezTo>
                <a:cubicBezTo>
                  <a:pt x="2664222" y="392534"/>
                  <a:pt x="2660828" y="396626"/>
                  <a:pt x="2656258" y="398585"/>
                </a:cubicBezTo>
                <a:cubicBezTo>
                  <a:pt x="2651031" y="400825"/>
                  <a:pt x="2645176" y="401160"/>
                  <a:pt x="2639708" y="402722"/>
                </a:cubicBezTo>
                <a:cubicBezTo>
                  <a:pt x="2635514" y="403920"/>
                  <a:pt x="2631433" y="405481"/>
                  <a:pt x="2627295" y="406860"/>
                </a:cubicBezTo>
                <a:cubicBezTo>
                  <a:pt x="2616582" y="438995"/>
                  <a:pt x="2627151" y="403946"/>
                  <a:pt x="2619020" y="473061"/>
                </a:cubicBezTo>
                <a:cubicBezTo>
                  <a:pt x="2618356" y="478709"/>
                  <a:pt x="2616261" y="484094"/>
                  <a:pt x="2614882" y="489611"/>
                </a:cubicBezTo>
                <a:cubicBezTo>
                  <a:pt x="2616261" y="495128"/>
                  <a:pt x="2616477" y="501075"/>
                  <a:pt x="2619020" y="506161"/>
                </a:cubicBezTo>
                <a:cubicBezTo>
                  <a:pt x="2620765" y="509650"/>
                  <a:pt x="2623806" y="512692"/>
                  <a:pt x="2627295" y="514437"/>
                </a:cubicBezTo>
                <a:cubicBezTo>
                  <a:pt x="2643687" y="522633"/>
                  <a:pt x="2659282" y="523905"/>
                  <a:pt x="2676946" y="526849"/>
                </a:cubicBezTo>
                <a:cubicBezTo>
                  <a:pt x="2678325" y="532366"/>
                  <a:pt x="2681083" y="537713"/>
                  <a:pt x="2681083" y="543399"/>
                </a:cubicBezTo>
                <a:cubicBezTo>
                  <a:pt x="2681083" y="596403"/>
                  <a:pt x="2654555" y="569291"/>
                  <a:pt x="2590057" y="572362"/>
                </a:cubicBezTo>
                <a:cubicBezTo>
                  <a:pt x="2573507" y="575120"/>
                  <a:pt x="2556066" y="574614"/>
                  <a:pt x="2540406" y="580637"/>
                </a:cubicBezTo>
                <a:cubicBezTo>
                  <a:pt x="2536335" y="582203"/>
                  <a:pt x="2538688" y="589421"/>
                  <a:pt x="2536269" y="593050"/>
                </a:cubicBezTo>
                <a:cubicBezTo>
                  <a:pt x="2533023" y="597919"/>
                  <a:pt x="2528475" y="601870"/>
                  <a:pt x="2523856" y="605463"/>
                </a:cubicBezTo>
                <a:cubicBezTo>
                  <a:pt x="2516006" y="611569"/>
                  <a:pt x="2507306" y="616496"/>
                  <a:pt x="2499031" y="622013"/>
                </a:cubicBezTo>
                <a:lnTo>
                  <a:pt x="2486618" y="630288"/>
                </a:lnTo>
                <a:cubicBezTo>
                  <a:pt x="2477158" y="658665"/>
                  <a:pt x="2488330" y="623441"/>
                  <a:pt x="2478343" y="663389"/>
                </a:cubicBezTo>
                <a:cubicBezTo>
                  <a:pt x="2477285" y="667620"/>
                  <a:pt x="2476883" y="672358"/>
                  <a:pt x="2474205" y="675801"/>
                </a:cubicBezTo>
                <a:cubicBezTo>
                  <a:pt x="2471447" y="679346"/>
                  <a:pt x="2448246" y="704672"/>
                  <a:pt x="2436967" y="708902"/>
                </a:cubicBezTo>
                <a:cubicBezTo>
                  <a:pt x="2430383" y="711371"/>
                  <a:pt x="2423176" y="711660"/>
                  <a:pt x="2416280" y="713039"/>
                </a:cubicBezTo>
                <a:cubicBezTo>
                  <a:pt x="2415306" y="716935"/>
                  <a:pt x="2410702" y="737145"/>
                  <a:pt x="2408004" y="742002"/>
                </a:cubicBezTo>
                <a:cubicBezTo>
                  <a:pt x="2396309" y="763054"/>
                  <a:pt x="2395733" y="762548"/>
                  <a:pt x="2383179" y="775103"/>
                </a:cubicBezTo>
                <a:cubicBezTo>
                  <a:pt x="2381603" y="779832"/>
                  <a:pt x="2379239" y="797958"/>
                  <a:pt x="2366629" y="791653"/>
                </a:cubicBezTo>
                <a:cubicBezTo>
                  <a:pt x="2362728" y="789703"/>
                  <a:pt x="2363870" y="783378"/>
                  <a:pt x="2362491" y="779240"/>
                </a:cubicBezTo>
                <a:cubicBezTo>
                  <a:pt x="2361112" y="783378"/>
                  <a:pt x="2358354" y="787292"/>
                  <a:pt x="2358354" y="791653"/>
                </a:cubicBezTo>
                <a:cubicBezTo>
                  <a:pt x="2358354" y="811011"/>
                  <a:pt x="2360353" y="830340"/>
                  <a:pt x="2362491" y="849579"/>
                </a:cubicBezTo>
                <a:cubicBezTo>
                  <a:pt x="2363533" y="858955"/>
                  <a:pt x="2372826" y="884719"/>
                  <a:pt x="2374904" y="890954"/>
                </a:cubicBezTo>
                <a:lnTo>
                  <a:pt x="2383179" y="915780"/>
                </a:lnTo>
                <a:lnTo>
                  <a:pt x="2387317" y="928192"/>
                </a:lnTo>
                <a:cubicBezTo>
                  <a:pt x="2384559" y="937846"/>
                  <a:pt x="2384364" y="948641"/>
                  <a:pt x="2379042" y="957155"/>
                </a:cubicBezTo>
                <a:cubicBezTo>
                  <a:pt x="2376730" y="960854"/>
                  <a:pt x="2370530" y="959342"/>
                  <a:pt x="2366629" y="961293"/>
                </a:cubicBezTo>
                <a:cubicBezTo>
                  <a:pt x="2334551" y="977332"/>
                  <a:pt x="2372998" y="963308"/>
                  <a:pt x="2341804" y="973705"/>
                </a:cubicBezTo>
                <a:cubicBezTo>
                  <a:pt x="2334109" y="981399"/>
                  <a:pt x="2331550" y="985039"/>
                  <a:pt x="2321116" y="990256"/>
                </a:cubicBezTo>
                <a:cubicBezTo>
                  <a:pt x="2317215" y="992207"/>
                  <a:pt x="2312841" y="993014"/>
                  <a:pt x="2308703" y="994393"/>
                </a:cubicBezTo>
                <a:cubicBezTo>
                  <a:pt x="2303186" y="998531"/>
                  <a:pt x="2298321" y="1003722"/>
                  <a:pt x="2292153" y="1006806"/>
                </a:cubicBezTo>
                <a:cubicBezTo>
                  <a:pt x="2287067" y="1009349"/>
                  <a:pt x="2280574" y="1008181"/>
                  <a:pt x="2275603" y="1010943"/>
                </a:cubicBezTo>
                <a:cubicBezTo>
                  <a:pt x="2267883" y="1015232"/>
                  <a:pt x="2262263" y="1022595"/>
                  <a:pt x="2254915" y="1027494"/>
                </a:cubicBezTo>
                <a:cubicBezTo>
                  <a:pt x="2224851" y="1047537"/>
                  <a:pt x="2249067" y="1025068"/>
                  <a:pt x="2230089" y="1044044"/>
                </a:cubicBezTo>
                <a:cubicBezTo>
                  <a:pt x="2228710" y="1048181"/>
                  <a:pt x="2228196" y="1052716"/>
                  <a:pt x="2225952" y="1056456"/>
                </a:cubicBezTo>
                <a:cubicBezTo>
                  <a:pt x="2223945" y="1059801"/>
                  <a:pt x="2220723" y="1062295"/>
                  <a:pt x="2217677" y="1064732"/>
                </a:cubicBezTo>
                <a:cubicBezTo>
                  <a:pt x="2206220" y="1073898"/>
                  <a:pt x="2205961" y="1072775"/>
                  <a:pt x="2192851" y="1077144"/>
                </a:cubicBezTo>
                <a:cubicBezTo>
                  <a:pt x="2188714" y="1079902"/>
                  <a:pt x="2184259" y="1082236"/>
                  <a:pt x="2180439" y="1085419"/>
                </a:cubicBezTo>
                <a:cubicBezTo>
                  <a:pt x="2165855" y="1097573"/>
                  <a:pt x="2163010" y="1105356"/>
                  <a:pt x="2151476" y="1122657"/>
                </a:cubicBezTo>
                <a:cubicBezTo>
                  <a:pt x="2148718" y="1126795"/>
                  <a:pt x="2144774" y="1130352"/>
                  <a:pt x="2143201" y="1135070"/>
                </a:cubicBezTo>
                <a:cubicBezTo>
                  <a:pt x="2140443" y="1143345"/>
                  <a:pt x="2138827" y="1152093"/>
                  <a:pt x="2134926" y="1159895"/>
                </a:cubicBezTo>
                <a:cubicBezTo>
                  <a:pt x="2132168" y="1165412"/>
                  <a:pt x="2128817" y="1170671"/>
                  <a:pt x="2126651" y="1176446"/>
                </a:cubicBezTo>
                <a:cubicBezTo>
                  <a:pt x="2124654" y="1181770"/>
                  <a:pt x="2124075" y="1187528"/>
                  <a:pt x="2122513" y="1192996"/>
                </a:cubicBezTo>
                <a:cubicBezTo>
                  <a:pt x="2121315" y="1197189"/>
                  <a:pt x="2119754" y="1201271"/>
                  <a:pt x="2118375" y="1205408"/>
                </a:cubicBezTo>
                <a:cubicBezTo>
                  <a:pt x="2119754" y="1219200"/>
                  <a:pt x="2118130" y="1233635"/>
                  <a:pt x="2122513" y="1246784"/>
                </a:cubicBezTo>
                <a:cubicBezTo>
                  <a:pt x="2124086" y="1251502"/>
                  <a:pt x="2131410" y="1251543"/>
                  <a:pt x="2134926" y="1255059"/>
                </a:cubicBezTo>
                <a:cubicBezTo>
                  <a:pt x="2153641" y="1273774"/>
                  <a:pt x="2131449" y="1263555"/>
                  <a:pt x="2155613" y="1271609"/>
                </a:cubicBezTo>
                <a:cubicBezTo>
                  <a:pt x="2165452" y="1301125"/>
                  <a:pt x="2151500" y="1265440"/>
                  <a:pt x="2172164" y="1296435"/>
                </a:cubicBezTo>
                <a:cubicBezTo>
                  <a:pt x="2174583" y="1300064"/>
                  <a:pt x="2174351" y="1304946"/>
                  <a:pt x="2176301" y="1308847"/>
                </a:cubicBezTo>
                <a:cubicBezTo>
                  <a:pt x="2178525" y="1313295"/>
                  <a:pt x="2181818" y="1317122"/>
                  <a:pt x="2184576" y="1321260"/>
                </a:cubicBezTo>
                <a:cubicBezTo>
                  <a:pt x="2183197" y="1387461"/>
                  <a:pt x="2189620" y="1454287"/>
                  <a:pt x="2180439" y="1519863"/>
                </a:cubicBezTo>
                <a:cubicBezTo>
                  <a:pt x="2179230" y="1528502"/>
                  <a:pt x="2163888" y="1525380"/>
                  <a:pt x="2155613" y="1528138"/>
                </a:cubicBezTo>
                <a:lnTo>
                  <a:pt x="2143201" y="1532275"/>
                </a:lnTo>
                <a:cubicBezTo>
                  <a:pt x="2137684" y="1530896"/>
                  <a:pt x="2131737" y="1530681"/>
                  <a:pt x="2126651" y="1528138"/>
                </a:cubicBezTo>
                <a:cubicBezTo>
                  <a:pt x="2113048" y="1521337"/>
                  <a:pt x="2117726" y="1506477"/>
                  <a:pt x="2110100" y="1495037"/>
                </a:cubicBezTo>
                <a:lnTo>
                  <a:pt x="2085275" y="1457799"/>
                </a:lnTo>
                <a:cubicBezTo>
                  <a:pt x="2082517" y="1453662"/>
                  <a:pt x="2081717" y="1446960"/>
                  <a:pt x="2077000" y="1445387"/>
                </a:cubicBezTo>
                <a:lnTo>
                  <a:pt x="2064587" y="1441249"/>
                </a:lnTo>
                <a:lnTo>
                  <a:pt x="2056312" y="1416424"/>
                </a:lnTo>
                <a:cubicBezTo>
                  <a:pt x="2054933" y="1412286"/>
                  <a:pt x="2053233" y="1408242"/>
                  <a:pt x="2052175" y="1404011"/>
                </a:cubicBezTo>
                <a:lnTo>
                  <a:pt x="2043899" y="1370911"/>
                </a:lnTo>
                <a:cubicBezTo>
                  <a:pt x="2042520" y="1341948"/>
                  <a:pt x="2042074" y="1312925"/>
                  <a:pt x="2039762" y="1284022"/>
                </a:cubicBezTo>
                <a:cubicBezTo>
                  <a:pt x="2039309" y="1278354"/>
                  <a:pt x="2038445" y="1272409"/>
                  <a:pt x="2035624" y="1267472"/>
                </a:cubicBezTo>
                <a:cubicBezTo>
                  <a:pt x="2032721" y="1262392"/>
                  <a:pt x="2027349" y="1259197"/>
                  <a:pt x="2023212" y="1255059"/>
                </a:cubicBezTo>
                <a:cubicBezTo>
                  <a:pt x="2021765" y="1250720"/>
                  <a:pt x="2016632" y="1231692"/>
                  <a:pt x="2010799" y="1230234"/>
                </a:cubicBezTo>
                <a:cubicBezTo>
                  <a:pt x="2002660" y="1228199"/>
                  <a:pt x="1994249" y="1232992"/>
                  <a:pt x="1985974" y="1234371"/>
                </a:cubicBezTo>
                <a:cubicBezTo>
                  <a:pt x="1981836" y="1237129"/>
                  <a:pt x="1978009" y="1240422"/>
                  <a:pt x="1973561" y="1242646"/>
                </a:cubicBezTo>
                <a:cubicBezTo>
                  <a:pt x="1969660" y="1244597"/>
                  <a:pt x="1965510" y="1246784"/>
                  <a:pt x="1961148" y="1246784"/>
                </a:cubicBezTo>
                <a:cubicBezTo>
                  <a:pt x="1926641" y="1246784"/>
                  <a:pt x="1892194" y="1243878"/>
                  <a:pt x="1857709" y="1242646"/>
                </a:cubicBezTo>
                <a:lnTo>
                  <a:pt x="1729445" y="1238509"/>
                </a:lnTo>
                <a:cubicBezTo>
                  <a:pt x="1728066" y="1242647"/>
                  <a:pt x="1726088" y="1246631"/>
                  <a:pt x="1725308" y="1250922"/>
                </a:cubicBezTo>
                <a:cubicBezTo>
                  <a:pt x="1723319" y="1261862"/>
                  <a:pt x="1727547" y="1274913"/>
                  <a:pt x="1721170" y="1284022"/>
                </a:cubicBezTo>
                <a:cubicBezTo>
                  <a:pt x="1716168" y="1291168"/>
                  <a:pt x="1696345" y="1292297"/>
                  <a:pt x="1696345" y="1292297"/>
                </a:cubicBezTo>
                <a:cubicBezTo>
                  <a:pt x="1682553" y="1290918"/>
                  <a:pt x="1668669" y="1290268"/>
                  <a:pt x="1654969" y="1288160"/>
                </a:cubicBezTo>
                <a:cubicBezTo>
                  <a:pt x="1650658" y="1287497"/>
                  <a:pt x="1646814" y="1284968"/>
                  <a:pt x="1642556" y="1284022"/>
                </a:cubicBezTo>
                <a:cubicBezTo>
                  <a:pt x="1632211" y="1281723"/>
                  <a:pt x="1598020" y="1277069"/>
                  <a:pt x="1588768" y="1275747"/>
                </a:cubicBezTo>
                <a:cubicBezTo>
                  <a:pt x="1584631" y="1274368"/>
                  <a:pt x="1580717" y="1271609"/>
                  <a:pt x="1576356" y="1271609"/>
                </a:cubicBezTo>
                <a:cubicBezTo>
                  <a:pt x="1554932" y="1271609"/>
                  <a:pt x="1537920" y="1274315"/>
                  <a:pt x="1518430" y="1279884"/>
                </a:cubicBezTo>
                <a:cubicBezTo>
                  <a:pt x="1514236" y="1281082"/>
                  <a:pt x="1510211" y="1282824"/>
                  <a:pt x="1506017" y="1284022"/>
                </a:cubicBezTo>
                <a:cubicBezTo>
                  <a:pt x="1500549" y="1285584"/>
                  <a:pt x="1494914" y="1286526"/>
                  <a:pt x="1489467" y="1288160"/>
                </a:cubicBezTo>
                <a:cubicBezTo>
                  <a:pt x="1476935" y="1291920"/>
                  <a:pt x="1464642" y="1296435"/>
                  <a:pt x="1452229" y="1300572"/>
                </a:cubicBezTo>
                <a:lnTo>
                  <a:pt x="1439816" y="1304710"/>
                </a:lnTo>
                <a:cubicBezTo>
                  <a:pt x="1435679" y="1308847"/>
                  <a:pt x="1430650" y="1312254"/>
                  <a:pt x="1427404" y="1317122"/>
                </a:cubicBezTo>
                <a:cubicBezTo>
                  <a:pt x="1424985" y="1320751"/>
                  <a:pt x="1426815" y="1327000"/>
                  <a:pt x="1423266" y="1329535"/>
                </a:cubicBezTo>
                <a:cubicBezTo>
                  <a:pt x="1413289" y="1336662"/>
                  <a:pt x="1385109" y="1340032"/>
                  <a:pt x="1373615" y="1341948"/>
                </a:cubicBezTo>
                <a:cubicBezTo>
                  <a:pt x="1363219" y="1373142"/>
                  <a:pt x="1377241" y="1334698"/>
                  <a:pt x="1361203" y="1366773"/>
                </a:cubicBezTo>
                <a:cubicBezTo>
                  <a:pt x="1359252" y="1370674"/>
                  <a:pt x="1359183" y="1375373"/>
                  <a:pt x="1357065" y="1379186"/>
                </a:cubicBezTo>
                <a:cubicBezTo>
                  <a:pt x="1352235" y="1387880"/>
                  <a:pt x="1343660" y="1394576"/>
                  <a:pt x="1340515" y="1404011"/>
                </a:cubicBezTo>
                <a:lnTo>
                  <a:pt x="1332240" y="1428837"/>
                </a:lnTo>
                <a:lnTo>
                  <a:pt x="1328102" y="1441249"/>
                </a:lnTo>
                <a:cubicBezTo>
                  <a:pt x="1326723" y="1453662"/>
                  <a:pt x="1333717" y="1470685"/>
                  <a:pt x="1323965" y="1478487"/>
                </a:cubicBezTo>
                <a:cubicBezTo>
                  <a:pt x="1314213" y="1486289"/>
                  <a:pt x="1298384" y="1478833"/>
                  <a:pt x="1286727" y="1474350"/>
                </a:cubicBezTo>
                <a:cubicBezTo>
                  <a:pt x="1279445" y="1471549"/>
                  <a:pt x="1270176" y="1457799"/>
                  <a:pt x="1270176" y="1457799"/>
                </a:cubicBezTo>
                <a:cubicBezTo>
                  <a:pt x="1268797" y="1453662"/>
                  <a:pt x="1268157" y="1449199"/>
                  <a:pt x="1266039" y="1445387"/>
                </a:cubicBezTo>
                <a:cubicBezTo>
                  <a:pt x="1261209" y="1436693"/>
                  <a:pt x="1252635" y="1429996"/>
                  <a:pt x="1249489" y="1420561"/>
                </a:cubicBezTo>
                <a:cubicBezTo>
                  <a:pt x="1246124" y="1410467"/>
                  <a:pt x="1245096" y="1403756"/>
                  <a:pt x="1237076" y="1395736"/>
                </a:cubicBezTo>
                <a:cubicBezTo>
                  <a:pt x="1233560" y="1392220"/>
                  <a:pt x="1228801" y="1390219"/>
                  <a:pt x="1224663" y="1387461"/>
                </a:cubicBezTo>
                <a:cubicBezTo>
                  <a:pt x="1217224" y="1376302"/>
                  <a:pt x="1215106" y="1375484"/>
                  <a:pt x="1212251" y="1362636"/>
                </a:cubicBezTo>
                <a:cubicBezTo>
                  <a:pt x="1209149" y="1348677"/>
                  <a:pt x="1208198" y="1325525"/>
                  <a:pt x="1199838" y="1312985"/>
                </a:cubicBezTo>
                <a:lnTo>
                  <a:pt x="1183288" y="1288160"/>
                </a:lnTo>
                <a:cubicBezTo>
                  <a:pt x="1180530" y="1284022"/>
                  <a:pt x="1178530" y="1279263"/>
                  <a:pt x="1175013" y="1275747"/>
                </a:cubicBezTo>
                <a:lnTo>
                  <a:pt x="1166737" y="1267472"/>
                </a:lnTo>
                <a:cubicBezTo>
                  <a:pt x="1166595" y="1267481"/>
                  <a:pt x="1103829" y="1256747"/>
                  <a:pt x="1092261" y="1279884"/>
                </a:cubicBezTo>
                <a:cubicBezTo>
                  <a:pt x="1089718" y="1284970"/>
                  <a:pt x="1089686" y="1290967"/>
                  <a:pt x="1088124" y="1296435"/>
                </a:cubicBezTo>
                <a:cubicBezTo>
                  <a:pt x="1086926" y="1300628"/>
                  <a:pt x="1085365" y="1304710"/>
                  <a:pt x="1083986" y="1308847"/>
                </a:cubicBezTo>
                <a:cubicBezTo>
                  <a:pt x="1075711" y="1306089"/>
                  <a:pt x="1064000" y="1307830"/>
                  <a:pt x="1059161" y="1300572"/>
                </a:cubicBezTo>
                <a:cubicBezTo>
                  <a:pt x="1046985" y="1282309"/>
                  <a:pt x="1055762" y="1289135"/>
                  <a:pt x="1030198" y="1284022"/>
                </a:cubicBezTo>
                <a:cubicBezTo>
                  <a:pt x="1027440" y="1279884"/>
                  <a:pt x="1024147" y="1276057"/>
                  <a:pt x="1021923" y="1271609"/>
                </a:cubicBezTo>
                <a:cubicBezTo>
                  <a:pt x="1004792" y="1237349"/>
                  <a:pt x="1033226" y="1282359"/>
                  <a:pt x="1009510" y="1246784"/>
                </a:cubicBezTo>
                <a:cubicBezTo>
                  <a:pt x="992085" y="1194501"/>
                  <a:pt x="1021150" y="1278078"/>
                  <a:pt x="997098" y="1221959"/>
                </a:cubicBezTo>
                <a:cubicBezTo>
                  <a:pt x="994858" y="1216732"/>
                  <a:pt x="994522" y="1210876"/>
                  <a:pt x="992960" y="1205408"/>
                </a:cubicBezTo>
                <a:cubicBezTo>
                  <a:pt x="991762" y="1201215"/>
                  <a:pt x="992372" y="1195531"/>
                  <a:pt x="988823" y="1192996"/>
                </a:cubicBezTo>
                <a:cubicBezTo>
                  <a:pt x="981725" y="1187926"/>
                  <a:pt x="972272" y="1187480"/>
                  <a:pt x="963997" y="1184721"/>
                </a:cubicBezTo>
                <a:cubicBezTo>
                  <a:pt x="937128" y="1175764"/>
                  <a:pt x="955946" y="1180979"/>
                  <a:pt x="906071" y="1176446"/>
                </a:cubicBezTo>
                <a:lnTo>
                  <a:pt x="881246" y="1168170"/>
                </a:lnTo>
                <a:lnTo>
                  <a:pt x="868833" y="1164033"/>
                </a:lnTo>
                <a:cubicBezTo>
                  <a:pt x="859179" y="1165412"/>
                  <a:pt x="849122" y="1165086"/>
                  <a:pt x="839870" y="1168170"/>
                </a:cubicBezTo>
                <a:cubicBezTo>
                  <a:pt x="836169" y="1169404"/>
                  <a:pt x="835495" y="1176338"/>
                  <a:pt x="831595" y="1176446"/>
                </a:cubicBezTo>
                <a:lnTo>
                  <a:pt x="690918" y="1172308"/>
                </a:lnTo>
                <a:cubicBezTo>
                  <a:pt x="677126" y="1170929"/>
                  <a:pt x="663166" y="1170724"/>
                  <a:pt x="649543" y="1168170"/>
                </a:cubicBezTo>
                <a:cubicBezTo>
                  <a:pt x="640970" y="1166562"/>
                  <a:pt x="632993" y="1162653"/>
                  <a:pt x="624718" y="1159895"/>
                </a:cubicBezTo>
                <a:lnTo>
                  <a:pt x="612305" y="1155758"/>
                </a:lnTo>
                <a:cubicBezTo>
                  <a:pt x="574624" y="1143198"/>
                  <a:pt x="634153" y="1162468"/>
                  <a:pt x="579204" y="1147483"/>
                </a:cubicBezTo>
                <a:cubicBezTo>
                  <a:pt x="548181" y="1139023"/>
                  <a:pt x="551412" y="1134046"/>
                  <a:pt x="513004" y="1130932"/>
                </a:cubicBezTo>
                <a:cubicBezTo>
                  <a:pt x="475862" y="1127920"/>
                  <a:pt x="438527" y="1128174"/>
                  <a:pt x="401289" y="1126795"/>
                </a:cubicBezTo>
                <a:cubicBezTo>
                  <a:pt x="397152" y="1122657"/>
                  <a:pt x="391719" y="1119497"/>
                  <a:pt x="388877" y="1114382"/>
                </a:cubicBezTo>
                <a:cubicBezTo>
                  <a:pt x="384641" y="1106757"/>
                  <a:pt x="383360" y="1097832"/>
                  <a:pt x="380602" y="1089557"/>
                </a:cubicBezTo>
                <a:lnTo>
                  <a:pt x="376464" y="1077144"/>
                </a:lnTo>
                <a:cubicBezTo>
                  <a:pt x="375085" y="1073007"/>
                  <a:pt x="374746" y="1068361"/>
                  <a:pt x="372327" y="1064732"/>
                </a:cubicBezTo>
                <a:cubicBezTo>
                  <a:pt x="369568" y="1060594"/>
                  <a:pt x="366941" y="1056366"/>
                  <a:pt x="364051" y="1052319"/>
                </a:cubicBezTo>
                <a:cubicBezTo>
                  <a:pt x="360043" y="1046708"/>
                  <a:pt x="356936" y="1040184"/>
                  <a:pt x="351639" y="1035769"/>
                </a:cubicBezTo>
                <a:cubicBezTo>
                  <a:pt x="348288" y="1032977"/>
                  <a:pt x="343127" y="1033582"/>
                  <a:pt x="339226" y="1031631"/>
                </a:cubicBezTo>
                <a:cubicBezTo>
                  <a:pt x="334778" y="1029407"/>
                  <a:pt x="331357" y="1025376"/>
                  <a:pt x="326813" y="1023356"/>
                </a:cubicBezTo>
                <a:cubicBezTo>
                  <a:pt x="318842" y="1019813"/>
                  <a:pt x="310263" y="1017839"/>
                  <a:pt x="301988" y="1015081"/>
                </a:cubicBezTo>
                <a:cubicBezTo>
                  <a:pt x="284177" y="1009144"/>
                  <a:pt x="293811" y="1012002"/>
                  <a:pt x="273025" y="1006806"/>
                </a:cubicBezTo>
                <a:cubicBezTo>
                  <a:pt x="268888" y="1004048"/>
                  <a:pt x="265061" y="1000755"/>
                  <a:pt x="260613" y="998531"/>
                </a:cubicBezTo>
                <a:cubicBezTo>
                  <a:pt x="256712" y="996580"/>
                  <a:pt x="251284" y="997477"/>
                  <a:pt x="248200" y="994393"/>
                </a:cubicBezTo>
                <a:cubicBezTo>
                  <a:pt x="222112" y="968305"/>
                  <a:pt x="237917" y="977965"/>
                  <a:pt x="227512" y="957155"/>
                </a:cubicBezTo>
                <a:cubicBezTo>
                  <a:pt x="225288" y="952707"/>
                  <a:pt x="221257" y="949286"/>
                  <a:pt x="219237" y="944742"/>
                </a:cubicBezTo>
                <a:cubicBezTo>
                  <a:pt x="215694" y="936771"/>
                  <a:pt x="215800" y="927175"/>
                  <a:pt x="210962" y="919917"/>
                </a:cubicBezTo>
                <a:lnTo>
                  <a:pt x="194412" y="895092"/>
                </a:lnTo>
                <a:cubicBezTo>
                  <a:pt x="191654" y="890954"/>
                  <a:pt x="187710" y="887397"/>
                  <a:pt x="186137" y="882679"/>
                </a:cubicBezTo>
                <a:cubicBezTo>
                  <a:pt x="175736" y="851478"/>
                  <a:pt x="189766" y="889937"/>
                  <a:pt x="173724" y="857854"/>
                </a:cubicBezTo>
                <a:cubicBezTo>
                  <a:pt x="171773" y="853953"/>
                  <a:pt x="171537" y="849342"/>
                  <a:pt x="169586" y="845441"/>
                </a:cubicBezTo>
                <a:cubicBezTo>
                  <a:pt x="163825" y="833919"/>
                  <a:pt x="158051" y="829768"/>
                  <a:pt x="148899" y="820616"/>
                </a:cubicBezTo>
                <a:cubicBezTo>
                  <a:pt x="138773" y="790239"/>
                  <a:pt x="146791" y="801958"/>
                  <a:pt x="128211" y="783378"/>
                </a:cubicBezTo>
                <a:cubicBezTo>
                  <a:pt x="114886" y="743407"/>
                  <a:pt x="136256" y="805562"/>
                  <a:pt x="115798" y="754415"/>
                </a:cubicBezTo>
                <a:cubicBezTo>
                  <a:pt x="112558" y="746316"/>
                  <a:pt x="110282" y="737864"/>
                  <a:pt x="107523" y="729589"/>
                </a:cubicBezTo>
                <a:cubicBezTo>
                  <a:pt x="106144" y="725452"/>
                  <a:pt x="106469" y="720261"/>
                  <a:pt x="103385" y="717177"/>
                </a:cubicBezTo>
                <a:lnTo>
                  <a:pt x="90973" y="704764"/>
                </a:lnTo>
                <a:cubicBezTo>
                  <a:pt x="88215" y="696489"/>
                  <a:pt x="87536" y="687197"/>
                  <a:pt x="82698" y="679939"/>
                </a:cubicBezTo>
                <a:cubicBezTo>
                  <a:pt x="57229" y="641734"/>
                  <a:pt x="89731" y="688729"/>
                  <a:pt x="66147" y="659251"/>
                </a:cubicBezTo>
                <a:cubicBezTo>
                  <a:pt x="63040" y="655368"/>
                  <a:pt x="60630" y="650976"/>
                  <a:pt x="57872" y="646838"/>
                </a:cubicBezTo>
                <a:cubicBezTo>
                  <a:pt x="56493" y="642701"/>
                  <a:pt x="55853" y="638238"/>
                  <a:pt x="53735" y="634426"/>
                </a:cubicBezTo>
                <a:cubicBezTo>
                  <a:pt x="42037" y="613369"/>
                  <a:pt x="41466" y="613880"/>
                  <a:pt x="28909" y="601325"/>
                </a:cubicBezTo>
                <a:cubicBezTo>
                  <a:pt x="30288" y="582016"/>
                  <a:pt x="30785" y="562624"/>
                  <a:pt x="33047" y="543399"/>
                </a:cubicBezTo>
                <a:cubicBezTo>
                  <a:pt x="33557" y="539068"/>
                  <a:pt x="37051" y="535346"/>
                  <a:pt x="37185" y="530987"/>
                </a:cubicBezTo>
                <a:cubicBezTo>
                  <a:pt x="39815" y="445507"/>
                  <a:pt x="38692" y="359938"/>
                  <a:pt x="41322" y="274458"/>
                </a:cubicBezTo>
                <a:cubicBezTo>
                  <a:pt x="41511" y="268311"/>
                  <a:pt x="49337" y="253152"/>
                  <a:pt x="53735" y="249633"/>
                </a:cubicBezTo>
                <a:cubicBezTo>
                  <a:pt x="57140" y="246908"/>
                  <a:pt x="62010" y="246874"/>
                  <a:pt x="66147" y="245495"/>
                </a:cubicBezTo>
                <a:cubicBezTo>
                  <a:pt x="62010" y="244116"/>
                  <a:pt x="57636" y="243308"/>
                  <a:pt x="53735" y="241358"/>
                </a:cubicBezTo>
                <a:cubicBezTo>
                  <a:pt x="44435" y="236708"/>
                  <a:pt x="35446" y="228514"/>
                  <a:pt x="28909" y="220670"/>
                </a:cubicBezTo>
                <a:cubicBezTo>
                  <a:pt x="25726" y="216850"/>
                  <a:pt x="23392" y="212395"/>
                  <a:pt x="20634" y="208257"/>
                </a:cubicBezTo>
                <a:cubicBezTo>
                  <a:pt x="6626" y="166229"/>
                  <a:pt x="0" y="151193"/>
                  <a:pt x="20634" y="84131"/>
                </a:cubicBezTo>
                <a:cubicBezTo>
                  <a:pt x="23502" y="74810"/>
                  <a:pt x="39943" y="86889"/>
                  <a:pt x="49597" y="88268"/>
                </a:cubicBezTo>
                <a:cubicBezTo>
                  <a:pt x="108585" y="107930"/>
                  <a:pt x="47207" y="88176"/>
                  <a:pt x="90973" y="100681"/>
                </a:cubicBezTo>
                <a:cubicBezTo>
                  <a:pt x="95166" y="101879"/>
                  <a:pt x="102705" y="109126"/>
                  <a:pt x="103385" y="104818"/>
                </a:cubicBezTo>
                <a:cubicBezTo>
                  <a:pt x="107687" y="77572"/>
                  <a:pt x="77871" y="27584"/>
                  <a:pt x="111661" y="13792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3857626" y="4663021"/>
            <a:ext cx="214788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IN">
                <a:latin typeface="Ramabhadra" pitchFamily="2" charset="0"/>
                <a:cs typeface="Ramabhadra" pitchFamily="2" charset="0"/>
              </a:rPr>
              <a:t>అమెరికా సంయుక్త రాష్ట్రాలు</a:t>
            </a:r>
          </a:p>
        </p:txBody>
      </p:sp>
      <p:sp>
        <p:nvSpPr>
          <p:cNvPr id="28" name="Freeform 27"/>
          <p:cNvSpPr/>
          <p:nvPr/>
        </p:nvSpPr>
        <p:spPr>
          <a:xfrm>
            <a:off x="5478469" y="4428067"/>
            <a:ext cx="401637" cy="239184"/>
          </a:xfrm>
          <a:custGeom>
            <a:avLst/>
            <a:gdLst>
              <a:gd name="connsiteX0" fmla="*/ 389390 w 401317"/>
              <a:gd name="connsiteY0" fmla="*/ 151899 h 239148"/>
              <a:gd name="connsiteX1" fmla="*/ 317828 w 401317"/>
              <a:gd name="connsiteY1" fmla="*/ 159851 h 239148"/>
              <a:gd name="connsiteX2" fmla="*/ 293974 w 401317"/>
              <a:gd name="connsiteY2" fmla="*/ 167802 h 239148"/>
              <a:gd name="connsiteX3" fmla="*/ 262169 w 401317"/>
              <a:gd name="connsiteY3" fmla="*/ 175753 h 239148"/>
              <a:gd name="connsiteX4" fmla="*/ 214461 w 401317"/>
              <a:gd name="connsiteY4" fmla="*/ 167802 h 239148"/>
              <a:gd name="connsiteX5" fmla="*/ 230364 w 401317"/>
              <a:gd name="connsiteY5" fmla="*/ 120094 h 239148"/>
              <a:gd name="connsiteX6" fmla="*/ 206510 w 401317"/>
              <a:gd name="connsiteY6" fmla="*/ 112143 h 239148"/>
              <a:gd name="connsiteX7" fmla="*/ 158802 w 401317"/>
              <a:gd name="connsiteY7" fmla="*/ 135997 h 239148"/>
              <a:gd name="connsiteX8" fmla="*/ 134948 w 401317"/>
              <a:gd name="connsiteY8" fmla="*/ 143948 h 239148"/>
              <a:gd name="connsiteX9" fmla="*/ 87240 w 401317"/>
              <a:gd name="connsiteY9" fmla="*/ 183705 h 239148"/>
              <a:gd name="connsiteX10" fmla="*/ 63386 w 401317"/>
              <a:gd name="connsiteY10" fmla="*/ 191656 h 239148"/>
              <a:gd name="connsiteX11" fmla="*/ 7727 w 401317"/>
              <a:gd name="connsiteY11" fmla="*/ 159851 h 239148"/>
              <a:gd name="connsiteX12" fmla="*/ 15678 w 401317"/>
              <a:gd name="connsiteY12" fmla="*/ 128045 h 239148"/>
              <a:gd name="connsiteX13" fmla="*/ 39532 w 401317"/>
              <a:gd name="connsiteY13" fmla="*/ 120094 h 239148"/>
              <a:gd name="connsiteX14" fmla="*/ 71337 w 401317"/>
              <a:gd name="connsiteY14" fmla="*/ 112143 h 239148"/>
              <a:gd name="connsiteX15" fmla="*/ 111094 w 401317"/>
              <a:gd name="connsiteY15" fmla="*/ 72386 h 239148"/>
              <a:gd name="connsiteX16" fmla="*/ 119045 w 401317"/>
              <a:gd name="connsiteY16" fmla="*/ 40581 h 239148"/>
              <a:gd name="connsiteX17" fmla="*/ 190607 w 401317"/>
              <a:gd name="connsiteY17" fmla="*/ 16727 h 239148"/>
              <a:gd name="connsiteX18" fmla="*/ 214461 w 401317"/>
              <a:gd name="connsiteY18" fmla="*/ 8776 h 239148"/>
              <a:gd name="connsiteX19" fmla="*/ 309877 w 401317"/>
              <a:gd name="connsiteY19" fmla="*/ 16727 h 239148"/>
              <a:gd name="connsiteX20" fmla="*/ 317828 w 401317"/>
              <a:gd name="connsiteY20" fmla="*/ 72386 h 239148"/>
              <a:gd name="connsiteX21" fmla="*/ 365536 w 401317"/>
              <a:gd name="connsiteY21" fmla="*/ 88289 h 239148"/>
              <a:gd name="connsiteX22" fmla="*/ 389390 w 401317"/>
              <a:gd name="connsiteY22" fmla="*/ 96240 h 239148"/>
              <a:gd name="connsiteX23" fmla="*/ 389390 w 401317"/>
              <a:gd name="connsiteY23" fmla="*/ 151899 h 23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01317" h="239148">
                <a:moveTo>
                  <a:pt x="389390" y="151899"/>
                </a:moveTo>
                <a:cubicBezTo>
                  <a:pt x="377463" y="162501"/>
                  <a:pt x="341502" y="155905"/>
                  <a:pt x="317828" y="159851"/>
                </a:cubicBezTo>
                <a:cubicBezTo>
                  <a:pt x="309561" y="161229"/>
                  <a:pt x="302033" y="165500"/>
                  <a:pt x="293974" y="167802"/>
                </a:cubicBezTo>
                <a:cubicBezTo>
                  <a:pt x="283467" y="170804"/>
                  <a:pt x="272771" y="173103"/>
                  <a:pt x="262169" y="175753"/>
                </a:cubicBezTo>
                <a:cubicBezTo>
                  <a:pt x="246266" y="173103"/>
                  <a:pt x="222460" y="181800"/>
                  <a:pt x="214461" y="167802"/>
                </a:cubicBezTo>
                <a:cubicBezTo>
                  <a:pt x="206144" y="153248"/>
                  <a:pt x="230364" y="120094"/>
                  <a:pt x="230364" y="120094"/>
                </a:cubicBezTo>
                <a:cubicBezTo>
                  <a:pt x="222413" y="117444"/>
                  <a:pt x="214891" y="112143"/>
                  <a:pt x="206510" y="112143"/>
                </a:cubicBezTo>
                <a:cubicBezTo>
                  <a:pt x="186523" y="112143"/>
                  <a:pt x="174884" y="127956"/>
                  <a:pt x="158802" y="135997"/>
                </a:cubicBezTo>
                <a:cubicBezTo>
                  <a:pt x="151305" y="139745"/>
                  <a:pt x="142899" y="141298"/>
                  <a:pt x="134948" y="143948"/>
                </a:cubicBezTo>
                <a:cubicBezTo>
                  <a:pt x="117364" y="161532"/>
                  <a:pt x="109379" y="172635"/>
                  <a:pt x="87240" y="183705"/>
                </a:cubicBezTo>
                <a:cubicBezTo>
                  <a:pt x="79743" y="187453"/>
                  <a:pt x="71337" y="189006"/>
                  <a:pt x="63386" y="191656"/>
                </a:cubicBezTo>
                <a:cubicBezTo>
                  <a:pt x="38213" y="116133"/>
                  <a:pt x="87024" y="239148"/>
                  <a:pt x="7727" y="159851"/>
                </a:cubicBezTo>
                <a:cubicBezTo>
                  <a:pt x="0" y="152124"/>
                  <a:pt x="8851" y="136579"/>
                  <a:pt x="15678" y="128045"/>
                </a:cubicBezTo>
                <a:cubicBezTo>
                  <a:pt x="20914" y="121500"/>
                  <a:pt x="31473" y="122396"/>
                  <a:pt x="39532" y="120094"/>
                </a:cubicBezTo>
                <a:cubicBezTo>
                  <a:pt x="50039" y="117092"/>
                  <a:pt x="60735" y="114793"/>
                  <a:pt x="71337" y="112143"/>
                </a:cubicBezTo>
                <a:cubicBezTo>
                  <a:pt x="92540" y="98007"/>
                  <a:pt x="100492" y="97123"/>
                  <a:pt x="111094" y="72386"/>
                </a:cubicBezTo>
                <a:cubicBezTo>
                  <a:pt x="115399" y="62342"/>
                  <a:pt x="110748" y="47693"/>
                  <a:pt x="119045" y="40581"/>
                </a:cubicBezTo>
                <a:cubicBezTo>
                  <a:pt x="119047" y="40579"/>
                  <a:pt x="178679" y="20703"/>
                  <a:pt x="190607" y="16727"/>
                </a:cubicBezTo>
                <a:lnTo>
                  <a:pt x="214461" y="8776"/>
                </a:lnTo>
                <a:cubicBezTo>
                  <a:pt x="246266" y="11426"/>
                  <a:pt x="282696" y="0"/>
                  <a:pt x="309877" y="16727"/>
                </a:cubicBezTo>
                <a:cubicBezTo>
                  <a:pt x="325838" y="26549"/>
                  <a:pt x="306322" y="57592"/>
                  <a:pt x="317828" y="72386"/>
                </a:cubicBezTo>
                <a:cubicBezTo>
                  <a:pt x="328119" y="85618"/>
                  <a:pt x="349633" y="82988"/>
                  <a:pt x="365536" y="88289"/>
                </a:cubicBezTo>
                <a:lnTo>
                  <a:pt x="389390" y="96240"/>
                </a:lnTo>
                <a:cubicBezTo>
                  <a:pt x="381024" y="171527"/>
                  <a:pt x="401317" y="141297"/>
                  <a:pt x="389390" y="151899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9" name="Freeform 28"/>
          <p:cNvSpPr/>
          <p:nvPr/>
        </p:nvSpPr>
        <p:spPr>
          <a:xfrm>
            <a:off x="5856294" y="4620690"/>
            <a:ext cx="244475" cy="196849"/>
          </a:xfrm>
          <a:custGeom>
            <a:avLst/>
            <a:gdLst>
              <a:gd name="connsiteX0" fmla="*/ 242792 w 245442"/>
              <a:gd name="connsiteY0" fmla="*/ 88122 h 199440"/>
              <a:gd name="connsiteX1" fmla="*/ 226890 w 245442"/>
              <a:gd name="connsiteY1" fmla="*/ 64268 h 199440"/>
              <a:gd name="connsiteX2" fmla="*/ 179182 w 245442"/>
              <a:gd name="connsiteY2" fmla="*/ 48366 h 199440"/>
              <a:gd name="connsiteX3" fmla="*/ 131474 w 245442"/>
              <a:gd name="connsiteY3" fmla="*/ 16560 h 199440"/>
              <a:gd name="connsiteX4" fmla="*/ 107620 w 245442"/>
              <a:gd name="connsiteY4" fmla="*/ 658 h 199440"/>
              <a:gd name="connsiteX5" fmla="*/ 20156 w 245442"/>
              <a:gd name="connsiteY5" fmla="*/ 8609 h 199440"/>
              <a:gd name="connsiteX6" fmla="*/ 12205 w 245442"/>
              <a:gd name="connsiteY6" fmla="*/ 56317 h 199440"/>
              <a:gd name="connsiteX7" fmla="*/ 36059 w 245442"/>
              <a:gd name="connsiteY7" fmla="*/ 64268 h 199440"/>
              <a:gd name="connsiteX8" fmla="*/ 51961 w 245442"/>
              <a:gd name="connsiteY8" fmla="*/ 88122 h 199440"/>
              <a:gd name="connsiteX9" fmla="*/ 75815 w 245442"/>
              <a:gd name="connsiteY9" fmla="*/ 104025 h 199440"/>
              <a:gd name="connsiteX10" fmla="*/ 67864 w 245442"/>
              <a:gd name="connsiteY10" fmla="*/ 143781 h 199440"/>
              <a:gd name="connsiteX11" fmla="*/ 59912 w 245442"/>
              <a:gd name="connsiteY11" fmla="*/ 167635 h 199440"/>
              <a:gd name="connsiteX12" fmla="*/ 91718 w 245442"/>
              <a:gd name="connsiteY12" fmla="*/ 159684 h 199440"/>
              <a:gd name="connsiteX13" fmla="*/ 131474 w 245442"/>
              <a:gd name="connsiteY13" fmla="*/ 199440 h 199440"/>
              <a:gd name="connsiteX14" fmla="*/ 155328 w 245442"/>
              <a:gd name="connsiteY14" fmla="*/ 183538 h 199440"/>
              <a:gd name="connsiteX15" fmla="*/ 187133 w 245442"/>
              <a:gd name="connsiteY15" fmla="*/ 96073 h 199440"/>
              <a:gd name="connsiteX16" fmla="*/ 210987 w 245442"/>
              <a:gd name="connsiteY16" fmla="*/ 111976 h 199440"/>
              <a:gd name="connsiteX17" fmla="*/ 242792 w 245442"/>
              <a:gd name="connsiteY17" fmla="*/ 88122 h 199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45442" h="199440">
                <a:moveTo>
                  <a:pt x="242792" y="88122"/>
                </a:moveTo>
                <a:cubicBezTo>
                  <a:pt x="245442" y="80171"/>
                  <a:pt x="234994" y="69333"/>
                  <a:pt x="226890" y="64268"/>
                </a:cubicBezTo>
                <a:cubicBezTo>
                  <a:pt x="212675" y="55384"/>
                  <a:pt x="179182" y="48366"/>
                  <a:pt x="179182" y="48366"/>
                </a:cubicBezTo>
                <a:lnTo>
                  <a:pt x="131474" y="16560"/>
                </a:lnTo>
                <a:lnTo>
                  <a:pt x="107620" y="658"/>
                </a:lnTo>
                <a:cubicBezTo>
                  <a:pt x="78465" y="3308"/>
                  <a:pt x="48136" y="0"/>
                  <a:pt x="20156" y="8609"/>
                </a:cubicBezTo>
                <a:cubicBezTo>
                  <a:pt x="0" y="14811"/>
                  <a:pt x="883" y="44996"/>
                  <a:pt x="12205" y="56317"/>
                </a:cubicBezTo>
                <a:cubicBezTo>
                  <a:pt x="18132" y="62243"/>
                  <a:pt x="28108" y="61618"/>
                  <a:pt x="36059" y="64268"/>
                </a:cubicBezTo>
                <a:cubicBezTo>
                  <a:pt x="41360" y="72219"/>
                  <a:pt x="45204" y="81365"/>
                  <a:pt x="51961" y="88122"/>
                </a:cubicBezTo>
                <a:cubicBezTo>
                  <a:pt x="58718" y="94879"/>
                  <a:pt x="73190" y="94836"/>
                  <a:pt x="75815" y="104025"/>
                </a:cubicBezTo>
                <a:cubicBezTo>
                  <a:pt x="79528" y="117019"/>
                  <a:pt x="71142" y="130670"/>
                  <a:pt x="67864" y="143781"/>
                </a:cubicBezTo>
                <a:cubicBezTo>
                  <a:pt x="65831" y="151912"/>
                  <a:pt x="52938" y="162986"/>
                  <a:pt x="59912" y="167635"/>
                </a:cubicBezTo>
                <a:cubicBezTo>
                  <a:pt x="69005" y="173697"/>
                  <a:pt x="81116" y="162334"/>
                  <a:pt x="91718" y="159684"/>
                </a:cubicBezTo>
                <a:cubicBezTo>
                  <a:pt x="98786" y="170287"/>
                  <a:pt x="113803" y="199440"/>
                  <a:pt x="131474" y="199440"/>
                </a:cubicBezTo>
                <a:cubicBezTo>
                  <a:pt x="141030" y="199440"/>
                  <a:pt x="147377" y="188839"/>
                  <a:pt x="155328" y="183538"/>
                </a:cubicBezTo>
                <a:cubicBezTo>
                  <a:pt x="156435" y="172466"/>
                  <a:pt x="140426" y="88289"/>
                  <a:pt x="187133" y="96073"/>
                </a:cubicBezTo>
                <a:cubicBezTo>
                  <a:pt x="196559" y="97644"/>
                  <a:pt x="203036" y="106675"/>
                  <a:pt x="210987" y="111976"/>
                </a:cubicBezTo>
                <a:cubicBezTo>
                  <a:pt x="239870" y="102349"/>
                  <a:pt x="240142" y="96073"/>
                  <a:pt x="242792" y="88122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5676901" y="4627038"/>
            <a:ext cx="166688" cy="334433"/>
          </a:xfrm>
          <a:custGeom>
            <a:avLst/>
            <a:gdLst>
              <a:gd name="connsiteX0" fmla="*/ 24284 w 167408"/>
              <a:gd name="connsiteY0" fmla="*/ 310101 h 332630"/>
              <a:gd name="connsiteX1" fmla="*/ 24284 w 167408"/>
              <a:gd name="connsiteY1" fmla="*/ 166978 h 332630"/>
              <a:gd name="connsiteX2" fmla="*/ 32236 w 167408"/>
              <a:gd name="connsiteY2" fmla="*/ 143124 h 332630"/>
              <a:gd name="connsiteX3" fmla="*/ 48138 w 167408"/>
              <a:gd name="connsiteY3" fmla="*/ 119270 h 332630"/>
              <a:gd name="connsiteX4" fmla="*/ 40187 w 167408"/>
              <a:gd name="connsiteY4" fmla="*/ 55659 h 332630"/>
              <a:gd name="connsiteX5" fmla="*/ 8382 w 167408"/>
              <a:gd name="connsiteY5" fmla="*/ 63611 h 332630"/>
              <a:gd name="connsiteX6" fmla="*/ 32236 w 167408"/>
              <a:gd name="connsiteY6" fmla="*/ 55659 h 332630"/>
              <a:gd name="connsiteX7" fmla="*/ 64041 w 167408"/>
              <a:gd name="connsiteY7" fmla="*/ 47708 h 332630"/>
              <a:gd name="connsiteX8" fmla="*/ 111749 w 167408"/>
              <a:gd name="connsiteY8" fmla="*/ 15903 h 332630"/>
              <a:gd name="connsiteX9" fmla="*/ 159456 w 167408"/>
              <a:gd name="connsiteY9" fmla="*/ 0 h 332630"/>
              <a:gd name="connsiteX10" fmla="*/ 167408 w 167408"/>
              <a:gd name="connsiteY10" fmla="*/ 23854 h 332630"/>
              <a:gd name="connsiteX11" fmla="*/ 159456 w 167408"/>
              <a:gd name="connsiteY11" fmla="*/ 47708 h 332630"/>
              <a:gd name="connsiteX12" fmla="*/ 111749 w 167408"/>
              <a:gd name="connsiteY12" fmla="*/ 71562 h 332630"/>
              <a:gd name="connsiteX13" fmla="*/ 95846 w 167408"/>
              <a:gd name="connsiteY13" fmla="*/ 95416 h 332630"/>
              <a:gd name="connsiteX14" fmla="*/ 95846 w 167408"/>
              <a:gd name="connsiteY14" fmla="*/ 182880 h 332630"/>
              <a:gd name="connsiteX15" fmla="*/ 87895 w 167408"/>
              <a:gd name="connsiteY15" fmla="*/ 262393 h 332630"/>
              <a:gd name="connsiteX16" fmla="*/ 79943 w 167408"/>
              <a:gd name="connsiteY16" fmla="*/ 286247 h 332630"/>
              <a:gd name="connsiteX17" fmla="*/ 56089 w 167408"/>
              <a:gd name="connsiteY17" fmla="*/ 302150 h 332630"/>
              <a:gd name="connsiteX18" fmla="*/ 24284 w 167408"/>
              <a:gd name="connsiteY18" fmla="*/ 310101 h 3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67408" h="332630">
                <a:moveTo>
                  <a:pt x="24284" y="310101"/>
                </a:moveTo>
                <a:cubicBezTo>
                  <a:pt x="18983" y="287572"/>
                  <a:pt x="9886" y="231766"/>
                  <a:pt x="24284" y="166978"/>
                </a:cubicBezTo>
                <a:cubicBezTo>
                  <a:pt x="26102" y="158796"/>
                  <a:pt x="28488" y="150621"/>
                  <a:pt x="32236" y="143124"/>
                </a:cubicBezTo>
                <a:cubicBezTo>
                  <a:pt x="36510" y="134577"/>
                  <a:pt x="42837" y="127221"/>
                  <a:pt x="48138" y="119270"/>
                </a:cubicBezTo>
                <a:cubicBezTo>
                  <a:pt x="45488" y="98066"/>
                  <a:pt x="52607" y="73047"/>
                  <a:pt x="40187" y="55659"/>
                </a:cubicBezTo>
                <a:cubicBezTo>
                  <a:pt x="33835" y="46766"/>
                  <a:pt x="19310" y="63611"/>
                  <a:pt x="8382" y="63611"/>
                </a:cubicBezTo>
                <a:cubicBezTo>
                  <a:pt x="0" y="63611"/>
                  <a:pt x="24177" y="57962"/>
                  <a:pt x="32236" y="55659"/>
                </a:cubicBezTo>
                <a:cubicBezTo>
                  <a:pt x="42743" y="52657"/>
                  <a:pt x="53439" y="50358"/>
                  <a:pt x="64041" y="47708"/>
                </a:cubicBezTo>
                <a:cubicBezTo>
                  <a:pt x="79944" y="37106"/>
                  <a:pt x="93617" y="21947"/>
                  <a:pt x="111749" y="15903"/>
                </a:cubicBezTo>
                <a:lnTo>
                  <a:pt x="159456" y="0"/>
                </a:lnTo>
                <a:cubicBezTo>
                  <a:pt x="162107" y="7951"/>
                  <a:pt x="167408" y="15472"/>
                  <a:pt x="167408" y="23854"/>
                </a:cubicBezTo>
                <a:cubicBezTo>
                  <a:pt x="167408" y="32236"/>
                  <a:pt x="164692" y="41163"/>
                  <a:pt x="159456" y="47708"/>
                </a:cubicBezTo>
                <a:cubicBezTo>
                  <a:pt x="148245" y="61721"/>
                  <a:pt x="127464" y="66324"/>
                  <a:pt x="111749" y="71562"/>
                </a:cubicBezTo>
                <a:cubicBezTo>
                  <a:pt x="106448" y="79513"/>
                  <a:pt x="100120" y="86869"/>
                  <a:pt x="95846" y="95416"/>
                </a:cubicBezTo>
                <a:cubicBezTo>
                  <a:pt x="79667" y="127774"/>
                  <a:pt x="90606" y="140956"/>
                  <a:pt x="95846" y="182880"/>
                </a:cubicBezTo>
                <a:cubicBezTo>
                  <a:pt x="93196" y="209384"/>
                  <a:pt x="91945" y="236066"/>
                  <a:pt x="87895" y="262393"/>
                </a:cubicBezTo>
                <a:cubicBezTo>
                  <a:pt x="86621" y="270677"/>
                  <a:pt x="85179" y="279702"/>
                  <a:pt x="79943" y="286247"/>
                </a:cubicBezTo>
                <a:cubicBezTo>
                  <a:pt x="73973" y="293709"/>
                  <a:pt x="63551" y="296180"/>
                  <a:pt x="56089" y="302150"/>
                </a:cubicBezTo>
                <a:cubicBezTo>
                  <a:pt x="50235" y="306833"/>
                  <a:pt x="29585" y="332630"/>
                  <a:pt x="24284" y="310101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1" name="Freeform 30"/>
          <p:cNvSpPr/>
          <p:nvPr/>
        </p:nvSpPr>
        <p:spPr>
          <a:xfrm>
            <a:off x="5894394" y="4842937"/>
            <a:ext cx="236537" cy="135467"/>
          </a:xfrm>
          <a:custGeom>
            <a:avLst/>
            <a:gdLst>
              <a:gd name="connsiteX0" fmla="*/ 21203 w 235889"/>
              <a:gd name="connsiteY0" fmla="*/ 55659 h 136223"/>
              <a:gd name="connsiteX1" fmla="*/ 156376 w 235889"/>
              <a:gd name="connsiteY1" fmla="*/ 47708 h 136223"/>
              <a:gd name="connsiteX2" fmla="*/ 180230 w 235889"/>
              <a:gd name="connsiteY2" fmla="*/ 39757 h 136223"/>
              <a:gd name="connsiteX3" fmla="*/ 196132 w 235889"/>
              <a:gd name="connsiteY3" fmla="*/ 15903 h 136223"/>
              <a:gd name="connsiteX4" fmla="*/ 219986 w 235889"/>
              <a:gd name="connsiteY4" fmla="*/ 0 h 136223"/>
              <a:gd name="connsiteX5" fmla="*/ 235889 w 235889"/>
              <a:gd name="connsiteY5" fmla="*/ 23854 h 136223"/>
              <a:gd name="connsiteX6" fmla="*/ 196132 w 235889"/>
              <a:gd name="connsiteY6" fmla="*/ 95416 h 136223"/>
              <a:gd name="connsiteX7" fmla="*/ 172278 w 235889"/>
              <a:gd name="connsiteY7" fmla="*/ 103367 h 136223"/>
              <a:gd name="connsiteX8" fmla="*/ 148424 w 235889"/>
              <a:gd name="connsiteY8" fmla="*/ 119270 h 136223"/>
              <a:gd name="connsiteX9" fmla="*/ 53009 w 235889"/>
              <a:gd name="connsiteY9" fmla="*/ 119270 h 136223"/>
              <a:gd name="connsiteX10" fmla="*/ 29155 w 235889"/>
              <a:gd name="connsiteY10" fmla="*/ 103367 h 136223"/>
              <a:gd name="connsiteX11" fmla="*/ 21203 w 235889"/>
              <a:gd name="connsiteY11" fmla="*/ 55659 h 136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5889" h="136223">
                <a:moveTo>
                  <a:pt x="21203" y="55659"/>
                </a:moveTo>
                <a:cubicBezTo>
                  <a:pt x="42406" y="46383"/>
                  <a:pt x="111464" y="52199"/>
                  <a:pt x="156376" y="47708"/>
                </a:cubicBezTo>
                <a:cubicBezTo>
                  <a:pt x="164716" y="46874"/>
                  <a:pt x="173685" y="44993"/>
                  <a:pt x="180230" y="39757"/>
                </a:cubicBezTo>
                <a:cubicBezTo>
                  <a:pt x="187692" y="33787"/>
                  <a:pt x="189375" y="22660"/>
                  <a:pt x="196132" y="15903"/>
                </a:cubicBezTo>
                <a:cubicBezTo>
                  <a:pt x="202889" y="9146"/>
                  <a:pt x="212035" y="5301"/>
                  <a:pt x="219986" y="0"/>
                </a:cubicBezTo>
                <a:cubicBezTo>
                  <a:pt x="225287" y="7951"/>
                  <a:pt x="235889" y="14298"/>
                  <a:pt x="235889" y="23854"/>
                </a:cubicBezTo>
                <a:cubicBezTo>
                  <a:pt x="235889" y="51514"/>
                  <a:pt x="218786" y="80314"/>
                  <a:pt x="196132" y="95416"/>
                </a:cubicBezTo>
                <a:cubicBezTo>
                  <a:pt x="189158" y="100065"/>
                  <a:pt x="180229" y="100717"/>
                  <a:pt x="172278" y="103367"/>
                </a:cubicBezTo>
                <a:cubicBezTo>
                  <a:pt x="164327" y="108668"/>
                  <a:pt x="156971" y="114996"/>
                  <a:pt x="148424" y="119270"/>
                </a:cubicBezTo>
                <a:cubicBezTo>
                  <a:pt x="114518" y="136223"/>
                  <a:pt x="96486" y="124101"/>
                  <a:pt x="53009" y="119270"/>
                </a:cubicBezTo>
                <a:cubicBezTo>
                  <a:pt x="45058" y="113969"/>
                  <a:pt x="35125" y="110829"/>
                  <a:pt x="29155" y="103367"/>
                </a:cubicBezTo>
                <a:cubicBezTo>
                  <a:pt x="23919" y="96822"/>
                  <a:pt x="0" y="64935"/>
                  <a:pt x="21203" y="55659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2" name="Freeform 31"/>
          <p:cNvSpPr/>
          <p:nvPr/>
        </p:nvSpPr>
        <p:spPr>
          <a:xfrm>
            <a:off x="6107116" y="4726521"/>
            <a:ext cx="179387" cy="110067"/>
          </a:xfrm>
          <a:custGeom>
            <a:avLst/>
            <a:gdLst>
              <a:gd name="connsiteX0" fmla="*/ 151075 w 179119"/>
              <a:gd name="connsiteY0" fmla="*/ 11927 h 110203"/>
              <a:gd name="connsiteX1" fmla="*/ 95415 w 179119"/>
              <a:gd name="connsiteY1" fmla="*/ 19879 h 110203"/>
              <a:gd name="connsiteX2" fmla="*/ 47708 w 179119"/>
              <a:gd name="connsiteY2" fmla="*/ 35781 h 110203"/>
              <a:gd name="connsiteX3" fmla="*/ 31805 w 179119"/>
              <a:gd name="connsiteY3" fmla="*/ 59635 h 110203"/>
              <a:gd name="connsiteX4" fmla="*/ 23854 w 179119"/>
              <a:gd name="connsiteY4" fmla="*/ 83489 h 110203"/>
              <a:gd name="connsiteX5" fmla="*/ 0 w 179119"/>
              <a:gd name="connsiteY5" fmla="*/ 99392 h 110203"/>
              <a:gd name="connsiteX6" fmla="*/ 23854 w 179119"/>
              <a:gd name="connsiteY6" fmla="*/ 107343 h 110203"/>
              <a:gd name="connsiteX7" fmla="*/ 166977 w 179119"/>
              <a:gd name="connsiteY7" fmla="*/ 91440 h 110203"/>
              <a:gd name="connsiteX8" fmla="*/ 151075 w 179119"/>
              <a:gd name="connsiteY8" fmla="*/ 11927 h 110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9119" h="110203">
                <a:moveTo>
                  <a:pt x="151075" y="11927"/>
                </a:moveTo>
                <a:cubicBezTo>
                  <a:pt x="139148" y="0"/>
                  <a:pt x="113677" y="15665"/>
                  <a:pt x="95415" y="19879"/>
                </a:cubicBezTo>
                <a:cubicBezTo>
                  <a:pt x="79082" y="23648"/>
                  <a:pt x="47708" y="35781"/>
                  <a:pt x="47708" y="35781"/>
                </a:cubicBezTo>
                <a:cubicBezTo>
                  <a:pt x="42407" y="43732"/>
                  <a:pt x="36079" y="51088"/>
                  <a:pt x="31805" y="59635"/>
                </a:cubicBezTo>
                <a:cubicBezTo>
                  <a:pt x="28057" y="67132"/>
                  <a:pt x="29090" y="76944"/>
                  <a:pt x="23854" y="83489"/>
                </a:cubicBezTo>
                <a:cubicBezTo>
                  <a:pt x="17884" y="90951"/>
                  <a:pt x="7951" y="94091"/>
                  <a:pt x="0" y="99392"/>
                </a:cubicBezTo>
                <a:cubicBezTo>
                  <a:pt x="7951" y="102042"/>
                  <a:pt x="15473" y="107343"/>
                  <a:pt x="23854" y="107343"/>
                </a:cubicBezTo>
                <a:cubicBezTo>
                  <a:pt x="125963" y="107343"/>
                  <a:pt x="110692" y="110203"/>
                  <a:pt x="166977" y="91440"/>
                </a:cubicBezTo>
                <a:cubicBezTo>
                  <a:pt x="179119" y="55015"/>
                  <a:pt x="163002" y="23854"/>
                  <a:pt x="151075" y="11927"/>
                </a:cubicBez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3" name="Freeform 32"/>
          <p:cNvSpPr/>
          <p:nvPr/>
        </p:nvSpPr>
        <p:spPr>
          <a:xfrm>
            <a:off x="3090864" y="1657355"/>
            <a:ext cx="4195762" cy="3272367"/>
          </a:xfrm>
          <a:custGeom>
            <a:avLst/>
            <a:gdLst>
              <a:gd name="connsiteX0" fmla="*/ 18406 w 4196341"/>
              <a:gd name="connsiteY0" fmla="*/ 791949 h 3272755"/>
              <a:gd name="connsiteX1" fmla="*/ 18406 w 4196341"/>
              <a:gd name="connsiteY1" fmla="*/ 1841521 h 3272755"/>
              <a:gd name="connsiteX2" fmla="*/ 50211 w 4196341"/>
              <a:gd name="connsiteY2" fmla="*/ 1849472 h 3272755"/>
              <a:gd name="connsiteX3" fmla="*/ 105870 w 4196341"/>
              <a:gd name="connsiteY3" fmla="*/ 1857424 h 3272755"/>
              <a:gd name="connsiteX4" fmla="*/ 129724 w 4196341"/>
              <a:gd name="connsiteY4" fmla="*/ 1881277 h 3272755"/>
              <a:gd name="connsiteX5" fmla="*/ 145627 w 4196341"/>
              <a:gd name="connsiteY5" fmla="*/ 1905131 h 3272755"/>
              <a:gd name="connsiteX6" fmla="*/ 177432 w 4196341"/>
              <a:gd name="connsiteY6" fmla="*/ 1913083 h 3272755"/>
              <a:gd name="connsiteX7" fmla="*/ 201286 w 4196341"/>
              <a:gd name="connsiteY7" fmla="*/ 1921034 h 3272755"/>
              <a:gd name="connsiteX8" fmla="*/ 233091 w 4196341"/>
              <a:gd name="connsiteY8" fmla="*/ 1968742 h 3272755"/>
              <a:gd name="connsiteX9" fmla="*/ 256945 w 4196341"/>
              <a:gd name="connsiteY9" fmla="*/ 1976693 h 3272755"/>
              <a:gd name="connsiteX10" fmla="*/ 312604 w 4196341"/>
              <a:gd name="connsiteY10" fmla="*/ 1960790 h 3272755"/>
              <a:gd name="connsiteX11" fmla="*/ 328507 w 4196341"/>
              <a:gd name="connsiteY11" fmla="*/ 1936937 h 3272755"/>
              <a:gd name="connsiteX12" fmla="*/ 360312 w 4196341"/>
              <a:gd name="connsiteY12" fmla="*/ 1944888 h 3272755"/>
              <a:gd name="connsiteX13" fmla="*/ 384166 w 4196341"/>
              <a:gd name="connsiteY13" fmla="*/ 1992596 h 3272755"/>
              <a:gd name="connsiteX14" fmla="*/ 408020 w 4196341"/>
              <a:gd name="connsiteY14" fmla="*/ 2008498 h 3272755"/>
              <a:gd name="connsiteX15" fmla="*/ 431874 w 4196341"/>
              <a:gd name="connsiteY15" fmla="*/ 2056206 h 3272755"/>
              <a:gd name="connsiteX16" fmla="*/ 455728 w 4196341"/>
              <a:gd name="connsiteY16" fmla="*/ 2111865 h 3272755"/>
              <a:gd name="connsiteX17" fmla="*/ 479582 w 4196341"/>
              <a:gd name="connsiteY17" fmla="*/ 2119817 h 3272755"/>
              <a:gd name="connsiteX18" fmla="*/ 519338 w 4196341"/>
              <a:gd name="connsiteY18" fmla="*/ 2175476 h 3272755"/>
              <a:gd name="connsiteX19" fmla="*/ 543192 w 4196341"/>
              <a:gd name="connsiteY19" fmla="*/ 2199330 h 3272755"/>
              <a:gd name="connsiteX20" fmla="*/ 567046 w 4196341"/>
              <a:gd name="connsiteY20" fmla="*/ 2215232 h 3272755"/>
              <a:gd name="connsiteX21" fmla="*/ 598851 w 4196341"/>
              <a:gd name="connsiteY21" fmla="*/ 2254989 h 3272755"/>
              <a:gd name="connsiteX22" fmla="*/ 574997 w 4196341"/>
              <a:gd name="connsiteY22" fmla="*/ 2334502 h 3272755"/>
              <a:gd name="connsiteX23" fmla="*/ 551143 w 4196341"/>
              <a:gd name="connsiteY23" fmla="*/ 2350404 h 3272755"/>
              <a:gd name="connsiteX24" fmla="*/ 559095 w 4196341"/>
              <a:gd name="connsiteY24" fmla="*/ 2398112 h 3272755"/>
              <a:gd name="connsiteX25" fmla="*/ 598851 w 4196341"/>
              <a:gd name="connsiteY25" fmla="*/ 2437869 h 3272755"/>
              <a:gd name="connsiteX26" fmla="*/ 622705 w 4196341"/>
              <a:gd name="connsiteY26" fmla="*/ 2445820 h 3272755"/>
              <a:gd name="connsiteX27" fmla="*/ 630656 w 4196341"/>
              <a:gd name="connsiteY27" fmla="*/ 2469674 h 3272755"/>
              <a:gd name="connsiteX28" fmla="*/ 646559 w 4196341"/>
              <a:gd name="connsiteY28" fmla="*/ 2493528 h 3272755"/>
              <a:gd name="connsiteX29" fmla="*/ 662462 w 4196341"/>
              <a:gd name="connsiteY29" fmla="*/ 2549187 h 3272755"/>
              <a:gd name="connsiteX30" fmla="*/ 702218 w 4196341"/>
              <a:gd name="connsiteY30" fmla="*/ 2604846 h 3272755"/>
              <a:gd name="connsiteX31" fmla="*/ 734023 w 4196341"/>
              <a:gd name="connsiteY31" fmla="*/ 2652554 h 3272755"/>
              <a:gd name="connsiteX32" fmla="*/ 710169 w 4196341"/>
              <a:gd name="connsiteY32" fmla="*/ 2660505 h 3272755"/>
              <a:gd name="connsiteX33" fmla="*/ 670413 w 4196341"/>
              <a:gd name="connsiteY33" fmla="*/ 2668457 h 3272755"/>
              <a:gd name="connsiteX34" fmla="*/ 686316 w 4196341"/>
              <a:gd name="connsiteY34" fmla="*/ 2724116 h 3272755"/>
              <a:gd name="connsiteX35" fmla="*/ 710169 w 4196341"/>
              <a:gd name="connsiteY35" fmla="*/ 2740018 h 3272755"/>
              <a:gd name="connsiteX36" fmla="*/ 765829 w 4196341"/>
              <a:gd name="connsiteY36" fmla="*/ 2755921 h 3272755"/>
              <a:gd name="connsiteX37" fmla="*/ 813536 w 4196341"/>
              <a:gd name="connsiteY37" fmla="*/ 2771824 h 3272755"/>
              <a:gd name="connsiteX38" fmla="*/ 837390 w 4196341"/>
              <a:gd name="connsiteY38" fmla="*/ 2779775 h 3272755"/>
              <a:gd name="connsiteX39" fmla="*/ 861244 w 4196341"/>
              <a:gd name="connsiteY39" fmla="*/ 2795677 h 3272755"/>
              <a:gd name="connsiteX40" fmla="*/ 869196 w 4196341"/>
              <a:gd name="connsiteY40" fmla="*/ 2819531 h 3272755"/>
              <a:gd name="connsiteX41" fmla="*/ 908952 w 4196341"/>
              <a:gd name="connsiteY41" fmla="*/ 2763872 h 3272755"/>
              <a:gd name="connsiteX42" fmla="*/ 1091832 w 4196341"/>
              <a:gd name="connsiteY42" fmla="*/ 2755921 h 3272755"/>
              <a:gd name="connsiteX43" fmla="*/ 1290615 w 4196341"/>
              <a:gd name="connsiteY43" fmla="*/ 2763872 h 3272755"/>
              <a:gd name="connsiteX44" fmla="*/ 1314469 w 4196341"/>
              <a:gd name="connsiteY44" fmla="*/ 2771824 h 3272755"/>
              <a:gd name="connsiteX45" fmla="*/ 1417836 w 4196341"/>
              <a:gd name="connsiteY45" fmla="*/ 2779775 h 3272755"/>
              <a:gd name="connsiteX46" fmla="*/ 1505300 w 4196341"/>
              <a:gd name="connsiteY46" fmla="*/ 2787726 h 3272755"/>
              <a:gd name="connsiteX47" fmla="*/ 1664326 w 4196341"/>
              <a:gd name="connsiteY47" fmla="*/ 2779775 h 3272755"/>
              <a:gd name="connsiteX48" fmla="*/ 1704083 w 4196341"/>
              <a:gd name="connsiteY48" fmla="*/ 2771824 h 3272755"/>
              <a:gd name="connsiteX49" fmla="*/ 1767693 w 4196341"/>
              <a:gd name="connsiteY49" fmla="*/ 2763872 h 3272755"/>
              <a:gd name="connsiteX50" fmla="*/ 1839255 w 4196341"/>
              <a:gd name="connsiteY50" fmla="*/ 2747970 h 3272755"/>
              <a:gd name="connsiteX51" fmla="*/ 1958524 w 4196341"/>
              <a:gd name="connsiteY51" fmla="*/ 2755921 h 3272755"/>
              <a:gd name="connsiteX52" fmla="*/ 2022135 w 4196341"/>
              <a:gd name="connsiteY52" fmla="*/ 2771824 h 3272755"/>
              <a:gd name="connsiteX53" fmla="*/ 2125502 w 4196341"/>
              <a:gd name="connsiteY53" fmla="*/ 2763872 h 3272755"/>
              <a:gd name="connsiteX54" fmla="*/ 2165258 w 4196341"/>
              <a:gd name="connsiteY54" fmla="*/ 2755921 h 3272755"/>
              <a:gd name="connsiteX55" fmla="*/ 2197063 w 4196341"/>
              <a:gd name="connsiteY55" fmla="*/ 2747970 h 3272755"/>
              <a:gd name="connsiteX56" fmla="*/ 2284528 w 4196341"/>
              <a:gd name="connsiteY56" fmla="*/ 2755921 h 3272755"/>
              <a:gd name="connsiteX57" fmla="*/ 2308382 w 4196341"/>
              <a:gd name="connsiteY57" fmla="*/ 2763872 h 3272755"/>
              <a:gd name="connsiteX58" fmla="*/ 2356089 w 4196341"/>
              <a:gd name="connsiteY58" fmla="*/ 2795677 h 3272755"/>
              <a:gd name="connsiteX59" fmla="*/ 2507164 w 4196341"/>
              <a:gd name="connsiteY59" fmla="*/ 2819531 h 3272755"/>
              <a:gd name="connsiteX60" fmla="*/ 2578726 w 4196341"/>
              <a:gd name="connsiteY60" fmla="*/ 2779775 h 3272755"/>
              <a:gd name="connsiteX61" fmla="*/ 2666190 w 4196341"/>
              <a:gd name="connsiteY61" fmla="*/ 2787726 h 3272755"/>
              <a:gd name="connsiteX62" fmla="*/ 2713898 w 4196341"/>
              <a:gd name="connsiteY62" fmla="*/ 2819531 h 3272755"/>
              <a:gd name="connsiteX63" fmla="*/ 2721849 w 4196341"/>
              <a:gd name="connsiteY63" fmla="*/ 2851337 h 3272755"/>
              <a:gd name="connsiteX64" fmla="*/ 2745703 w 4196341"/>
              <a:gd name="connsiteY64" fmla="*/ 2859288 h 3272755"/>
              <a:gd name="connsiteX65" fmla="*/ 2761606 w 4196341"/>
              <a:gd name="connsiteY65" fmla="*/ 2883142 h 3272755"/>
              <a:gd name="connsiteX66" fmla="*/ 2769557 w 4196341"/>
              <a:gd name="connsiteY66" fmla="*/ 2906996 h 3272755"/>
              <a:gd name="connsiteX67" fmla="*/ 2777509 w 4196341"/>
              <a:gd name="connsiteY67" fmla="*/ 2938801 h 3272755"/>
              <a:gd name="connsiteX68" fmla="*/ 2801363 w 4196341"/>
              <a:gd name="connsiteY68" fmla="*/ 2954704 h 3272755"/>
              <a:gd name="connsiteX69" fmla="*/ 2849070 w 4196341"/>
              <a:gd name="connsiteY69" fmla="*/ 2970606 h 3272755"/>
              <a:gd name="connsiteX70" fmla="*/ 2872924 w 4196341"/>
              <a:gd name="connsiteY70" fmla="*/ 2978557 h 3272755"/>
              <a:gd name="connsiteX71" fmla="*/ 2952437 w 4196341"/>
              <a:gd name="connsiteY71" fmla="*/ 2986509 h 3272755"/>
              <a:gd name="connsiteX72" fmla="*/ 2976291 w 4196341"/>
              <a:gd name="connsiteY72" fmla="*/ 3034217 h 3272755"/>
              <a:gd name="connsiteX73" fmla="*/ 2992194 w 4196341"/>
              <a:gd name="connsiteY73" fmla="*/ 3058070 h 3272755"/>
              <a:gd name="connsiteX74" fmla="*/ 2968340 w 4196341"/>
              <a:gd name="connsiteY74" fmla="*/ 3073973 h 3272755"/>
              <a:gd name="connsiteX75" fmla="*/ 2920632 w 4196341"/>
              <a:gd name="connsiteY75" fmla="*/ 3089876 h 3272755"/>
              <a:gd name="connsiteX76" fmla="*/ 2904729 w 4196341"/>
              <a:gd name="connsiteY76" fmla="*/ 3113730 h 3272755"/>
              <a:gd name="connsiteX77" fmla="*/ 2896778 w 4196341"/>
              <a:gd name="connsiteY77" fmla="*/ 3161437 h 3272755"/>
              <a:gd name="connsiteX78" fmla="*/ 2872924 w 4196341"/>
              <a:gd name="connsiteY78" fmla="*/ 3177340 h 3272755"/>
              <a:gd name="connsiteX79" fmla="*/ 2872924 w 4196341"/>
              <a:gd name="connsiteY79" fmla="*/ 3264804 h 3272755"/>
              <a:gd name="connsiteX80" fmla="*/ 2896778 w 4196341"/>
              <a:gd name="connsiteY80" fmla="*/ 3248902 h 3272755"/>
              <a:gd name="connsiteX81" fmla="*/ 2920632 w 4196341"/>
              <a:gd name="connsiteY81" fmla="*/ 3225048 h 3272755"/>
              <a:gd name="connsiteX82" fmla="*/ 2944486 w 4196341"/>
              <a:gd name="connsiteY82" fmla="*/ 3217097 h 3272755"/>
              <a:gd name="connsiteX83" fmla="*/ 3023999 w 4196341"/>
              <a:gd name="connsiteY83" fmla="*/ 3209145 h 3272755"/>
              <a:gd name="connsiteX84" fmla="*/ 3008096 w 4196341"/>
              <a:gd name="connsiteY84" fmla="*/ 3169389 h 3272755"/>
              <a:gd name="connsiteX85" fmla="*/ 3023999 w 4196341"/>
              <a:gd name="connsiteY85" fmla="*/ 3145535 h 3272755"/>
              <a:gd name="connsiteX86" fmla="*/ 3135317 w 4196341"/>
              <a:gd name="connsiteY86" fmla="*/ 3105778 h 3272755"/>
              <a:gd name="connsiteX87" fmla="*/ 3159171 w 4196341"/>
              <a:gd name="connsiteY87" fmla="*/ 3089876 h 3272755"/>
              <a:gd name="connsiteX88" fmla="*/ 3198928 w 4196341"/>
              <a:gd name="connsiteY88" fmla="*/ 3026265 h 3272755"/>
              <a:gd name="connsiteX89" fmla="*/ 3222782 w 4196341"/>
              <a:gd name="connsiteY89" fmla="*/ 3018314 h 3272755"/>
              <a:gd name="connsiteX90" fmla="*/ 3381808 w 4196341"/>
              <a:gd name="connsiteY90" fmla="*/ 3010363 h 3272755"/>
              <a:gd name="connsiteX91" fmla="*/ 3429516 w 4196341"/>
              <a:gd name="connsiteY91" fmla="*/ 2970606 h 3272755"/>
              <a:gd name="connsiteX92" fmla="*/ 3437467 w 4196341"/>
              <a:gd name="connsiteY92" fmla="*/ 2946752 h 3272755"/>
              <a:gd name="connsiteX93" fmla="*/ 3453369 w 4196341"/>
              <a:gd name="connsiteY93" fmla="*/ 2922898 h 3272755"/>
              <a:gd name="connsiteX94" fmla="*/ 3477223 w 4196341"/>
              <a:gd name="connsiteY94" fmla="*/ 2875190 h 3272755"/>
              <a:gd name="connsiteX95" fmla="*/ 3532883 w 4196341"/>
              <a:gd name="connsiteY95" fmla="*/ 2883142 h 3272755"/>
              <a:gd name="connsiteX96" fmla="*/ 3580590 w 4196341"/>
              <a:gd name="connsiteY96" fmla="*/ 2954704 h 3272755"/>
              <a:gd name="connsiteX97" fmla="*/ 3596493 w 4196341"/>
              <a:gd name="connsiteY97" fmla="*/ 2978557 h 3272755"/>
              <a:gd name="connsiteX98" fmla="*/ 3612396 w 4196341"/>
              <a:gd name="connsiteY98" fmla="*/ 3002411 h 3272755"/>
              <a:gd name="connsiteX99" fmla="*/ 3628298 w 4196341"/>
              <a:gd name="connsiteY99" fmla="*/ 3050119 h 3272755"/>
              <a:gd name="connsiteX100" fmla="*/ 3636249 w 4196341"/>
              <a:gd name="connsiteY100" fmla="*/ 3073973 h 3272755"/>
              <a:gd name="connsiteX101" fmla="*/ 3731665 w 4196341"/>
              <a:gd name="connsiteY101" fmla="*/ 3034217 h 3272755"/>
              <a:gd name="connsiteX102" fmla="*/ 3723714 w 4196341"/>
              <a:gd name="connsiteY102" fmla="*/ 3066022 h 3272755"/>
              <a:gd name="connsiteX103" fmla="*/ 3668055 w 4196341"/>
              <a:gd name="connsiteY103" fmla="*/ 3105778 h 3272755"/>
              <a:gd name="connsiteX104" fmla="*/ 3660103 w 4196341"/>
              <a:gd name="connsiteY104" fmla="*/ 3129632 h 3272755"/>
              <a:gd name="connsiteX105" fmla="*/ 3683957 w 4196341"/>
              <a:gd name="connsiteY105" fmla="*/ 3137584 h 3272755"/>
              <a:gd name="connsiteX106" fmla="*/ 3739616 w 4196341"/>
              <a:gd name="connsiteY106" fmla="*/ 3129632 h 3272755"/>
              <a:gd name="connsiteX107" fmla="*/ 3787324 w 4196341"/>
              <a:gd name="connsiteY107" fmla="*/ 3113730 h 3272755"/>
              <a:gd name="connsiteX108" fmla="*/ 3835032 w 4196341"/>
              <a:gd name="connsiteY108" fmla="*/ 3073973 h 3272755"/>
              <a:gd name="connsiteX109" fmla="*/ 3882740 w 4196341"/>
              <a:gd name="connsiteY109" fmla="*/ 3058070 h 3272755"/>
              <a:gd name="connsiteX110" fmla="*/ 3906594 w 4196341"/>
              <a:gd name="connsiteY110" fmla="*/ 3050119 h 3272755"/>
              <a:gd name="connsiteX111" fmla="*/ 3930448 w 4196341"/>
              <a:gd name="connsiteY111" fmla="*/ 3042168 h 3272755"/>
              <a:gd name="connsiteX112" fmla="*/ 3986107 w 4196341"/>
              <a:gd name="connsiteY112" fmla="*/ 3026265 h 3272755"/>
              <a:gd name="connsiteX113" fmla="*/ 3962253 w 4196341"/>
              <a:gd name="connsiteY113" fmla="*/ 2922898 h 3272755"/>
              <a:gd name="connsiteX114" fmla="*/ 3938399 w 4196341"/>
              <a:gd name="connsiteY114" fmla="*/ 2906996 h 3272755"/>
              <a:gd name="connsiteX115" fmla="*/ 3914545 w 4196341"/>
              <a:gd name="connsiteY115" fmla="*/ 2922898 h 3272755"/>
              <a:gd name="connsiteX116" fmla="*/ 3874789 w 4196341"/>
              <a:gd name="connsiteY116" fmla="*/ 2978557 h 3272755"/>
              <a:gd name="connsiteX117" fmla="*/ 3842983 w 4196341"/>
              <a:gd name="connsiteY117" fmla="*/ 2930850 h 3272755"/>
              <a:gd name="connsiteX118" fmla="*/ 3819129 w 4196341"/>
              <a:gd name="connsiteY118" fmla="*/ 2922898 h 3272755"/>
              <a:gd name="connsiteX119" fmla="*/ 3771422 w 4196341"/>
              <a:gd name="connsiteY119" fmla="*/ 2930850 h 3272755"/>
              <a:gd name="connsiteX120" fmla="*/ 3747568 w 4196341"/>
              <a:gd name="connsiteY120" fmla="*/ 2946752 h 3272755"/>
              <a:gd name="connsiteX121" fmla="*/ 3739616 w 4196341"/>
              <a:gd name="connsiteY121" fmla="*/ 2922898 h 3272755"/>
              <a:gd name="connsiteX122" fmla="*/ 3731665 w 4196341"/>
              <a:gd name="connsiteY122" fmla="*/ 2867239 h 3272755"/>
              <a:gd name="connsiteX123" fmla="*/ 3683957 w 4196341"/>
              <a:gd name="connsiteY123" fmla="*/ 2851337 h 3272755"/>
              <a:gd name="connsiteX124" fmla="*/ 3739616 w 4196341"/>
              <a:gd name="connsiteY124" fmla="*/ 2819531 h 3272755"/>
              <a:gd name="connsiteX125" fmla="*/ 3755519 w 4196341"/>
              <a:gd name="connsiteY125" fmla="*/ 2795677 h 3272755"/>
              <a:gd name="connsiteX126" fmla="*/ 3739616 w 4196341"/>
              <a:gd name="connsiteY126" fmla="*/ 2771824 h 3272755"/>
              <a:gd name="connsiteX127" fmla="*/ 3691909 w 4196341"/>
              <a:gd name="connsiteY127" fmla="*/ 2755921 h 3272755"/>
              <a:gd name="connsiteX128" fmla="*/ 3644201 w 4196341"/>
              <a:gd name="connsiteY128" fmla="*/ 2787726 h 3272755"/>
              <a:gd name="connsiteX129" fmla="*/ 3485175 w 4196341"/>
              <a:gd name="connsiteY129" fmla="*/ 2811580 h 3272755"/>
              <a:gd name="connsiteX130" fmla="*/ 3445418 w 4196341"/>
              <a:gd name="connsiteY130" fmla="*/ 2803629 h 3272755"/>
              <a:gd name="connsiteX131" fmla="*/ 3469272 w 4196341"/>
              <a:gd name="connsiteY131" fmla="*/ 2795677 h 3272755"/>
              <a:gd name="connsiteX132" fmla="*/ 3540834 w 4196341"/>
              <a:gd name="connsiteY132" fmla="*/ 2755921 h 3272755"/>
              <a:gd name="connsiteX133" fmla="*/ 3564688 w 4196341"/>
              <a:gd name="connsiteY133" fmla="*/ 2740018 h 3272755"/>
              <a:gd name="connsiteX134" fmla="*/ 3612396 w 4196341"/>
              <a:gd name="connsiteY134" fmla="*/ 2724116 h 3272755"/>
              <a:gd name="connsiteX135" fmla="*/ 3636249 w 4196341"/>
              <a:gd name="connsiteY135" fmla="*/ 2700262 h 3272755"/>
              <a:gd name="connsiteX136" fmla="*/ 3660103 w 4196341"/>
              <a:gd name="connsiteY136" fmla="*/ 2684359 h 3272755"/>
              <a:gd name="connsiteX137" fmla="*/ 3731665 w 4196341"/>
              <a:gd name="connsiteY137" fmla="*/ 2668457 h 3272755"/>
              <a:gd name="connsiteX138" fmla="*/ 3850935 w 4196341"/>
              <a:gd name="connsiteY138" fmla="*/ 2628700 h 3272755"/>
              <a:gd name="connsiteX139" fmla="*/ 3874789 w 4196341"/>
              <a:gd name="connsiteY139" fmla="*/ 2620749 h 3272755"/>
              <a:gd name="connsiteX140" fmla="*/ 3898643 w 4196341"/>
              <a:gd name="connsiteY140" fmla="*/ 2612797 h 3272755"/>
              <a:gd name="connsiteX141" fmla="*/ 4049717 w 4196341"/>
              <a:gd name="connsiteY141" fmla="*/ 2604846 h 3272755"/>
              <a:gd name="connsiteX142" fmla="*/ 4097425 w 4196341"/>
              <a:gd name="connsiteY142" fmla="*/ 2588944 h 3272755"/>
              <a:gd name="connsiteX143" fmla="*/ 4105376 w 4196341"/>
              <a:gd name="connsiteY143" fmla="*/ 2565090 h 3272755"/>
              <a:gd name="connsiteX144" fmla="*/ 4153084 w 4196341"/>
              <a:gd name="connsiteY144" fmla="*/ 2533284 h 3272755"/>
              <a:gd name="connsiteX145" fmla="*/ 4176938 w 4196341"/>
              <a:gd name="connsiteY145" fmla="*/ 2517382 h 3272755"/>
              <a:gd name="connsiteX146" fmla="*/ 4192841 w 4196341"/>
              <a:gd name="connsiteY146" fmla="*/ 2493528 h 3272755"/>
              <a:gd name="connsiteX147" fmla="*/ 4168987 w 4196341"/>
              <a:gd name="connsiteY147" fmla="*/ 2398112 h 3272755"/>
              <a:gd name="connsiteX148" fmla="*/ 4137182 w 4196341"/>
              <a:gd name="connsiteY148" fmla="*/ 2366307 h 3272755"/>
              <a:gd name="connsiteX149" fmla="*/ 4121279 w 4196341"/>
              <a:gd name="connsiteY149" fmla="*/ 2342453 h 3272755"/>
              <a:gd name="connsiteX150" fmla="*/ 4065620 w 4196341"/>
              <a:gd name="connsiteY150" fmla="*/ 2310648 h 3272755"/>
              <a:gd name="connsiteX151" fmla="*/ 4041766 w 4196341"/>
              <a:gd name="connsiteY151" fmla="*/ 2286794 h 3272755"/>
              <a:gd name="connsiteX152" fmla="*/ 4009961 w 4196341"/>
              <a:gd name="connsiteY152" fmla="*/ 2278843 h 3272755"/>
              <a:gd name="connsiteX153" fmla="*/ 3986107 w 4196341"/>
              <a:gd name="connsiteY153" fmla="*/ 2262940 h 3272755"/>
              <a:gd name="connsiteX154" fmla="*/ 3922496 w 4196341"/>
              <a:gd name="connsiteY154" fmla="*/ 2207281 h 3272755"/>
              <a:gd name="connsiteX155" fmla="*/ 3898643 w 4196341"/>
              <a:gd name="connsiteY155" fmla="*/ 2191378 h 3272755"/>
              <a:gd name="connsiteX156" fmla="*/ 3882740 w 4196341"/>
              <a:gd name="connsiteY156" fmla="*/ 2167524 h 3272755"/>
              <a:gd name="connsiteX157" fmla="*/ 3874789 w 4196341"/>
              <a:gd name="connsiteY157" fmla="*/ 2143670 h 3272755"/>
              <a:gd name="connsiteX158" fmla="*/ 3850935 w 4196341"/>
              <a:gd name="connsiteY158" fmla="*/ 2119817 h 3272755"/>
              <a:gd name="connsiteX159" fmla="*/ 3819129 w 4196341"/>
              <a:gd name="connsiteY159" fmla="*/ 2072109 h 3272755"/>
              <a:gd name="connsiteX160" fmla="*/ 3795276 w 4196341"/>
              <a:gd name="connsiteY160" fmla="*/ 2000547 h 3272755"/>
              <a:gd name="connsiteX161" fmla="*/ 3787324 w 4196341"/>
              <a:gd name="connsiteY161" fmla="*/ 1976693 h 3272755"/>
              <a:gd name="connsiteX162" fmla="*/ 3771422 w 4196341"/>
              <a:gd name="connsiteY162" fmla="*/ 1952839 h 3272755"/>
              <a:gd name="connsiteX163" fmla="*/ 3739616 w 4196341"/>
              <a:gd name="connsiteY163" fmla="*/ 1881277 h 3272755"/>
              <a:gd name="connsiteX164" fmla="*/ 3731665 w 4196341"/>
              <a:gd name="connsiteY164" fmla="*/ 1857424 h 3272755"/>
              <a:gd name="connsiteX165" fmla="*/ 3707811 w 4196341"/>
              <a:gd name="connsiteY165" fmla="*/ 1865375 h 3272755"/>
              <a:gd name="connsiteX166" fmla="*/ 3683957 w 4196341"/>
              <a:gd name="connsiteY166" fmla="*/ 1913083 h 3272755"/>
              <a:gd name="connsiteX167" fmla="*/ 3660103 w 4196341"/>
              <a:gd name="connsiteY167" fmla="*/ 1928985 h 3272755"/>
              <a:gd name="connsiteX168" fmla="*/ 3604444 w 4196341"/>
              <a:gd name="connsiteY168" fmla="*/ 1992596 h 3272755"/>
              <a:gd name="connsiteX169" fmla="*/ 3580590 w 4196341"/>
              <a:gd name="connsiteY169" fmla="*/ 2000547 h 3272755"/>
              <a:gd name="connsiteX170" fmla="*/ 3509029 w 4196341"/>
              <a:gd name="connsiteY170" fmla="*/ 1976693 h 3272755"/>
              <a:gd name="connsiteX171" fmla="*/ 3493126 w 4196341"/>
              <a:gd name="connsiteY171" fmla="*/ 1921034 h 3272755"/>
              <a:gd name="connsiteX172" fmla="*/ 3477223 w 4196341"/>
              <a:gd name="connsiteY172" fmla="*/ 1873326 h 3272755"/>
              <a:gd name="connsiteX173" fmla="*/ 3469272 w 4196341"/>
              <a:gd name="connsiteY173" fmla="*/ 1849472 h 3272755"/>
              <a:gd name="connsiteX174" fmla="*/ 3461321 w 4196341"/>
              <a:gd name="connsiteY174" fmla="*/ 1825618 h 3272755"/>
              <a:gd name="connsiteX175" fmla="*/ 3453369 w 4196341"/>
              <a:gd name="connsiteY175" fmla="*/ 1793813 h 3272755"/>
              <a:gd name="connsiteX176" fmla="*/ 3429516 w 4196341"/>
              <a:gd name="connsiteY176" fmla="*/ 1777910 h 3272755"/>
              <a:gd name="connsiteX177" fmla="*/ 3413613 w 4196341"/>
              <a:gd name="connsiteY177" fmla="*/ 1754057 h 3272755"/>
              <a:gd name="connsiteX178" fmla="*/ 3397710 w 4196341"/>
              <a:gd name="connsiteY178" fmla="*/ 1698397 h 3272755"/>
              <a:gd name="connsiteX179" fmla="*/ 3373856 w 4196341"/>
              <a:gd name="connsiteY179" fmla="*/ 1682495 h 3272755"/>
              <a:gd name="connsiteX180" fmla="*/ 3326149 w 4196341"/>
              <a:gd name="connsiteY180" fmla="*/ 1634787 h 3272755"/>
              <a:gd name="connsiteX181" fmla="*/ 3302295 w 4196341"/>
              <a:gd name="connsiteY181" fmla="*/ 1618884 h 3272755"/>
              <a:gd name="connsiteX182" fmla="*/ 3206879 w 4196341"/>
              <a:gd name="connsiteY182" fmla="*/ 1595030 h 3272755"/>
              <a:gd name="connsiteX183" fmla="*/ 3135317 w 4196341"/>
              <a:gd name="connsiteY183" fmla="*/ 1602982 h 3272755"/>
              <a:gd name="connsiteX184" fmla="*/ 3111463 w 4196341"/>
              <a:gd name="connsiteY184" fmla="*/ 1610933 h 3272755"/>
              <a:gd name="connsiteX185" fmla="*/ 3071707 w 4196341"/>
              <a:gd name="connsiteY185" fmla="*/ 1618884 h 3272755"/>
              <a:gd name="connsiteX186" fmla="*/ 3079658 w 4196341"/>
              <a:gd name="connsiteY186" fmla="*/ 1650690 h 3272755"/>
              <a:gd name="connsiteX187" fmla="*/ 3103512 w 4196341"/>
              <a:gd name="connsiteY187" fmla="*/ 1666592 h 3272755"/>
              <a:gd name="connsiteX188" fmla="*/ 3119415 w 4196341"/>
              <a:gd name="connsiteY188" fmla="*/ 1714300 h 3272755"/>
              <a:gd name="connsiteX189" fmla="*/ 3127366 w 4196341"/>
              <a:gd name="connsiteY189" fmla="*/ 1738154 h 3272755"/>
              <a:gd name="connsiteX190" fmla="*/ 3111463 w 4196341"/>
              <a:gd name="connsiteY190" fmla="*/ 1762008 h 3272755"/>
              <a:gd name="connsiteX191" fmla="*/ 3103512 w 4196341"/>
              <a:gd name="connsiteY191" fmla="*/ 1785862 h 3272755"/>
              <a:gd name="connsiteX192" fmla="*/ 3063756 w 4196341"/>
              <a:gd name="connsiteY192" fmla="*/ 1857424 h 3272755"/>
              <a:gd name="connsiteX193" fmla="*/ 3071707 w 4196341"/>
              <a:gd name="connsiteY193" fmla="*/ 1889229 h 3272755"/>
              <a:gd name="connsiteX194" fmla="*/ 3087609 w 4196341"/>
              <a:gd name="connsiteY194" fmla="*/ 1936937 h 3272755"/>
              <a:gd name="connsiteX195" fmla="*/ 3079658 w 4196341"/>
              <a:gd name="connsiteY195" fmla="*/ 1976693 h 3272755"/>
              <a:gd name="connsiteX196" fmla="*/ 3071707 w 4196341"/>
              <a:gd name="connsiteY196" fmla="*/ 2000547 h 3272755"/>
              <a:gd name="connsiteX197" fmla="*/ 3119415 w 4196341"/>
              <a:gd name="connsiteY197" fmla="*/ 2056206 h 3272755"/>
              <a:gd name="connsiteX198" fmla="*/ 3135317 w 4196341"/>
              <a:gd name="connsiteY198" fmla="*/ 2080060 h 3272755"/>
              <a:gd name="connsiteX199" fmla="*/ 3151220 w 4196341"/>
              <a:gd name="connsiteY199" fmla="*/ 2127768 h 3272755"/>
              <a:gd name="connsiteX200" fmla="*/ 3143269 w 4196341"/>
              <a:gd name="connsiteY200" fmla="*/ 2215232 h 3272755"/>
              <a:gd name="connsiteX201" fmla="*/ 3119415 w 4196341"/>
              <a:gd name="connsiteY201" fmla="*/ 2239086 h 3272755"/>
              <a:gd name="connsiteX202" fmla="*/ 3087609 w 4196341"/>
              <a:gd name="connsiteY202" fmla="*/ 2254989 h 3272755"/>
              <a:gd name="connsiteX203" fmla="*/ 3063756 w 4196341"/>
              <a:gd name="connsiteY203" fmla="*/ 2270891 h 3272755"/>
              <a:gd name="connsiteX204" fmla="*/ 3039902 w 4196341"/>
              <a:gd name="connsiteY204" fmla="*/ 2318599 h 3272755"/>
              <a:gd name="connsiteX205" fmla="*/ 3047853 w 4196341"/>
              <a:gd name="connsiteY205" fmla="*/ 2342453 h 3272755"/>
              <a:gd name="connsiteX206" fmla="*/ 3039902 w 4196341"/>
              <a:gd name="connsiteY206" fmla="*/ 2390161 h 3272755"/>
              <a:gd name="connsiteX207" fmla="*/ 3031950 w 4196341"/>
              <a:gd name="connsiteY207" fmla="*/ 2414015 h 3272755"/>
              <a:gd name="connsiteX208" fmla="*/ 3023999 w 4196341"/>
              <a:gd name="connsiteY208" fmla="*/ 2445820 h 3272755"/>
              <a:gd name="connsiteX209" fmla="*/ 3016048 w 4196341"/>
              <a:gd name="connsiteY209" fmla="*/ 2580992 h 3272755"/>
              <a:gd name="connsiteX210" fmla="*/ 2976291 w 4196341"/>
              <a:gd name="connsiteY210" fmla="*/ 2573041 h 3272755"/>
              <a:gd name="connsiteX211" fmla="*/ 2904729 w 4196341"/>
              <a:gd name="connsiteY211" fmla="*/ 2533284 h 3272755"/>
              <a:gd name="connsiteX212" fmla="*/ 2888827 w 4196341"/>
              <a:gd name="connsiteY212" fmla="*/ 2509430 h 3272755"/>
              <a:gd name="connsiteX213" fmla="*/ 2960389 w 4196341"/>
              <a:gd name="connsiteY213" fmla="*/ 2469674 h 3272755"/>
              <a:gd name="connsiteX214" fmla="*/ 2976291 w 4196341"/>
              <a:gd name="connsiteY214" fmla="*/ 2445820 h 3272755"/>
              <a:gd name="connsiteX215" fmla="*/ 2904729 w 4196341"/>
              <a:gd name="connsiteY215" fmla="*/ 2429917 h 3272755"/>
              <a:gd name="connsiteX216" fmla="*/ 2880876 w 4196341"/>
              <a:gd name="connsiteY216" fmla="*/ 2437869 h 3272755"/>
              <a:gd name="connsiteX217" fmla="*/ 2896778 w 4196341"/>
              <a:gd name="connsiteY217" fmla="*/ 2334502 h 3272755"/>
              <a:gd name="connsiteX218" fmla="*/ 2888827 w 4196341"/>
              <a:gd name="connsiteY218" fmla="*/ 2302697 h 3272755"/>
              <a:gd name="connsiteX219" fmla="*/ 2864973 w 4196341"/>
              <a:gd name="connsiteY219" fmla="*/ 2294745 h 3272755"/>
              <a:gd name="connsiteX220" fmla="*/ 2841119 w 4196341"/>
              <a:gd name="connsiteY220" fmla="*/ 2278843 h 3272755"/>
              <a:gd name="connsiteX221" fmla="*/ 2769557 w 4196341"/>
              <a:gd name="connsiteY221" fmla="*/ 2254989 h 3272755"/>
              <a:gd name="connsiteX222" fmla="*/ 2713898 w 4196341"/>
              <a:gd name="connsiteY222" fmla="*/ 2239086 h 3272755"/>
              <a:gd name="connsiteX223" fmla="*/ 2666190 w 4196341"/>
              <a:gd name="connsiteY223" fmla="*/ 2223184 h 3272755"/>
              <a:gd name="connsiteX224" fmla="*/ 2642336 w 4196341"/>
              <a:gd name="connsiteY224" fmla="*/ 2215232 h 3272755"/>
              <a:gd name="connsiteX225" fmla="*/ 2570775 w 4196341"/>
              <a:gd name="connsiteY225" fmla="*/ 2183427 h 3272755"/>
              <a:gd name="connsiteX226" fmla="*/ 2523067 w 4196341"/>
              <a:gd name="connsiteY226" fmla="*/ 2167524 h 3272755"/>
              <a:gd name="connsiteX227" fmla="*/ 2499213 w 4196341"/>
              <a:gd name="connsiteY227" fmla="*/ 2151622 h 3272755"/>
              <a:gd name="connsiteX228" fmla="*/ 2467408 w 4196341"/>
              <a:gd name="connsiteY228" fmla="*/ 2143670 h 3272755"/>
              <a:gd name="connsiteX229" fmla="*/ 2364041 w 4196341"/>
              <a:gd name="connsiteY229" fmla="*/ 2127768 h 3272755"/>
              <a:gd name="connsiteX230" fmla="*/ 2340187 w 4196341"/>
              <a:gd name="connsiteY230" fmla="*/ 2072109 h 3272755"/>
              <a:gd name="connsiteX231" fmla="*/ 2308382 w 4196341"/>
              <a:gd name="connsiteY231" fmla="*/ 1952839 h 3272755"/>
              <a:gd name="connsiteX232" fmla="*/ 2300430 w 4196341"/>
              <a:gd name="connsiteY232" fmla="*/ 1817667 h 3272755"/>
              <a:gd name="connsiteX233" fmla="*/ 2332236 w 4196341"/>
              <a:gd name="connsiteY233" fmla="*/ 1769959 h 3272755"/>
              <a:gd name="connsiteX234" fmla="*/ 2364041 w 4196341"/>
              <a:gd name="connsiteY234" fmla="*/ 1722251 h 3272755"/>
              <a:gd name="connsiteX235" fmla="*/ 2387895 w 4196341"/>
              <a:gd name="connsiteY235" fmla="*/ 1674544 h 3272755"/>
              <a:gd name="connsiteX236" fmla="*/ 2411749 w 4196341"/>
              <a:gd name="connsiteY236" fmla="*/ 1650690 h 3272755"/>
              <a:gd name="connsiteX237" fmla="*/ 2459456 w 4196341"/>
              <a:gd name="connsiteY237" fmla="*/ 1555274 h 3272755"/>
              <a:gd name="connsiteX238" fmla="*/ 2475359 w 4196341"/>
              <a:gd name="connsiteY238" fmla="*/ 1531420 h 3272755"/>
              <a:gd name="connsiteX239" fmla="*/ 2499213 w 4196341"/>
              <a:gd name="connsiteY239" fmla="*/ 1507566 h 3272755"/>
              <a:gd name="connsiteX240" fmla="*/ 2538969 w 4196341"/>
              <a:gd name="connsiteY240" fmla="*/ 1451907 h 3272755"/>
              <a:gd name="connsiteX241" fmla="*/ 2578726 w 4196341"/>
              <a:gd name="connsiteY241" fmla="*/ 1380345 h 3272755"/>
              <a:gd name="connsiteX242" fmla="*/ 2594629 w 4196341"/>
              <a:gd name="connsiteY242" fmla="*/ 1356491 h 3272755"/>
              <a:gd name="connsiteX243" fmla="*/ 2650288 w 4196341"/>
              <a:gd name="connsiteY243" fmla="*/ 1332637 h 3272755"/>
              <a:gd name="connsiteX244" fmla="*/ 2658239 w 4196341"/>
              <a:gd name="connsiteY244" fmla="*/ 1221319 h 3272755"/>
              <a:gd name="connsiteX245" fmla="*/ 2658239 w 4196341"/>
              <a:gd name="connsiteY245" fmla="*/ 1141806 h 3272755"/>
              <a:gd name="connsiteX246" fmla="*/ 2682093 w 4196341"/>
              <a:gd name="connsiteY246" fmla="*/ 1133855 h 3272755"/>
              <a:gd name="connsiteX247" fmla="*/ 2753655 w 4196341"/>
              <a:gd name="connsiteY247" fmla="*/ 1189514 h 3272755"/>
              <a:gd name="connsiteX248" fmla="*/ 2801363 w 4196341"/>
              <a:gd name="connsiteY248" fmla="*/ 1221319 h 3272755"/>
              <a:gd name="connsiteX249" fmla="*/ 2825216 w 4196341"/>
              <a:gd name="connsiteY249" fmla="*/ 1237222 h 3272755"/>
              <a:gd name="connsiteX250" fmla="*/ 2849070 w 4196341"/>
              <a:gd name="connsiteY250" fmla="*/ 1221319 h 3272755"/>
              <a:gd name="connsiteX251" fmla="*/ 2872924 w 4196341"/>
              <a:gd name="connsiteY251" fmla="*/ 1133855 h 3272755"/>
              <a:gd name="connsiteX252" fmla="*/ 2896778 w 4196341"/>
              <a:gd name="connsiteY252" fmla="*/ 1125904 h 3272755"/>
              <a:gd name="connsiteX253" fmla="*/ 2912681 w 4196341"/>
              <a:gd name="connsiteY253" fmla="*/ 1054342 h 3272755"/>
              <a:gd name="connsiteX254" fmla="*/ 2864973 w 4196341"/>
              <a:gd name="connsiteY254" fmla="*/ 1022537 h 3272755"/>
              <a:gd name="connsiteX255" fmla="*/ 2857022 w 4196341"/>
              <a:gd name="connsiteY255" fmla="*/ 943024 h 3272755"/>
              <a:gd name="connsiteX256" fmla="*/ 2888827 w 4196341"/>
              <a:gd name="connsiteY256" fmla="*/ 895316 h 3272755"/>
              <a:gd name="connsiteX257" fmla="*/ 2857022 w 4196341"/>
              <a:gd name="connsiteY257" fmla="*/ 799900 h 3272755"/>
              <a:gd name="connsiteX258" fmla="*/ 2841119 w 4196341"/>
              <a:gd name="connsiteY258" fmla="*/ 776046 h 3272755"/>
              <a:gd name="connsiteX259" fmla="*/ 2793411 w 4196341"/>
              <a:gd name="connsiteY259" fmla="*/ 760144 h 3272755"/>
              <a:gd name="connsiteX260" fmla="*/ 2769557 w 4196341"/>
              <a:gd name="connsiteY260" fmla="*/ 752192 h 3272755"/>
              <a:gd name="connsiteX261" fmla="*/ 2745703 w 4196341"/>
              <a:gd name="connsiteY261" fmla="*/ 744241 h 3272755"/>
              <a:gd name="connsiteX262" fmla="*/ 2721849 w 4196341"/>
              <a:gd name="connsiteY262" fmla="*/ 887364 h 3272755"/>
              <a:gd name="connsiteX263" fmla="*/ 2713898 w 4196341"/>
              <a:gd name="connsiteY263" fmla="*/ 919170 h 3272755"/>
              <a:gd name="connsiteX264" fmla="*/ 2690044 w 4196341"/>
              <a:gd name="connsiteY264" fmla="*/ 935072 h 3272755"/>
              <a:gd name="connsiteX265" fmla="*/ 2674142 w 4196341"/>
              <a:gd name="connsiteY265" fmla="*/ 966877 h 3272755"/>
              <a:gd name="connsiteX266" fmla="*/ 2666190 w 4196341"/>
              <a:gd name="connsiteY266" fmla="*/ 990731 h 3272755"/>
              <a:gd name="connsiteX267" fmla="*/ 2642336 w 4196341"/>
              <a:gd name="connsiteY267" fmla="*/ 1038439 h 3272755"/>
              <a:gd name="connsiteX268" fmla="*/ 2602580 w 4196341"/>
              <a:gd name="connsiteY268" fmla="*/ 1030488 h 3272755"/>
              <a:gd name="connsiteX269" fmla="*/ 2578726 w 4196341"/>
              <a:gd name="connsiteY269" fmla="*/ 966877 h 3272755"/>
              <a:gd name="connsiteX270" fmla="*/ 2546921 w 4196341"/>
              <a:gd name="connsiteY270" fmla="*/ 847608 h 3272755"/>
              <a:gd name="connsiteX271" fmla="*/ 2499213 w 4196341"/>
              <a:gd name="connsiteY271" fmla="*/ 855559 h 3272755"/>
              <a:gd name="connsiteX272" fmla="*/ 2491262 w 4196341"/>
              <a:gd name="connsiteY272" fmla="*/ 879413 h 3272755"/>
              <a:gd name="connsiteX273" fmla="*/ 2467408 w 4196341"/>
              <a:gd name="connsiteY273" fmla="*/ 871462 h 3272755"/>
              <a:gd name="connsiteX274" fmla="*/ 2459456 w 4196341"/>
              <a:gd name="connsiteY274" fmla="*/ 847608 h 3272755"/>
              <a:gd name="connsiteX275" fmla="*/ 2443554 w 4196341"/>
              <a:gd name="connsiteY275" fmla="*/ 815803 h 3272755"/>
              <a:gd name="connsiteX276" fmla="*/ 2443554 w 4196341"/>
              <a:gd name="connsiteY276" fmla="*/ 768095 h 3272755"/>
              <a:gd name="connsiteX277" fmla="*/ 2419700 w 4196341"/>
              <a:gd name="connsiteY277" fmla="*/ 760144 h 3272755"/>
              <a:gd name="connsiteX278" fmla="*/ 2364041 w 4196341"/>
              <a:gd name="connsiteY278" fmla="*/ 704484 h 3272755"/>
              <a:gd name="connsiteX279" fmla="*/ 2379943 w 4196341"/>
              <a:gd name="connsiteY279" fmla="*/ 672679 h 3272755"/>
              <a:gd name="connsiteX280" fmla="*/ 2395846 w 4196341"/>
              <a:gd name="connsiteY280" fmla="*/ 648825 h 3272755"/>
              <a:gd name="connsiteX281" fmla="*/ 2356089 w 4196341"/>
              <a:gd name="connsiteY281" fmla="*/ 601117 h 3272755"/>
              <a:gd name="connsiteX282" fmla="*/ 2348138 w 4196341"/>
              <a:gd name="connsiteY282" fmla="*/ 577264 h 3272755"/>
              <a:gd name="connsiteX283" fmla="*/ 2340187 w 4196341"/>
              <a:gd name="connsiteY283" fmla="*/ 442091 h 3272755"/>
              <a:gd name="connsiteX284" fmla="*/ 2316333 w 4196341"/>
              <a:gd name="connsiteY284" fmla="*/ 426189 h 3272755"/>
              <a:gd name="connsiteX285" fmla="*/ 2300430 w 4196341"/>
              <a:gd name="connsiteY285" fmla="*/ 378481 h 3272755"/>
              <a:gd name="connsiteX286" fmla="*/ 2308382 w 4196341"/>
              <a:gd name="connsiteY286" fmla="*/ 354627 h 3272755"/>
              <a:gd name="connsiteX287" fmla="*/ 2324284 w 4196341"/>
              <a:gd name="connsiteY287" fmla="*/ 330773 h 3272755"/>
              <a:gd name="connsiteX288" fmla="*/ 2348138 w 4196341"/>
              <a:gd name="connsiteY288" fmla="*/ 267163 h 3272755"/>
              <a:gd name="connsiteX289" fmla="*/ 2395846 w 4196341"/>
              <a:gd name="connsiteY289" fmla="*/ 259211 h 3272755"/>
              <a:gd name="connsiteX290" fmla="*/ 2411749 w 4196341"/>
              <a:gd name="connsiteY290" fmla="*/ 211504 h 3272755"/>
              <a:gd name="connsiteX291" fmla="*/ 2419700 w 4196341"/>
              <a:gd name="connsiteY291" fmla="*/ 147893 h 3272755"/>
              <a:gd name="connsiteX292" fmla="*/ 2467408 w 4196341"/>
              <a:gd name="connsiteY292" fmla="*/ 108137 h 3272755"/>
              <a:gd name="connsiteX293" fmla="*/ 2244771 w 4196341"/>
              <a:gd name="connsiteY293" fmla="*/ 68380 h 3272755"/>
              <a:gd name="connsiteX294" fmla="*/ 2228869 w 4196341"/>
              <a:gd name="connsiteY294" fmla="*/ 116088 h 3272755"/>
              <a:gd name="connsiteX295" fmla="*/ 2220917 w 4196341"/>
              <a:gd name="connsiteY295" fmla="*/ 179698 h 3272755"/>
              <a:gd name="connsiteX296" fmla="*/ 2212966 w 4196341"/>
              <a:gd name="connsiteY296" fmla="*/ 203552 h 3272755"/>
              <a:gd name="connsiteX297" fmla="*/ 2220917 w 4196341"/>
              <a:gd name="connsiteY297" fmla="*/ 306919 h 3272755"/>
              <a:gd name="connsiteX298" fmla="*/ 2252723 w 4196341"/>
              <a:gd name="connsiteY298" fmla="*/ 362578 h 3272755"/>
              <a:gd name="connsiteX299" fmla="*/ 2252723 w 4196341"/>
              <a:gd name="connsiteY299" fmla="*/ 434140 h 3272755"/>
              <a:gd name="connsiteX300" fmla="*/ 2228869 w 4196341"/>
              <a:gd name="connsiteY300" fmla="*/ 450043 h 3272755"/>
              <a:gd name="connsiteX301" fmla="*/ 2205015 w 4196341"/>
              <a:gd name="connsiteY301" fmla="*/ 497750 h 3272755"/>
              <a:gd name="connsiteX302" fmla="*/ 2197063 w 4196341"/>
              <a:gd name="connsiteY302" fmla="*/ 561361 h 3272755"/>
              <a:gd name="connsiteX303" fmla="*/ 2173209 w 4196341"/>
              <a:gd name="connsiteY303" fmla="*/ 577264 h 3272755"/>
              <a:gd name="connsiteX304" fmla="*/ 2181161 w 4196341"/>
              <a:gd name="connsiteY304" fmla="*/ 712436 h 3272755"/>
              <a:gd name="connsiteX305" fmla="*/ 2197063 w 4196341"/>
              <a:gd name="connsiteY305" fmla="*/ 760144 h 3272755"/>
              <a:gd name="connsiteX306" fmla="*/ 2205015 w 4196341"/>
              <a:gd name="connsiteY306" fmla="*/ 783997 h 3272755"/>
              <a:gd name="connsiteX307" fmla="*/ 2276576 w 4196341"/>
              <a:gd name="connsiteY307" fmla="*/ 799900 h 3272755"/>
              <a:gd name="connsiteX308" fmla="*/ 2284528 w 4196341"/>
              <a:gd name="connsiteY308" fmla="*/ 847608 h 3272755"/>
              <a:gd name="connsiteX309" fmla="*/ 2308382 w 4196341"/>
              <a:gd name="connsiteY309" fmla="*/ 863510 h 3272755"/>
              <a:gd name="connsiteX310" fmla="*/ 2276576 w 4196341"/>
              <a:gd name="connsiteY310" fmla="*/ 919170 h 3272755"/>
              <a:gd name="connsiteX311" fmla="*/ 2244771 w 4196341"/>
              <a:gd name="connsiteY311" fmla="*/ 974829 h 3272755"/>
              <a:gd name="connsiteX312" fmla="*/ 2197063 w 4196341"/>
              <a:gd name="connsiteY312" fmla="*/ 990731 h 3272755"/>
              <a:gd name="connsiteX313" fmla="*/ 2189112 w 4196341"/>
              <a:gd name="connsiteY313" fmla="*/ 1014585 h 3272755"/>
              <a:gd name="connsiteX314" fmla="*/ 2181161 w 4196341"/>
              <a:gd name="connsiteY314" fmla="*/ 990731 h 3272755"/>
              <a:gd name="connsiteX315" fmla="*/ 2149356 w 4196341"/>
              <a:gd name="connsiteY315" fmla="*/ 943024 h 3272755"/>
              <a:gd name="connsiteX316" fmla="*/ 2149356 w 4196341"/>
              <a:gd name="connsiteY316" fmla="*/ 895316 h 3272755"/>
              <a:gd name="connsiteX317" fmla="*/ 2173209 w 4196341"/>
              <a:gd name="connsiteY317" fmla="*/ 887364 h 3272755"/>
              <a:gd name="connsiteX318" fmla="*/ 2212966 w 4196341"/>
              <a:gd name="connsiteY318" fmla="*/ 895316 h 3272755"/>
              <a:gd name="connsiteX319" fmla="*/ 2236820 w 4196341"/>
              <a:gd name="connsiteY319" fmla="*/ 887364 h 3272755"/>
              <a:gd name="connsiteX320" fmla="*/ 2197063 w 4196341"/>
              <a:gd name="connsiteY320" fmla="*/ 847608 h 3272755"/>
              <a:gd name="connsiteX321" fmla="*/ 2181161 w 4196341"/>
              <a:gd name="connsiteY321" fmla="*/ 823754 h 3272755"/>
              <a:gd name="connsiteX322" fmla="*/ 2157307 w 4196341"/>
              <a:gd name="connsiteY322" fmla="*/ 776046 h 3272755"/>
              <a:gd name="connsiteX323" fmla="*/ 2133453 w 4196341"/>
              <a:gd name="connsiteY323" fmla="*/ 760144 h 3272755"/>
              <a:gd name="connsiteX324" fmla="*/ 2101648 w 4196341"/>
              <a:gd name="connsiteY324" fmla="*/ 712436 h 3272755"/>
              <a:gd name="connsiteX325" fmla="*/ 2069843 w 4196341"/>
              <a:gd name="connsiteY325" fmla="*/ 728338 h 3272755"/>
              <a:gd name="connsiteX326" fmla="*/ 2061891 w 4196341"/>
              <a:gd name="connsiteY326" fmla="*/ 752192 h 3272755"/>
              <a:gd name="connsiteX327" fmla="*/ 2038037 w 4196341"/>
              <a:gd name="connsiteY327" fmla="*/ 799900 h 3272755"/>
              <a:gd name="connsiteX328" fmla="*/ 2030086 w 4196341"/>
              <a:gd name="connsiteY328" fmla="*/ 855559 h 3272755"/>
              <a:gd name="connsiteX329" fmla="*/ 2038037 w 4196341"/>
              <a:gd name="connsiteY329" fmla="*/ 879413 h 3272755"/>
              <a:gd name="connsiteX330" fmla="*/ 2085745 w 4196341"/>
              <a:gd name="connsiteY330" fmla="*/ 895316 h 3272755"/>
              <a:gd name="connsiteX331" fmla="*/ 2093696 w 4196341"/>
              <a:gd name="connsiteY331" fmla="*/ 919170 h 3272755"/>
              <a:gd name="connsiteX332" fmla="*/ 2045989 w 4196341"/>
              <a:gd name="connsiteY332" fmla="*/ 958926 h 3272755"/>
              <a:gd name="connsiteX333" fmla="*/ 1815401 w 4196341"/>
              <a:gd name="connsiteY333" fmla="*/ 974829 h 3272755"/>
              <a:gd name="connsiteX334" fmla="*/ 1791547 w 4196341"/>
              <a:gd name="connsiteY334" fmla="*/ 966877 h 3272755"/>
              <a:gd name="connsiteX335" fmla="*/ 1743839 w 4196341"/>
              <a:gd name="connsiteY335" fmla="*/ 935072 h 3272755"/>
              <a:gd name="connsiteX336" fmla="*/ 1727936 w 4196341"/>
              <a:gd name="connsiteY336" fmla="*/ 911218 h 3272755"/>
              <a:gd name="connsiteX337" fmla="*/ 1648423 w 4196341"/>
              <a:gd name="connsiteY337" fmla="*/ 903267 h 3272755"/>
              <a:gd name="connsiteX338" fmla="*/ 1608667 w 4196341"/>
              <a:gd name="connsiteY338" fmla="*/ 943024 h 3272755"/>
              <a:gd name="connsiteX339" fmla="*/ 1624569 w 4196341"/>
              <a:gd name="connsiteY339" fmla="*/ 990731 h 3272755"/>
              <a:gd name="connsiteX340" fmla="*/ 1616618 w 4196341"/>
              <a:gd name="connsiteY340" fmla="*/ 1022537 h 3272755"/>
              <a:gd name="connsiteX341" fmla="*/ 1553008 w 4196341"/>
              <a:gd name="connsiteY341" fmla="*/ 990731 h 3272755"/>
              <a:gd name="connsiteX342" fmla="*/ 1481446 w 4196341"/>
              <a:gd name="connsiteY342" fmla="*/ 998683 h 3272755"/>
              <a:gd name="connsiteX343" fmla="*/ 1457592 w 4196341"/>
              <a:gd name="connsiteY343" fmla="*/ 1006634 h 3272755"/>
              <a:gd name="connsiteX344" fmla="*/ 1378079 w 4196341"/>
              <a:gd name="connsiteY344" fmla="*/ 998683 h 3272755"/>
              <a:gd name="connsiteX345" fmla="*/ 1354225 w 4196341"/>
              <a:gd name="connsiteY345" fmla="*/ 990731 h 3272755"/>
              <a:gd name="connsiteX346" fmla="*/ 1282663 w 4196341"/>
              <a:gd name="connsiteY346" fmla="*/ 982780 h 3272755"/>
              <a:gd name="connsiteX347" fmla="*/ 1266761 w 4196341"/>
              <a:gd name="connsiteY347" fmla="*/ 950975 h 3272755"/>
              <a:gd name="connsiteX348" fmla="*/ 1282663 w 4196341"/>
              <a:gd name="connsiteY348" fmla="*/ 927121 h 3272755"/>
              <a:gd name="connsiteX349" fmla="*/ 1314469 w 4196341"/>
              <a:gd name="connsiteY349" fmla="*/ 919170 h 3272755"/>
              <a:gd name="connsiteX350" fmla="*/ 1338323 w 4196341"/>
              <a:gd name="connsiteY350" fmla="*/ 911218 h 3272755"/>
              <a:gd name="connsiteX351" fmla="*/ 1330371 w 4196341"/>
              <a:gd name="connsiteY351" fmla="*/ 863510 h 3272755"/>
              <a:gd name="connsiteX352" fmla="*/ 1290615 w 4196341"/>
              <a:gd name="connsiteY352" fmla="*/ 823754 h 3272755"/>
              <a:gd name="connsiteX353" fmla="*/ 1258809 w 4196341"/>
              <a:gd name="connsiteY353" fmla="*/ 807851 h 3272755"/>
              <a:gd name="connsiteX354" fmla="*/ 1099783 w 4196341"/>
              <a:gd name="connsiteY354" fmla="*/ 791949 h 3272755"/>
              <a:gd name="connsiteX355" fmla="*/ 1052076 w 4196341"/>
              <a:gd name="connsiteY355" fmla="*/ 776046 h 3272755"/>
              <a:gd name="connsiteX356" fmla="*/ 1028222 w 4196341"/>
              <a:gd name="connsiteY356" fmla="*/ 760144 h 3272755"/>
              <a:gd name="connsiteX357" fmla="*/ 980514 w 4196341"/>
              <a:gd name="connsiteY357" fmla="*/ 744241 h 3272755"/>
              <a:gd name="connsiteX358" fmla="*/ 956660 w 4196341"/>
              <a:gd name="connsiteY358" fmla="*/ 736290 h 3272755"/>
              <a:gd name="connsiteX359" fmla="*/ 908952 w 4196341"/>
              <a:gd name="connsiteY359" fmla="*/ 744241 h 3272755"/>
              <a:gd name="connsiteX360" fmla="*/ 861244 w 4196341"/>
              <a:gd name="connsiteY360" fmla="*/ 776046 h 3272755"/>
              <a:gd name="connsiteX361" fmla="*/ 837390 w 4196341"/>
              <a:gd name="connsiteY361" fmla="*/ 704484 h 3272755"/>
              <a:gd name="connsiteX362" fmla="*/ 797634 w 4196341"/>
              <a:gd name="connsiteY362" fmla="*/ 720387 h 3272755"/>
              <a:gd name="connsiteX363" fmla="*/ 773780 w 4196341"/>
              <a:gd name="connsiteY363" fmla="*/ 768095 h 3272755"/>
              <a:gd name="connsiteX364" fmla="*/ 749926 w 4196341"/>
              <a:gd name="connsiteY364" fmla="*/ 744241 h 3272755"/>
              <a:gd name="connsiteX365" fmla="*/ 670413 w 4196341"/>
              <a:gd name="connsiteY365" fmla="*/ 704484 h 3272755"/>
              <a:gd name="connsiteX366" fmla="*/ 646559 w 4196341"/>
              <a:gd name="connsiteY366" fmla="*/ 680630 h 3272755"/>
              <a:gd name="connsiteX367" fmla="*/ 598851 w 4196341"/>
              <a:gd name="connsiteY367" fmla="*/ 696533 h 3272755"/>
              <a:gd name="connsiteX368" fmla="*/ 567046 w 4196341"/>
              <a:gd name="connsiteY368" fmla="*/ 688582 h 3272755"/>
              <a:gd name="connsiteX369" fmla="*/ 543192 w 4196341"/>
              <a:gd name="connsiteY369" fmla="*/ 672679 h 3272755"/>
              <a:gd name="connsiteX370" fmla="*/ 495484 w 4196341"/>
              <a:gd name="connsiteY370" fmla="*/ 680630 h 3272755"/>
              <a:gd name="connsiteX371" fmla="*/ 447776 w 4196341"/>
              <a:gd name="connsiteY371" fmla="*/ 712436 h 3272755"/>
              <a:gd name="connsiteX372" fmla="*/ 376215 w 4196341"/>
              <a:gd name="connsiteY372" fmla="*/ 752192 h 3272755"/>
              <a:gd name="connsiteX373" fmla="*/ 352361 w 4196341"/>
              <a:gd name="connsiteY373" fmla="*/ 776046 h 3272755"/>
              <a:gd name="connsiteX374" fmla="*/ 304653 w 4196341"/>
              <a:gd name="connsiteY374" fmla="*/ 791949 h 3272755"/>
              <a:gd name="connsiteX375" fmla="*/ 280799 w 4196341"/>
              <a:gd name="connsiteY375" fmla="*/ 815803 h 3272755"/>
              <a:gd name="connsiteX376" fmla="*/ 264896 w 4196341"/>
              <a:gd name="connsiteY376" fmla="*/ 871462 h 3272755"/>
              <a:gd name="connsiteX377" fmla="*/ 185383 w 4196341"/>
              <a:gd name="connsiteY377" fmla="*/ 831705 h 3272755"/>
              <a:gd name="connsiteX378" fmla="*/ 161529 w 4196341"/>
              <a:gd name="connsiteY378" fmla="*/ 815803 h 3272755"/>
              <a:gd name="connsiteX379" fmla="*/ 113822 w 4196341"/>
              <a:gd name="connsiteY379" fmla="*/ 807851 h 3272755"/>
              <a:gd name="connsiteX380" fmla="*/ 89968 w 4196341"/>
              <a:gd name="connsiteY380" fmla="*/ 799900 h 3272755"/>
              <a:gd name="connsiteX381" fmla="*/ 58163 w 4196341"/>
              <a:gd name="connsiteY381" fmla="*/ 791949 h 3272755"/>
              <a:gd name="connsiteX382" fmla="*/ 18406 w 4196341"/>
              <a:gd name="connsiteY382" fmla="*/ 791949 h 32727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</a:cxnLst>
            <a:rect l="l" t="t" r="r" b="b"/>
            <a:pathLst>
              <a:path w="4196341" h="3272755">
                <a:moveTo>
                  <a:pt x="18406" y="791949"/>
                </a:moveTo>
                <a:cubicBezTo>
                  <a:pt x="11780" y="966878"/>
                  <a:pt x="0" y="1554387"/>
                  <a:pt x="18406" y="1841521"/>
                </a:cubicBezTo>
                <a:cubicBezTo>
                  <a:pt x="19105" y="1852427"/>
                  <a:pt x="39459" y="1847517"/>
                  <a:pt x="50211" y="1849472"/>
                </a:cubicBezTo>
                <a:cubicBezTo>
                  <a:pt x="68650" y="1852825"/>
                  <a:pt x="87317" y="1854773"/>
                  <a:pt x="105870" y="1857424"/>
                </a:cubicBezTo>
                <a:cubicBezTo>
                  <a:pt x="113821" y="1865375"/>
                  <a:pt x="122525" y="1872639"/>
                  <a:pt x="129724" y="1881277"/>
                </a:cubicBezTo>
                <a:cubicBezTo>
                  <a:pt x="135842" y="1888618"/>
                  <a:pt x="137676" y="1899830"/>
                  <a:pt x="145627" y="1905131"/>
                </a:cubicBezTo>
                <a:cubicBezTo>
                  <a:pt x="154720" y="1911193"/>
                  <a:pt x="166924" y="1910081"/>
                  <a:pt x="177432" y="1913083"/>
                </a:cubicBezTo>
                <a:cubicBezTo>
                  <a:pt x="185491" y="1915386"/>
                  <a:pt x="193335" y="1918384"/>
                  <a:pt x="201286" y="1921034"/>
                </a:cubicBezTo>
                <a:cubicBezTo>
                  <a:pt x="209622" y="1946043"/>
                  <a:pt x="207565" y="1951725"/>
                  <a:pt x="233091" y="1968742"/>
                </a:cubicBezTo>
                <a:cubicBezTo>
                  <a:pt x="240065" y="1973391"/>
                  <a:pt x="248994" y="1974043"/>
                  <a:pt x="256945" y="1976693"/>
                </a:cubicBezTo>
                <a:cubicBezTo>
                  <a:pt x="259027" y="1976173"/>
                  <a:pt x="307417" y="1964940"/>
                  <a:pt x="312604" y="1960790"/>
                </a:cubicBezTo>
                <a:cubicBezTo>
                  <a:pt x="320066" y="1954820"/>
                  <a:pt x="323206" y="1944888"/>
                  <a:pt x="328507" y="1936937"/>
                </a:cubicBezTo>
                <a:cubicBezTo>
                  <a:pt x="339109" y="1939587"/>
                  <a:pt x="351219" y="1938826"/>
                  <a:pt x="360312" y="1944888"/>
                </a:cubicBezTo>
                <a:cubicBezTo>
                  <a:pt x="389041" y="1964041"/>
                  <a:pt x="366022" y="1969916"/>
                  <a:pt x="384166" y="1992596"/>
                </a:cubicBezTo>
                <a:cubicBezTo>
                  <a:pt x="390136" y="2000058"/>
                  <a:pt x="400069" y="2003197"/>
                  <a:pt x="408020" y="2008498"/>
                </a:cubicBezTo>
                <a:cubicBezTo>
                  <a:pt x="425445" y="2034634"/>
                  <a:pt x="423644" y="2027400"/>
                  <a:pt x="431874" y="2056206"/>
                </a:cubicBezTo>
                <a:cubicBezTo>
                  <a:pt x="437533" y="2076013"/>
                  <a:pt x="437794" y="2097518"/>
                  <a:pt x="455728" y="2111865"/>
                </a:cubicBezTo>
                <a:cubicBezTo>
                  <a:pt x="462273" y="2117101"/>
                  <a:pt x="471631" y="2117166"/>
                  <a:pt x="479582" y="2119817"/>
                </a:cubicBezTo>
                <a:cubicBezTo>
                  <a:pt x="498134" y="2175475"/>
                  <a:pt x="479582" y="2162223"/>
                  <a:pt x="519338" y="2175476"/>
                </a:cubicBezTo>
                <a:cubicBezTo>
                  <a:pt x="527289" y="2183427"/>
                  <a:pt x="534553" y="2192131"/>
                  <a:pt x="543192" y="2199330"/>
                </a:cubicBezTo>
                <a:cubicBezTo>
                  <a:pt x="550533" y="2205448"/>
                  <a:pt x="561076" y="2207770"/>
                  <a:pt x="567046" y="2215232"/>
                </a:cubicBezTo>
                <a:cubicBezTo>
                  <a:pt x="610941" y="2270101"/>
                  <a:pt x="530486" y="2209411"/>
                  <a:pt x="598851" y="2254989"/>
                </a:cubicBezTo>
                <a:cubicBezTo>
                  <a:pt x="593846" y="2290023"/>
                  <a:pt x="599105" y="2310395"/>
                  <a:pt x="574997" y="2334502"/>
                </a:cubicBezTo>
                <a:cubicBezTo>
                  <a:pt x="568240" y="2341259"/>
                  <a:pt x="559094" y="2345103"/>
                  <a:pt x="551143" y="2350404"/>
                </a:cubicBezTo>
                <a:cubicBezTo>
                  <a:pt x="553794" y="2366307"/>
                  <a:pt x="553997" y="2382817"/>
                  <a:pt x="559095" y="2398112"/>
                </a:cubicBezTo>
                <a:cubicBezTo>
                  <a:pt x="565456" y="2417195"/>
                  <a:pt x="581888" y="2429387"/>
                  <a:pt x="598851" y="2437869"/>
                </a:cubicBezTo>
                <a:cubicBezTo>
                  <a:pt x="606348" y="2441617"/>
                  <a:pt x="614754" y="2443170"/>
                  <a:pt x="622705" y="2445820"/>
                </a:cubicBezTo>
                <a:cubicBezTo>
                  <a:pt x="625355" y="2453771"/>
                  <a:pt x="626908" y="2462177"/>
                  <a:pt x="630656" y="2469674"/>
                </a:cubicBezTo>
                <a:cubicBezTo>
                  <a:pt x="634930" y="2478221"/>
                  <a:pt x="642795" y="2484744"/>
                  <a:pt x="646559" y="2493528"/>
                </a:cubicBezTo>
                <a:cubicBezTo>
                  <a:pt x="653203" y="2509031"/>
                  <a:pt x="653616" y="2533706"/>
                  <a:pt x="662462" y="2549187"/>
                </a:cubicBezTo>
                <a:cubicBezTo>
                  <a:pt x="676872" y="2574404"/>
                  <a:pt x="689910" y="2580229"/>
                  <a:pt x="702218" y="2604846"/>
                </a:cubicBezTo>
                <a:cubicBezTo>
                  <a:pt x="725231" y="2650874"/>
                  <a:pt x="688805" y="2607336"/>
                  <a:pt x="734023" y="2652554"/>
                </a:cubicBezTo>
                <a:cubicBezTo>
                  <a:pt x="726072" y="2655204"/>
                  <a:pt x="718300" y="2658472"/>
                  <a:pt x="710169" y="2660505"/>
                </a:cubicBezTo>
                <a:cubicBezTo>
                  <a:pt x="697058" y="2663783"/>
                  <a:pt x="678855" y="2657904"/>
                  <a:pt x="670413" y="2668457"/>
                </a:cubicBezTo>
                <a:cubicBezTo>
                  <a:pt x="669841" y="2669173"/>
                  <a:pt x="683004" y="2719977"/>
                  <a:pt x="686316" y="2724116"/>
                </a:cubicBezTo>
                <a:cubicBezTo>
                  <a:pt x="692286" y="2731578"/>
                  <a:pt x="701622" y="2735744"/>
                  <a:pt x="710169" y="2740018"/>
                </a:cubicBezTo>
                <a:cubicBezTo>
                  <a:pt x="723537" y="2746702"/>
                  <a:pt x="753082" y="2752097"/>
                  <a:pt x="765829" y="2755921"/>
                </a:cubicBezTo>
                <a:cubicBezTo>
                  <a:pt x="781885" y="2760738"/>
                  <a:pt x="797634" y="2766523"/>
                  <a:pt x="813536" y="2771824"/>
                </a:cubicBezTo>
                <a:cubicBezTo>
                  <a:pt x="821487" y="2774474"/>
                  <a:pt x="830416" y="2775126"/>
                  <a:pt x="837390" y="2779775"/>
                </a:cubicBezTo>
                <a:lnTo>
                  <a:pt x="861244" y="2795677"/>
                </a:lnTo>
                <a:cubicBezTo>
                  <a:pt x="863895" y="2803628"/>
                  <a:pt x="861414" y="2816418"/>
                  <a:pt x="869196" y="2819531"/>
                </a:cubicBezTo>
                <a:cubicBezTo>
                  <a:pt x="926585" y="2842487"/>
                  <a:pt x="884535" y="2770994"/>
                  <a:pt x="908952" y="2763872"/>
                </a:cubicBezTo>
                <a:cubicBezTo>
                  <a:pt x="967529" y="2746787"/>
                  <a:pt x="1030872" y="2758571"/>
                  <a:pt x="1091832" y="2755921"/>
                </a:cubicBezTo>
                <a:cubicBezTo>
                  <a:pt x="1158093" y="2758571"/>
                  <a:pt x="1224470" y="2759147"/>
                  <a:pt x="1290615" y="2763872"/>
                </a:cubicBezTo>
                <a:cubicBezTo>
                  <a:pt x="1298975" y="2764469"/>
                  <a:pt x="1306152" y="2770784"/>
                  <a:pt x="1314469" y="2771824"/>
                </a:cubicBezTo>
                <a:cubicBezTo>
                  <a:pt x="1348760" y="2776110"/>
                  <a:pt x="1383398" y="2776905"/>
                  <a:pt x="1417836" y="2779775"/>
                </a:cubicBezTo>
                <a:lnTo>
                  <a:pt x="1505300" y="2787726"/>
                </a:lnTo>
                <a:cubicBezTo>
                  <a:pt x="1558309" y="2785076"/>
                  <a:pt x="1611420" y="2784007"/>
                  <a:pt x="1664326" y="2779775"/>
                </a:cubicBezTo>
                <a:cubicBezTo>
                  <a:pt x="1677798" y="2778697"/>
                  <a:pt x="1690725" y="2773879"/>
                  <a:pt x="1704083" y="2771824"/>
                </a:cubicBezTo>
                <a:cubicBezTo>
                  <a:pt x="1725203" y="2768575"/>
                  <a:pt x="1746490" y="2766523"/>
                  <a:pt x="1767693" y="2763872"/>
                </a:cubicBezTo>
                <a:cubicBezTo>
                  <a:pt x="1792292" y="2755673"/>
                  <a:pt x="1811267" y="2747970"/>
                  <a:pt x="1839255" y="2747970"/>
                </a:cubicBezTo>
                <a:cubicBezTo>
                  <a:pt x="1879100" y="2747970"/>
                  <a:pt x="1918768" y="2753271"/>
                  <a:pt x="1958524" y="2755921"/>
                </a:cubicBezTo>
                <a:cubicBezTo>
                  <a:pt x="1977346" y="2762195"/>
                  <a:pt x="2002948" y="2771824"/>
                  <a:pt x="2022135" y="2771824"/>
                </a:cubicBezTo>
                <a:cubicBezTo>
                  <a:pt x="2056692" y="2771824"/>
                  <a:pt x="2091046" y="2766523"/>
                  <a:pt x="2125502" y="2763872"/>
                </a:cubicBezTo>
                <a:cubicBezTo>
                  <a:pt x="2138754" y="2761222"/>
                  <a:pt x="2152065" y="2758853"/>
                  <a:pt x="2165258" y="2755921"/>
                </a:cubicBezTo>
                <a:cubicBezTo>
                  <a:pt x="2175926" y="2753550"/>
                  <a:pt x="2186135" y="2747970"/>
                  <a:pt x="2197063" y="2747970"/>
                </a:cubicBezTo>
                <a:cubicBezTo>
                  <a:pt x="2226338" y="2747970"/>
                  <a:pt x="2255373" y="2753271"/>
                  <a:pt x="2284528" y="2755921"/>
                </a:cubicBezTo>
                <a:cubicBezTo>
                  <a:pt x="2292479" y="2758571"/>
                  <a:pt x="2301055" y="2759802"/>
                  <a:pt x="2308382" y="2763872"/>
                </a:cubicBezTo>
                <a:cubicBezTo>
                  <a:pt x="2325089" y="2773154"/>
                  <a:pt x="2337958" y="2789633"/>
                  <a:pt x="2356089" y="2795677"/>
                </a:cubicBezTo>
                <a:cubicBezTo>
                  <a:pt x="2436581" y="2822508"/>
                  <a:pt x="2387083" y="2810294"/>
                  <a:pt x="2507164" y="2819531"/>
                </a:cubicBezTo>
                <a:cubicBezTo>
                  <a:pt x="2561846" y="2783077"/>
                  <a:pt x="2536740" y="2793770"/>
                  <a:pt x="2578726" y="2779775"/>
                </a:cubicBezTo>
                <a:cubicBezTo>
                  <a:pt x="2607881" y="2782425"/>
                  <a:pt x="2638105" y="2779466"/>
                  <a:pt x="2666190" y="2787726"/>
                </a:cubicBezTo>
                <a:cubicBezTo>
                  <a:pt x="2684526" y="2793119"/>
                  <a:pt x="2713898" y="2819531"/>
                  <a:pt x="2713898" y="2819531"/>
                </a:cubicBezTo>
                <a:cubicBezTo>
                  <a:pt x="2716548" y="2830133"/>
                  <a:pt x="2715022" y="2842803"/>
                  <a:pt x="2721849" y="2851337"/>
                </a:cubicBezTo>
                <a:cubicBezTo>
                  <a:pt x="2727085" y="2857882"/>
                  <a:pt x="2739158" y="2854052"/>
                  <a:pt x="2745703" y="2859288"/>
                </a:cubicBezTo>
                <a:cubicBezTo>
                  <a:pt x="2753165" y="2865258"/>
                  <a:pt x="2756305" y="2875191"/>
                  <a:pt x="2761606" y="2883142"/>
                </a:cubicBezTo>
                <a:cubicBezTo>
                  <a:pt x="2764256" y="2891093"/>
                  <a:pt x="2767254" y="2898937"/>
                  <a:pt x="2769557" y="2906996"/>
                </a:cubicBezTo>
                <a:cubicBezTo>
                  <a:pt x="2772559" y="2917504"/>
                  <a:pt x="2771447" y="2929708"/>
                  <a:pt x="2777509" y="2938801"/>
                </a:cubicBezTo>
                <a:cubicBezTo>
                  <a:pt x="2782810" y="2946752"/>
                  <a:pt x="2792630" y="2950823"/>
                  <a:pt x="2801363" y="2954704"/>
                </a:cubicBezTo>
                <a:cubicBezTo>
                  <a:pt x="2816681" y="2961512"/>
                  <a:pt x="2833168" y="2965305"/>
                  <a:pt x="2849070" y="2970606"/>
                </a:cubicBezTo>
                <a:cubicBezTo>
                  <a:pt x="2857021" y="2973256"/>
                  <a:pt x="2864584" y="2977723"/>
                  <a:pt x="2872924" y="2978557"/>
                </a:cubicBezTo>
                <a:lnTo>
                  <a:pt x="2952437" y="2986509"/>
                </a:lnTo>
                <a:cubicBezTo>
                  <a:pt x="2998016" y="3054876"/>
                  <a:pt x="2943368" y="2968373"/>
                  <a:pt x="2976291" y="3034217"/>
                </a:cubicBezTo>
                <a:cubicBezTo>
                  <a:pt x="2980565" y="3042764"/>
                  <a:pt x="2986893" y="3050119"/>
                  <a:pt x="2992194" y="3058070"/>
                </a:cubicBezTo>
                <a:cubicBezTo>
                  <a:pt x="2984243" y="3063371"/>
                  <a:pt x="2977073" y="3070092"/>
                  <a:pt x="2968340" y="3073973"/>
                </a:cubicBezTo>
                <a:cubicBezTo>
                  <a:pt x="2953022" y="3080781"/>
                  <a:pt x="2920632" y="3089876"/>
                  <a:pt x="2920632" y="3089876"/>
                </a:cubicBezTo>
                <a:cubicBezTo>
                  <a:pt x="2915331" y="3097827"/>
                  <a:pt x="2907751" y="3104664"/>
                  <a:pt x="2904729" y="3113730"/>
                </a:cubicBezTo>
                <a:cubicBezTo>
                  <a:pt x="2899631" y="3129024"/>
                  <a:pt x="2903988" y="3147017"/>
                  <a:pt x="2896778" y="3161437"/>
                </a:cubicBezTo>
                <a:cubicBezTo>
                  <a:pt x="2892504" y="3169984"/>
                  <a:pt x="2880875" y="3172039"/>
                  <a:pt x="2872924" y="3177340"/>
                </a:cubicBezTo>
                <a:cubicBezTo>
                  <a:pt x="2863310" y="3206184"/>
                  <a:pt x="2850947" y="3231838"/>
                  <a:pt x="2872924" y="3264804"/>
                </a:cubicBezTo>
                <a:cubicBezTo>
                  <a:pt x="2878225" y="3272755"/>
                  <a:pt x="2889437" y="3255020"/>
                  <a:pt x="2896778" y="3248902"/>
                </a:cubicBezTo>
                <a:cubicBezTo>
                  <a:pt x="2905417" y="3241703"/>
                  <a:pt x="2911276" y="3231285"/>
                  <a:pt x="2920632" y="3225048"/>
                </a:cubicBezTo>
                <a:cubicBezTo>
                  <a:pt x="2927606" y="3220399"/>
                  <a:pt x="2936202" y="3218371"/>
                  <a:pt x="2944486" y="3217097"/>
                </a:cubicBezTo>
                <a:cubicBezTo>
                  <a:pt x="2970813" y="3213047"/>
                  <a:pt x="2997495" y="3211796"/>
                  <a:pt x="3023999" y="3209145"/>
                </a:cubicBezTo>
                <a:cubicBezTo>
                  <a:pt x="3049617" y="3132286"/>
                  <a:pt x="3022225" y="3240038"/>
                  <a:pt x="3008096" y="3169389"/>
                </a:cubicBezTo>
                <a:cubicBezTo>
                  <a:pt x="3006222" y="3160018"/>
                  <a:pt x="3016807" y="3151828"/>
                  <a:pt x="3023999" y="3145535"/>
                </a:cubicBezTo>
                <a:cubicBezTo>
                  <a:pt x="3071295" y="3104151"/>
                  <a:pt x="3073080" y="3113558"/>
                  <a:pt x="3135317" y="3105778"/>
                </a:cubicBezTo>
                <a:cubicBezTo>
                  <a:pt x="3143268" y="3100477"/>
                  <a:pt x="3154106" y="3097980"/>
                  <a:pt x="3159171" y="3089876"/>
                </a:cubicBezTo>
                <a:cubicBezTo>
                  <a:pt x="3192135" y="3037135"/>
                  <a:pt x="3153123" y="3049167"/>
                  <a:pt x="3198928" y="3026265"/>
                </a:cubicBezTo>
                <a:cubicBezTo>
                  <a:pt x="3206425" y="3022517"/>
                  <a:pt x="3214432" y="3019040"/>
                  <a:pt x="3222782" y="3018314"/>
                </a:cubicBezTo>
                <a:cubicBezTo>
                  <a:pt x="3275657" y="3013716"/>
                  <a:pt x="3328799" y="3013013"/>
                  <a:pt x="3381808" y="3010363"/>
                </a:cubicBezTo>
                <a:cubicBezTo>
                  <a:pt x="3399409" y="2998629"/>
                  <a:pt x="3417272" y="2988972"/>
                  <a:pt x="3429516" y="2970606"/>
                </a:cubicBezTo>
                <a:cubicBezTo>
                  <a:pt x="3434165" y="2963632"/>
                  <a:pt x="3433719" y="2954249"/>
                  <a:pt x="3437467" y="2946752"/>
                </a:cubicBezTo>
                <a:cubicBezTo>
                  <a:pt x="3441741" y="2938205"/>
                  <a:pt x="3449095" y="2931445"/>
                  <a:pt x="3453369" y="2922898"/>
                </a:cubicBezTo>
                <a:cubicBezTo>
                  <a:pt x="3486289" y="2857059"/>
                  <a:pt x="3431651" y="2943551"/>
                  <a:pt x="3477223" y="2875190"/>
                </a:cubicBezTo>
                <a:cubicBezTo>
                  <a:pt x="3495776" y="2877841"/>
                  <a:pt x="3517071" y="2873080"/>
                  <a:pt x="3532883" y="2883142"/>
                </a:cubicBezTo>
                <a:cubicBezTo>
                  <a:pt x="3532886" y="2883144"/>
                  <a:pt x="3572638" y="2942775"/>
                  <a:pt x="3580590" y="2954704"/>
                </a:cubicBezTo>
                <a:lnTo>
                  <a:pt x="3596493" y="2978557"/>
                </a:lnTo>
                <a:lnTo>
                  <a:pt x="3612396" y="3002411"/>
                </a:lnTo>
                <a:lnTo>
                  <a:pt x="3628298" y="3050119"/>
                </a:lnTo>
                <a:lnTo>
                  <a:pt x="3636249" y="3073973"/>
                </a:lnTo>
                <a:cubicBezTo>
                  <a:pt x="3679908" y="3008486"/>
                  <a:pt x="3649090" y="3023894"/>
                  <a:pt x="3731665" y="3034217"/>
                </a:cubicBezTo>
                <a:cubicBezTo>
                  <a:pt x="3729015" y="3044819"/>
                  <a:pt x="3729136" y="3056534"/>
                  <a:pt x="3723714" y="3066022"/>
                </a:cubicBezTo>
                <a:cubicBezTo>
                  <a:pt x="3710820" y="3088587"/>
                  <a:pt x="3689531" y="3095040"/>
                  <a:pt x="3668055" y="3105778"/>
                </a:cubicBezTo>
                <a:cubicBezTo>
                  <a:pt x="3665404" y="3113729"/>
                  <a:pt x="3656355" y="3122135"/>
                  <a:pt x="3660103" y="3129632"/>
                </a:cubicBezTo>
                <a:cubicBezTo>
                  <a:pt x="3663851" y="3137129"/>
                  <a:pt x="3675575" y="3137584"/>
                  <a:pt x="3683957" y="3137584"/>
                </a:cubicBezTo>
                <a:cubicBezTo>
                  <a:pt x="3702698" y="3137584"/>
                  <a:pt x="3721063" y="3132283"/>
                  <a:pt x="3739616" y="3129632"/>
                </a:cubicBezTo>
                <a:cubicBezTo>
                  <a:pt x="3755519" y="3124331"/>
                  <a:pt x="3775471" y="3125583"/>
                  <a:pt x="3787324" y="3113730"/>
                </a:cubicBezTo>
                <a:cubicBezTo>
                  <a:pt x="3802304" y="3098750"/>
                  <a:pt x="3815106" y="3082829"/>
                  <a:pt x="3835032" y="3073973"/>
                </a:cubicBezTo>
                <a:cubicBezTo>
                  <a:pt x="3850350" y="3067165"/>
                  <a:pt x="3866837" y="3063371"/>
                  <a:pt x="3882740" y="3058070"/>
                </a:cubicBezTo>
                <a:lnTo>
                  <a:pt x="3906594" y="3050119"/>
                </a:lnTo>
                <a:cubicBezTo>
                  <a:pt x="3914545" y="3047469"/>
                  <a:pt x="3922317" y="3044201"/>
                  <a:pt x="3930448" y="3042168"/>
                </a:cubicBezTo>
                <a:cubicBezTo>
                  <a:pt x="3970384" y="3032184"/>
                  <a:pt x="3951886" y="3037673"/>
                  <a:pt x="3986107" y="3026265"/>
                </a:cubicBezTo>
                <a:cubicBezTo>
                  <a:pt x="3984777" y="3016952"/>
                  <a:pt x="3976041" y="2932089"/>
                  <a:pt x="3962253" y="2922898"/>
                </a:cubicBezTo>
                <a:lnTo>
                  <a:pt x="3938399" y="2906996"/>
                </a:lnTo>
                <a:cubicBezTo>
                  <a:pt x="3930448" y="2912297"/>
                  <a:pt x="3919610" y="2914794"/>
                  <a:pt x="3914545" y="2922898"/>
                </a:cubicBezTo>
                <a:cubicBezTo>
                  <a:pt x="3875486" y="2985393"/>
                  <a:pt x="3924799" y="2961888"/>
                  <a:pt x="3874789" y="2978557"/>
                </a:cubicBezTo>
                <a:cubicBezTo>
                  <a:pt x="3820263" y="2960382"/>
                  <a:pt x="3881363" y="2988419"/>
                  <a:pt x="3842983" y="2930850"/>
                </a:cubicBezTo>
                <a:cubicBezTo>
                  <a:pt x="3838334" y="2923876"/>
                  <a:pt x="3827080" y="2925549"/>
                  <a:pt x="3819129" y="2922898"/>
                </a:cubicBezTo>
                <a:cubicBezTo>
                  <a:pt x="3803227" y="2925549"/>
                  <a:pt x="3786716" y="2925752"/>
                  <a:pt x="3771422" y="2930850"/>
                </a:cubicBezTo>
                <a:cubicBezTo>
                  <a:pt x="3762356" y="2933872"/>
                  <a:pt x="3756839" y="2949070"/>
                  <a:pt x="3747568" y="2946752"/>
                </a:cubicBezTo>
                <a:cubicBezTo>
                  <a:pt x="3739437" y="2944719"/>
                  <a:pt x="3742267" y="2930849"/>
                  <a:pt x="3739616" y="2922898"/>
                </a:cubicBezTo>
                <a:cubicBezTo>
                  <a:pt x="3736966" y="2904345"/>
                  <a:pt x="3743171" y="2882032"/>
                  <a:pt x="3731665" y="2867239"/>
                </a:cubicBezTo>
                <a:cubicBezTo>
                  <a:pt x="3721374" y="2854007"/>
                  <a:pt x="3683957" y="2851337"/>
                  <a:pt x="3683957" y="2851337"/>
                </a:cubicBezTo>
                <a:cubicBezTo>
                  <a:pt x="3666967" y="2800366"/>
                  <a:pt x="3673507" y="2845975"/>
                  <a:pt x="3739616" y="2819531"/>
                </a:cubicBezTo>
                <a:cubicBezTo>
                  <a:pt x="3748489" y="2815982"/>
                  <a:pt x="3750218" y="2803628"/>
                  <a:pt x="3755519" y="2795677"/>
                </a:cubicBezTo>
                <a:cubicBezTo>
                  <a:pt x="3750218" y="2787726"/>
                  <a:pt x="3747720" y="2776889"/>
                  <a:pt x="3739616" y="2771824"/>
                </a:cubicBezTo>
                <a:cubicBezTo>
                  <a:pt x="3725401" y="2762940"/>
                  <a:pt x="3691909" y="2755921"/>
                  <a:pt x="3691909" y="2755921"/>
                </a:cubicBezTo>
                <a:cubicBezTo>
                  <a:pt x="3676006" y="2766523"/>
                  <a:pt x="3662333" y="2781682"/>
                  <a:pt x="3644201" y="2787726"/>
                </a:cubicBezTo>
                <a:cubicBezTo>
                  <a:pt x="3561202" y="2815393"/>
                  <a:pt x="3613213" y="2802435"/>
                  <a:pt x="3485175" y="2811580"/>
                </a:cubicBezTo>
                <a:cubicBezTo>
                  <a:pt x="3471923" y="2808930"/>
                  <a:pt x="3454974" y="2813185"/>
                  <a:pt x="3445418" y="2803629"/>
                </a:cubicBezTo>
                <a:cubicBezTo>
                  <a:pt x="3439491" y="2797702"/>
                  <a:pt x="3461945" y="2799747"/>
                  <a:pt x="3469272" y="2795677"/>
                </a:cubicBezTo>
                <a:cubicBezTo>
                  <a:pt x="3551290" y="2750111"/>
                  <a:pt x="3486861" y="2773911"/>
                  <a:pt x="3540834" y="2755921"/>
                </a:cubicBezTo>
                <a:cubicBezTo>
                  <a:pt x="3548785" y="2750620"/>
                  <a:pt x="3555955" y="2743899"/>
                  <a:pt x="3564688" y="2740018"/>
                </a:cubicBezTo>
                <a:cubicBezTo>
                  <a:pt x="3580006" y="2733210"/>
                  <a:pt x="3612396" y="2724116"/>
                  <a:pt x="3612396" y="2724116"/>
                </a:cubicBezTo>
                <a:cubicBezTo>
                  <a:pt x="3620347" y="2716165"/>
                  <a:pt x="3627611" y="2707461"/>
                  <a:pt x="3636249" y="2700262"/>
                </a:cubicBezTo>
                <a:cubicBezTo>
                  <a:pt x="3643590" y="2694144"/>
                  <a:pt x="3651556" y="2688633"/>
                  <a:pt x="3660103" y="2684359"/>
                </a:cubicBezTo>
                <a:cubicBezTo>
                  <a:pt x="3679676" y="2674572"/>
                  <a:pt x="3713344" y="2671510"/>
                  <a:pt x="3731665" y="2668457"/>
                </a:cubicBezTo>
                <a:lnTo>
                  <a:pt x="3850935" y="2628700"/>
                </a:lnTo>
                <a:lnTo>
                  <a:pt x="3874789" y="2620749"/>
                </a:lnTo>
                <a:cubicBezTo>
                  <a:pt x="3882740" y="2618098"/>
                  <a:pt x="3890273" y="2613238"/>
                  <a:pt x="3898643" y="2612797"/>
                </a:cubicBezTo>
                <a:lnTo>
                  <a:pt x="4049717" y="2604846"/>
                </a:lnTo>
                <a:cubicBezTo>
                  <a:pt x="4065620" y="2599545"/>
                  <a:pt x="4092124" y="2604847"/>
                  <a:pt x="4097425" y="2588944"/>
                </a:cubicBezTo>
                <a:cubicBezTo>
                  <a:pt x="4100075" y="2580993"/>
                  <a:pt x="4099450" y="2571017"/>
                  <a:pt x="4105376" y="2565090"/>
                </a:cubicBezTo>
                <a:cubicBezTo>
                  <a:pt x="4118891" y="2551575"/>
                  <a:pt x="4137181" y="2543886"/>
                  <a:pt x="4153084" y="2533284"/>
                </a:cubicBezTo>
                <a:lnTo>
                  <a:pt x="4176938" y="2517382"/>
                </a:lnTo>
                <a:cubicBezTo>
                  <a:pt x="4182239" y="2509431"/>
                  <a:pt x="4192047" y="2503051"/>
                  <a:pt x="4192841" y="2493528"/>
                </a:cubicBezTo>
                <a:cubicBezTo>
                  <a:pt x="4196341" y="2451522"/>
                  <a:pt x="4193222" y="2426386"/>
                  <a:pt x="4168987" y="2398112"/>
                </a:cubicBezTo>
                <a:cubicBezTo>
                  <a:pt x="4159230" y="2386728"/>
                  <a:pt x="4146939" y="2377691"/>
                  <a:pt x="4137182" y="2366307"/>
                </a:cubicBezTo>
                <a:cubicBezTo>
                  <a:pt x="4130963" y="2359051"/>
                  <a:pt x="4128036" y="2349210"/>
                  <a:pt x="4121279" y="2342453"/>
                </a:cubicBezTo>
                <a:cubicBezTo>
                  <a:pt x="4110039" y="2331213"/>
                  <a:pt x="4078095" y="2316885"/>
                  <a:pt x="4065620" y="2310648"/>
                </a:cubicBezTo>
                <a:cubicBezTo>
                  <a:pt x="4057669" y="2302697"/>
                  <a:pt x="4051529" y="2292373"/>
                  <a:pt x="4041766" y="2286794"/>
                </a:cubicBezTo>
                <a:cubicBezTo>
                  <a:pt x="4032278" y="2281372"/>
                  <a:pt x="4020005" y="2283148"/>
                  <a:pt x="4009961" y="2278843"/>
                </a:cubicBezTo>
                <a:cubicBezTo>
                  <a:pt x="4001177" y="2275079"/>
                  <a:pt x="3994058" y="2268241"/>
                  <a:pt x="3986107" y="2262940"/>
                </a:cubicBezTo>
                <a:cubicBezTo>
                  <a:pt x="3959602" y="2223183"/>
                  <a:pt x="3978156" y="2244389"/>
                  <a:pt x="3922496" y="2207281"/>
                </a:cubicBezTo>
                <a:lnTo>
                  <a:pt x="3898643" y="2191378"/>
                </a:lnTo>
                <a:cubicBezTo>
                  <a:pt x="3893342" y="2183427"/>
                  <a:pt x="3887014" y="2176071"/>
                  <a:pt x="3882740" y="2167524"/>
                </a:cubicBezTo>
                <a:cubicBezTo>
                  <a:pt x="3878992" y="2160027"/>
                  <a:pt x="3879438" y="2150644"/>
                  <a:pt x="3874789" y="2143670"/>
                </a:cubicBezTo>
                <a:cubicBezTo>
                  <a:pt x="3868552" y="2134314"/>
                  <a:pt x="3857839" y="2128693"/>
                  <a:pt x="3850935" y="2119817"/>
                </a:cubicBezTo>
                <a:cubicBezTo>
                  <a:pt x="3839201" y="2104730"/>
                  <a:pt x="3819129" y="2072109"/>
                  <a:pt x="3819129" y="2072109"/>
                </a:cubicBezTo>
                <a:lnTo>
                  <a:pt x="3795276" y="2000547"/>
                </a:lnTo>
                <a:cubicBezTo>
                  <a:pt x="3792625" y="1992596"/>
                  <a:pt x="3791973" y="1983667"/>
                  <a:pt x="3787324" y="1976693"/>
                </a:cubicBezTo>
                <a:cubicBezTo>
                  <a:pt x="3782023" y="1968742"/>
                  <a:pt x="3775303" y="1961572"/>
                  <a:pt x="3771422" y="1952839"/>
                </a:cubicBezTo>
                <a:cubicBezTo>
                  <a:pt x="3733575" y="1867683"/>
                  <a:pt x="3775604" y="1935259"/>
                  <a:pt x="3739616" y="1881277"/>
                </a:cubicBezTo>
                <a:cubicBezTo>
                  <a:pt x="3736966" y="1873326"/>
                  <a:pt x="3739161" y="1861172"/>
                  <a:pt x="3731665" y="1857424"/>
                </a:cubicBezTo>
                <a:cubicBezTo>
                  <a:pt x="3724168" y="1853676"/>
                  <a:pt x="3714356" y="1860139"/>
                  <a:pt x="3707811" y="1865375"/>
                </a:cubicBezTo>
                <a:cubicBezTo>
                  <a:pt x="3670576" y="1895163"/>
                  <a:pt x="3709564" y="1881075"/>
                  <a:pt x="3683957" y="1913083"/>
                </a:cubicBezTo>
                <a:cubicBezTo>
                  <a:pt x="3677987" y="1920545"/>
                  <a:pt x="3668054" y="1923684"/>
                  <a:pt x="3660103" y="1928985"/>
                </a:cubicBezTo>
                <a:cubicBezTo>
                  <a:pt x="3636250" y="1964765"/>
                  <a:pt x="3637574" y="1976031"/>
                  <a:pt x="3604444" y="1992596"/>
                </a:cubicBezTo>
                <a:cubicBezTo>
                  <a:pt x="3596947" y="1996344"/>
                  <a:pt x="3588541" y="1997897"/>
                  <a:pt x="3580590" y="2000547"/>
                </a:cubicBezTo>
                <a:cubicBezTo>
                  <a:pt x="3556736" y="1992596"/>
                  <a:pt x="3516981" y="2000546"/>
                  <a:pt x="3509029" y="1976693"/>
                </a:cubicBezTo>
                <a:cubicBezTo>
                  <a:pt x="3482314" y="1896555"/>
                  <a:pt x="3523067" y="2020838"/>
                  <a:pt x="3493126" y="1921034"/>
                </a:cubicBezTo>
                <a:cubicBezTo>
                  <a:pt x="3488309" y="1904978"/>
                  <a:pt x="3482524" y="1889229"/>
                  <a:pt x="3477223" y="1873326"/>
                </a:cubicBezTo>
                <a:lnTo>
                  <a:pt x="3469272" y="1849472"/>
                </a:lnTo>
                <a:cubicBezTo>
                  <a:pt x="3466622" y="1841521"/>
                  <a:pt x="3463354" y="1833749"/>
                  <a:pt x="3461321" y="1825618"/>
                </a:cubicBezTo>
                <a:cubicBezTo>
                  <a:pt x="3458670" y="1815016"/>
                  <a:pt x="3459431" y="1802906"/>
                  <a:pt x="3453369" y="1793813"/>
                </a:cubicBezTo>
                <a:cubicBezTo>
                  <a:pt x="3448068" y="1785862"/>
                  <a:pt x="3437467" y="1783211"/>
                  <a:pt x="3429516" y="1777910"/>
                </a:cubicBezTo>
                <a:cubicBezTo>
                  <a:pt x="3424215" y="1769959"/>
                  <a:pt x="3417377" y="1762840"/>
                  <a:pt x="3413613" y="1754057"/>
                </a:cubicBezTo>
                <a:cubicBezTo>
                  <a:pt x="3412292" y="1750975"/>
                  <a:pt x="3402474" y="1704352"/>
                  <a:pt x="3397710" y="1698397"/>
                </a:cubicBezTo>
                <a:cubicBezTo>
                  <a:pt x="3391740" y="1690935"/>
                  <a:pt x="3380998" y="1688844"/>
                  <a:pt x="3373856" y="1682495"/>
                </a:cubicBezTo>
                <a:cubicBezTo>
                  <a:pt x="3357047" y="1667554"/>
                  <a:pt x="3344861" y="1647262"/>
                  <a:pt x="3326149" y="1634787"/>
                </a:cubicBezTo>
                <a:cubicBezTo>
                  <a:pt x="3318198" y="1629486"/>
                  <a:pt x="3311028" y="1622765"/>
                  <a:pt x="3302295" y="1618884"/>
                </a:cubicBezTo>
                <a:cubicBezTo>
                  <a:pt x="3264497" y="1602085"/>
                  <a:pt x="3246880" y="1601697"/>
                  <a:pt x="3206879" y="1595030"/>
                </a:cubicBezTo>
                <a:cubicBezTo>
                  <a:pt x="3183025" y="1597681"/>
                  <a:pt x="3158991" y="1599036"/>
                  <a:pt x="3135317" y="1602982"/>
                </a:cubicBezTo>
                <a:cubicBezTo>
                  <a:pt x="3127050" y="1604360"/>
                  <a:pt x="3119594" y="1608900"/>
                  <a:pt x="3111463" y="1610933"/>
                </a:cubicBezTo>
                <a:cubicBezTo>
                  <a:pt x="3098352" y="1614211"/>
                  <a:pt x="3084959" y="1616234"/>
                  <a:pt x="3071707" y="1618884"/>
                </a:cubicBezTo>
                <a:cubicBezTo>
                  <a:pt x="3074357" y="1629486"/>
                  <a:pt x="3073596" y="1641597"/>
                  <a:pt x="3079658" y="1650690"/>
                </a:cubicBezTo>
                <a:cubicBezTo>
                  <a:pt x="3084959" y="1658641"/>
                  <a:pt x="3098447" y="1658488"/>
                  <a:pt x="3103512" y="1666592"/>
                </a:cubicBezTo>
                <a:cubicBezTo>
                  <a:pt x="3112396" y="1680807"/>
                  <a:pt x="3114114" y="1698397"/>
                  <a:pt x="3119415" y="1714300"/>
                </a:cubicBezTo>
                <a:lnTo>
                  <a:pt x="3127366" y="1738154"/>
                </a:lnTo>
                <a:cubicBezTo>
                  <a:pt x="3122065" y="1746105"/>
                  <a:pt x="3115737" y="1753461"/>
                  <a:pt x="3111463" y="1762008"/>
                </a:cubicBezTo>
                <a:cubicBezTo>
                  <a:pt x="3107715" y="1769505"/>
                  <a:pt x="3107582" y="1778535"/>
                  <a:pt x="3103512" y="1785862"/>
                </a:cubicBezTo>
                <a:cubicBezTo>
                  <a:pt x="3057945" y="1867885"/>
                  <a:pt x="3081747" y="1803448"/>
                  <a:pt x="3063756" y="1857424"/>
                </a:cubicBezTo>
                <a:cubicBezTo>
                  <a:pt x="3066406" y="1868026"/>
                  <a:pt x="3068567" y="1878762"/>
                  <a:pt x="3071707" y="1889229"/>
                </a:cubicBezTo>
                <a:cubicBezTo>
                  <a:pt x="3076524" y="1905285"/>
                  <a:pt x="3087609" y="1936937"/>
                  <a:pt x="3087609" y="1936937"/>
                </a:cubicBezTo>
                <a:cubicBezTo>
                  <a:pt x="3084959" y="1950189"/>
                  <a:pt x="3082936" y="1963582"/>
                  <a:pt x="3079658" y="1976693"/>
                </a:cubicBezTo>
                <a:cubicBezTo>
                  <a:pt x="3077625" y="1984824"/>
                  <a:pt x="3069404" y="1992488"/>
                  <a:pt x="3071707" y="2000547"/>
                </a:cubicBezTo>
                <a:cubicBezTo>
                  <a:pt x="3076886" y="2018673"/>
                  <a:pt x="3107762" y="2042222"/>
                  <a:pt x="3119415" y="2056206"/>
                </a:cubicBezTo>
                <a:cubicBezTo>
                  <a:pt x="3125533" y="2063547"/>
                  <a:pt x="3131436" y="2071327"/>
                  <a:pt x="3135317" y="2080060"/>
                </a:cubicBezTo>
                <a:cubicBezTo>
                  <a:pt x="3142125" y="2095378"/>
                  <a:pt x="3151220" y="2127768"/>
                  <a:pt x="3151220" y="2127768"/>
                </a:cubicBezTo>
                <a:cubicBezTo>
                  <a:pt x="3148570" y="2156923"/>
                  <a:pt x="3151311" y="2187083"/>
                  <a:pt x="3143269" y="2215232"/>
                </a:cubicBezTo>
                <a:cubicBezTo>
                  <a:pt x="3140180" y="2226044"/>
                  <a:pt x="3128565" y="2232550"/>
                  <a:pt x="3119415" y="2239086"/>
                </a:cubicBezTo>
                <a:cubicBezTo>
                  <a:pt x="3109769" y="2245976"/>
                  <a:pt x="3097901" y="2249108"/>
                  <a:pt x="3087609" y="2254989"/>
                </a:cubicBezTo>
                <a:cubicBezTo>
                  <a:pt x="3079312" y="2259730"/>
                  <a:pt x="3071707" y="2265590"/>
                  <a:pt x="3063756" y="2270891"/>
                </a:cubicBezTo>
                <a:cubicBezTo>
                  <a:pt x="3055715" y="2282952"/>
                  <a:pt x="3039902" y="2302138"/>
                  <a:pt x="3039902" y="2318599"/>
                </a:cubicBezTo>
                <a:cubicBezTo>
                  <a:pt x="3039902" y="2326980"/>
                  <a:pt x="3045203" y="2334502"/>
                  <a:pt x="3047853" y="2342453"/>
                </a:cubicBezTo>
                <a:cubicBezTo>
                  <a:pt x="3045203" y="2358356"/>
                  <a:pt x="3043399" y="2374423"/>
                  <a:pt x="3039902" y="2390161"/>
                </a:cubicBezTo>
                <a:cubicBezTo>
                  <a:pt x="3038084" y="2398343"/>
                  <a:pt x="3034253" y="2405956"/>
                  <a:pt x="3031950" y="2414015"/>
                </a:cubicBezTo>
                <a:cubicBezTo>
                  <a:pt x="3028948" y="2424522"/>
                  <a:pt x="3026649" y="2435218"/>
                  <a:pt x="3023999" y="2445820"/>
                </a:cubicBezTo>
                <a:cubicBezTo>
                  <a:pt x="3021349" y="2490877"/>
                  <a:pt x="3031896" y="2538731"/>
                  <a:pt x="3016048" y="2580992"/>
                </a:cubicBezTo>
                <a:cubicBezTo>
                  <a:pt x="3011303" y="2593646"/>
                  <a:pt x="2988594" y="2578633"/>
                  <a:pt x="2976291" y="2573041"/>
                </a:cubicBezTo>
                <a:cubicBezTo>
                  <a:pt x="2825885" y="2504676"/>
                  <a:pt x="2988693" y="2561274"/>
                  <a:pt x="2904729" y="2533284"/>
                </a:cubicBezTo>
                <a:cubicBezTo>
                  <a:pt x="2899428" y="2525333"/>
                  <a:pt x="2884086" y="2517727"/>
                  <a:pt x="2888827" y="2509430"/>
                </a:cubicBezTo>
                <a:cubicBezTo>
                  <a:pt x="2901694" y="2486914"/>
                  <a:pt x="2936740" y="2477557"/>
                  <a:pt x="2960389" y="2469674"/>
                </a:cubicBezTo>
                <a:cubicBezTo>
                  <a:pt x="2965690" y="2461723"/>
                  <a:pt x="2974720" y="2455246"/>
                  <a:pt x="2976291" y="2445820"/>
                </a:cubicBezTo>
                <a:cubicBezTo>
                  <a:pt x="2984114" y="2398878"/>
                  <a:pt x="2919212" y="2428107"/>
                  <a:pt x="2904729" y="2429917"/>
                </a:cubicBezTo>
                <a:cubicBezTo>
                  <a:pt x="2896778" y="2432568"/>
                  <a:pt x="2882909" y="2446000"/>
                  <a:pt x="2880876" y="2437869"/>
                </a:cubicBezTo>
                <a:cubicBezTo>
                  <a:pt x="2875152" y="2414974"/>
                  <a:pt x="2889782" y="2362487"/>
                  <a:pt x="2896778" y="2334502"/>
                </a:cubicBezTo>
                <a:cubicBezTo>
                  <a:pt x="2894128" y="2323900"/>
                  <a:pt x="2895654" y="2311230"/>
                  <a:pt x="2888827" y="2302697"/>
                </a:cubicBezTo>
                <a:cubicBezTo>
                  <a:pt x="2883591" y="2296152"/>
                  <a:pt x="2872470" y="2298493"/>
                  <a:pt x="2864973" y="2294745"/>
                </a:cubicBezTo>
                <a:cubicBezTo>
                  <a:pt x="2856426" y="2290471"/>
                  <a:pt x="2849852" y="2282724"/>
                  <a:pt x="2841119" y="2278843"/>
                </a:cubicBezTo>
                <a:cubicBezTo>
                  <a:pt x="2841104" y="2278836"/>
                  <a:pt x="2781492" y="2258967"/>
                  <a:pt x="2769557" y="2254989"/>
                </a:cubicBezTo>
                <a:cubicBezTo>
                  <a:pt x="2689397" y="2228269"/>
                  <a:pt x="2813730" y="2269034"/>
                  <a:pt x="2713898" y="2239086"/>
                </a:cubicBezTo>
                <a:cubicBezTo>
                  <a:pt x="2697842" y="2234269"/>
                  <a:pt x="2682093" y="2228485"/>
                  <a:pt x="2666190" y="2223184"/>
                </a:cubicBezTo>
                <a:cubicBezTo>
                  <a:pt x="2658239" y="2220534"/>
                  <a:pt x="2649310" y="2219881"/>
                  <a:pt x="2642336" y="2215232"/>
                </a:cubicBezTo>
                <a:cubicBezTo>
                  <a:pt x="2604536" y="2190032"/>
                  <a:pt x="2627547" y="2202351"/>
                  <a:pt x="2570775" y="2183427"/>
                </a:cubicBezTo>
                <a:cubicBezTo>
                  <a:pt x="2570770" y="2183425"/>
                  <a:pt x="2523071" y="2167527"/>
                  <a:pt x="2523067" y="2167524"/>
                </a:cubicBezTo>
                <a:cubicBezTo>
                  <a:pt x="2515116" y="2162223"/>
                  <a:pt x="2507997" y="2155386"/>
                  <a:pt x="2499213" y="2151622"/>
                </a:cubicBezTo>
                <a:cubicBezTo>
                  <a:pt x="2489169" y="2147317"/>
                  <a:pt x="2477916" y="2146672"/>
                  <a:pt x="2467408" y="2143670"/>
                </a:cubicBezTo>
                <a:cubicBezTo>
                  <a:pt x="2405695" y="2126037"/>
                  <a:pt x="2491903" y="2140554"/>
                  <a:pt x="2364041" y="2127768"/>
                </a:cubicBezTo>
                <a:cubicBezTo>
                  <a:pt x="2358177" y="2116040"/>
                  <a:pt x="2342137" y="2087710"/>
                  <a:pt x="2340187" y="2072109"/>
                </a:cubicBezTo>
                <a:cubicBezTo>
                  <a:pt x="2325582" y="1955266"/>
                  <a:pt x="2362627" y="1989003"/>
                  <a:pt x="2308382" y="1952839"/>
                </a:cubicBezTo>
                <a:cubicBezTo>
                  <a:pt x="2289660" y="1896674"/>
                  <a:pt x="2279717" y="1888091"/>
                  <a:pt x="2300430" y="1817667"/>
                </a:cubicBezTo>
                <a:cubicBezTo>
                  <a:pt x="2305823" y="1799331"/>
                  <a:pt x="2332236" y="1769959"/>
                  <a:pt x="2332236" y="1769959"/>
                </a:cubicBezTo>
                <a:cubicBezTo>
                  <a:pt x="2346209" y="1728037"/>
                  <a:pt x="2330951" y="1761959"/>
                  <a:pt x="2364041" y="1722251"/>
                </a:cubicBezTo>
                <a:cubicBezTo>
                  <a:pt x="2426601" y="1647178"/>
                  <a:pt x="2340077" y="1746268"/>
                  <a:pt x="2387895" y="1674544"/>
                </a:cubicBezTo>
                <a:cubicBezTo>
                  <a:pt x="2394133" y="1665188"/>
                  <a:pt x="2403798" y="1658641"/>
                  <a:pt x="2411749" y="1650690"/>
                </a:cubicBezTo>
                <a:cubicBezTo>
                  <a:pt x="2433694" y="1584851"/>
                  <a:pt x="2418353" y="1616928"/>
                  <a:pt x="2459456" y="1555274"/>
                </a:cubicBezTo>
                <a:cubicBezTo>
                  <a:pt x="2464757" y="1547323"/>
                  <a:pt x="2468602" y="1538177"/>
                  <a:pt x="2475359" y="1531420"/>
                </a:cubicBezTo>
                <a:cubicBezTo>
                  <a:pt x="2483310" y="1523469"/>
                  <a:pt x="2492677" y="1516716"/>
                  <a:pt x="2499213" y="1507566"/>
                </a:cubicBezTo>
                <a:cubicBezTo>
                  <a:pt x="2551545" y="1434302"/>
                  <a:pt x="2476946" y="1513932"/>
                  <a:pt x="2538969" y="1451907"/>
                </a:cubicBezTo>
                <a:cubicBezTo>
                  <a:pt x="2552965" y="1409922"/>
                  <a:pt x="2542272" y="1435026"/>
                  <a:pt x="2578726" y="1380345"/>
                </a:cubicBezTo>
                <a:cubicBezTo>
                  <a:pt x="2584027" y="1372394"/>
                  <a:pt x="2586081" y="1360765"/>
                  <a:pt x="2594629" y="1356491"/>
                </a:cubicBezTo>
                <a:cubicBezTo>
                  <a:pt x="2633931" y="1336841"/>
                  <a:pt x="2615189" y="1344338"/>
                  <a:pt x="2650288" y="1332637"/>
                </a:cubicBezTo>
                <a:cubicBezTo>
                  <a:pt x="2652938" y="1295531"/>
                  <a:pt x="2658239" y="1258520"/>
                  <a:pt x="2658239" y="1221319"/>
                </a:cubicBezTo>
                <a:cubicBezTo>
                  <a:pt x="2658239" y="1181198"/>
                  <a:pt x="2630993" y="1189487"/>
                  <a:pt x="2658239" y="1141806"/>
                </a:cubicBezTo>
                <a:cubicBezTo>
                  <a:pt x="2662397" y="1134529"/>
                  <a:pt x="2674142" y="1136505"/>
                  <a:pt x="2682093" y="1133855"/>
                </a:cubicBezTo>
                <a:cubicBezTo>
                  <a:pt x="2790215" y="1155479"/>
                  <a:pt x="2644171" y="1116525"/>
                  <a:pt x="2753655" y="1189514"/>
                </a:cubicBezTo>
                <a:lnTo>
                  <a:pt x="2801363" y="1221319"/>
                </a:lnTo>
                <a:lnTo>
                  <a:pt x="2825216" y="1237222"/>
                </a:lnTo>
                <a:cubicBezTo>
                  <a:pt x="2833167" y="1231921"/>
                  <a:pt x="2845521" y="1230192"/>
                  <a:pt x="2849070" y="1221319"/>
                </a:cubicBezTo>
                <a:cubicBezTo>
                  <a:pt x="2862209" y="1188472"/>
                  <a:pt x="2843380" y="1157491"/>
                  <a:pt x="2872924" y="1133855"/>
                </a:cubicBezTo>
                <a:cubicBezTo>
                  <a:pt x="2879469" y="1128619"/>
                  <a:pt x="2888827" y="1128554"/>
                  <a:pt x="2896778" y="1125904"/>
                </a:cubicBezTo>
                <a:cubicBezTo>
                  <a:pt x="2924720" y="1107276"/>
                  <a:pt x="2944548" y="1104418"/>
                  <a:pt x="2912681" y="1054342"/>
                </a:cubicBezTo>
                <a:cubicBezTo>
                  <a:pt x="2902420" y="1038217"/>
                  <a:pt x="2864973" y="1022537"/>
                  <a:pt x="2864973" y="1022537"/>
                </a:cubicBezTo>
                <a:cubicBezTo>
                  <a:pt x="2852987" y="986580"/>
                  <a:pt x="2840198" y="976672"/>
                  <a:pt x="2857022" y="943024"/>
                </a:cubicBezTo>
                <a:cubicBezTo>
                  <a:pt x="2865569" y="925929"/>
                  <a:pt x="2888827" y="895316"/>
                  <a:pt x="2888827" y="895316"/>
                </a:cubicBezTo>
                <a:cubicBezTo>
                  <a:pt x="2875175" y="758792"/>
                  <a:pt x="2904743" y="847621"/>
                  <a:pt x="2857022" y="799900"/>
                </a:cubicBezTo>
                <a:cubicBezTo>
                  <a:pt x="2850265" y="793143"/>
                  <a:pt x="2849223" y="781111"/>
                  <a:pt x="2841119" y="776046"/>
                </a:cubicBezTo>
                <a:cubicBezTo>
                  <a:pt x="2826904" y="767162"/>
                  <a:pt x="2809314" y="765445"/>
                  <a:pt x="2793411" y="760144"/>
                </a:cubicBezTo>
                <a:lnTo>
                  <a:pt x="2769557" y="752192"/>
                </a:lnTo>
                <a:lnTo>
                  <a:pt x="2745703" y="744241"/>
                </a:lnTo>
                <a:cubicBezTo>
                  <a:pt x="2706284" y="803372"/>
                  <a:pt x="2736340" y="749705"/>
                  <a:pt x="2721849" y="887364"/>
                </a:cubicBezTo>
                <a:cubicBezTo>
                  <a:pt x="2720705" y="898232"/>
                  <a:pt x="2719960" y="910077"/>
                  <a:pt x="2713898" y="919170"/>
                </a:cubicBezTo>
                <a:cubicBezTo>
                  <a:pt x="2708597" y="927121"/>
                  <a:pt x="2697995" y="929771"/>
                  <a:pt x="2690044" y="935072"/>
                </a:cubicBezTo>
                <a:cubicBezTo>
                  <a:pt x="2684743" y="945674"/>
                  <a:pt x="2678811" y="955982"/>
                  <a:pt x="2674142" y="966877"/>
                </a:cubicBezTo>
                <a:cubicBezTo>
                  <a:pt x="2670840" y="974581"/>
                  <a:pt x="2669938" y="983234"/>
                  <a:pt x="2666190" y="990731"/>
                </a:cubicBezTo>
                <a:cubicBezTo>
                  <a:pt x="2635362" y="1052387"/>
                  <a:pt x="2662324" y="978481"/>
                  <a:pt x="2642336" y="1038439"/>
                </a:cubicBezTo>
                <a:cubicBezTo>
                  <a:pt x="2629084" y="1035789"/>
                  <a:pt x="2614314" y="1037193"/>
                  <a:pt x="2602580" y="1030488"/>
                </a:cubicBezTo>
                <a:cubicBezTo>
                  <a:pt x="2584086" y="1019920"/>
                  <a:pt x="2581613" y="981313"/>
                  <a:pt x="2578726" y="966877"/>
                </a:cubicBezTo>
                <a:cubicBezTo>
                  <a:pt x="2578242" y="960579"/>
                  <a:pt x="2597262" y="853201"/>
                  <a:pt x="2546921" y="847608"/>
                </a:cubicBezTo>
                <a:cubicBezTo>
                  <a:pt x="2530898" y="845828"/>
                  <a:pt x="2515116" y="852909"/>
                  <a:pt x="2499213" y="855559"/>
                </a:cubicBezTo>
                <a:cubicBezTo>
                  <a:pt x="2496563" y="863510"/>
                  <a:pt x="2498759" y="875665"/>
                  <a:pt x="2491262" y="879413"/>
                </a:cubicBezTo>
                <a:cubicBezTo>
                  <a:pt x="2483765" y="883161"/>
                  <a:pt x="2473335" y="877388"/>
                  <a:pt x="2467408" y="871462"/>
                </a:cubicBezTo>
                <a:cubicBezTo>
                  <a:pt x="2461481" y="865535"/>
                  <a:pt x="2462758" y="855312"/>
                  <a:pt x="2459456" y="847608"/>
                </a:cubicBezTo>
                <a:cubicBezTo>
                  <a:pt x="2454787" y="836713"/>
                  <a:pt x="2448855" y="826405"/>
                  <a:pt x="2443554" y="815803"/>
                </a:cubicBezTo>
                <a:cubicBezTo>
                  <a:pt x="2448855" y="799901"/>
                  <a:pt x="2459456" y="783997"/>
                  <a:pt x="2443554" y="768095"/>
                </a:cubicBezTo>
                <a:cubicBezTo>
                  <a:pt x="2437627" y="762168"/>
                  <a:pt x="2427651" y="762794"/>
                  <a:pt x="2419700" y="760144"/>
                </a:cubicBezTo>
                <a:cubicBezTo>
                  <a:pt x="2383246" y="705462"/>
                  <a:pt x="2406027" y="718480"/>
                  <a:pt x="2364041" y="704484"/>
                </a:cubicBezTo>
                <a:cubicBezTo>
                  <a:pt x="2349532" y="660961"/>
                  <a:pt x="2352044" y="694998"/>
                  <a:pt x="2379943" y="672679"/>
                </a:cubicBezTo>
                <a:cubicBezTo>
                  <a:pt x="2387405" y="666709"/>
                  <a:pt x="2390545" y="656776"/>
                  <a:pt x="2395846" y="648825"/>
                </a:cubicBezTo>
                <a:cubicBezTo>
                  <a:pt x="2378261" y="631240"/>
                  <a:pt x="2367159" y="623257"/>
                  <a:pt x="2356089" y="601117"/>
                </a:cubicBezTo>
                <a:cubicBezTo>
                  <a:pt x="2352341" y="593621"/>
                  <a:pt x="2350788" y="585215"/>
                  <a:pt x="2348138" y="577264"/>
                </a:cubicBezTo>
                <a:cubicBezTo>
                  <a:pt x="2345488" y="532206"/>
                  <a:pt x="2349485" y="486258"/>
                  <a:pt x="2340187" y="442091"/>
                </a:cubicBezTo>
                <a:cubicBezTo>
                  <a:pt x="2338218" y="432740"/>
                  <a:pt x="2321398" y="434293"/>
                  <a:pt x="2316333" y="426189"/>
                </a:cubicBezTo>
                <a:cubicBezTo>
                  <a:pt x="2307449" y="411974"/>
                  <a:pt x="2300430" y="378481"/>
                  <a:pt x="2300430" y="378481"/>
                </a:cubicBezTo>
                <a:cubicBezTo>
                  <a:pt x="2303081" y="370530"/>
                  <a:pt x="2304634" y="362124"/>
                  <a:pt x="2308382" y="354627"/>
                </a:cubicBezTo>
                <a:cubicBezTo>
                  <a:pt x="2312656" y="346080"/>
                  <a:pt x="2323490" y="340296"/>
                  <a:pt x="2324284" y="330773"/>
                </a:cubicBezTo>
                <a:cubicBezTo>
                  <a:pt x="2330825" y="252275"/>
                  <a:pt x="2285901" y="251602"/>
                  <a:pt x="2348138" y="267163"/>
                </a:cubicBezTo>
                <a:cubicBezTo>
                  <a:pt x="2364041" y="264512"/>
                  <a:pt x="2383713" y="269827"/>
                  <a:pt x="2395846" y="259211"/>
                </a:cubicBezTo>
                <a:cubicBezTo>
                  <a:pt x="2408461" y="248173"/>
                  <a:pt x="2411749" y="211504"/>
                  <a:pt x="2411749" y="211504"/>
                </a:cubicBezTo>
                <a:cubicBezTo>
                  <a:pt x="2414399" y="190300"/>
                  <a:pt x="2412397" y="167975"/>
                  <a:pt x="2419700" y="147893"/>
                </a:cubicBezTo>
                <a:cubicBezTo>
                  <a:pt x="2424598" y="134423"/>
                  <a:pt x="2456049" y="115709"/>
                  <a:pt x="2467408" y="108137"/>
                </a:cubicBezTo>
                <a:cubicBezTo>
                  <a:pt x="2449384" y="0"/>
                  <a:pt x="2468010" y="14495"/>
                  <a:pt x="2244771" y="68380"/>
                </a:cubicBezTo>
                <a:cubicBezTo>
                  <a:pt x="2228476" y="72313"/>
                  <a:pt x="2228869" y="116088"/>
                  <a:pt x="2228869" y="116088"/>
                </a:cubicBezTo>
                <a:cubicBezTo>
                  <a:pt x="2226218" y="137291"/>
                  <a:pt x="2224740" y="158674"/>
                  <a:pt x="2220917" y="179698"/>
                </a:cubicBezTo>
                <a:cubicBezTo>
                  <a:pt x="2219418" y="187944"/>
                  <a:pt x="2212966" y="195171"/>
                  <a:pt x="2212966" y="203552"/>
                </a:cubicBezTo>
                <a:cubicBezTo>
                  <a:pt x="2212966" y="238109"/>
                  <a:pt x="2214911" y="272887"/>
                  <a:pt x="2220917" y="306919"/>
                </a:cubicBezTo>
                <a:cubicBezTo>
                  <a:pt x="2223338" y="320638"/>
                  <a:pt x="2244560" y="350334"/>
                  <a:pt x="2252723" y="362578"/>
                </a:cubicBezTo>
                <a:cubicBezTo>
                  <a:pt x="2261892" y="390086"/>
                  <a:pt x="2269515" y="400555"/>
                  <a:pt x="2252723" y="434140"/>
                </a:cubicBezTo>
                <a:cubicBezTo>
                  <a:pt x="2248449" y="442688"/>
                  <a:pt x="2236820" y="444742"/>
                  <a:pt x="2228869" y="450043"/>
                </a:cubicBezTo>
                <a:cubicBezTo>
                  <a:pt x="2216137" y="469141"/>
                  <a:pt x="2209130" y="475118"/>
                  <a:pt x="2205015" y="497750"/>
                </a:cubicBezTo>
                <a:cubicBezTo>
                  <a:pt x="2201192" y="518774"/>
                  <a:pt x="2204999" y="541521"/>
                  <a:pt x="2197063" y="561361"/>
                </a:cubicBezTo>
                <a:cubicBezTo>
                  <a:pt x="2193514" y="570234"/>
                  <a:pt x="2181160" y="571963"/>
                  <a:pt x="2173209" y="577264"/>
                </a:cubicBezTo>
                <a:cubicBezTo>
                  <a:pt x="2175860" y="622321"/>
                  <a:pt x="2175323" y="667680"/>
                  <a:pt x="2181161" y="712436"/>
                </a:cubicBezTo>
                <a:cubicBezTo>
                  <a:pt x="2183329" y="729058"/>
                  <a:pt x="2191762" y="744241"/>
                  <a:pt x="2197063" y="760144"/>
                </a:cubicBezTo>
                <a:cubicBezTo>
                  <a:pt x="2199713" y="768095"/>
                  <a:pt x="2196884" y="781964"/>
                  <a:pt x="2205015" y="783997"/>
                </a:cubicBezTo>
                <a:cubicBezTo>
                  <a:pt x="2249931" y="795227"/>
                  <a:pt x="2226104" y="789806"/>
                  <a:pt x="2276576" y="799900"/>
                </a:cubicBezTo>
                <a:cubicBezTo>
                  <a:pt x="2279227" y="815803"/>
                  <a:pt x="2277318" y="833188"/>
                  <a:pt x="2284528" y="847608"/>
                </a:cubicBezTo>
                <a:cubicBezTo>
                  <a:pt x="2288802" y="856155"/>
                  <a:pt x="2305757" y="854321"/>
                  <a:pt x="2308382" y="863510"/>
                </a:cubicBezTo>
                <a:cubicBezTo>
                  <a:pt x="2318600" y="899275"/>
                  <a:pt x="2297501" y="905219"/>
                  <a:pt x="2276576" y="919170"/>
                </a:cubicBezTo>
                <a:cubicBezTo>
                  <a:pt x="2269858" y="946043"/>
                  <a:pt x="2272277" y="959548"/>
                  <a:pt x="2244771" y="974829"/>
                </a:cubicBezTo>
                <a:cubicBezTo>
                  <a:pt x="2230118" y="982970"/>
                  <a:pt x="2197063" y="990731"/>
                  <a:pt x="2197063" y="990731"/>
                </a:cubicBezTo>
                <a:cubicBezTo>
                  <a:pt x="2194413" y="998682"/>
                  <a:pt x="2197493" y="1014585"/>
                  <a:pt x="2189112" y="1014585"/>
                </a:cubicBezTo>
                <a:cubicBezTo>
                  <a:pt x="2180731" y="1014585"/>
                  <a:pt x="2183464" y="998790"/>
                  <a:pt x="2181161" y="990731"/>
                </a:cubicBezTo>
                <a:cubicBezTo>
                  <a:pt x="2169080" y="948448"/>
                  <a:pt x="2183886" y="966044"/>
                  <a:pt x="2149356" y="943024"/>
                </a:cubicBezTo>
                <a:cubicBezTo>
                  <a:pt x="2144054" y="927120"/>
                  <a:pt x="2133452" y="911220"/>
                  <a:pt x="2149356" y="895316"/>
                </a:cubicBezTo>
                <a:cubicBezTo>
                  <a:pt x="2155282" y="889390"/>
                  <a:pt x="2165258" y="890015"/>
                  <a:pt x="2173209" y="887364"/>
                </a:cubicBezTo>
                <a:cubicBezTo>
                  <a:pt x="2186461" y="890015"/>
                  <a:pt x="2199451" y="895316"/>
                  <a:pt x="2212966" y="895316"/>
                </a:cubicBezTo>
                <a:cubicBezTo>
                  <a:pt x="2221348" y="895316"/>
                  <a:pt x="2234787" y="895495"/>
                  <a:pt x="2236820" y="887364"/>
                </a:cubicBezTo>
                <a:cubicBezTo>
                  <a:pt x="2240606" y="872218"/>
                  <a:pt x="2203879" y="852152"/>
                  <a:pt x="2197063" y="847608"/>
                </a:cubicBezTo>
                <a:cubicBezTo>
                  <a:pt x="2191762" y="839657"/>
                  <a:pt x="2185435" y="832301"/>
                  <a:pt x="2181161" y="823754"/>
                </a:cubicBezTo>
                <a:cubicBezTo>
                  <a:pt x="2168229" y="797890"/>
                  <a:pt x="2180090" y="798829"/>
                  <a:pt x="2157307" y="776046"/>
                </a:cubicBezTo>
                <a:cubicBezTo>
                  <a:pt x="2150550" y="769289"/>
                  <a:pt x="2141404" y="765445"/>
                  <a:pt x="2133453" y="760144"/>
                </a:cubicBezTo>
                <a:cubicBezTo>
                  <a:pt x="2129463" y="744184"/>
                  <a:pt x="2129104" y="712436"/>
                  <a:pt x="2101648" y="712436"/>
                </a:cubicBezTo>
                <a:cubicBezTo>
                  <a:pt x="2089795" y="712436"/>
                  <a:pt x="2080445" y="723037"/>
                  <a:pt x="2069843" y="728338"/>
                </a:cubicBezTo>
                <a:cubicBezTo>
                  <a:pt x="2067192" y="736289"/>
                  <a:pt x="2065639" y="744695"/>
                  <a:pt x="2061891" y="752192"/>
                </a:cubicBezTo>
                <a:cubicBezTo>
                  <a:pt x="2031063" y="813848"/>
                  <a:pt x="2058025" y="739942"/>
                  <a:pt x="2038037" y="799900"/>
                </a:cubicBezTo>
                <a:cubicBezTo>
                  <a:pt x="2035387" y="818453"/>
                  <a:pt x="2030086" y="836818"/>
                  <a:pt x="2030086" y="855559"/>
                </a:cubicBezTo>
                <a:cubicBezTo>
                  <a:pt x="2030086" y="863940"/>
                  <a:pt x="2031217" y="874541"/>
                  <a:pt x="2038037" y="879413"/>
                </a:cubicBezTo>
                <a:cubicBezTo>
                  <a:pt x="2051677" y="889156"/>
                  <a:pt x="2085745" y="895316"/>
                  <a:pt x="2085745" y="895316"/>
                </a:cubicBezTo>
                <a:cubicBezTo>
                  <a:pt x="2088395" y="903267"/>
                  <a:pt x="2096346" y="911219"/>
                  <a:pt x="2093696" y="919170"/>
                </a:cubicBezTo>
                <a:cubicBezTo>
                  <a:pt x="2089322" y="932291"/>
                  <a:pt x="2056902" y="951651"/>
                  <a:pt x="2045989" y="958926"/>
                </a:cubicBezTo>
                <a:cubicBezTo>
                  <a:pt x="2014797" y="1052493"/>
                  <a:pt x="2044242" y="989593"/>
                  <a:pt x="1815401" y="974829"/>
                </a:cubicBezTo>
                <a:cubicBezTo>
                  <a:pt x="1807037" y="974289"/>
                  <a:pt x="1798874" y="970947"/>
                  <a:pt x="1791547" y="966877"/>
                </a:cubicBezTo>
                <a:cubicBezTo>
                  <a:pt x="1774840" y="957595"/>
                  <a:pt x="1743839" y="935072"/>
                  <a:pt x="1743839" y="935072"/>
                </a:cubicBezTo>
                <a:cubicBezTo>
                  <a:pt x="1738538" y="927121"/>
                  <a:pt x="1734693" y="917975"/>
                  <a:pt x="1727936" y="911218"/>
                </a:cubicBezTo>
                <a:cubicBezTo>
                  <a:pt x="1699994" y="883276"/>
                  <a:pt x="1690978" y="897188"/>
                  <a:pt x="1648423" y="903267"/>
                </a:cubicBezTo>
                <a:cubicBezTo>
                  <a:pt x="1637821" y="910335"/>
                  <a:pt x="1608667" y="925354"/>
                  <a:pt x="1608667" y="943024"/>
                </a:cubicBezTo>
                <a:cubicBezTo>
                  <a:pt x="1608667" y="959786"/>
                  <a:pt x="1624569" y="990731"/>
                  <a:pt x="1624569" y="990731"/>
                </a:cubicBezTo>
                <a:cubicBezTo>
                  <a:pt x="1621919" y="1001333"/>
                  <a:pt x="1626663" y="1018232"/>
                  <a:pt x="1616618" y="1022537"/>
                </a:cubicBezTo>
                <a:cubicBezTo>
                  <a:pt x="1577118" y="1039466"/>
                  <a:pt x="1567400" y="1012320"/>
                  <a:pt x="1553008" y="990731"/>
                </a:cubicBezTo>
                <a:cubicBezTo>
                  <a:pt x="1529154" y="993382"/>
                  <a:pt x="1505120" y="994737"/>
                  <a:pt x="1481446" y="998683"/>
                </a:cubicBezTo>
                <a:cubicBezTo>
                  <a:pt x="1473179" y="1000061"/>
                  <a:pt x="1465973" y="1006634"/>
                  <a:pt x="1457592" y="1006634"/>
                </a:cubicBezTo>
                <a:cubicBezTo>
                  <a:pt x="1430955" y="1006634"/>
                  <a:pt x="1404583" y="1001333"/>
                  <a:pt x="1378079" y="998683"/>
                </a:cubicBezTo>
                <a:cubicBezTo>
                  <a:pt x="1370128" y="996032"/>
                  <a:pt x="1362492" y="992109"/>
                  <a:pt x="1354225" y="990731"/>
                </a:cubicBezTo>
                <a:cubicBezTo>
                  <a:pt x="1330551" y="986785"/>
                  <a:pt x="1304513" y="992712"/>
                  <a:pt x="1282663" y="982780"/>
                </a:cubicBezTo>
                <a:cubicBezTo>
                  <a:pt x="1271872" y="977875"/>
                  <a:pt x="1272062" y="961577"/>
                  <a:pt x="1266761" y="950975"/>
                </a:cubicBezTo>
                <a:cubicBezTo>
                  <a:pt x="1272062" y="943024"/>
                  <a:pt x="1274712" y="932422"/>
                  <a:pt x="1282663" y="927121"/>
                </a:cubicBezTo>
                <a:cubicBezTo>
                  <a:pt x="1291756" y="921059"/>
                  <a:pt x="1303961" y="922172"/>
                  <a:pt x="1314469" y="919170"/>
                </a:cubicBezTo>
                <a:cubicBezTo>
                  <a:pt x="1322528" y="916867"/>
                  <a:pt x="1330372" y="913869"/>
                  <a:pt x="1338323" y="911218"/>
                </a:cubicBezTo>
                <a:cubicBezTo>
                  <a:pt x="1335672" y="895315"/>
                  <a:pt x="1335469" y="878805"/>
                  <a:pt x="1330371" y="863510"/>
                </a:cubicBezTo>
                <a:cubicBezTo>
                  <a:pt x="1323511" y="842931"/>
                  <a:pt x="1308076" y="833732"/>
                  <a:pt x="1290615" y="823754"/>
                </a:cubicBezTo>
                <a:cubicBezTo>
                  <a:pt x="1280323" y="817873"/>
                  <a:pt x="1269704" y="812520"/>
                  <a:pt x="1258809" y="807851"/>
                </a:cubicBezTo>
                <a:cubicBezTo>
                  <a:pt x="1209310" y="786637"/>
                  <a:pt x="1150837" y="794952"/>
                  <a:pt x="1099783" y="791949"/>
                </a:cubicBezTo>
                <a:cubicBezTo>
                  <a:pt x="1083881" y="786648"/>
                  <a:pt x="1066024" y="785344"/>
                  <a:pt x="1052076" y="776046"/>
                </a:cubicBezTo>
                <a:cubicBezTo>
                  <a:pt x="1044125" y="770745"/>
                  <a:pt x="1036955" y="764025"/>
                  <a:pt x="1028222" y="760144"/>
                </a:cubicBezTo>
                <a:cubicBezTo>
                  <a:pt x="1012904" y="753336"/>
                  <a:pt x="996417" y="749542"/>
                  <a:pt x="980514" y="744241"/>
                </a:cubicBezTo>
                <a:lnTo>
                  <a:pt x="956660" y="736290"/>
                </a:lnTo>
                <a:cubicBezTo>
                  <a:pt x="940757" y="738940"/>
                  <a:pt x="923834" y="738040"/>
                  <a:pt x="908952" y="744241"/>
                </a:cubicBezTo>
                <a:cubicBezTo>
                  <a:pt x="891310" y="751592"/>
                  <a:pt x="861244" y="776046"/>
                  <a:pt x="861244" y="776046"/>
                </a:cubicBezTo>
                <a:cubicBezTo>
                  <a:pt x="819095" y="839272"/>
                  <a:pt x="874671" y="766619"/>
                  <a:pt x="837390" y="704484"/>
                </a:cubicBezTo>
                <a:cubicBezTo>
                  <a:pt x="830047" y="692245"/>
                  <a:pt x="810886" y="715086"/>
                  <a:pt x="797634" y="720387"/>
                </a:cubicBezTo>
                <a:cubicBezTo>
                  <a:pt x="795673" y="726270"/>
                  <a:pt x="784057" y="768095"/>
                  <a:pt x="773780" y="768095"/>
                </a:cubicBezTo>
                <a:cubicBezTo>
                  <a:pt x="762535" y="768095"/>
                  <a:pt x="758802" y="751145"/>
                  <a:pt x="749926" y="744241"/>
                </a:cubicBezTo>
                <a:cubicBezTo>
                  <a:pt x="705084" y="709364"/>
                  <a:pt x="713922" y="715362"/>
                  <a:pt x="670413" y="704484"/>
                </a:cubicBezTo>
                <a:cubicBezTo>
                  <a:pt x="662462" y="696533"/>
                  <a:pt x="657735" y="681872"/>
                  <a:pt x="646559" y="680630"/>
                </a:cubicBezTo>
                <a:cubicBezTo>
                  <a:pt x="629899" y="678779"/>
                  <a:pt x="598851" y="696533"/>
                  <a:pt x="598851" y="696533"/>
                </a:cubicBezTo>
                <a:cubicBezTo>
                  <a:pt x="588249" y="693883"/>
                  <a:pt x="577090" y="692887"/>
                  <a:pt x="567046" y="688582"/>
                </a:cubicBezTo>
                <a:cubicBezTo>
                  <a:pt x="558262" y="684818"/>
                  <a:pt x="552690" y="673734"/>
                  <a:pt x="543192" y="672679"/>
                </a:cubicBezTo>
                <a:cubicBezTo>
                  <a:pt x="527169" y="670898"/>
                  <a:pt x="511387" y="677980"/>
                  <a:pt x="495484" y="680630"/>
                </a:cubicBezTo>
                <a:cubicBezTo>
                  <a:pt x="449863" y="695838"/>
                  <a:pt x="492447" y="677691"/>
                  <a:pt x="447776" y="712436"/>
                </a:cubicBezTo>
                <a:cubicBezTo>
                  <a:pt x="406765" y="744334"/>
                  <a:pt x="412206" y="740195"/>
                  <a:pt x="376215" y="752192"/>
                </a:cubicBezTo>
                <a:cubicBezTo>
                  <a:pt x="368264" y="760143"/>
                  <a:pt x="362191" y="770585"/>
                  <a:pt x="352361" y="776046"/>
                </a:cubicBezTo>
                <a:cubicBezTo>
                  <a:pt x="337708" y="784187"/>
                  <a:pt x="304653" y="791949"/>
                  <a:pt x="304653" y="791949"/>
                </a:cubicBezTo>
                <a:cubicBezTo>
                  <a:pt x="296702" y="799900"/>
                  <a:pt x="287036" y="806447"/>
                  <a:pt x="280799" y="815803"/>
                </a:cubicBezTo>
                <a:cubicBezTo>
                  <a:pt x="276238" y="822645"/>
                  <a:pt x="265955" y="867224"/>
                  <a:pt x="264896" y="871462"/>
                </a:cubicBezTo>
                <a:cubicBezTo>
                  <a:pt x="214549" y="858874"/>
                  <a:pt x="242185" y="869572"/>
                  <a:pt x="185383" y="831705"/>
                </a:cubicBezTo>
                <a:cubicBezTo>
                  <a:pt x="177432" y="826404"/>
                  <a:pt x="170955" y="817374"/>
                  <a:pt x="161529" y="815803"/>
                </a:cubicBezTo>
                <a:cubicBezTo>
                  <a:pt x="145627" y="813152"/>
                  <a:pt x="129560" y="811348"/>
                  <a:pt x="113822" y="807851"/>
                </a:cubicBezTo>
                <a:cubicBezTo>
                  <a:pt x="105640" y="806033"/>
                  <a:pt x="98027" y="802202"/>
                  <a:pt x="89968" y="799900"/>
                </a:cubicBezTo>
                <a:cubicBezTo>
                  <a:pt x="79461" y="796898"/>
                  <a:pt x="68670" y="794951"/>
                  <a:pt x="58163" y="791949"/>
                </a:cubicBezTo>
                <a:cubicBezTo>
                  <a:pt x="27398" y="783159"/>
                  <a:pt x="25032" y="617020"/>
                  <a:pt x="18406" y="791949"/>
                </a:cubicBezTo>
                <a:close/>
              </a:path>
            </a:pathLst>
          </a:custGeom>
          <a:solidFill>
            <a:srgbClr val="00FF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4" name="Rectangle 5"/>
          <p:cNvSpPr>
            <a:spLocks noChangeArrowheads="1"/>
          </p:cNvSpPr>
          <p:nvPr/>
        </p:nvSpPr>
        <p:spPr bwMode="auto">
          <a:xfrm>
            <a:off x="3759205" y="3048006"/>
            <a:ext cx="78418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/>
            <a:r>
              <a:rPr lang="en-IN" sz="2400">
                <a:latin typeface="Ramabhadra" pitchFamily="2" charset="0"/>
                <a:cs typeface="Ramabhadra" pitchFamily="2" charset="0"/>
              </a:rPr>
              <a:t>కెనడా</a:t>
            </a:r>
            <a:endParaRPr lang="en-US" sz="2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3" name="Rectangle 5"/>
          <p:cNvSpPr>
            <a:spLocks noChangeArrowheads="1"/>
          </p:cNvSpPr>
          <p:nvPr/>
        </p:nvSpPr>
        <p:spPr bwMode="auto">
          <a:xfrm>
            <a:off x="214282" y="537603"/>
            <a:ext cx="2571768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2800" spc="50" dirty="0" err="1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ఉత్తర</a:t>
            </a:r>
            <a:r>
              <a:rPr lang="en-US" sz="2800" spc="50" dirty="0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800" spc="50" dirty="0" err="1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అమెరికా</a:t>
            </a:r>
            <a:r>
              <a:rPr lang="en-US" sz="2800" spc="50" dirty="0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800" spc="50" dirty="0" err="1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రాజకీయ</a:t>
            </a:r>
            <a:r>
              <a:rPr lang="en-US" sz="2800" spc="50" dirty="0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2800" spc="50" dirty="0" err="1">
                <a:ln w="11430"/>
                <a:solidFill>
                  <a:srgbClr val="0033CC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పటము</a:t>
            </a:r>
            <a:endParaRPr lang="en-US" sz="2800" spc="50" dirty="0">
              <a:ln w="11430"/>
              <a:solidFill>
                <a:srgbClr val="0033CC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 rot="16200000">
            <a:off x="-1257564" y="3929079"/>
            <a:ext cx="3964516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pc="600" dirty="0" err="1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త్తర</a:t>
            </a:r>
            <a:r>
              <a:rPr lang="en-US" spc="600" dirty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600" dirty="0" err="1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సిఫిక్</a:t>
            </a:r>
            <a:r>
              <a:rPr lang="en-US" spc="600" dirty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600" dirty="0" err="1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pc="600" dirty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600" dirty="0" err="1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pc="600" dirty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5" name="Rectangle 1"/>
          <p:cNvSpPr>
            <a:spLocks noChangeArrowheads="1"/>
          </p:cNvSpPr>
          <p:nvPr/>
        </p:nvSpPr>
        <p:spPr bwMode="auto">
          <a:xfrm>
            <a:off x="214318" y="6064252"/>
            <a:ext cx="235743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23 ½</a:t>
            </a:r>
            <a:r>
              <a:rPr lang="en-US" sz="1400">
                <a:latin typeface="Ramabhadra" pitchFamily="2" charset="0"/>
                <a:ea typeface="Calibri" pitchFamily="34" charset="0"/>
                <a:cs typeface="Ramabhadra" pitchFamily="2" charset="0"/>
              </a:rPr>
              <a:t>°</a:t>
            </a:r>
            <a:r>
              <a:rPr lang="en-US" sz="140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 </a:t>
            </a:r>
            <a:r>
              <a:rPr lang="en-US" sz="1400">
                <a:latin typeface="Ramabhadra" pitchFamily="2" charset="0"/>
                <a:cs typeface="Calibri" pitchFamily="34" charset="0"/>
              </a:rPr>
              <a:t>ఉత్తర అక్షాంశం కర్కట రేఖ  </a:t>
            </a:r>
            <a:endParaRPr lang="en-US" sz="1400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66" name="Straight Connector 65"/>
          <p:cNvCxnSpPr/>
          <p:nvPr/>
        </p:nvCxnSpPr>
        <p:spPr>
          <a:xfrm flipV="1">
            <a:off x="-357188" y="5949951"/>
            <a:ext cx="9501188" cy="50800"/>
          </a:xfrm>
          <a:prstGeom prst="line">
            <a:avLst/>
          </a:prstGeom>
          <a:ln w="38100">
            <a:solidFill>
              <a:srgbClr val="0033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29"/>
          <p:cNvSpPr txBox="1">
            <a:spLocks noChangeArrowheads="1"/>
          </p:cNvSpPr>
          <p:nvPr/>
        </p:nvSpPr>
        <p:spPr bwMode="auto">
          <a:xfrm rot="3135732">
            <a:off x="5845182" y="1305556"/>
            <a:ext cx="12890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బేఫిన్ అఖాతము</a:t>
            </a:r>
          </a:p>
        </p:txBody>
      </p:sp>
      <p:sp>
        <p:nvSpPr>
          <p:cNvPr id="68" name="TextBox 67"/>
          <p:cNvSpPr txBox="1"/>
          <p:nvPr/>
        </p:nvSpPr>
        <p:spPr>
          <a:xfrm rot="16200000" flipV="1">
            <a:off x="5930636" y="4494228"/>
            <a:ext cx="4358216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ఉత్తర</a:t>
            </a:r>
            <a:r>
              <a:rPr lang="en-US" spc="600" dirty="0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అట్లాంటిక్</a:t>
            </a:r>
            <a:r>
              <a:rPr lang="en-US" spc="600" dirty="0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pc="600" dirty="0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600" dirty="0" err="1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pc="600" dirty="0">
              <a:solidFill>
                <a:srgbClr val="C00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9" name="TextBox 33"/>
          <p:cNvSpPr txBox="1">
            <a:spLocks noChangeArrowheads="1"/>
          </p:cNvSpPr>
          <p:nvPr/>
        </p:nvSpPr>
        <p:spPr bwMode="auto">
          <a:xfrm rot="4150649">
            <a:off x="6290738" y="3434436"/>
            <a:ext cx="207433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latin typeface="Ramabhadra" pitchFamily="2" charset="0"/>
                <a:cs typeface="Ramabhadra" pitchFamily="2" charset="0"/>
              </a:rPr>
              <a:t>లాబ్రాడార్ సముద్రము</a:t>
            </a:r>
          </a:p>
        </p:txBody>
      </p:sp>
      <p:sp>
        <p:nvSpPr>
          <p:cNvPr id="70" name="TextBox 69"/>
          <p:cNvSpPr txBox="1">
            <a:spLocks noChangeArrowheads="1"/>
          </p:cNvSpPr>
          <p:nvPr/>
        </p:nvSpPr>
        <p:spPr bwMode="auto">
          <a:xfrm>
            <a:off x="2071692" y="1792819"/>
            <a:ext cx="17859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latin typeface="Ramabhadra" pitchFamily="2" charset="0"/>
                <a:cs typeface="Ramabhadra" pitchFamily="2" charset="0"/>
              </a:rPr>
              <a:t>బ్యూఫోర్ట్ సముద్రము</a:t>
            </a:r>
          </a:p>
        </p:txBody>
      </p:sp>
      <p:sp>
        <p:nvSpPr>
          <p:cNvPr id="71" name="Rectangle 5"/>
          <p:cNvSpPr>
            <a:spLocks noChangeArrowheads="1"/>
          </p:cNvSpPr>
          <p:nvPr/>
        </p:nvSpPr>
        <p:spPr bwMode="auto">
          <a:xfrm>
            <a:off x="2071694" y="2762251"/>
            <a:ext cx="73930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ctr"/>
            <a:r>
              <a:rPr lang="en-IN">
                <a:latin typeface="Ramabhadra" pitchFamily="2" charset="0"/>
                <a:cs typeface="Ramabhadra" pitchFamily="2" charset="0"/>
              </a:rPr>
              <a:t>అలస్కా</a:t>
            </a: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2" name="TextBox 29"/>
          <p:cNvSpPr txBox="1">
            <a:spLocks noChangeArrowheads="1"/>
          </p:cNvSpPr>
          <p:nvPr/>
        </p:nvSpPr>
        <p:spPr bwMode="auto">
          <a:xfrm rot="3107232">
            <a:off x="6331221" y="2191955"/>
            <a:ext cx="119803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>
                <a:solidFill>
                  <a:srgbClr val="0033CC"/>
                </a:solidFill>
                <a:latin typeface="Ramabhadra" pitchFamily="2" charset="0"/>
                <a:cs typeface="Ramabhadra" pitchFamily="2" charset="0"/>
              </a:rPr>
              <a:t>డేవిస్ జలసంఢి</a:t>
            </a:r>
          </a:p>
        </p:txBody>
      </p:sp>
      <p:sp>
        <p:nvSpPr>
          <p:cNvPr id="73" name="TextBox 29"/>
          <p:cNvSpPr txBox="1">
            <a:spLocks noChangeArrowheads="1"/>
          </p:cNvSpPr>
          <p:nvPr/>
        </p:nvSpPr>
        <p:spPr bwMode="auto">
          <a:xfrm>
            <a:off x="5357818" y="3238501"/>
            <a:ext cx="8985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>
                <a:solidFill>
                  <a:srgbClr val="C00000"/>
                </a:solidFill>
                <a:latin typeface="Ramabhadra" pitchFamily="2" charset="0"/>
                <a:cs typeface="Ramabhadra" pitchFamily="2" charset="0"/>
              </a:rPr>
              <a:t>హడ్సన్ అఖాతం</a:t>
            </a: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5214938" y="5712889"/>
            <a:ext cx="78581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100">
                <a:latin typeface="Ramabhadra" pitchFamily="2" charset="0"/>
                <a:cs typeface="Ramabhadra" pitchFamily="2" charset="0"/>
              </a:rPr>
              <a:t>మెక్సికో సింధూ శాఖ</a:t>
            </a:r>
          </a:p>
        </p:txBody>
      </p:sp>
      <p:sp>
        <p:nvSpPr>
          <p:cNvPr id="77" name="Rectangle 5"/>
          <p:cNvSpPr>
            <a:spLocks noChangeArrowheads="1"/>
          </p:cNvSpPr>
          <p:nvPr/>
        </p:nvSpPr>
        <p:spPr bwMode="auto">
          <a:xfrm>
            <a:off x="5929319" y="6468538"/>
            <a:ext cx="178593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IN" sz="1400">
                <a:latin typeface="Ramabhadra" pitchFamily="2" charset="0"/>
                <a:cs typeface="Ramabhadra" pitchFamily="2" charset="0"/>
              </a:rPr>
              <a:t>కరేబియన్ సముద్రము</a:t>
            </a:r>
          </a:p>
        </p:txBody>
      </p:sp>
      <p:sp>
        <p:nvSpPr>
          <p:cNvPr id="78" name="Freeform 43"/>
          <p:cNvSpPr>
            <a:spLocks/>
          </p:cNvSpPr>
          <p:nvPr/>
        </p:nvSpPr>
        <p:spPr bwMode="auto">
          <a:xfrm rot="1784987">
            <a:off x="6523044" y="433922"/>
            <a:ext cx="1863725" cy="2696633"/>
          </a:xfrm>
          <a:custGeom>
            <a:avLst/>
            <a:gdLst>
              <a:gd name="T0" fmla="*/ 2147483647 w 1080"/>
              <a:gd name="T1" fmla="*/ 2147483647 h 1018"/>
              <a:gd name="T2" fmla="*/ 2147483647 w 1080"/>
              <a:gd name="T3" fmla="*/ 2147483647 h 1018"/>
              <a:gd name="T4" fmla="*/ 2147483647 w 1080"/>
              <a:gd name="T5" fmla="*/ 2147483647 h 1018"/>
              <a:gd name="T6" fmla="*/ 2147483647 w 1080"/>
              <a:gd name="T7" fmla="*/ 2147483647 h 1018"/>
              <a:gd name="T8" fmla="*/ 2147483647 w 1080"/>
              <a:gd name="T9" fmla="*/ 2147483647 h 1018"/>
              <a:gd name="T10" fmla="*/ 2147483647 w 1080"/>
              <a:gd name="T11" fmla="*/ 2147483647 h 1018"/>
              <a:gd name="T12" fmla="*/ 2147483647 w 1080"/>
              <a:gd name="T13" fmla="*/ 2147483647 h 1018"/>
              <a:gd name="T14" fmla="*/ 2147483647 w 1080"/>
              <a:gd name="T15" fmla="*/ 2147483647 h 1018"/>
              <a:gd name="T16" fmla="*/ 2147483647 w 1080"/>
              <a:gd name="T17" fmla="*/ 2147483647 h 1018"/>
              <a:gd name="T18" fmla="*/ 2147483647 w 1080"/>
              <a:gd name="T19" fmla="*/ 2147483647 h 1018"/>
              <a:gd name="T20" fmla="*/ 2147483647 w 1080"/>
              <a:gd name="T21" fmla="*/ 2147483647 h 1018"/>
              <a:gd name="T22" fmla="*/ 2147483647 w 1080"/>
              <a:gd name="T23" fmla="*/ 2147483647 h 1018"/>
              <a:gd name="T24" fmla="*/ 2147483647 w 1080"/>
              <a:gd name="T25" fmla="*/ 2147483647 h 1018"/>
              <a:gd name="T26" fmla="*/ 2147483647 w 1080"/>
              <a:gd name="T27" fmla="*/ 2147483647 h 1018"/>
              <a:gd name="T28" fmla="*/ 2147483647 w 1080"/>
              <a:gd name="T29" fmla="*/ 2147483647 h 1018"/>
              <a:gd name="T30" fmla="*/ 2147483647 w 1080"/>
              <a:gd name="T31" fmla="*/ 2147483647 h 1018"/>
              <a:gd name="T32" fmla="*/ 2147483647 w 1080"/>
              <a:gd name="T33" fmla="*/ 2147483647 h 1018"/>
              <a:gd name="T34" fmla="*/ 2147483647 w 1080"/>
              <a:gd name="T35" fmla="*/ 2147483647 h 1018"/>
              <a:gd name="T36" fmla="*/ 2147483647 w 1080"/>
              <a:gd name="T37" fmla="*/ 2147483647 h 1018"/>
              <a:gd name="T38" fmla="*/ 2147483647 w 1080"/>
              <a:gd name="T39" fmla="*/ 2147483647 h 1018"/>
              <a:gd name="T40" fmla="*/ 2147483647 w 1080"/>
              <a:gd name="T41" fmla="*/ 2147483647 h 1018"/>
              <a:gd name="T42" fmla="*/ 2147483647 w 1080"/>
              <a:gd name="T43" fmla="*/ 2147483647 h 1018"/>
              <a:gd name="T44" fmla="*/ 2147483647 w 1080"/>
              <a:gd name="T45" fmla="*/ 2147483647 h 1018"/>
              <a:gd name="T46" fmla="*/ 2147483647 w 1080"/>
              <a:gd name="T47" fmla="*/ 2147483647 h 1018"/>
              <a:gd name="T48" fmla="*/ 2147483647 w 1080"/>
              <a:gd name="T49" fmla="*/ 2147483647 h 1018"/>
              <a:gd name="T50" fmla="*/ 2147483647 w 1080"/>
              <a:gd name="T51" fmla="*/ 2147483647 h 1018"/>
              <a:gd name="T52" fmla="*/ 2147483647 w 1080"/>
              <a:gd name="T53" fmla="*/ 2147483647 h 1018"/>
              <a:gd name="T54" fmla="*/ 2147483647 w 1080"/>
              <a:gd name="T55" fmla="*/ 2147483647 h 1018"/>
              <a:gd name="T56" fmla="*/ 2147483647 w 1080"/>
              <a:gd name="T57" fmla="*/ 2147483647 h 1018"/>
              <a:gd name="T58" fmla="*/ 2147483647 w 1080"/>
              <a:gd name="T59" fmla="*/ 2147483647 h 1018"/>
              <a:gd name="T60" fmla="*/ 2147483647 w 1080"/>
              <a:gd name="T61" fmla="*/ 2147483647 h 1018"/>
              <a:gd name="T62" fmla="*/ 2147483647 w 1080"/>
              <a:gd name="T63" fmla="*/ 2147483647 h 1018"/>
              <a:gd name="T64" fmla="*/ 2147483647 w 1080"/>
              <a:gd name="T65" fmla="*/ 2147483647 h 1018"/>
              <a:gd name="T66" fmla="*/ 2147483647 w 1080"/>
              <a:gd name="T67" fmla="*/ 2147483647 h 1018"/>
              <a:gd name="T68" fmla="*/ 2147483647 w 1080"/>
              <a:gd name="T69" fmla="*/ 2147483647 h 1018"/>
              <a:gd name="T70" fmla="*/ 2147483647 w 1080"/>
              <a:gd name="T71" fmla="*/ 2147483647 h 1018"/>
              <a:gd name="T72" fmla="*/ 2147483647 w 1080"/>
              <a:gd name="T73" fmla="*/ 2147483647 h 1018"/>
              <a:gd name="T74" fmla="*/ 2147483647 w 1080"/>
              <a:gd name="T75" fmla="*/ 2147483647 h 1018"/>
              <a:gd name="T76" fmla="*/ 2147483647 w 1080"/>
              <a:gd name="T77" fmla="*/ 2147483647 h 1018"/>
              <a:gd name="T78" fmla="*/ 2147483647 w 1080"/>
              <a:gd name="T79" fmla="*/ 2147483647 h 1018"/>
              <a:gd name="T80" fmla="*/ 2147483647 w 1080"/>
              <a:gd name="T81" fmla="*/ 2147483647 h 1018"/>
              <a:gd name="T82" fmla="*/ 2147483647 w 1080"/>
              <a:gd name="T83" fmla="*/ 2147483647 h 1018"/>
              <a:gd name="T84" fmla="*/ 2147483647 w 1080"/>
              <a:gd name="T85" fmla="*/ 2147483647 h 1018"/>
              <a:gd name="T86" fmla="*/ 2147483647 w 1080"/>
              <a:gd name="T87" fmla="*/ 2147483647 h 1018"/>
              <a:gd name="T88" fmla="*/ 2147483647 w 1080"/>
              <a:gd name="T89" fmla="*/ 0 h 1018"/>
              <a:gd name="T90" fmla="*/ 2147483647 w 1080"/>
              <a:gd name="T91" fmla="*/ 0 h 1018"/>
              <a:gd name="T92" fmla="*/ 2147483647 w 1080"/>
              <a:gd name="T93" fmla="*/ 2147483647 h 1018"/>
              <a:gd name="T94" fmla="*/ 2147483647 w 1080"/>
              <a:gd name="T95" fmla="*/ 2147483647 h 10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080"/>
              <a:gd name="T145" fmla="*/ 0 h 1018"/>
              <a:gd name="T146" fmla="*/ 1080 w 1080"/>
              <a:gd name="T147" fmla="*/ 1018 h 10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080" h="1018">
                <a:moveTo>
                  <a:pt x="38" y="162"/>
                </a:moveTo>
                <a:lnTo>
                  <a:pt x="13" y="236"/>
                </a:lnTo>
                <a:lnTo>
                  <a:pt x="0" y="274"/>
                </a:lnTo>
                <a:lnTo>
                  <a:pt x="13" y="298"/>
                </a:lnTo>
                <a:lnTo>
                  <a:pt x="0" y="348"/>
                </a:lnTo>
                <a:lnTo>
                  <a:pt x="38" y="373"/>
                </a:lnTo>
                <a:lnTo>
                  <a:pt x="13" y="422"/>
                </a:lnTo>
                <a:lnTo>
                  <a:pt x="13" y="485"/>
                </a:lnTo>
                <a:lnTo>
                  <a:pt x="50" y="485"/>
                </a:lnTo>
                <a:lnTo>
                  <a:pt x="87" y="497"/>
                </a:lnTo>
                <a:lnTo>
                  <a:pt x="63" y="522"/>
                </a:lnTo>
                <a:lnTo>
                  <a:pt x="100" y="534"/>
                </a:lnTo>
                <a:lnTo>
                  <a:pt x="174" y="571"/>
                </a:lnTo>
                <a:lnTo>
                  <a:pt x="211" y="509"/>
                </a:lnTo>
                <a:lnTo>
                  <a:pt x="273" y="522"/>
                </a:lnTo>
                <a:lnTo>
                  <a:pt x="323" y="547"/>
                </a:lnTo>
                <a:lnTo>
                  <a:pt x="373" y="596"/>
                </a:lnTo>
                <a:lnTo>
                  <a:pt x="422" y="634"/>
                </a:lnTo>
                <a:lnTo>
                  <a:pt x="447" y="621"/>
                </a:lnTo>
                <a:lnTo>
                  <a:pt x="497" y="634"/>
                </a:lnTo>
                <a:lnTo>
                  <a:pt x="484" y="658"/>
                </a:lnTo>
                <a:lnTo>
                  <a:pt x="497" y="696"/>
                </a:lnTo>
                <a:lnTo>
                  <a:pt x="522" y="720"/>
                </a:lnTo>
                <a:lnTo>
                  <a:pt x="534" y="696"/>
                </a:lnTo>
                <a:lnTo>
                  <a:pt x="559" y="671"/>
                </a:lnTo>
                <a:lnTo>
                  <a:pt x="584" y="696"/>
                </a:lnTo>
                <a:lnTo>
                  <a:pt x="584" y="733"/>
                </a:lnTo>
                <a:lnTo>
                  <a:pt x="571" y="745"/>
                </a:lnTo>
                <a:lnTo>
                  <a:pt x="584" y="770"/>
                </a:lnTo>
                <a:lnTo>
                  <a:pt x="621" y="782"/>
                </a:lnTo>
                <a:lnTo>
                  <a:pt x="621" y="807"/>
                </a:lnTo>
                <a:lnTo>
                  <a:pt x="633" y="820"/>
                </a:lnTo>
                <a:lnTo>
                  <a:pt x="658" y="782"/>
                </a:lnTo>
                <a:lnTo>
                  <a:pt x="695" y="807"/>
                </a:lnTo>
                <a:lnTo>
                  <a:pt x="695" y="857"/>
                </a:lnTo>
                <a:lnTo>
                  <a:pt x="695" y="869"/>
                </a:lnTo>
                <a:lnTo>
                  <a:pt x="720" y="907"/>
                </a:lnTo>
                <a:lnTo>
                  <a:pt x="745" y="907"/>
                </a:lnTo>
                <a:lnTo>
                  <a:pt x="745" y="882"/>
                </a:lnTo>
                <a:lnTo>
                  <a:pt x="770" y="869"/>
                </a:lnTo>
                <a:lnTo>
                  <a:pt x="820" y="894"/>
                </a:lnTo>
                <a:lnTo>
                  <a:pt x="795" y="931"/>
                </a:lnTo>
                <a:lnTo>
                  <a:pt x="820" y="944"/>
                </a:lnTo>
                <a:lnTo>
                  <a:pt x="857" y="944"/>
                </a:lnTo>
                <a:lnTo>
                  <a:pt x="869" y="969"/>
                </a:lnTo>
                <a:lnTo>
                  <a:pt x="931" y="994"/>
                </a:lnTo>
                <a:lnTo>
                  <a:pt x="969" y="1018"/>
                </a:lnTo>
                <a:lnTo>
                  <a:pt x="993" y="981"/>
                </a:lnTo>
                <a:lnTo>
                  <a:pt x="1031" y="981"/>
                </a:lnTo>
                <a:lnTo>
                  <a:pt x="1068" y="981"/>
                </a:lnTo>
                <a:lnTo>
                  <a:pt x="1080" y="956"/>
                </a:lnTo>
                <a:lnTo>
                  <a:pt x="1068" y="919"/>
                </a:lnTo>
                <a:lnTo>
                  <a:pt x="1018" y="894"/>
                </a:lnTo>
                <a:lnTo>
                  <a:pt x="1006" y="845"/>
                </a:lnTo>
                <a:lnTo>
                  <a:pt x="981" y="807"/>
                </a:lnTo>
                <a:lnTo>
                  <a:pt x="969" y="758"/>
                </a:lnTo>
                <a:lnTo>
                  <a:pt x="944" y="733"/>
                </a:lnTo>
                <a:lnTo>
                  <a:pt x="906" y="708"/>
                </a:lnTo>
                <a:lnTo>
                  <a:pt x="894" y="671"/>
                </a:lnTo>
                <a:lnTo>
                  <a:pt x="894" y="621"/>
                </a:lnTo>
                <a:lnTo>
                  <a:pt x="906" y="584"/>
                </a:lnTo>
                <a:lnTo>
                  <a:pt x="906" y="547"/>
                </a:lnTo>
                <a:lnTo>
                  <a:pt x="882" y="509"/>
                </a:lnTo>
                <a:lnTo>
                  <a:pt x="844" y="447"/>
                </a:lnTo>
                <a:lnTo>
                  <a:pt x="869" y="422"/>
                </a:lnTo>
                <a:lnTo>
                  <a:pt x="869" y="385"/>
                </a:lnTo>
                <a:lnTo>
                  <a:pt x="869" y="348"/>
                </a:lnTo>
                <a:lnTo>
                  <a:pt x="857" y="286"/>
                </a:lnTo>
                <a:lnTo>
                  <a:pt x="832" y="261"/>
                </a:lnTo>
                <a:lnTo>
                  <a:pt x="795" y="286"/>
                </a:lnTo>
                <a:lnTo>
                  <a:pt x="795" y="323"/>
                </a:lnTo>
                <a:lnTo>
                  <a:pt x="745" y="323"/>
                </a:lnTo>
                <a:lnTo>
                  <a:pt x="733" y="286"/>
                </a:lnTo>
                <a:lnTo>
                  <a:pt x="745" y="261"/>
                </a:lnTo>
                <a:lnTo>
                  <a:pt x="770" y="261"/>
                </a:lnTo>
                <a:lnTo>
                  <a:pt x="795" y="224"/>
                </a:lnTo>
                <a:lnTo>
                  <a:pt x="770" y="211"/>
                </a:lnTo>
                <a:lnTo>
                  <a:pt x="695" y="211"/>
                </a:lnTo>
                <a:lnTo>
                  <a:pt x="658" y="236"/>
                </a:lnTo>
                <a:lnTo>
                  <a:pt x="633" y="236"/>
                </a:lnTo>
                <a:lnTo>
                  <a:pt x="621" y="199"/>
                </a:lnTo>
                <a:lnTo>
                  <a:pt x="658" y="187"/>
                </a:lnTo>
                <a:lnTo>
                  <a:pt x="658" y="100"/>
                </a:lnTo>
                <a:lnTo>
                  <a:pt x="609" y="62"/>
                </a:lnTo>
                <a:lnTo>
                  <a:pt x="509" y="25"/>
                </a:lnTo>
                <a:lnTo>
                  <a:pt x="460" y="38"/>
                </a:lnTo>
                <a:lnTo>
                  <a:pt x="398" y="0"/>
                </a:lnTo>
                <a:lnTo>
                  <a:pt x="373" y="13"/>
                </a:lnTo>
                <a:lnTo>
                  <a:pt x="373" y="25"/>
                </a:lnTo>
                <a:lnTo>
                  <a:pt x="336" y="0"/>
                </a:lnTo>
                <a:lnTo>
                  <a:pt x="298" y="25"/>
                </a:lnTo>
                <a:lnTo>
                  <a:pt x="249" y="0"/>
                </a:lnTo>
                <a:lnTo>
                  <a:pt x="199" y="25"/>
                </a:lnTo>
                <a:lnTo>
                  <a:pt x="174" y="87"/>
                </a:lnTo>
                <a:lnTo>
                  <a:pt x="125" y="100"/>
                </a:lnTo>
                <a:lnTo>
                  <a:pt x="38" y="162"/>
                </a:lnTo>
                <a:close/>
              </a:path>
            </a:pathLst>
          </a:custGeom>
          <a:solidFill>
            <a:srgbClr val="00B050"/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79" name="TextBox 33"/>
          <p:cNvSpPr txBox="1">
            <a:spLocks noChangeArrowheads="1"/>
          </p:cNvSpPr>
          <p:nvPr/>
        </p:nvSpPr>
        <p:spPr bwMode="auto">
          <a:xfrm rot="4662432">
            <a:off x="6365085" y="1438164"/>
            <a:ext cx="217805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400">
                <a:latin typeface="Ramabhadra" pitchFamily="2" charset="0"/>
                <a:cs typeface="Ramabhadra" pitchFamily="2" charset="0"/>
              </a:rPr>
              <a:t>గ్రీన్ లాండ్</a:t>
            </a:r>
          </a:p>
        </p:txBody>
      </p:sp>
      <p:sp>
        <p:nvSpPr>
          <p:cNvPr id="82" name="Rectangle 1"/>
          <p:cNvSpPr>
            <a:spLocks noChangeArrowheads="1"/>
          </p:cNvSpPr>
          <p:nvPr/>
        </p:nvSpPr>
        <p:spPr bwMode="auto">
          <a:xfrm>
            <a:off x="142881" y="1905001"/>
            <a:ext cx="16430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400">
                <a:latin typeface="Ramabhadra" pitchFamily="2" charset="0"/>
                <a:cs typeface="Ramabhadra" pitchFamily="2" charset="0"/>
              </a:rPr>
              <a:t>66 ½</a:t>
            </a:r>
            <a:r>
              <a:rPr lang="en-US" sz="1400">
                <a:latin typeface="Ramabhadra" pitchFamily="2" charset="0"/>
                <a:ea typeface="Calibri" pitchFamily="34" charset="0"/>
                <a:cs typeface="Ramabhadra" pitchFamily="2" charset="0"/>
              </a:rPr>
              <a:t>° ఉత్తర అక్షాంశం ఆర్కిటిక్ వలయం</a:t>
            </a:r>
            <a:endParaRPr lang="en-US" sz="1400">
              <a:latin typeface="Ramabhadra" pitchFamily="2" charset="0"/>
              <a:cs typeface="Ramabhadra" pitchFamily="2" charset="0"/>
            </a:endParaRPr>
          </a:p>
        </p:txBody>
      </p:sp>
      <p:cxnSp>
        <p:nvCxnSpPr>
          <p:cNvPr id="83" name="Straight Connector 82"/>
          <p:cNvCxnSpPr/>
          <p:nvPr/>
        </p:nvCxnSpPr>
        <p:spPr>
          <a:xfrm flipV="1">
            <a:off x="-285750" y="2391837"/>
            <a:ext cx="9582150" cy="84667"/>
          </a:xfrm>
          <a:prstGeom prst="line">
            <a:avLst/>
          </a:prstGeom>
          <a:ln w="38100">
            <a:solidFill>
              <a:srgbClr val="0033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Freeform 83"/>
          <p:cNvSpPr/>
          <p:nvPr/>
        </p:nvSpPr>
        <p:spPr>
          <a:xfrm>
            <a:off x="5737231" y="2887137"/>
            <a:ext cx="322263" cy="313267"/>
          </a:xfrm>
          <a:custGeom>
            <a:avLst/>
            <a:gdLst>
              <a:gd name="connsiteX0" fmla="*/ 115467 w 322201"/>
              <a:gd name="connsiteY0" fmla="*/ 0 h 314077"/>
              <a:gd name="connsiteX1" fmla="*/ 95589 w 322201"/>
              <a:gd name="connsiteY1" fmla="*/ 11927 h 314077"/>
              <a:gd name="connsiteX2" fmla="*/ 75710 w 322201"/>
              <a:gd name="connsiteY2" fmla="*/ 23854 h 314077"/>
              <a:gd name="connsiteX3" fmla="*/ 55832 w 322201"/>
              <a:gd name="connsiteY3" fmla="*/ 39757 h 314077"/>
              <a:gd name="connsiteX4" fmla="*/ 47881 w 322201"/>
              <a:gd name="connsiteY4" fmla="*/ 63611 h 314077"/>
              <a:gd name="connsiteX5" fmla="*/ 43905 w 322201"/>
              <a:gd name="connsiteY5" fmla="*/ 75538 h 314077"/>
              <a:gd name="connsiteX6" fmla="*/ 31978 w 322201"/>
              <a:gd name="connsiteY6" fmla="*/ 99392 h 314077"/>
              <a:gd name="connsiteX7" fmla="*/ 20051 w 322201"/>
              <a:gd name="connsiteY7" fmla="*/ 123246 h 314077"/>
              <a:gd name="connsiteX8" fmla="*/ 24027 w 322201"/>
              <a:gd name="connsiteY8" fmla="*/ 159027 h 314077"/>
              <a:gd name="connsiteX9" fmla="*/ 28003 w 322201"/>
              <a:gd name="connsiteY9" fmla="*/ 170954 h 314077"/>
              <a:gd name="connsiteX10" fmla="*/ 31978 w 322201"/>
              <a:gd name="connsiteY10" fmla="*/ 190832 h 314077"/>
              <a:gd name="connsiteX11" fmla="*/ 35954 w 322201"/>
              <a:gd name="connsiteY11" fmla="*/ 206734 h 314077"/>
              <a:gd name="connsiteX12" fmla="*/ 31978 w 322201"/>
              <a:gd name="connsiteY12" fmla="*/ 226613 h 314077"/>
              <a:gd name="connsiteX13" fmla="*/ 4149 w 322201"/>
              <a:gd name="connsiteY13" fmla="*/ 238540 h 314077"/>
              <a:gd name="connsiteX14" fmla="*/ 173 w 322201"/>
              <a:gd name="connsiteY14" fmla="*/ 250467 h 314077"/>
              <a:gd name="connsiteX15" fmla="*/ 4149 w 322201"/>
              <a:gd name="connsiteY15" fmla="*/ 266369 h 314077"/>
              <a:gd name="connsiteX16" fmla="*/ 43905 w 322201"/>
              <a:gd name="connsiteY16" fmla="*/ 278296 h 314077"/>
              <a:gd name="connsiteX17" fmla="*/ 55832 w 322201"/>
              <a:gd name="connsiteY17" fmla="*/ 290223 h 314077"/>
              <a:gd name="connsiteX18" fmla="*/ 67759 w 322201"/>
              <a:gd name="connsiteY18" fmla="*/ 294199 h 314077"/>
              <a:gd name="connsiteX19" fmla="*/ 75710 w 322201"/>
              <a:gd name="connsiteY19" fmla="*/ 306126 h 314077"/>
              <a:gd name="connsiteX20" fmla="*/ 83662 w 322201"/>
              <a:gd name="connsiteY20" fmla="*/ 314077 h 314077"/>
              <a:gd name="connsiteX21" fmla="*/ 111491 w 322201"/>
              <a:gd name="connsiteY21" fmla="*/ 310101 h 314077"/>
              <a:gd name="connsiteX22" fmla="*/ 119443 w 322201"/>
              <a:gd name="connsiteY22" fmla="*/ 302150 h 314077"/>
              <a:gd name="connsiteX23" fmla="*/ 127394 w 322201"/>
              <a:gd name="connsiteY23" fmla="*/ 290223 h 314077"/>
              <a:gd name="connsiteX24" fmla="*/ 139321 w 322201"/>
              <a:gd name="connsiteY24" fmla="*/ 274320 h 314077"/>
              <a:gd name="connsiteX25" fmla="*/ 151248 w 322201"/>
              <a:gd name="connsiteY25" fmla="*/ 254442 h 314077"/>
              <a:gd name="connsiteX26" fmla="*/ 163175 w 322201"/>
              <a:gd name="connsiteY26" fmla="*/ 250467 h 314077"/>
              <a:gd name="connsiteX27" fmla="*/ 171126 w 322201"/>
              <a:gd name="connsiteY27" fmla="*/ 242515 h 314077"/>
              <a:gd name="connsiteX28" fmla="*/ 187029 w 322201"/>
              <a:gd name="connsiteY28" fmla="*/ 222637 h 314077"/>
              <a:gd name="connsiteX29" fmla="*/ 198956 w 322201"/>
              <a:gd name="connsiteY29" fmla="*/ 218661 h 314077"/>
              <a:gd name="connsiteX30" fmla="*/ 218834 w 322201"/>
              <a:gd name="connsiteY30" fmla="*/ 222637 h 314077"/>
              <a:gd name="connsiteX31" fmla="*/ 242688 w 322201"/>
              <a:gd name="connsiteY31" fmla="*/ 230588 h 314077"/>
              <a:gd name="connsiteX32" fmla="*/ 262566 w 322201"/>
              <a:gd name="connsiteY32" fmla="*/ 246491 h 314077"/>
              <a:gd name="connsiteX33" fmla="*/ 286420 w 322201"/>
              <a:gd name="connsiteY33" fmla="*/ 254442 h 314077"/>
              <a:gd name="connsiteX34" fmla="*/ 314250 w 322201"/>
              <a:gd name="connsiteY34" fmla="*/ 250467 h 314077"/>
              <a:gd name="connsiteX35" fmla="*/ 322201 w 322201"/>
              <a:gd name="connsiteY35" fmla="*/ 218661 h 314077"/>
              <a:gd name="connsiteX36" fmla="*/ 318225 w 322201"/>
              <a:gd name="connsiteY36" fmla="*/ 202759 h 314077"/>
              <a:gd name="connsiteX37" fmla="*/ 302323 w 322201"/>
              <a:gd name="connsiteY37" fmla="*/ 198783 h 314077"/>
              <a:gd name="connsiteX38" fmla="*/ 258590 w 322201"/>
              <a:gd name="connsiteY38" fmla="*/ 190832 h 314077"/>
              <a:gd name="connsiteX39" fmla="*/ 254615 w 322201"/>
              <a:gd name="connsiteY39" fmla="*/ 151075 h 314077"/>
              <a:gd name="connsiteX40" fmla="*/ 250639 w 322201"/>
              <a:gd name="connsiteY40" fmla="*/ 139148 h 314077"/>
              <a:gd name="connsiteX41" fmla="*/ 218834 w 322201"/>
              <a:gd name="connsiteY41" fmla="*/ 135173 h 314077"/>
              <a:gd name="connsiteX42" fmla="*/ 206907 w 322201"/>
              <a:gd name="connsiteY42" fmla="*/ 131197 h 314077"/>
              <a:gd name="connsiteX43" fmla="*/ 191004 w 322201"/>
              <a:gd name="connsiteY43" fmla="*/ 127221 h 314077"/>
              <a:gd name="connsiteX44" fmla="*/ 175102 w 322201"/>
              <a:gd name="connsiteY44" fmla="*/ 115294 h 314077"/>
              <a:gd name="connsiteX45" fmla="*/ 159199 w 322201"/>
              <a:gd name="connsiteY45" fmla="*/ 107343 h 314077"/>
              <a:gd name="connsiteX46" fmla="*/ 139321 w 322201"/>
              <a:gd name="connsiteY46" fmla="*/ 91440 h 314077"/>
              <a:gd name="connsiteX47" fmla="*/ 127394 w 322201"/>
              <a:gd name="connsiteY47" fmla="*/ 67587 h 314077"/>
              <a:gd name="connsiteX48" fmla="*/ 119443 w 322201"/>
              <a:gd name="connsiteY48" fmla="*/ 51684 h 314077"/>
              <a:gd name="connsiteX49" fmla="*/ 111491 w 322201"/>
              <a:gd name="connsiteY49" fmla="*/ 43733 h 314077"/>
              <a:gd name="connsiteX50" fmla="*/ 95589 w 322201"/>
              <a:gd name="connsiteY50" fmla="*/ 7952 h 314077"/>
              <a:gd name="connsiteX51" fmla="*/ 115467 w 322201"/>
              <a:gd name="connsiteY51" fmla="*/ 0 h 314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22201" h="314077">
                <a:moveTo>
                  <a:pt x="115467" y="0"/>
                </a:moveTo>
                <a:cubicBezTo>
                  <a:pt x="108841" y="3976"/>
                  <a:pt x="101877" y="7436"/>
                  <a:pt x="95589" y="11927"/>
                </a:cubicBezTo>
                <a:cubicBezTo>
                  <a:pt x="76489" y="25570"/>
                  <a:pt x="100343" y="15644"/>
                  <a:pt x="75710" y="23854"/>
                </a:cubicBezTo>
                <a:cubicBezTo>
                  <a:pt x="71500" y="26661"/>
                  <a:pt x="58663" y="34095"/>
                  <a:pt x="55832" y="39757"/>
                </a:cubicBezTo>
                <a:cubicBezTo>
                  <a:pt x="52084" y="47254"/>
                  <a:pt x="50531" y="55660"/>
                  <a:pt x="47881" y="63611"/>
                </a:cubicBezTo>
                <a:cubicBezTo>
                  <a:pt x="46556" y="67587"/>
                  <a:pt x="46230" y="72051"/>
                  <a:pt x="43905" y="75538"/>
                </a:cubicBezTo>
                <a:cubicBezTo>
                  <a:pt x="21119" y="109719"/>
                  <a:pt x="48438" y="66472"/>
                  <a:pt x="31978" y="99392"/>
                </a:cubicBezTo>
                <a:cubicBezTo>
                  <a:pt x="16564" y="130220"/>
                  <a:pt x="30045" y="93267"/>
                  <a:pt x="20051" y="123246"/>
                </a:cubicBezTo>
                <a:cubicBezTo>
                  <a:pt x="21376" y="135173"/>
                  <a:pt x="22054" y="147190"/>
                  <a:pt x="24027" y="159027"/>
                </a:cubicBezTo>
                <a:cubicBezTo>
                  <a:pt x="24716" y="163161"/>
                  <a:pt x="26987" y="166888"/>
                  <a:pt x="28003" y="170954"/>
                </a:cubicBezTo>
                <a:cubicBezTo>
                  <a:pt x="29642" y="177509"/>
                  <a:pt x="30512" y="184236"/>
                  <a:pt x="31978" y="190832"/>
                </a:cubicBezTo>
                <a:cubicBezTo>
                  <a:pt x="33163" y="196166"/>
                  <a:pt x="34629" y="201433"/>
                  <a:pt x="35954" y="206734"/>
                </a:cubicBezTo>
                <a:cubicBezTo>
                  <a:pt x="34629" y="213360"/>
                  <a:pt x="35906" y="221114"/>
                  <a:pt x="31978" y="226613"/>
                </a:cubicBezTo>
                <a:cubicBezTo>
                  <a:pt x="28908" y="230911"/>
                  <a:pt x="9973" y="236598"/>
                  <a:pt x="4149" y="238540"/>
                </a:cubicBezTo>
                <a:cubicBezTo>
                  <a:pt x="2824" y="242516"/>
                  <a:pt x="173" y="246276"/>
                  <a:pt x="173" y="250467"/>
                </a:cubicBezTo>
                <a:cubicBezTo>
                  <a:pt x="173" y="255931"/>
                  <a:pt x="0" y="262813"/>
                  <a:pt x="4149" y="266369"/>
                </a:cubicBezTo>
                <a:cubicBezTo>
                  <a:pt x="8133" y="269784"/>
                  <a:pt x="36204" y="276371"/>
                  <a:pt x="43905" y="278296"/>
                </a:cubicBezTo>
                <a:cubicBezTo>
                  <a:pt x="47881" y="282272"/>
                  <a:pt x="51154" y="287104"/>
                  <a:pt x="55832" y="290223"/>
                </a:cubicBezTo>
                <a:cubicBezTo>
                  <a:pt x="59319" y="292548"/>
                  <a:pt x="64487" y="291581"/>
                  <a:pt x="67759" y="294199"/>
                </a:cubicBezTo>
                <a:cubicBezTo>
                  <a:pt x="71490" y="297184"/>
                  <a:pt x="72725" y="302395"/>
                  <a:pt x="75710" y="306126"/>
                </a:cubicBezTo>
                <a:cubicBezTo>
                  <a:pt x="78052" y="309053"/>
                  <a:pt x="81011" y="311427"/>
                  <a:pt x="83662" y="314077"/>
                </a:cubicBezTo>
                <a:cubicBezTo>
                  <a:pt x="92938" y="312752"/>
                  <a:pt x="102601" y="313064"/>
                  <a:pt x="111491" y="310101"/>
                </a:cubicBezTo>
                <a:cubicBezTo>
                  <a:pt x="115047" y="308916"/>
                  <a:pt x="117101" y="305077"/>
                  <a:pt x="119443" y="302150"/>
                </a:cubicBezTo>
                <a:cubicBezTo>
                  <a:pt x="122428" y="298419"/>
                  <a:pt x="124617" y="294111"/>
                  <a:pt x="127394" y="290223"/>
                </a:cubicBezTo>
                <a:cubicBezTo>
                  <a:pt x="131245" y="284831"/>
                  <a:pt x="135345" y="279621"/>
                  <a:pt x="139321" y="274320"/>
                </a:cubicBezTo>
                <a:cubicBezTo>
                  <a:pt x="142448" y="264941"/>
                  <a:pt x="142154" y="259898"/>
                  <a:pt x="151248" y="254442"/>
                </a:cubicBezTo>
                <a:cubicBezTo>
                  <a:pt x="154841" y="252286"/>
                  <a:pt x="159199" y="251792"/>
                  <a:pt x="163175" y="250467"/>
                </a:cubicBezTo>
                <a:cubicBezTo>
                  <a:pt x="165825" y="247816"/>
                  <a:pt x="168785" y="245442"/>
                  <a:pt x="171126" y="242515"/>
                </a:cubicBezTo>
                <a:cubicBezTo>
                  <a:pt x="176128" y="236262"/>
                  <a:pt x="179642" y="227069"/>
                  <a:pt x="187029" y="222637"/>
                </a:cubicBezTo>
                <a:cubicBezTo>
                  <a:pt x="190623" y="220481"/>
                  <a:pt x="194980" y="219986"/>
                  <a:pt x="198956" y="218661"/>
                </a:cubicBezTo>
                <a:cubicBezTo>
                  <a:pt x="205582" y="219986"/>
                  <a:pt x="212315" y="220859"/>
                  <a:pt x="218834" y="222637"/>
                </a:cubicBezTo>
                <a:cubicBezTo>
                  <a:pt x="226920" y="224842"/>
                  <a:pt x="242688" y="230588"/>
                  <a:pt x="242688" y="230588"/>
                </a:cubicBezTo>
                <a:cubicBezTo>
                  <a:pt x="249297" y="237198"/>
                  <a:pt x="253537" y="242478"/>
                  <a:pt x="262566" y="246491"/>
                </a:cubicBezTo>
                <a:cubicBezTo>
                  <a:pt x="270225" y="249895"/>
                  <a:pt x="286420" y="254442"/>
                  <a:pt x="286420" y="254442"/>
                </a:cubicBezTo>
                <a:cubicBezTo>
                  <a:pt x="295697" y="253117"/>
                  <a:pt x="307624" y="257093"/>
                  <a:pt x="314250" y="250467"/>
                </a:cubicBezTo>
                <a:cubicBezTo>
                  <a:pt x="321977" y="242740"/>
                  <a:pt x="322201" y="218661"/>
                  <a:pt x="322201" y="218661"/>
                </a:cubicBezTo>
                <a:cubicBezTo>
                  <a:pt x="320876" y="213360"/>
                  <a:pt x="322089" y="206623"/>
                  <a:pt x="318225" y="202759"/>
                </a:cubicBezTo>
                <a:cubicBezTo>
                  <a:pt x="314361" y="198895"/>
                  <a:pt x="307699" y="199760"/>
                  <a:pt x="302323" y="198783"/>
                </a:cubicBezTo>
                <a:cubicBezTo>
                  <a:pt x="250069" y="189281"/>
                  <a:pt x="294672" y="199851"/>
                  <a:pt x="258590" y="190832"/>
                </a:cubicBezTo>
                <a:cubicBezTo>
                  <a:pt x="257265" y="177580"/>
                  <a:pt x="256640" y="164239"/>
                  <a:pt x="254615" y="151075"/>
                </a:cubicBezTo>
                <a:cubicBezTo>
                  <a:pt x="253978" y="146933"/>
                  <a:pt x="254469" y="140850"/>
                  <a:pt x="250639" y="139148"/>
                </a:cubicBezTo>
                <a:cubicBezTo>
                  <a:pt x="240876" y="134809"/>
                  <a:pt x="229436" y="136498"/>
                  <a:pt x="218834" y="135173"/>
                </a:cubicBezTo>
                <a:cubicBezTo>
                  <a:pt x="214858" y="133848"/>
                  <a:pt x="210936" y="132348"/>
                  <a:pt x="206907" y="131197"/>
                </a:cubicBezTo>
                <a:cubicBezTo>
                  <a:pt x="201653" y="129696"/>
                  <a:pt x="195891" y="129665"/>
                  <a:pt x="191004" y="127221"/>
                </a:cubicBezTo>
                <a:cubicBezTo>
                  <a:pt x="185078" y="124258"/>
                  <a:pt x="180721" y="118806"/>
                  <a:pt x="175102" y="115294"/>
                </a:cubicBezTo>
                <a:cubicBezTo>
                  <a:pt x="170076" y="112153"/>
                  <a:pt x="164345" y="110283"/>
                  <a:pt x="159199" y="107343"/>
                </a:cubicBezTo>
                <a:cubicBezTo>
                  <a:pt x="147496" y="100656"/>
                  <a:pt x="148028" y="100148"/>
                  <a:pt x="139321" y="91440"/>
                </a:cubicBezTo>
                <a:cubicBezTo>
                  <a:pt x="132030" y="69572"/>
                  <a:pt x="139726" y="89169"/>
                  <a:pt x="127394" y="67587"/>
                </a:cubicBezTo>
                <a:cubicBezTo>
                  <a:pt x="124454" y="62441"/>
                  <a:pt x="122731" y="56615"/>
                  <a:pt x="119443" y="51684"/>
                </a:cubicBezTo>
                <a:cubicBezTo>
                  <a:pt x="117364" y="48565"/>
                  <a:pt x="113833" y="46660"/>
                  <a:pt x="111491" y="43733"/>
                </a:cubicBezTo>
                <a:cubicBezTo>
                  <a:pt x="104285" y="34726"/>
                  <a:pt x="95589" y="18984"/>
                  <a:pt x="95589" y="7952"/>
                </a:cubicBezTo>
                <a:lnTo>
                  <a:pt x="115467" y="0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5" name="Freeform 84"/>
          <p:cNvSpPr/>
          <p:nvPr/>
        </p:nvSpPr>
        <p:spPr>
          <a:xfrm>
            <a:off x="5891219" y="3208869"/>
            <a:ext cx="109537" cy="84667"/>
          </a:xfrm>
          <a:custGeom>
            <a:avLst/>
            <a:gdLst>
              <a:gd name="connsiteX0" fmla="*/ 108031 w 110019"/>
              <a:gd name="connsiteY0" fmla="*/ 3313 h 82826"/>
              <a:gd name="connsiteX1" fmla="*/ 68275 w 110019"/>
              <a:gd name="connsiteY1" fmla="*/ 11264 h 82826"/>
              <a:gd name="connsiteX2" fmla="*/ 48396 w 110019"/>
              <a:gd name="connsiteY2" fmla="*/ 23191 h 82826"/>
              <a:gd name="connsiteX3" fmla="*/ 16591 w 110019"/>
              <a:gd name="connsiteY3" fmla="*/ 47045 h 82826"/>
              <a:gd name="connsiteX4" fmla="*/ 4664 w 110019"/>
              <a:gd name="connsiteY4" fmla="*/ 54996 h 82826"/>
              <a:gd name="connsiteX5" fmla="*/ 689 w 110019"/>
              <a:gd name="connsiteY5" fmla="*/ 66923 h 82826"/>
              <a:gd name="connsiteX6" fmla="*/ 24542 w 110019"/>
              <a:gd name="connsiteY6" fmla="*/ 82826 h 82826"/>
              <a:gd name="connsiteX7" fmla="*/ 48396 w 110019"/>
              <a:gd name="connsiteY7" fmla="*/ 78850 h 82826"/>
              <a:gd name="connsiteX8" fmla="*/ 56348 w 110019"/>
              <a:gd name="connsiteY8" fmla="*/ 70899 h 82826"/>
              <a:gd name="connsiteX9" fmla="*/ 68275 w 110019"/>
              <a:gd name="connsiteY9" fmla="*/ 62948 h 82826"/>
              <a:gd name="connsiteX10" fmla="*/ 80202 w 110019"/>
              <a:gd name="connsiteY10" fmla="*/ 31143 h 82826"/>
              <a:gd name="connsiteX11" fmla="*/ 108031 w 110019"/>
              <a:gd name="connsiteY11" fmla="*/ 3313 h 82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0019" h="82826">
                <a:moveTo>
                  <a:pt x="108031" y="3313"/>
                </a:moveTo>
                <a:cubicBezTo>
                  <a:pt x="106043" y="0"/>
                  <a:pt x="76946" y="6062"/>
                  <a:pt x="68275" y="11264"/>
                </a:cubicBezTo>
                <a:cubicBezTo>
                  <a:pt x="40988" y="27635"/>
                  <a:pt x="82181" y="11931"/>
                  <a:pt x="48396" y="23191"/>
                </a:cubicBezTo>
                <a:cubicBezTo>
                  <a:pt x="33688" y="37901"/>
                  <a:pt x="43564" y="29064"/>
                  <a:pt x="16591" y="47045"/>
                </a:cubicBezTo>
                <a:lnTo>
                  <a:pt x="4664" y="54996"/>
                </a:lnTo>
                <a:cubicBezTo>
                  <a:pt x="3339" y="58972"/>
                  <a:pt x="0" y="62789"/>
                  <a:pt x="689" y="66923"/>
                </a:cubicBezTo>
                <a:cubicBezTo>
                  <a:pt x="3077" y="81247"/>
                  <a:pt x="13832" y="80148"/>
                  <a:pt x="24542" y="82826"/>
                </a:cubicBezTo>
                <a:cubicBezTo>
                  <a:pt x="32493" y="81501"/>
                  <a:pt x="40848" y="81680"/>
                  <a:pt x="48396" y="78850"/>
                </a:cubicBezTo>
                <a:cubicBezTo>
                  <a:pt x="51906" y="77534"/>
                  <a:pt x="53421" y="73240"/>
                  <a:pt x="56348" y="70899"/>
                </a:cubicBezTo>
                <a:cubicBezTo>
                  <a:pt x="60079" y="67914"/>
                  <a:pt x="64299" y="65598"/>
                  <a:pt x="68275" y="62948"/>
                </a:cubicBezTo>
                <a:cubicBezTo>
                  <a:pt x="75945" y="24591"/>
                  <a:pt x="66551" y="58444"/>
                  <a:pt x="80202" y="31143"/>
                </a:cubicBezTo>
                <a:cubicBezTo>
                  <a:pt x="86794" y="17959"/>
                  <a:pt x="110019" y="6626"/>
                  <a:pt x="108031" y="3313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6" name="Freeform 85"/>
          <p:cNvSpPr/>
          <p:nvPr/>
        </p:nvSpPr>
        <p:spPr>
          <a:xfrm>
            <a:off x="6043614" y="3261787"/>
            <a:ext cx="61912" cy="114300"/>
          </a:xfrm>
          <a:custGeom>
            <a:avLst/>
            <a:gdLst>
              <a:gd name="connsiteX0" fmla="*/ 47553 w 61982"/>
              <a:gd name="connsiteY0" fmla="*/ 13667 h 113149"/>
              <a:gd name="connsiteX1" fmla="*/ 51529 w 61982"/>
              <a:gd name="connsiteY1" fmla="*/ 33546 h 113149"/>
              <a:gd name="connsiteX2" fmla="*/ 55504 w 61982"/>
              <a:gd name="connsiteY2" fmla="*/ 49448 h 113149"/>
              <a:gd name="connsiteX3" fmla="*/ 51529 w 61982"/>
              <a:gd name="connsiteY3" fmla="*/ 109083 h 113149"/>
              <a:gd name="connsiteX4" fmla="*/ 39602 w 61982"/>
              <a:gd name="connsiteY4" fmla="*/ 113059 h 113149"/>
              <a:gd name="connsiteX5" fmla="*/ 31651 w 61982"/>
              <a:gd name="connsiteY5" fmla="*/ 105107 h 113149"/>
              <a:gd name="connsiteX6" fmla="*/ 27675 w 61982"/>
              <a:gd name="connsiteY6" fmla="*/ 93180 h 113149"/>
              <a:gd name="connsiteX7" fmla="*/ 15748 w 61982"/>
              <a:gd name="connsiteY7" fmla="*/ 85229 h 113149"/>
              <a:gd name="connsiteX8" fmla="*/ 7797 w 61982"/>
              <a:gd name="connsiteY8" fmla="*/ 61375 h 113149"/>
              <a:gd name="connsiteX9" fmla="*/ 3821 w 61982"/>
              <a:gd name="connsiteY9" fmla="*/ 49448 h 113149"/>
              <a:gd name="connsiteX10" fmla="*/ 7797 w 61982"/>
              <a:gd name="connsiteY10" fmla="*/ 21619 h 113149"/>
              <a:gd name="connsiteX11" fmla="*/ 47553 w 61982"/>
              <a:gd name="connsiteY11" fmla="*/ 1740 h 113149"/>
              <a:gd name="connsiteX12" fmla="*/ 47553 w 61982"/>
              <a:gd name="connsiteY12" fmla="*/ 13667 h 113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982" h="113149">
                <a:moveTo>
                  <a:pt x="47553" y="13667"/>
                </a:moveTo>
                <a:cubicBezTo>
                  <a:pt x="48216" y="18968"/>
                  <a:pt x="50063" y="26949"/>
                  <a:pt x="51529" y="33546"/>
                </a:cubicBezTo>
                <a:cubicBezTo>
                  <a:pt x="52714" y="38880"/>
                  <a:pt x="55504" y="43984"/>
                  <a:pt x="55504" y="49448"/>
                </a:cubicBezTo>
                <a:cubicBezTo>
                  <a:pt x="55504" y="69370"/>
                  <a:pt x="56361" y="89755"/>
                  <a:pt x="51529" y="109083"/>
                </a:cubicBezTo>
                <a:cubicBezTo>
                  <a:pt x="50513" y="113149"/>
                  <a:pt x="43578" y="111734"/>
                  <a:pt x="39602" y="113059"/>
                </a:cubicBezTo>
                <a:cubicBezTo>
                  <a:pt x="36952" y="110408"/>
                  <a:pt x="33579" y="108321"/>
                  <a:pt x="31651" y="105107"/>
                </a:cubicBezTo>
                <a:cubicBezTo>
                  <a:pt x="29495" y="101513"/>
                  <a:pt x="30293" y="96452"/>
                  <a:pt x="27675" y="93180"/>
                </a:cubicBezTo>
                <a:cubicBezTo>
                  <a:pt x="24690" y="89449"/>
                  <a:pt x="19724" y="87879"/>
                  <a:pt x="15748" y="85229"/>
                </a:cubicBezTo>
                <a:lnTo>
                  <a:pt x="7797" y="61375"/>
                </a:lnTo>
                <a:lnTo>
                  <a:pt x="3821" y="49448"/>
                </a:lnTo>
                <a:cubicBezTo>
                  <a:pt x="5146" y="40172"/>
                  <a:pt x="0" y="26817"/>
                  <a:pt x="7797" y="21619"/>
                </a:cubicBezTo>
                <a:cubicBezTo>
                  <a:pt x="38479" y="1165"/>
                  <a:pt x="61982" y="37810"/>
                  <a:pt x="47553" y="1740"/>
                </a:cubicBezTo>
                <a:cubicBezTo>
                  <a:pt x="46857" y="0"/>
                  <a:pt x="46890" y="8366"/>
                  <a:pt x="47553" y="13667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7" name="Freeform 86"/>
          <p:cNvSpPr/>
          <p:nvPr/>
        </p:nvSpPr>
        <p:spPr>
          <a:xfrm>
            <a:off x="6183315" y="3119971"/>
            <a:ext cx="84137" cy="52917"/>
          </a:xfrm>
          <a:custGeom>
            <a:avLst/>
            <a:gdLst>
              <a:gd name="connsiteX0" fmla="*/ 7289 w 84683"/>
              <a:gd name="connsiteY0" fmla="*/ 662 h 52345"/>
              <a:gd name="connsiteX1" fmla="*/ 19216 w 84683"/>
              <a:gd name="connsiteY1" fmla="*/ 20540 h 52345"/>
              <a:gd name="connsiteX2" fmla="*/ 23192 w 84683"/>
              <a:gd name="connsiteY2" fmla="*/ 32467 h 52345"/>
              <a:gd name="connsiteX3" fmla="*/ 58973 w 84683"/>
              <a:gd name="connsiteY3" fmla="*/ 52345 h 52345"/>
              <a:gd name="connsiteX4" fmla="*/ 82827 w 84683"/>
              <a:gd name="connsiteY4" fmla="*/ 40418 h 52345"/>
              <a:gd name="connsiteX5" fmla="*/ 78851 w 84683"/>
              <a:gd name="connsiteY5" fmla="*/ 20540 h 52345"/>
              <a:gd name="connsiteX6" fmla="*/ 62949 w 84683"/>
              <a:gd name="connsiteY6" fmla="*/ 16565 h 52345"/>
              <a:gd name="connsiteX7" fmla="*/ 7289 w 84683"/>
              <a:gd name="connsiteY7" fmla="*/ 662 h 52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683" h="52345">
                <a:moveTo>
                  <a:pt x="7289" y="662"/>
                </a:moveTo>
                <a:cubicBezTo>
                  <a:pt x="0" y="1325"/>
                  <a:pt x="15760" y="13629"/>
                  <a:pt x="19216" y="20540"/>
                </a:cubicBezTo>
                <a:cubicBezTo>
                  <a:pt x="21090" y="24288"/>
                  <a:pt x="20229" y="29504"/>
                  <a:pt x="23192" y="32467"/>
                </a:cubicBezTo>
                <a:cubicBezTo>
                  <a:pt x="36864" y="46139"/>
                  <a:pt x="43974" y="47346"/>
                  <a:pt x="58973" y="52345"/>
                </a:cubicBezTo>
                <a:cubicBezTo>
                  <a:pt x="63338" y="50890"/>
                  <a:pt x="81204" y="46099"/>
                  <a:pt x="82827" y="40418"/>
                </a:cubicBezTo>
                <a:cubicBezTo>
                  <a:pt x="84683" y="33921"/>
                  <a:pt x="83177" y="25731"/>
                  <a:pt x="78851" y="20540"/>
                </a:cubicBezTo>
                <a:cubicBezTo>
                  <a:pt x="75353" y="16343"/>
                  <a:pt x="68401" y="16928"/>
                  <a:pt x="62949" y="16565"/>
                </a:cubicBezTo>
                <a:cubicBezTo>
                  <a:pt x="48404" y="15595"/>
                  <a:pt x="14578" y="0"/>
                  <a:pt x="7289" y="662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8" name="Freeform 87"/>
          <p:cNvSpPr/>
          <p:nvPr/>
        </p:nvSpPr>
        <p:spPr>
          <a:xfrm>
            <a:off x="6121405" y="3155957"/>
            <a:ext cx="49213" cy="55033"/>
          </a:xfrm>
          <a:custGeom>
            <a:avLst/>
            <a:gdLst>
              <a:gd name="connsiteX0" fmla="*/ 4458 w 48190"/>
              <a:gd name="connsiteY0" fmla="*/ 7951 h 53357"/>
              <a:gd name="connsiteX1" fmla="*/ 8434 w 48190"/>
              <a:gd name="connsiteY1" fmla="*/ 39756 h 53357"/>
              <a:gd name="connsiteX2" fmla="*/ 48190 w 48190"/>
              <a:gd name="connsiteY2" fmla="*/ 27829 h 53357"/>
              <a:gd name="connsiteX3" fmla="*/ 36263 w 48190"/>
              <a:gd name="connsiteY3" fmla="*/ 7951 h 53357"/>
              <a:gd name="connsiteX4" fmla="*/ 12409 w 48190"/>
              <a:gd name="connsiteY4" fmla="*/ 0 h 53357"/>
              <a:gd name="connsiteX5" fmla="*/ 4458 w 48190"/>
              <a:gd name="connsiteY5" fmla="*/ 7951 h 533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190" h="53357">
                <a:moveTo>
                  <a:pt x="4458" y="7951"/>
                </a:moveTo>
                <a:cubicBezTo>
                  <a:pt x="5783" y="18553"/>
                  <a:pt x="0" y="33196"/>
                  <a:pt x="8434" y="39756"/>
                </a:cubicBezTo>
                <a:cubicBezTo>
                  <a:pt x="25920" y="53357"/>
                  <a:pt x="39013" y="37007"/>
                  <a:pt x="48190" y="27829"/>
                </a:cubicBezTo>
                <a:cubicBezTo>
                  <a:pt x="45470" y="19666"/>
                  <a:pt x="44996" y="12317"/>
                  <a:pt x="36263" y="7951"/>
                </a:cubicBezTo>
                <a:cubicBezTo>
                  <a:pt x="28766" y="4203"/>
                  <a:pt x="12409" y="0"/>
                  <a:pt x="12409" y="0"/>
                </a:cubicBezTo>
                <a:lnTo>
                  <a:pt x="4458" y="7951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9" name="Freeform 88"/>
          <p:cNvSpPr/>
          <p:nvPr/>
        </p:nvSpPr>
        <p:spPr>
          <a:xfrm>
            <a:off x="5567363" y="1758955"/>
            <a:ext cx="1416050" cy="1581149"/>
          </a:xfrm>
          <a:custGeom>
            <a:avLst/>
            <a:gdLst>
              <a:gd name="connsiteX0" fmla="*/ 260885 w 1416044"/>
              <a:gd name="connsiteY0" fmla="*/ 17631 h 1580062"/>
              <a:gd name="connsiteX1" fmla="*/ 241007 w 1416044"/>
              <a:gd name="connsiteY1" fmla="*/ 1728 h 1580062"/>
              <a:gd name="connsiteX2" fmla="*/ 225104 w 1416044"/>
              <a:gd name="connsiteY2" fmla="*/ 5704 h 1580062"/>
              <a:gd name="connsiteX3" fmla="*/ 213177 w 1416044"/>
              <a:gd name="connsiteY3" fmla="*/ 9679 h 1580062"/>
              <a:gd name="connsiteX4" fmla="*/ 197275 w 1416044"/>
              <a:gd name="connsiteY4" fmla="*/ 13655 h 1580062"/>
              <a:gd name="connsiteX5" fmla="*/ 185348 w 1416044"/>
              <a:gd name="connsiteY5" fmla="*/ 17631 h 1580062"/>
              <a:gd name="connsiteX6" fmla="*/ 125713 w 1416044"/>
              <a:gd name="connsiteY6" fmla="*/ 21606 h 1580062"/>
              <a:gd name="connsiteX7" fmla="*/ 113786 w 1416044"/>
              <a:gd name="connsiteY7" fmla="*/ 25582 h 1580062"/>
              <a:gd name="connsiteX8" fmla="*/ 105835 w 1416044"/>
              <a:gd name="connsiteY8" fmla="*/ 37509 h 1580062"/>
              <a:gd name="connsiteX9" fmla="*/ 93908 w 1416044"/>
              <a:gd name="connsiteY9" fmla="*/ 73290 h 1580062"/>
              <a:gd name="connsiteX10" fmla="*/ 66078 w 1416044"/>
              <a:gd name="connsiteY10" fmla="*/ 156778 h 1580062"/>
              <a:gd name="connsiteX11" fmla="*/ 58127 w 1416044"/>
              <a:gd name="connsiteY11" fmla="*/ 180632 h 1580062"/>
              <a:gd name="connsiteX12" fmla="*/ 54151 w 1416044"/>
              <a:gd name="connsiteY12" fmla="*/ 192559 h 1580062"/>
              <a:gd name="connsiteX13" fmla="*/ 46200 w 1416044"/>
              <a:gd name="connsiteY13" fmla="*/ 200511 h 1580062"/>
              <a:gd name="connsiteX14" fmla="*/ 34273 w 1416044"/>
              <a:gd name="connsiteY14" fmla="*/ 236291 h 1580062"/>
              <a:gd name="connsiteX15" fmla="*/ 26322 w 1416044"/>
              <a:gd name="connsiteY15" fmla="*/ 260145 h 1580062"/>
              <a:gd name="connsiteX16" fmla="*/ 18370 w 1416044"/>
              <a:gd name="connsiteY16" fmla="*/ 287975 h 1580062"/>
              <a:gd name="connsiteX17" fmla="*/ 10419 w 1416044"/>
              <a:gd name="connsiteY17" fmla="*/ 331707 h 1580062"/>
              <a:gd name="connsiteX18" fmla="*/ 2468 w 1416044"/>
              <a:gd name="connsiteY18" fmla="*/ 355561 h 1580062"/>
              <a:gd name="connsiteX19" fmla="*/ 6443 w 1416044"/>
              <a:gd name="connsiteY19" fmla="*/ 391342 h 1580062"/>
              <a:gd name="connsiteX20" fmla="*/ 30297 w 1416044"/>
              <a:gd name="connsiteY20" fmla="*/ 399293 h 1580062"/>
              <a:gd name="connsiteX21" fmla="*/ 38249 w 1416044"/>
              <a:gd name="connsiteY21" fmla="*/ 407244 h 1580062"/>
              <a:gd name="connsiteX22" fmla="*/ 42224 w 1416044"/>
              <a:gd name="connsiteY22" fmla="*/ 419171 h 1580062"/>
              <a:gd name="connsiteX23" fmla="*/ 54151 w 1416044"/>
              <a:gd name="connsiteY23" fmla="*/ 423147 h 1580062"/>
              <a:gd name="connsiteX24" fmla="*/ 157518 w 1416044"/>
              <a:gd name="connsiteY24" fmla="*/ 419171 h 1580062"/>
              <a:gd name="connsiteX25" fmla="*/ 161494 w 1416044"/>
              <a:gd name="connsiteY25" fmla="*/ 431098 h 1580062"/>
              <a:gd name="connsiteX26" fmla="*/ 157518 w 1416044"/>
              <a:gd name="connsiteY26" fmla="*/ 443025 h 1580062"/>
              <a:gd name="connsiteX27" fmla="*/ 145591 w 1416044"/>
              <a:gd name="connsiteY27" fmla="*/ 447001 h 1580062"/>
              <a:gd name="connsiteX28" fmla="*/ 125713 w 1416044"/>
              <a:gd name="connsiteY28" fmla="*/ 450977 h 1580062"/>
              <a:gd name="connsiteX29" fmla="*/ 113786 w 1416044"/>
              <a:gd name="connsiteY29" fmla="*/ 458928 h 1580062"/>
              <a:gd name="connsiteX30" fmla="*/ 81981 w 1416044"/>
              <a:gd name="connsiteY30" fmla="*/ 466879 h 1580062"/>
              <a:gd name="connsiteX31" fmla="*/ 74029 w 1416044"/>
              <a:gd name="connsiteY31" fmla="*/ 474831 h 1580062"/>
              <a:gd name="connsiteX32" fmla="*/ 74029 w 1416044"/>
              <a:gd name="connsiteY32" fmla="*/ 542417 h 1580062"/>
              <a:gd name="connsiteX33" fmla="*/ 189323 w 1416044"/>
              <a:gd name="connsiteY33" fmla="*/ 546392 h 1580062"/>
              <a:gd name="connsiteX34" fmla="*/ 193299 w 1416044"/>
              <a:gd name="connsiteY34" fmla="*/ 566271 h 1580062"/>
              <a:gd name="connsiteX35" fmla="*/ 229080 w 1416044"/>
              <a:gd name="connsiteY35" fmla="*/ 570246 h 1580062"/>
              <a:gd name="connsiteX36" fmla="*/ 272812 w 1416044"/>
              <a:gd name="connsiteY36" fmla="*/ 574222 h 1580062"/>
              <a:gd name="connsiteX37" fmla="*/ 288715 w 1416044"/>
              <a:gd name="connsiteY37" fmla="*/ 578197 h 1580062"/>
              <a:gd name="connsiteX38" fmla="*/ 312569 w 1416044"/>
              <a:gd name="connsiteY38" fmla="*/ 586149 h 1580062"/>
              <a:gd name="connsiteX39" fmla="*/ 340398 w 1416044"/>
              <a:gd name="connsiteY39" fmla="*/ 594100 h 1580062"/>
              <a:gd name="connsiteX40" fmla="*/ 376179 w 1416044"/>
              <a:gd name="connsiteY40" fmla="*/ 610003 h 1580062"/>
              <a:gd name="connsiteX41" fmla="*/ 423887 w 1416044"/>
              <a:gd name="connsiteY41" fmla="*/ 613978 h 1580062"/>
              <a:gd name="connsiteX42" fmla="*/ 467619 w 1416044"/>
              <a:gd name="connsiteY42" fmla="*/ 629881 h 1580062"/>
              <a:gd name="connsiteX43" fmla="*/ 491473 w 1416044"/>
              <a:gd name="connsiteY43" fmla="*/ 641808 h 1580062"/>
              <a:gd name="connsiteX44" fmla="*/ 511351 w 1416044"/>
              <a:gd name="connsiteY44" fmla="*/ 637832 h 1580062"/>
              <a:gd name="connsiteX45" fmla="*/ 527254 w 1416044"/>
              <a:gd name="connsiteY45" fmla="*/ 617954 h 1580062"/>
              <a:gd name="connsiteX46" fmla="*/ 555083 w 1416044"/>
              <a:gd name="connsiteY46" fmla="*/ 613978 h 1580062"/>
              <a:gd name="connsiteX47" fmla="*/ 567010 w 1416044"/>
              <a:gd name="connsiteY47" fmla="*/ 606027 h 1580062"/>
              <a:gd name="connsiteX48" fmla="*/ 570986 w 1416044"/>
              <a:gd name="connsiteY48" fmla="*/ 594100 h 1580062"/>
              <a:gd name="connsiteX49" fmla="*/ 618694 w 1416044"/>
              <a:gd name="connsiteY49" fmla="*/ 598076 h 1580062"/>
              <a:gd name="connsiteX50" fmla="*/ 634596 w 1416044"/>
              <a:gd name="connsiteY50" fmla="*/ 621930 h 1580062"/>
              <a:gd name="connsiteX51" fmla="*/ 658450 w 1416044"/>
              <a:gd name="connsiteY51" fmla="*/ 637832 h 1580062"/>
              <a:gd name="connsiteX52" fmla="*/ 666402 w 1416044"/>
              <a:gd name="connsiteY52" fmla="*/ 645784 h 1580062"/>
              <a:gd name="connsiteX53" fmla="*/ 678329 w 1416044"/>
              <a:gd name="connsiteY53" fmla="*/ 653735 h 1580062"/>
              <a:gd name="connsiteX54" fmla="*/ 686280 w 1416044"/>
              <a:gd name="connsiteY54" fmla="*/ 665662 h 1580062"/>
              <a:gd name="connsiteX55" fmla="*/ 698207 w 1416044"/>
              <a:gd name="connsiteY55" fmla="*/ 673613 h 1580062"/>
              <a:gd name="connsiteX56" fmla="*/ 702182 w 1416044"/>
              <a:gd name="connsiteY56" fmla="*/ 685540 h 1580062"/>
              <a:gd name="connsiteX57" fmla="*/ 710134 w 1416044"/>
              <a:gd name="connsiteY57" fmla="*/ 693491 h 1580062"/>
              <a:gd name="connsiteX58" fmla="*/ 702182 w 1416044"/>
              <a:gd name="connsiteY58" fmla="*/ 705418 h 1580062"/>
              <a:gd name="connsiteX59" fmla="*/ 690256 w 1416044"/>
              <a:gd name="connsiteY59" fmla="*/ 713370 h 1580062"/>
              <a:gd name="connsiteX60" fmla="*/ 678329 w 1416044"/>
              <a:gd name="connsiteY60" fmla="*/ 737224 h 1580062"/>
              <a:gd name="connsiteX61" fmla="*/ 682304 w 1416044"/>
              <a:gd name="connsiteY61" fmla="*/ 749151 h 1580062"/>
              <a:gd name="connsiteX62" fmla="*/ 702182 w 1416044"/>
              <a:gd name="connsiteY62" fmla="*/ 761077 h 1580062"/>
              <a:gd name="connsiteX63" fmla="*/ 726036 w 1416044"/>
              <a:gd name="connsiteY63" fmla="*/ 757102 h 1580062"/>
              <a:gd name="connsiteX64" fmla="*/ 737963 w 1416044"/>
              <a:gd name="connsiteY64" fmla="*/ 753126 h 1580062"/>
              <a:gd name="connsiteX65" fmla="*/ 765793 w 1416044"/>
              <a:gd name="connsiteY65" fmla="*/ 757102 h 1580062"/>
              <a:gd name="connsiteX66" fmla="*/ 773744 w 1416044"/>
              <a:gd name="connsiteY66" fmla="*/ 769029 h 1580062"/>
              <a:gd name="connsiteX67" fmla="*/ 777720 w 1416044"/>
              <a:gd name="connsiteY67" fmla="*/ 780956 h 1580062"/>
              <a:gd name="connsiteX68" fmla="*/ 793622 w 1416044"/>
              <a:gd name="connsiteY68" fmla="*/ 804810 h 1580062"/>
              <a:gd name="connsiteX69" fmla="*/ 797598 w 1416044"/>
              <a:gd name="connsiteY69" fmla="*/ 816737 h 1580062"/>
              <a:gd name="connsiteX70" fmla="*/ 805549 w 1416044"/>
              <a:gd name="connsiteY70" fmla="*/ 828664 h 1580062"/>
              <a:gd name="connsiteX71" fmla="*/ 813501 w 1416044"/>
              <a:gd name="connsiteY71" fmla="*/ 852517 h 1580062"/>
              <a:gd name="connsiteX72" fmla="*/ 833379 w 1416044"/>
              <a:gd name="connsiteY72" fmla="*/ 872396 h 1580062"/>
              <a:gd name="connsiteX73" fmla="*/ 845306 w 1416044"/>
              <a:gd name="connsiteY73" fmla="*/ 884323 h 1580062"/>
              <a:gd name="connsiteX74" fmla="*/ 849282 w 1416044"/>
              <a:gd name="connsiteY74" fmla="*/ 896250 h 1580062"/>
              <a:gd name="connsiteX75" fmla="*/ 857233 w 1416044"/>
              <a:gd name="connsiteY75" fmla="*/ 908177 h 1580062"/>
              <a:gd name="connsiteX76" fmla="*/ 865184 w 1416044"/>
              <a:gd name="connsiteY76" fmla="*/ 959860 h 1580062"/>
              <a:gd name="connsiteX77" fmla="*/ 873136 w 1416044"/>
              <a:gd name="connsiteY77" fmla="*/ 967811 h 1580062"/>
              <a:gd name="connsiteX78" fmla="*/ 869160 w 1416044"/>
              <a:gd name="connsiteY78" fmla="*/ 983714 h 1580062"/>
              <a:gd name="connsiteX79" fmla="*/ 853257 w 1416044"/>
              <a:gd name="connsiteY79" fmla="*/ 1003592 h 1580062"/>
              <a:gd name="connsiteX80" fmla="*/ 849282 w 1416044"/>
              <a:gd name="connsiteY80" fmla="*/ 1015519 h 1580062"/>
              <a:gd name="connsiteX81" fmla="*/ 829403 w 1416044"/>
              <a:gd name="connsiteY81" fmla="*/ 1027446 h 1580062"/>
              <a:gd name="connsiteX82" fmla="*/ 817476 w 1416044"/>
              <a:gd name="connsiteY82" fmla="*/ 1039373 h 1580062"/>
              <a:gd name="connsiteX83" fmla="*/ 805549 w 1416044"/>
              <a:gd name="connsiteY83" fmla="*/ 1043349 h 1580062"/>
              <a:gd name="connsiteX84" fmla="*/ 793622 w 1416044"/>
              <a:gd name="connsiteY84" fmla="*/ 1051300 h 1580062"/>
              <a:gd name="connsiteX85" fmla="*/ 785671 w 1416044"/>
              <a:gd name="connsiteY85" fmla="*/ 1063227 h 1580062"/>
              <a:gd name="connsiteX86" fmla="*/ 785671 w 1416044"/>
              <a:gd name="connsiteY86" fmla="*/ 1110935 h 1580062"/>
              <a:gd name="connsiteX87" fmla="*/ 793622 w 1416044"/>
              <a:gd name="connsiteY87" fmla="*/ 1122862 h 1580062"/>
              <a:gd name="connsiteX88" fmla="*/ 789647 w 1416044"/>
              <a:gd name="connsiteY88" fmla="*/ 1146716 h 1580062"/>
              <a:gd name="connsiteX89" fmla="*/ 769769 w 1416044"/>
              <a:gd name="connsiteY89" fmla="*/ 1166594 h 1580062"/>
              <a:gd name="connsiteX90" fmla="*/ 757842 w 1416044"/>
              <a:gd name="connsiteY90" fmla="*/ 1170570 h 1580062"/>
              <a:gd name="connsiteX91" fmla="*/ 682304 w 1416044"/>
              <a:gd name="connsiteY91" fmla="*/ 1174545 h 1580062"/>
              <a:gd name="connsiteX92" fmla="*/ 642548 w 1416044"/>
              <a:gd name="connsiteY92" fmla="*/ 1178521 h 1580062"/>
              <a:gd name="connsiteX93" fmla="*/ 618694 w 1416044"/>
              <a:gd name="connsiteY93" fmla="*/ 1186472 h 1580062"/>
              <a:gd name="connsiteX94" fmla="*/ 598816 w 1416044"/>
              <a:gd name="connsiteY94" fmla="*/ 1202375 h 1580062"/>
              <a:gd name="connsiteX95" fmla="*/ 594840 w 1416044"/>
              <a:gd name="connsiteY95" fmla="*/ 1214302 h 1580062"/>
              <a:gd name="connsiteX96" fmla="*/ 606767 w 1416044"/>
              <a:gd name="connsiteY96" fmla="*/ 1269961 h 1580062"/>
              <a:gd name="connsiteX97" fmla="*/ 618694 w 1416044"/>
              <a:gd name="connsiteY97" fmla="*/ 1293815 h 1580062"/>
              <a:gd name="connsiteX98" fmla="*/ 650499 w 1416044"/>
              <a:gd name="connsiteY98" fmla="*/ 1301766 h 1580062"/>
              <a:gd name="connsiteX99" fmla="*/ 753866 w 1416044"/>
              <a:gd name="connsiteY99" fmla="*/ 1289839 h 1580062"/>
              <a:gd name="connsiteX100" fmla="*/ 777720 w 1416044"/>
              <a:gd name="connsiteY100" fmla="*/ 1281888 h 1580062"/>
              <a:gd name="connsiteX101" fmla="*/ 789647 w 1416044"/>
              <a:gd name="connsiteY101" fmla="*/ 1277912 h 1580062"/>
              <a:gd name="connsiteX102" fmla="*/ 825428 w 1416044"/>
              <a:gd name="connsiteY102" fmla="*/ 1281888 h 1580062"/>
              <a:gd name="connsiteX103" fmla="*/ 829403 w 1416044"/>
              <a:gd name="connsiteY103" fmla="*/ 1293815 h 1580062"/>
              <a:gd name="connsiteX104" fmla="*/ 837355 w 1416044"/>
              <a:gd name="connsiteY104" fmla="*/ 1301766 h 1580062"/>
              <a:gd name="connsiteX105" fmla="*/ 853257 w 1416044"/>
              <a:gd name="connsiteY105" fmla="*/ 1317669 h 1580062"/>
              <a:gd name="connsiteX106" fmla="*/ 873136 w 1416044"/>
              <a:gd name="connsiteY106" fmla="*/ 1333571 h 1580062"/>
              <a:gd name="connsiteX107" fmla="*/ 900965 w 1416044"/>
              <a:gd name="connsiteY107" fmla="*/ 1337547 h 1580062"/>
              <a:gd name="connsiteX108" fmla="*/ 928795 w 1416044"/>
              <a:gd name="connsiteY108" fmla="*/ 1357425 h 1580062"/>
              <a:gd name="connsiteX109" fmla="*/ 932770 w 1416044"/>
              <a:gd name="connsiteY109" fmla="*/ 1444890 h 1580062"/>
              <a:gd name="connsiteX110" fmla="*/ 952649 w 1416044"/>
              <a:gd name="connsiteY110" fmla="*/ 1460792 h 1580062"/>
              <a:gd name="connsiteX111" fmla="*/ 972527 w 1416044"/>
              <a:gd name="connsiteY111" fmla="*/ 1480671 h 1580062"/>
              <a:gd name="connsiteX112" fmla="*/ 984454 w 1416044"/>
              <a:gd name="connsiteY112" fmla="*/ 1484646 h 1580062"/>
              <a:gd name="connsiteX113" fmla="*/ 964576 w 1416044"/>
              <a:gd name="connsiteY113" fmla="*/ 1480671 h 1580062"/>
              <a:gd name="connsiteX114" fmla="*/ 960600 w 1416044"/>
              <a:gd name="connsiteY114" fmla="*/ 1468744 h 1580062"/>
              <a:gd name="connsiteX115" fmla="*/ 972527 w 1416044"/>
              <a:gd name="connsiteY115" fmla="*/ 1464768 h 1580062"/>
              <a:gd name="connsiteX116" fmla="*/ 1008308 w 1416044"/>
              <a:gd name="connsiteY116" fmla="*/ 1472719 h 1580062"/>
              <a:gd name="connsiteX117" fmla="*/ 1016259 w 1416044"/>
              <a:gd name="connsiteY117" fmla="*/ 1484646 h 1580062"/>
              <a:gd name="connsiteX118" fmla="*/ 1020235 w 1416044"/>
              <a:gd name="connsiteY118" fmla="*/ 1496573 h 1580062"/>
              <a:gd name="connsiteX119" fmla="*/ 1032162 w 1416044"/>
              <a:gd name="connsiteY119" fmla="*/ 1500549 h 1580062"/>
              <a:gd name="connsiteX120" fmla="*/ 1044089 w 1416044"/>
              <a:gd name="connsiteY120" fmla="*/ 1520427 h 1580062"/>
              <a:gd name="connsiteX121" fmla="*/ 1067942 w 1416044"/>
              <a:gd name="connsiteY121" fmla="*/ 1528378 h 1580062"/>
              <a:gd name="connsiteX122" fmla="*/ 1087821 w 1416044"/>
              <a:gd name="connsiteY122" fmla="*/ 1544281 h 1580062"/>
              <a:gd name="connsiteX123" fmla="*/ 1111675 w 1416044"/>
              <a:gd name="connsiteY123" fmla="*/ 1552232 h 1580062"/>
              <a:gd name="connsiteX124" fmla="*/ 1123602 w 1416044"/>
              <a:gd name="connsiteY124" fmla="*/ 1556208 h 1580062"/>
              <a:gd name="connsiteX125" fmla="*/ 1139504 w 1416044"/>
              <a:gd name="connsiteY125" fmla="*/ 1560184 h 1580062"/>
              <a:gd name="connsiteX126" fmla="*/ 1175285 w 1416044"/>
              <a:gd name="connsiteY126" fmla="*/ 1572111 h 1580062"/>
              <a:gd name="connsiteX127" fmla="*/ 1187212 w 1416044"/>
              <a:gd name="connsiteY127" fmla="*/ 1576086 h 1580062"/>
              <a:gd name="connsiteX128" fmla="*/ 1211066 w 1416044"/>
              <a:gd name="connsiteY128" fmla="*/ 1580062 h 1580062"/>
              <a:gd name="connsiteX129" fmla="*/ 1207090 w 1416044"/>
              <a:gd name="connsiteY129" fmla="*/ 1540305 h 1580062"/>
              <a:gd name="connsiteX130" fmla="*/ 1203115 w 1416044"/>
              <a:gd name="connsiteY130" fmla="*/ 1524403 h 1580062"/>
              <a:gd name="connsiteX131" fmla="*/ 1163358 w 1416044"/>
              <a:gd name="connsiteY131" fmla="*/ 1504524 h 1580062"/>
              <a:gd name="connsiteX132" fmla="*/ 1151431 w 1416044"/>
              <a:gd name="connsiteY132" fmla="*/ 1500549 h 1580062"/>
              <a:gd name="connsiteX133" fmla="*/ 1139504 w 1416044"/>
              <a:gd name="connsiteY133" fmla="*/ 1480671 h 1580062"/>
              <a:gd name="connsiteX134" fmla="*/ 1135529 w 1416044"/>
              <a:gd name="connsiteY134" fmla="*/ 1468744 h 1580062"/>
              <a:gd name="connsiteX135" fmla="*/ 1127577 w 1416044"/>
              <a:gd name="connsiteY135" fmla="*/ 1460792 h 1580062"/>
              <a:gd name="connsiteX136" fmla="*/ 1103723 w 1416044"/>
              <a:gd name="connsiteY136" fmla="*/ 1444890 h 1580062"/>
              <a:gd name="connsiteX137" fmla="*/ 1095772 w 1416044"/>
              <a:gd name="connsiteY137" fmla="*/ 1436938 h 1580062"/>
              <a:gd name="connsiteX138" fmla="*/ 1083845 w 1416044"/>
              <a:gd name="connsiteY138" fmla="*/ 1432963 h 1580062"/>
              <a:gd name="connsiteX139" fmla="*/ 1075894 w 1416044"/>
              <a:gd name="connsiteY139" fmla="*/ 1425011 h 1580062"/>
              <a:gd name="connsiteX140" fmla="*/ 1059991 w 1416044"/>
              <a:gd name="connsiteY140" fmla="*/ 1417060 h 1580062"/>
              <a:gd name="connsiteX141" fmla="*/ 1083845 w 1416044"/>
              <a:gd name="connsiteY141" fmla="*/ 1409109 h 1580062"/>
              <a:gd name="connsiteX142" fmla="*/ 1115650 w 1416044"/>
              <a:gd name="connsiteY142" fmla="*/ 1413084 h 1580062"/>
              <a:gd name="connsiteX143" fmla="*/ 1131553 w 1416044"/>
              <a:gd name="connsiteY143" fmla="*/ 1421036 h 1580062"/>
              <a:gd name="connsiteX144" fmla="*/ 1147456 w 1416044"/>
              <a:gd name="connsiteY144" fmla="*/ 1425011 h 1580062"/>
              <a:gd name="connsiteX145" fmla="*/ 1171309 w 1416044"/>
              <a:gd name="connsiteY145" fmla="*/ 1432963 h 1580062"/>
              <a:gd name="connsiteX146" fmla="*/ 1195163 w 1416044"/>
              <a:gd name="connsiteY146" fmla="*/ 1440914 h 1580062"/>
              <a:gd name="connsiteX147" fmla="*/ 1207090 w 1416044"/>
              <a:gd name="connsiteY147" fmla="*/ 1444890 h 1580062"/>
              <a:gd name="connsiteX148" fmla="*/ 1219017 w 1416044"/>
              <a:gd name="connsiteY148" fmla="*/ 1452841 h 1580062"/>
              <a:gd name="connsiteX149" fmla="*/ 1250822 w 1416044"/>
              <a:gd name="connsiteY149" fmla="*/ 1476695 h 1580062"/>
              <a:gd name="connsiteX150" fmla="*/ 1262749 w 1416044"/>
              <a:gd name="connsiteY150" fmla="*/ 1480671 h 1580062"/>
              <a:gd name="connsiteX151" fmla="*/ 1278652 w 1416044"/>
              <a:gd name="connsiteY151" fmla="*/ 1464768 h 1580062"/>
              <a:gd name="connsiteX152" fmla="*/ 1290579 w 1416044"/>
              <a:gd name="connsiteY152" fmla="*/ 1436938 h 1580062"/>
              <a:gd name="connsiteX153" fmla="*/ 1286603 w 1416044"/>
              <a:gd name="connsiteY153" fmla="*/ 1417060 h 1580062"/>
              <a:gd name="connsiteX154" fmla="*/ 1282628 w 1416044"/>
              <a:gd name="connsiteY154" fmla="*/ 1405133 h 1580062"/>
              <a:gd name="connsiteX155" fmla="*/ 1286603 w 1416044"/>
              <a:gd name="connsiteY155" fmla="*/ 1385255 h 1580062"/>
              <a:gd name="connsiteX156" fmla="*/ 1278652 w 1416044"/>
              <a:gd name="connsiteY156" fmla="*/ 1357425 h 1580062"/>
              <a:gd name="connsiteX157" fmla="*/ 1266725 w 1416044"/>
              <a:gd name="connsiteY157" fmla="*/ 1349474 h 1580062"/>
              <a:gd name="connsiteX158" fmla="*/ 1262749 w 1416044"/>
              <a:gd name="connsiteY158" fmla="*/ 1337547 h 1580062"/>
              <a:gd name="connsiteX159" fmla="*/ 1254798 w 1416044"/>
              <a:gd name="connsiteY159" fmla="*/ 1325620 h 1580062"/>
              <a:gd name="connsiteX160" fmla="*/ 1246847 w 1416044"/>
              <a:gd name="connsiteY160" fmla="*/ 1301766 h 1580062"/>
              <a:gd name="connsiteX161" fmla="*/ 1242871 w 1416044"/>
              <a:gd name="connsiteY161" fmla="*/ 1273937 h 1580062"/>
              <a:gd name="connsiteX162" fmla="*/ 1238896 w 1416044"/>
              <a:gd name="connsiteY162" fmla="*/ 1262010 h 1580062"/>
              <a:gd name="connsiteX163" fmla="*/ 1226969 w 1416044"/>
              <a:gd name="connsiteY163" fmla="*/ 1258034 h 1580062"/>
              <a:gd name="connsiteX164" fmla="*/ 1199139 w 1416044"/>
              <a:gd name="connsiteY164" fmla="*/ 1246107 h 1580062"/>
              <a:gd name="connsiteX165" fmla="*/ 1187212 w 1416044"/>
              <a:gd name="connsiteY165" fmla="*/ 1242131 h 1580062"/>
              <a:gd name="connsiteX166" fmla="*/ 1171309 w 1416044"/>
              <a:gd name="connsiteY166" fmla="*/ 1238156 h 1580062"/>
              <a:gd name="connsiteX167" fmla="*/ 1163358 w 1416044"/>
              <a:gd name="connsiteY167" fmla="*/ 1230204 h 1580062"/>
              <a:gd name="connsiteX168" fmla="*/ 1155407 w 1416044"/>
              <a:gd name="connsiteY168" fmla="*/ 1202375 h 1580062"/>
              <a:gd name="connsiteX169" fmla="*/ 1143480 w 1416044"/>
              <a:gd name="connsiteY169" fmla="*/ 1166594 h 1580062"/>
              <a:gd name="connsiteX170" fmla="*/ 1131553 w 1416044"/>
              <a:gd name="connsiteY170" fmla="*/ 1162618 h 1580062"/>
              <a:gd name="connsiteX171" fmla="*/ 1115650 w 1416044"/>
              <a:gd name="connsiteY171" fmla="*/ 1142740 h 1580062"/>
              <a:gd name="connsiteX172" fmla="*/ 1107699 w 1416044"/>
              <a:gd name="connsiteY172" fmla="*/ 1130813 h 1580062"/>
              <a:gd name="connsiteX173" fmla="*/ 1111675 w 1416044"/>
              <a:gd name="connsiteY173" fmla="*/ 1110935 h 1580062"/>
              <a:gd name="connsiteX174" fmla="*/ 1123602 w 1416044"/>
              <a:gd name="connsiteY174" fmla="*/ 1106959 h 1580062"/>
              <a:gd name="connsiteX175" fmla="*/ 1135529 w 1416044"/>
              <a:gd name="connsiteY175" fmla="*/ 1099008 h 1580062"/>
              <a:gd name="connsiteX176" fmla="*/ 1135529 w 1416044"/>
              <a:gd name="connsiteY176" fmla="*/ 1067203 h 1580062"/>
              <a:gd name="connsiteX177" fmla="*/ 1127577 w 1416044"/>
              <a:gd name="connsiteY177" fmla="*/ 1043349 h 1580062"/>
              <a:gd name="connsiteX178" fmla="*/ 1167334 w 1416044"/>
              <a:gd name="connsiteY178" fmla="*/ 1043349 h 1580062"/>
              <a:gd name="connsiteX179" fmla="*/ 1179261 w 1416044"/>
              <a:gd name="connsiteY179" fmla="*/ 1055276 h 1580062"/>
              <a:gd name="connsiteX180" fmla="*/ 1199139 w 1416044"/>
              <a:gd name="connsiteY180" fmla="*/ 1095032 h 1580062"/>
              <a:gd name="connsiteX181" fmla="*/ 1199139 w 1416044"/>
              <a:gd name="connsiteY181" fmla="*/ 1095032 h 1580062"/>
              <a:gd name="connsiteX182" fmla="*/ 1203115 w 1416044"/>
              <a:gd name="connsiteY182" fmla="*/ 1106959 h 1580062"/>
              <a:gd name="connsiteX183" fmla="*/ 1211066 w 1416044"/>
              <a:gd name="connsiteY183" fmla="*/ 1114911 h 1580062"/>
              <a:gd name="connsiteX184" fmla="*/ 1222993 w 1416044"/>
              <a:gd name="connsiteY184" fmla="*/ 1130813 h 1580062"/>
              <a:gd name="connsiteX185" fmla="*/ 1230944 w 1416044"/>
              <a:gd name="connsiteY185" fmla="*/ 1142740 h 1580062"/>
              <a:gd name="connsiteX186" fmla="*/ 1262749 w 1416044"/>
              <a:gd name="connsiteY186" fmla="*/ 1150691 h 1580062"/>
              <a:gd name="connsiteX187" fmla="*/ 1286603 w 1416044"/>
              <a:gd name="connsiteY187" fmla="*/ 1158643 h 1580062"/>
              <a:gd name="connsiteX188" fmla="*/ 1294555 w 1416044"/>
              <a:gd name="connsiteY188" fmla="*/ 1166594 h 1580062"/>
              <a:gd name="connsiteX189" fmla="*/ 1302506 w 1416044"/>
              <a:gd name="connsiteY189" fmla="*/ 1206351 h 1580062"/>
              <a:gd name="connsiteX190" fmla="*/ 1314433 w 1416044"/>
              <a:gd name="connsiteY190" fmla="*/ 1214302 h 1580062"/>
              <a:gd name="connsiteX191" fmla="*/ 1338287 w 1416044"/>
              <a:gd name="connsiteY191" fmla="*/ 1210326 h 1580062"/>
              <a:gd name="connsiteX192" fmla="*/ 1334311 w 1416044"/>
              <a:gd name="connsiteY192" fmla="*/ 1178521 h 1580062"/>
              <a:gd name="connsiteX193" fmla="*/ 1346238 w 1416044"/>
              <a:gd name="connsiteY193" fmla="*/ 1146716 h 1580062"/>
              <a:gd name="connsiteX194" fmla="*/ 1358165 w 1416044"/>
              <a:gd name="connsiteY194" fmla="*/ 1138764 h 1580062"/>
              <a:gd name="connsiteX195" fmla="*/ 1370092 w 1416044"/>
              <a:gd name="connsiteY195" fmla="*/ 1134789 h 1580062"/>
              <a:gd name="connsiteX196" fmla="*/ 1378043 w 1416044"/>
              <a:gd name="connsiteY196" fmla="*/ 1122862 h 1580062"/>
              <a:gd name="connsiteX197" fmla="*/ 1385995 w 1416044"/>
              <a:gd name="connsiteY197" fmla="*/ 1114911 h 1580062"/>
              <a:gd name="connsiteX198" fmla="*/ 1393946 w 1416044"/>
              <a:gd name="connsiteY198" fmla="*/ 1091057 h 1580062"/>
              <a:gd name="connsiteX199" fmla="*/ 1397922 w 1416044"/>
              <a:gd name="connsiteY199" fmla="*/ 1043349 h 1580062"/>
              <a:gd name="connsiteX200" fmla="*/ 1405873 w 1416044"/>
              <a:gd name="connsiteY200" fmla="*/ 1035397 h 1580062"/>
              <a:gd name="connsiteX201" fmla="*/ 1401897 w 1416044"/>
              <a:gd name="connsiteY201" fmla="*/ 1011544 h 1580062"/>
              <a:gd name="connsiteX202" fmla="*/ 1314433 w 1416044"/>
              <a:gd name="connsiteY202" fmla="*/ 959860 h 1580062"/>
              <a:gd name="connsiteX203" fmla="*/ 1306482 w 1416044"/>
              <a:gd name="connsiteY203" fmla="*/ 936006 h 1580062"/>
              <a:gd name="connsiteX204" fmla="*/ 1298530 w 1416044"/>
              <a:gd name="connsiteY204" fmla="*/ 912152 h 1580062"/>
              <a:gd name="connsiteX205" fmla="*/ 1294555 w 1416044"/>
              <a:gd name="connsiteY205" fmla="*/ 900225 h 1580062"/>
              <a:gd name="connsiteX206" fmla="*/ 1282628 w 1416044"/>
              <a:gd name="connsiteY206" fmla="*/ 892274 h 1580062"/>
              <a:gd name="connsiteX207" fmla="*/ 1278652 w 1416044"/>
              <a:gd name="connsiteY207" fmla="*/ 876371 h 1580062"/>
              <a:gd name="connsiteX208" fmla="*/ 1274676 w 1416044"/>
              <a:gd name="connsiteY208" fmla="*/ 848542 h 1580062"/>
              <a:gd name="connsiteX209" fmla="*/ 1238896 w 1416044"/>
              <a:gd name="connsiteY209" fmla="*/ 828664 h 1580062"/>
              <a:gd name="connsiteX210" fmla="*/ 1222993 w 1416044"/>
              <a:gd name="connsiteY210" fmla="*/ 824688 h 1580062"/>
              <a:gd name="connsiteX211" fmla="*/ 1187212 w 1416044"/>
              <a:gd name="connsiteY211" fmla="*/ 804810 h 1580062"/>
              <a:gd name="connsiteX212" fmla="*/ 1187212 w 1416044"/>
              <a:gd name="connsiteY212" fmla="*/ 804810 h 1580062"/>
              <a:gd name="connsiteX213" fmla="*/ 1163358 w 1416044"/>
              <a:gd name="connsiteY213" fmla="*/ 792883 h 1580062"/>
              <a:gd name="connsiteX214" fmla="*/ 1155407 w 1416044"/>
              <a:gd name="connsiteY214" fmla="*/ 769029 h 1580062"/>
              <a:gd name="connsiteX215" fmla="*/ 1131553 w 1416044"/>
              <a:gd name="connsiteY215" fmla="*/ 761077 h 1580062"/>
              <a:gd name="connsiteX216" fmla="*/ 1103723 w 1416044"/>
              <a:gd name="connsiteY216" fmla="*/ 753126 h 1580062"/>
              <a:gd name="connsiteX217" fmla="*/ 1099748 w 1416044"/>
              <a:gd name="connsiteY217" fmla="*/ 741199 h 1580062"/>
              <a:gd name="connsiteX218" fmla="*/ 1111675 w 1416044"/>
              <a:gd name="connsiteY218" fmla="*/ 717345 h 1580062"/>
              <a:gd name="connsiteX219" fmla="*/ 1115650 w 1416044"/>
              <a:gd name="connsiteY219" fmla="*/ 705418 h 1580062"/>
              <a:gd name="connsiteX220" fmla="*/ 1127577 w 1416044"/>
              <a:gd name="connsiteY220" fmla="*/ 701443 h 1580062"/>
              <a:gd name="connsiteX221" fmla="*/ 1159382 w 1416044"/>
              <a:gd name="connsiteY221" fmla="*/ 693491 h 1580062"/>
              <a:gd name="connsiteX222" fmla="*/ 1155407 w 1416044"/>
              <a:gd name="connsiteY222" fmla="*/ 673613 h 1580062"/>
              <a:gd name="connsiteX223" fmla="*/ 1111675 w 1416044"/>
              <a:gd name="connsiteY223" fmla="*/ 657711 h 1580062"/>
              <a:gd name="connsiteX224" fmla="*/ 1103723 w 1416044"/>
              <a:gd name="connsiteY224" fmla="*/ 649759 h 1580062"/>
              <a:gd name="connsiteX225" fmla="*/ 1119626 w 1416044"/>
              <a:gd name="connsiteY225" fmla="*/ 629881 h 1580062"/>
              <a:gd name="connsiteX226" fmla="*/ 1127577 w 1416044"/>
              <a:gd name="connsiteY226" fmla="*/ 617954 h 1580062"/>
              <a:gd name="connsiteX227" fmla="*/ 1127577 w 1416044"/>
              <a:gd name="connsiteY227" fmla="*/ 578197 h 1580062"/>
              <a:gd name="connsiteX228" fmla="*/ 1103723 w 1416044"/>
              <a:gd name="connsiteY228" fmla="*/ 566271 h 1580062"/>
              <a:gd name="connsiteX229" fmla="*/ 1095772 w 1416044"/>
              <a:gd name="connsiteY229" fmla="*/ 558319 h 1580062"/>
              <a:gd name="connsiteX230" fmla="*/ 1036137 w 1416044"/>
              <a:gd name="connsiteY230" fmla="*/ 538441 h 1580062"/>
              <a:gd name="connsiteX231" fmla="*/ 1040113 w 1416044"/>
              <a:gd name="connsiteY231" fmla="*/ 510611 h 1580062"/>
              <a:gd name="connsiteX232" fmla="*/ 1067942 w 1416044"/>
              <a:gd name="connsiteY232" fmla="*/ 494709 h 1580062"/>
              <a:gd name="connsiteX233" fmla="*/ 1052040 w 1416044"/>
              <a:gd name="connsiteY233" fmla="*/ 470855 h 1580062"/>
              <a:gd name="connsiteX234" fmla="*/ 1040113 w 1416044"/>
              <a:gd name="connsiteY234" fmla="*/ 466879 h 1580062"/>
              <a:gd name="connsiteX235" fmla="*/ 1028186 w 1416044"/>
              <a:gd name="connsiteY235" fmla="*/ 458928 h 1580062"/>
              <a:gd name="connsiteX236" fmla="*/ 996381 w 1416044"/>
              <a:gd name="connsiteY236" fmla="*/ 454952 h 1580062"/>
              <a:gd name="connsiteX237" fmla="*/ 976502 w 1416044"/>
              <a:gd name="connsiteY237" fmla="*/ 450977 h 1580062"/>
              <a:gd name="connsiteX238" fmla="*/ 940722 w 1416044"/>
              <a:gd name="connsiteY238" fmla="*/ 447001 h 1580062"/>
              <a:gd name="connsiteX239" fmla="*/ 932770 w 1416044"/>
              <a:gd name="connsiteY239" fmla="*/ 439050 h 1580062"/>
              <a:gd name="connsiteX240" fmla="*/ 940722 w 1416044"/>
              <a:gd name="connsiteY240" fmla="*/ 375439 h 1580062"/>
              <a:gd name="connsiteX241" fmla="*/ 924819 w 1416044"/>
              <a:gd name="connsiteY241" fmla="*/ 355561 h 1580062"/>
              <a:gd name="connsiteX242" fmla="*/ 900965 w 1416044"/>
              <a:gd name="connsiteY242" fmla="*/ 347610 h 1580062"/>
              <a:gd name="connsiteX243" fmla="*/ 889038 w 1416044"/>
              <a:gd name="connsiteY243" fmla="*/ 339658 h 1580062"/>
              <a:gd name="connsiteX244" fmla="*/ 877111 w 1416044"/>
              <a:gd name="connsiteY244" fmla="*/ 335683 h 1580062"/>
              <a:gd name="connsiteX245" fmla="*/ 869160 w 1416044"/>
              <a:gd name="connsiteY245" fmla="*/ 327731 h 1580062"/>
              <a:gd name="connsiteX246" fmla="*/ 837355 w 1416044"/>
              <a:gd name="connsiteY246" fmla="*/ 335683 h 1580062"/>
              <a:gd name="connsiteX247" fmla="*/ 825428 w 1416044"/>
              <a:gd name="connsiteY247" fmla="*/ 339658 h 1580062"/>
              <a:gd name="connsiteX248" fmla="*/ 793622 w 1416044"/>
              <a:gd name="connsiteY248" fmla="*/ 347610 h 1580062"/>
              <a:gd name="connsiteX249" fmla="*/ 785671 w 1416044"/>
              <a:gd name="connsiteY249" fmla="*/ 339658 h 1580062"/>
              <a:gd name="connsiteX250" fmla="*/ 781696 w 1416044"/>
              <a:gd name="connsiteY250" fmla="*/ 280024 h 1580062"/>
              <a:gd name="connsiteX251" fmla="*/ 777720 w 1416044"/>
              <a:gd name="connsiteY251" fmla="*/ 268097 h 1580062"/>
              <a:gd name="connsiteX252" fmla="*/ 757842 w 1416044"/>
              <a:gd name="connsiteY252" fmla="*/ 252194 h 1580062"/>
              <a:gd name="connsiteX253" fmla="*/ 745915 w 1416044"/>
              <a:gd name="connsiteY253" fmla="*/ 248218 h 1580062"/>
              <a:gd name="connsiteX254" fmla="*/ 718085 w 1416044"/>
              <a:gd name="connsiteY254" fmla="*/ 232316 h 1580062"/>
              <a:gd name="connsiteX255" fmla="*/ 702182 w 1416044"/>
              <a:gd name="connsiteY255" fmla="*/ 212437 h 1580062"/>
              <a:gd name="connsiteX256" fmla="*/ 694231 w 1416044"/>
              <a:gd name="connsiteY256" fmla="*/ 196535 h 1580062"/>
              <a:gd name="connsiteX257" fmla="*/ 682304 w 1416044"/>
              <a:gd name="connsiteY257" fmla="*/ 188584 h 1580062"/>
              <a:gd name="connsiteX258" fmla="*/ 674353 w 1416044"/>
              <a:gd name="connsiteY258" fmla="*/ 180632 h 1580062"/>
              <a:gd name="connsiteX259" fmla="*/ 666402 w 1416044"/>
              <a:gd name="connsiteY259" fmla="*/ 168705 h 1580062"/>
              <a:gd name="connsiteX260" fmla="*/ 654475 w 1416044"/>
              <a:gd name="connsiteY260" fmla="*/ 164730 h 1580062"/>
              <a:gd name="connsiteX261" fmla="*/ 606767 w 1416044"/>
              <a:gd name="connsiteY261" fmla="*/ 172681 h 1580062"/>
              <a:gd name="connsiteX262" fmla="*/ 586889 w 1416044"/>
              <a:gd name="connsiteY262" fmla="*/ 188584 h 1580062"/>
              <a:gd name="connsiteX263" fmla="*/ 551108 w 1416044"/>
              <a:gd name="connsiteY263" fmla="*/ 208462 h 1580062"/>
              <a:gd name="connsiteX264" fmla="*/ 543156 w 1416044"/>
              <a:gd name="connsiteY264" fmla="*/ 216413 h 1580062"/>
              <a:gd name="connsiteX265" fmla="*/ 551108 w 1416044"/>
              <a:gd name="connsiteY265" fmla="*/ 252194 h 1580062"/>
              <a:gd name="connsiteX266" fmla="*/ 471595 w 1416044"/>
              <a:gd name="connsiteY266" fmla="*/ 256170 h 1580062"/>
              <a:gd name="connsiteX267" fmla="*/ 467619 w 1416044"/>
              <a:gd name="connsiteY267" fmla="*/ 240267 h 1580062"/>
              <a:gd name="connsiteX268" fmla="*/ 471595 w 1416044"/>
              <a:gd name="connsiteY268" fmla="*/ 176657 h 1580062"/>
              <a:gd name="connsiteX269" fmla="*/ 475570 w 1416044"/>
              <a:gd name="connsiteY269" fmla="*/ 160754 h 1580062"/>
              <a:gd name="connsiteX270" fmla="*/ 463643 w 1416044"/>
              <a:gd name="connsiteY270" fmla="*/ 140876 h 1580062"/>
              <a:gd name="connsiteX271" fmla="*/ 455692 w 1416044"/>
              <a:gd name="connsiteY271" fmla="*/ 109071 h 1580062"/>
              <a:gd name="connsiteX272" fmla="*/ 447741 w 1416044"/>
              <a:gd name="connsiteY272" fmla="*/ 85217 h 1580062"/>
              <a:gd name="connsiteX273" fmla="*/ 435814 w 1416044"/>
              <a:gd name="connsiteY273" fmla="*/ 81241 h 1580062"/>
              <a:gd name="connsiteX274" fmla="*/ 427862 w 1416044"/>
              <a:gd name="connsiteY274" fmla="*/ 73290 h 1580062"/>
              <a:gd name="connsiteX275" fmla="*/ 415936 w 1416044"/>
              <a:gd name="connsiteY275" fmla="*/ 69314 h 1580062"/>
              <a:gd name="connsiteX276" fmla="*/ 400033 w 1416044"/>
              <a:gd name="connsiteY276" fmla="*/ 61363 h 1580062"/>
              <a:gd name="connsiteX277" fmla="*/ 380155 w 1416044"/>
              <a:gd name="connsiteY277" fmla="*/ 49436 h 1580062"/>
              <a:gd name="connsiteX278" fmla="*/ 360276 w 1416044"/>
              <a:gd name="connsiteY278" fmla="*/ 37509 h 1580062"/>
              <a:gd name="connsiteX279" fmla="*/ 316544 w 1416044"/>
              <a:gd name="connsiteY279" fmla="*/ 41484 h 1580062"/>
              <a:gd name="connsiteX280" fmla="*/ 308593 w 1416044"/>
              <a:gd name="connsiteY280" fmla="*/ 49436 h 1580062"/>
              <a:gd name="connsiteX281" fmla="*/ 276788 w 1416044"/>
              <a:gd name="connsiteY281" fmla="*/ 73290 h 1580062"/>
              <a:gd name="connsiteX282" fmla="*/ 268836 w 1416044"/>
              <a:gd name="connsiteY282" fmla="*/ 85217 h 1580062"/>
              <a:gd name="connsiteX283" fmla="*/ 260885 w 1416044"/>
              <a:gd name="connsiteY283" fmla="*/ 101119 h 1580062"/>
              <a:gd name="connsiteX284" fmla="*/ 256909 w 1416044"/>
              <a:gd name="connsiteY284" fmla="*/ 113046 h 1580062"/>
              <a:gd name="connsiteX285" fmla="*/ 241007 w 1416044"/>
              <a:gd name="connsiteY285" fmla="*/ 136900 h 1580062"/>
              <a:gd name="connsiteX286" fmla="*/ 237031 w 1416044"/>
              <a:gd name="connsiteY286" fmla="*/ 148827 h 1580062"/>
              <a:gd name="connsiteX287" fmla="*/ 225104 w 1416044"/>
              <a:gd name="connsiteY287" fmla="*/ 172681 h 1580062"/>
              <a:gd name="connsiteX288" fmla="*/ 229080 w 1416044"/>
              <a:gd name="connsiteY288" fmla="*/ 200511 h 1580062"/>
              <a:gd name="connsiteX289" fmla="*/ 252934 w 1416044"/>
              <a:gd name="connsiteY289" fmla="*/ 216413 h 1580062"/>
              <a:gd name="connsiteX290" fmla="*/ 260885 w 1416044"/>
              <a:gd name="connsiteY290" fmla="*/ 228340 h 1580062"/>
              <a:gd name="connsiteX291" fmla="*/ 260885 w 1416044"/>
              <a:gd name="connsiteY291" fmla="*/ 268097 h 1580062"/>
              <a:gd name="connsiteX292" fmla="*/ 248958 w 1416044"/>
              <a:gd name="connsiteY292" fmla="*/ 272072 h 1580062"/>
              <a:gd name="connsiteX293" fmla="*/ 241007 w 1416044"/>
              <a:gd name="connsiteY293" fmla="*/ 280024 h 1580062"/>
              <a:gd name="connsiteX294" fmla="*/ 229080 w 1416044"/>
              <a:gd name="connsiteY294" fmla="*/ 283999 h 1580062"/>
              <a:gd name="connsiteX295" fmla="*/ 225104 w 1416044"/>
              <a:gd name="connsiteY295" fmla="*/ 295926 h 1580062"/>
              <a:gd name="connsiteX296" fmla="*/ 233056 w 1416044"/>
              <a:gd name="connsiteY296" fmla="*/ 303877 h 1580062"/>
              <a:gd name="connsiteX297" fmla="*/ 248958 w 1416044"/>
              <a:gd name="connsiteY297" fmla="*/ 335683 h 1580062"/>
              <a:gd name="connsiteX298" fmla="*/ 252934 w 1416044"/>
              <a:gd name="connsiteY298" fmla="*/ 347610 h 1580062"/>
              <a:gd name="connsiteX299" fmla="*/ 264861 w 1416044"/>
              <a:gd name="connsiteY299" fmla="*/ 355561 h 1580062"/>
              <a:gd name="connsiteX300" fmla="*/ 272812 w 1416044"/>
              <a:gd name="connsiteY300" fmla="*/ 379415 h 1580062"/>
              <a:gd name="connsiteX301" fmla="*/ 260885 w 1416044"/>
              <a:gd name="connsiteY301" fmla="*/ 387366 h 1580062"/>
              <a:gd name="connsiteX302" fmla="*/ 221129 w 1416044"/>
              <a:gd name="connsiteY302" fmla="*/ 387366 h 1580062"/>
              <a:gd name="connsiteX303" fmla="*/ 209202 w 1416044"/>
              <a:gd name="connsiteY303" fmla="*/ 375439 h 1580062"/>
              <a:gd name="connsiteX304" fmla="*/ 205226 w 1416044"/>
              <a:gd name="connsiteY304" fmla="*/ 359537 h 1580062"/>
              <a:gd name="connsiteX305" fmla="*/ 197275 w 1416044"/>
              <a:gd name="connsiteY305" fmla="*/ 335683 h 1580062"/>
              <a:gd name="connsiteX306" fmla="*/ 193299 w 1416044"/>
              <a:gd name="connsiteY306" fmla="*/ 323756 h 1580062"/>
              <a:gd name="connsiteX307" fmla="*/ 189323 w 1416044"/>
              <a:gd name="connsiteY307" fmla="*/ 276048 h 1580062"/>
              <a:gd name="connsiteX308" fmla="*/ 185348 w 1416044"/>
              <a:gd name="connsiteY308" fmla="*/ 264121 h 1580062"/>
              <a:gd name="connsiteX309" fmla="*/ 177396 w 1416044"/>
              <a:gd name="connsiteY309" fmla="*/ 228340 h 1580062"/>
              <a:gd name="connsiteX310" fmla="*/ 181372 w 1416044"/>
              <a:gd name="connsiteY310" fmla="*/ 172681 h 1580062"/>
              <a:gd name="connsiteX311" fmla="*/ 189323 w 1416044"/>
              <a:gd name="connsiteY311" fmla="*/ 156778 h 1580062"/>
              <a:gd name="connsiteX312" fmla="*/ 205226 w 1416044"/>
              <a:gd name="connsiteY312" fmla="*/ 120997 h 1580062"/>
              <a:gd name="connsiteX313" fmla="*/ 209202 w 1416044"/>
              <a:gd name="connsiteY313" fmla="*/ 61363 h 1580062"/>
              <a:gd name="connsiteX314" fmla="*/ 213177 w 1416044"/>
              <a:gd name="connsiteY314" fmla="*/ 49436 h 1580062"/>
              <a:gd name="connsiteX315" fmla="*/ 221129 w 1416044"/>
              <a:gd name="connsiteY315" fmla="*/ 41484 h 1580062"/>
              <a:gd name="connsiteX316" fmla="*/ 233056 w 1416044"/>
              <a:gd name="connsiteY316" fmla="*/ 37509 h 1580062"/>
              <a:gd name="connsiteX317" fmla="*/ 252934 w 1416044"/>
              <a:gd name="connsiteY317" fmla="*/ 21606 h 1580062"/>
              <a:gd name="connsiteX318" fmla="*/ 260885 w 1416044"/>
              <a:gd name="connsiteY318" fmla="*/ 17631 h 158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</a:cxnLst>
            <a:rect l="l" t="t" r="r" b="b"/>
            <a:pathLst>
              <a:path w="1416044" h="1580062">
                <a:moveTo>
                  <a:pt x="260885" y="17631"/>
                </a:moveTo>
                <a:cubicBezTo>
                  <a:pt x="258897" y="14318"/>
                  <a:pt x="249057" y="4411"/>
                  <a:pt x="241007" y="1728"/>
                </a:cubicBezTo>
                <a:cubicBezTo>
                  <a:pt x="235823" y="0"/>
                  <a:pt x="230358" y="4203"/>
                  <a:pt x="225104" y="5704"/>
                </a:cubicBezTo>
                <a:cubicBezTo>
                  <a:pt x="221075" y="6855"/>
                  <a:pt x="217206" y="8528"/>
                  <a:pt x="213177" y="9679"/>
                </a:cubicBezTo>
                <a:cubicBezTo>
                  <a:pt x="207923" y="11180"/>
                  <a:pt x="202529" y="12154"/>
                  <a:pt x="197275" y="13655"/>
                </a:cubicBezTo>
                <a:cubicBezTo>
                  <a:pt x="193246" y="14806"/>
                  <a:pt x="189513" y="17168"/>
                  <a:pt x="185348" y="17631"/>
                </a:cubicBezTo>
                <a:cubicBezTo>
                  <a:pt x="165547" y="19831"/>
                  <a:pt x="145591" y="20281"/>
                  <a:pt x="125713" y="21606"/>
                </a:cubicBezTo>
                <a:cubicBezTo>
                  <a:pt x="121737" y="22931"/>
                  <a:pt x="117058" y="22964"/>
                  <a:pt x="113786" y="25582"/>
                </a:cubicBezTo>
                <a:cubicBezTo>
                  <a:pt x="110055" y="28567"/>
                  <a:pt x="107776" y="33143"/>
                  <a:pt x="105835" y="37509"/>
                </a:cubicBezTo>
                <a:cubicBezTo>
                  <a:pt x="105824" y="37534"/>
                  <a:pt x="95900" y="67313"/>
                  <a:pt x="93908" y="73290"/>
                </a:cubicBezTo>
                <a:lnTo>
                  <a:pt x="66078" y="156778"/>
                </a:lnTo>
                <a:lnTo>
                  <a:pt x="58127" y="180632"/>
                </a:lnTo>
                <a:cubicBezTo>
                  <a:pt x="56802" y="184608"/>
                  <a:pt x="57114" y="189596"/>
                  <a:pt x="54151" y="192559"/>
                </a:cubicBezTo>
                <a:lnTo>
                  <a:pt x="46200" y="200511"/>
                </a:lnTo>
                <a:lnTo>
                  <a:pt x="34273" y="236291"/>
                </a:lnTo>
                <a:lnTo>
                  <a:pt x="26322" y="260145"/>
                </a:lnTo>
                <a:cubicBezTo>
                  <a:pt x="21330" y="280114"/>
                  <a:pt x="24074" y="270864"/>
                  <a:pt x="18370" y="287975"/>
                </a:cubicBezTo>
                <a:cubicBezTo>
                  <a:pt x="17069" y="295780"/>
                  <a:pt x="12803" y="322965"/>
                  <a:pt x="10419" y="331707"/>
                </a:cubicBezTo>
                <a:cubicBezTo>
                  <a:pt x="8214" y="339793"/>
                  <a:pt x="2468" y="355561"/>
                  <a:pt x="2468" y="355561"/>
                </a:cubicBezTo>
                <a:cubicBezTo>
                  <a:pt x="3793" y="367488"/>
                  <a:pt x="0" y="381218"/>
                  <a:pt x="6443" y="391342"/>
                </a:cubicBezTo>
                <a:cubicBezTo>
                  <a:pt x="10943" y="398413"/>
                  <a:pt x="30297" y="399293"/>
                  <a:pt x="30297" y="399293"/>
                </a:cubicBezTo>
                <a:cubicBezTo>
                  <a:pt x="32948" y="401943"/>
                  <a:pt x="36320" y="404030"/>
                  <a:pt x="38249" y="407244"/>
                </a:cubicBezTo>
                <a:cubicBezTo>
                  <a:pt x="40405" y="410837"/>
                  <a:pt x="39261" y="416208"/>
                  <a:pt x="42224" y="419171"/>
                </a:cubicBezTo>
                <a:cubicBezTo>
                  <a:pt x="45187" y="422134"/>
                  <a:pt x="50175" y="421822"/>
                  <a:pt x="54151" y="423147"/>
                </a:cubicBezTo>
                <a:cubicBezTo>
                  <a:pt x="103181" y="406804"/>
                  <a:pt x="69634" y="414778"/>
                  <a:pt x="157518" y="419171"/>
                </a:cubicBezTo>
                <a:cubicBezTo>
                  <a:pt x="158843" y="423147"/>
                  <a:pt x="161494" y="426907"/>
                  <a:pt x="161494" y="431098"/>
                </a:cubicBezTo>
                <a:cubicBezTo>
                  <a:pt x="161494" y="435289"/>
                  <a:pt x="160481" y="440062"/>
                  <a:pt x="157518" y="443025"/>
                </a:cubicBezTo>
                <a:cubicBezTo>
                  <a:pt x="154555" y="445988"/>
                  <a:pt x="149657" y="445985"/>
                  <a:pt x="145591" y="447001"/>
                </a:cubicBezTo>
                <a:cubicBezTo>
                  <a:pt x="139036" y="448640"/>
                  <a:pt x="132339" y="449652"/>
                  <a:pt x="125713" y="450977"/>
                </a:cubicBezTo>
                <a:cubicBezTo>
                  <a:pt x="121737" y="453627"/>
                  <a:pt x="118276" y="457295"/>
                  <a:pt x="113786" y="458928"/>
                </a:cubicBezTo>
                <a:cubicBezTo>
                  <a:pt x="103516" y="462662"/>
                  <a:pt x="81981" y="466879"/>
                  <a:pt x="81981" y="466879"/>
                </a:cubicBezTo>
                <a:cubicBezTo>
                  <a:pt x="79330" y="469530"/>
                  <a:pt x="75958" y="471617"/>
                  <a:pt x="74029" y="474831"/>
                </a:cubicBezTo>
                <a:cubicBezTo>
                  <a:pt x="64105" y="491370"/>
                  <a:pt x="70054" y="540429"/>
                  <a:pt x="74029" y="542417"/>
                </a:cubicBezTo>
                <a:cubicBezTo>
                  <a:pt x="108423" y="559614"/>
                  <a:pt x="150892" y="545067"/>
                  <a:pt x="189323" y="546392"/>
                </a:cubicBezTo>
                <a:cubicBezTo>
                  <a:pt x="190648" y="553018"/>
                  <a:pt x="187504" y="562794"/>
                  <a:pt x="193299" y="566271"/>
                </a:cubicBezTo>
                <a:cubicBezTo>
                  <a:pt x="203589" y="572445"/>
                  <a:pt x="217139" y="569052"/>
                  <a:pt x="229080" y="570246"/>
                </a:cubicBezTo>
                <a:lnTo>
                  <a:pt x="272812" y="574222"/>
                </a:lnTo>
                <a:cubicBezTo>
                  <a:pt x="278113" y="575547"/>
                  <a:pt x="283481" y="576627"/>
                  <a:pt x="288715" y="578197"/>
                </a:cubicBezTo>
                <a:cubicBezTo>
                  <a:pt x="296743" y="580605"/>
                  <a:pt x="304438" y="584116"/>
                  <a:pt x="312569" y="586149"/>
                </a:cubicBezTo>
                <a:cubicBezTo>
                  <a:pt x="317669" y="587424"/>
                  <a:pt x="334691" y="591247"/>
                  <a:pt x="340398" y="594100"/>
                </a:cubicBezTo>
                <a:cubicBezTo>
                  <a:pt x="357147" y="602474"/>
                  <a:pt x="351567" y="607952"/>
                  <a:pt x="376179" y="610003"/>
                </a:cubicBezTo>
                <a:lnTo>
                  <a:pt x="423887" y="613978"/>
                </a:lnTo>
                <a:cubicBezTo>
                  <a:pt x="435016" y="617688"/>
                  <a:pt x="456558" y="624351"/>
                  <a:pt x="467619" y="629881"/>
                </a:cubicBezTo>
                <a:cubicBezTo>
                  <a:pt x="498450" y="645296"/>
                  <a:pt x="461491" y="631813"/>
                  <a:pt x="491473" y="641808"/>
                </a:cubicBezTo>
                <a:cubicBezTo>
                  <a:pt x="498099" y="640483"/>
                  <a:pt x="505484" y="641185"/>
                  <a:pt x="511351" y="637832"/>
                </a:cubicBezTo>
                <a:cubicBezTo>
                  <a:pt x="520066" y="632852"/>
                  <a:pt x="516955" y="621387"/>
                  <a:pt x="527254" y="617954"/>
                </a:cubicBezTo>
                <a:cubicBezTo>
                  <a:pt x="536144" y="614991"/>
                  <a:pt x="545807" y="615303"/>
                  <a:pt x="555083" y="613978"/>
                </a:cubicBezTo>
                <a:cubicBezTo>
                  <a:pt x="559059" y="611328"/>
                  <a:pt x="564025" y="609758"/>
                  <a:pt x="567010" y="606027"/>
                </a:cubicBezTo>
                <a:cubicBezTo>
                  <a:pt x="569628" y="602755"/>
                  <a:pt x="566844" y="594737"/>
                  <a:pt x="570986" y="594100"/>
                </a:cubicBezTo>
                <a:cubicBezTo>
                  <a:pt x="586758" y="591674"/>
                  <a:pt x="602791" y="596751"/>
                  <a:pt x="618694" y="598076"/>
                </a:cubicBezTo>
                <a:cubicBezTo>
                  <a:pt x="623995" y="606027"/>
                  <a:pt x="627838" y="615173"/>
                  <a:pt x="634596" y="621930"/>
                </a:cubicBezTo>
                <a:cubicBezTo>
                  <a:pt x="652831" y="640163"/>
                  <a:pt x="629563" y="618574"/>
                  <a:pt x="658450" y="637832"/>
                </a:cubicBezTo>
                <a:cubicBezTo>
                  <a:pt x="661569" y="639911"/>
                  <a:pt x="663475" y="643442"/>
                  <a:pt x="666402" y="645784"/>
                </a:cubicBezTo>
                <a:cubicBezTo>
                  <a:pt x="670133" y="648769"/>
                  <a:pt x="674353" y="651085"/>
                  <a:pt x="678329" y="653735"/>
                </a:cubicBezTo>
                <a:cubicBezTo>
                  <a:pt x="680979" y="657711"/>
                  <a:pt x="682901" y="662283"/>
                  <a:pt x="686280" y="665662"/>
                </a:cubicBezTo>
                <a:cubicBezTo>
                  <a:pt x="689659" y="669041"/>
                  <a:pt x="695222" y="669882"/>
                  <a:pt x="698207" y="673613"/>
                </a:cubicBezTo>
                <a:cubicBezTo>
                  <a:pt x="700825" y="676885"/>
                  <a:pt x="700026" y="681947"/>
                  <a:pt x="702182" y="685540"/>
                </a:cubicBezTo>
                <a:cubicBezTo>
                  <a:pt x="704111" y="688754"/>
                  <a:pt x="707483" y="690841"/>
                  <a:pt x="710134" y="693491"/>
                </a:cubicBezTo>
                <a:cubicBezTo>
                  <a:pt x="707483" y="697467"/>
                  <a:pt x="705561" y="702039"/>
                  <a:pt x="702182" y="705418"/>
                </a:cubicBezTo>
                <a:cubicBezTo>
                  <a:pt x="698804" y="708797"/>
                  <a:pt x="692906" y="709394"/>
                  <a:pt x="690256" y="713370"/>
                </a:cubicBezTo>
                <a:cubicBezTo>
                  <a:pt x="660947" y="757335"/>
                  <a:pt x="706899" y="708651"/>
                  <a:pt x="678329" y="737224"/>
                </a:cubicBezTo>
                <a:cubicBezTo>
                  <a:pt x="679654" y="741200"/>
                  <a:pt x="680148" y="745558"/>
                  <a:pt x="682304" y="749151"/>
                </a:cubicBezTo>
                <a:cubicBezTo>
                  <a:pt x="687761" y="758246"/>
                  <a:pt x="692802" y="757951"/>
                  <a:pt x="702182" y="761077"/>
                </a:cubicBezTo>
                <a:cubicBezTo>
                  <a:pt x="710133" y="759752"/>
                  <a:pt x="718167" y="758851"/>
                  <a:pt x="726036" y="757102"/>
                </a:cubicBezTo>
                <a:cubicBezTo>
                  <a:pt x="730127" y="756193"/>
                  <a:pt x="733772" y="753126"/>
                  <a:pt x="737963" y="753126"/>
                </a:cubicBezTo>
                <a:cubicBezTo>
                  <a:pt x="747334" y="753126"/>
                  <a:pt x="756516" y="755777"/>
                  <a:pt x="765793" y="757102"/>
                </a:cubicBezTo>
                <a:cubicBezTo>
                  <a:pt x="768443" y="761078"/>
                  <a:pt x="771607" y="764755"/>
                  <a:pt x="773744" y="769029"/>
                </a:cubicBezTo>
                <a:cubicBezTo>
                  <a:pt x="775618" y="772777"/>
                  <a:pt x="775685" y="777293"/>
                  <a:pt x="777720" y="780956"/>
                </a:cubicBezTo>
                <a:cubicBezTo>
                  <a:pt x="782361" y="789310"/>
                  <a:pt x="790600" y="795744"/>
                  <a:pt x="793622" y="804810"/>
                </a:cubicBezTo>
                <a:cubicBezTo>
                  <a:pt x="794947" y="808786"/>
                  <a:pt x="795724" y="812989"/>
                  <a:pt x="797598" y="816737"/>
                </a:cubicBezTo>
                <a:cubicBezTo>
                  <a:pt x="799735" y="821011"/>
                  <a:pt x="803608" y="824298"/>
                  <a:pt x="805549" y="828664"/>
                </a:cubicBezTo>
                <a:cubicBezTo>
                  <a:pt x="808953" y="836323"/>
                  <a:pt x="807575" y="846590"/>
                  <a:pt x="813501" y="852517"/>
                </a:cubicBezTo>
                <a:lnTo>
                  <a:pt x="833379" y="872396"/>
                </a:lnTo>
                <a:lnTo>
                  <a:pt x="845306" y="884323"/>
                </a:lnTo>
                <a:cubicBezTo>
                  <a:pt x="846631" y="888299"/>
                  <a:pt x="847408" y="892502"/>
                  <a:pt x="849282" y="896250"/>
                </a:cubicBezTo>
                <a:cubicBezTo>
                  <a:pt x="851419" y="900524"/>
                  <a:pt x="856159" y="903521"/>
                  <a:pt x="857233" y="908177"/>
                </a:cubicBezTo>
                <a:cubicBezTo>
                  <a:pt x="857947" y="911270"/>
                  <a:pt x="858156" y="948147"/>
                  <a:pt x="865184" y="959860"/>
                </a:cubicBezTo>
                <a:cubicBezTo>
                  <a:pt x="867113" y="963074"/>
                  <a:pt x="870485" y="965161"/>
                  <a:pt x="873136" y="967811"/>
                </a:cubicBezTo>
                <a:cubicBezTo>
                  <a:pt x="871811" y="973112"/>
                  <a:pt x="871312" y="978692"/>
                  <a:pt x="869160" y="983714"/>
                </a:cubicBezTo>
                <a:cubicBezTo>
                  <a:pt x="865398" y="992493"/>
                  <a:pt x="859671" y="997179"/>
                  <a:pt x="853257" y="1003592"/>
                </a:cubicBezTo>
                <a:cubicBezTo>
                  <a:pt x="851932" y="1007568"/>
                  <a:pt x="851438" y="1011926"/>
                  <a:pt x="849282" y="1015519"/>
                </a:cubicBezTo>
                <a:cubicBezTo>
                  <a:pt x="843824" y="1024615"/>
                  <a:pt x="838785" y="1024319"/>
                  <a:pt x="829403" y="1027446"/>
                </a:cubicBezTo>
                <a:cubicBezTo>
                  <a:pt x="825427" y="1031422"/>
                  <a:pt x="822154" y="1036254"/>
                  <a:pt x="817476" y="1039373"/>
                </a:cubicBezTo>
                <a:cubicBezTo>
                  <a:pt x="813989" y="1041698"/>
                  <a:pt x="809297" y="1041475"/>
                  <a:pt x="805549" y="1043349"/>
                </a:cubicBezTo>
                <a:cubicBezTo>
                  <a:pt x="801275" y="1045486"/>
                  <a:pt x="797598" y="1048650"/>
                  <a:pt x="793622" y="1051300"/>
                </a:cubicBezTo>
                <a:cubicBezTo>
                  <a:pt x="790972" y="1055276"/>
                  <a:pt x="787808" y="1058953"/>
                  <a:pt x="785671" y="1063227"/>
                </a:cubicBezTo>
                <a:cubicBezTo>
                  <a:pt x="777898" y="1078774"/>
                  <a:pt x="781244" y="1093224"/>
                  <a:pt x="785671" y="1110935"/>
                </a:cubicBezTo>
                <a:cubicBezTo>
                  <a:pt x="786830" y="1115570"/>
                  <a:pt x="790972" y="1118886"/>
                  <a:pt x="793622" y="1122862"/>
                </a:cubicBezTo>
                <a:cubicBezTo>
                  <a:pt x="792297" y="1130813"/>
                  <a:pt x="792196" y="1139069"/>
                  <a:pt x="789647" y="1146716"/>
                </a:cubicBezTo>
                <a:cubicBezTo>
                  <a:pt x="786467" y="1156258"/>
                  <a:pt x="778251" y="1162353"/>
                  <a:pt x="769769" y="1166594"/>
                </a:cubicBezTo>
                <a:cubicBezTo>
                  <a:pt x="766021" y="1168468"/>
                  <a:pt x="762016" y="1170191"/>
                  <a:pt x="757842" y="1170570"/>
                </a:cubicBezTo>
                <a:cubicBezTo>
                  <a:pt x="732731" y="1172853"/>
                  <a:pt x="707458" y="1172810"/>
                  <a:pt x="682304" y="1174545"/>
                </a:cubicBezTo>
                <a:cubicBezTo>
                  <a:pt x="669017" y="1175461"/>
                  <a:pt x="655800" y="1177196"/>
                  <a:pt x="642548" y="1178521"/>
                </a:cubicBezTo>
                <a:cubicBezTo>
                  <a:pt x="634597" y="1181171"/>
                  <a:pt x="624621" y="1180545"/>
                  <a:pt x="618694" y="1186472"/>
                </a:cubicBezTo>
                <a:cubicBezTo>
                  <a:pt x="607364" y="1197802"/>
                  <a:pt x="613861" y="1192345"/>
                  <a:pt x="598816" y="1202375"/>
                </a:cubicBezTo>
                <a:cubicBezTo>
                  <a:pt x="597491" y="1206351"/>
                  <a:pt x="594840" y="1210111"/>
                  <a:pt x="594840" y="1214302"/>
                </a:cubicBezTo>
                <a:cubicBezTo>
                  <a:pt x="594840" y="1248809"/>
                  <a:pt x="599372" y="1240376"/>
                  <a:pt x="606767" y="1269961"/>
                </a:cubicBezTo>
                <a:cubicBezTo>
                  <a:pt x="609626" y="1281397"/>
                  <a:pt x="608267" y="1287559"/>
                  <a:pt x="618694" y="1293815"/>
                </a:cubicBezTo>
                <a:cubicBezTo>
                  <a:pt x="624809" y="1297484"/>
                  <a:pt x="646219" y="1300910"/>
                  <a:pt x="650499" y="1301766"/>
                </a:cubicBezTo>
                <a:cubicBezTo>
                  <a:pt x="696927" y="1299187"/>
                  <a:pt x="715371" y="1302670"/>
                  <a:pt x="753866" y="1289839"/>
                </a:cubicBezTo>
                <a:lnTo>
                  <a:pt x="777720" y="1281888"/>
                </a:lnTo>
                <a:lnTo>
                  <a:pt x="789647" y="1277912"/>
                </a:lnTo>
                <a:cubicBezTo>
                  <a:pt x="801574" y="1279237"/>
                  <a:pt x="814286" y="1277431"/>
                  <a:pt x="825428" y="1281888"/>
                </a:cubicBezTo>
                <a:cubicBezTo>
                  <a:pt x="829319" y="1283444"/>
                  <a:pt x="827247" y="1290222"/>
                  <a:pt x="829403" y="1293815"/>
                </a:cubicBezTo>
                <a:cubicBezTo>
                  <a:pt x="831332" y="1297029"/>
                  <a:pt x="834704" y="1299116"/>
                  <a:pt x="837355" y="1301766"/>
                </a:cubicBezTo>
                <a:cubicBezTo>
                  <a:pt x="844421" y="1322968"/>
                  <a:pt x="835588" y="1307068"/>
                  <a:pt x="853257" y="1317669"/>
                </a:cubicBezTo>
                <a:cubicBezTo>
                  <a:pt x="865267" y="1324875"/>
                  <a:pt x="857225" y="1328798"/>
                  <a:pt x="873136" y="1333571"/>
                </a:cubicBezTo>
                <a:cubicBezTo>
                  <a:pt x="882111" y="1336264"/>
                  <a:pt x="891689" y="1336222"/>
                  <a:pt x="900965" y="1337547"/>
                </a:cubicBezTo>
                <a:cubicBezTo>
                  <a:pt x="928795" y="1346823"/>
                  <a:pt x="922168" y="1337547"/>
                  <a:pt x="928795" y="1357425"/>
                </a:cubicBezTo>
                <a:cubicBezTo>
                  <a:pt x="930120" y="1386580"/>
                  <a:pt x="929150" y="1415930"/>
                  <a:pt x="932770" y="1444890"/>
                </a:cubicBezTo>
                <a:cubicBezTo>
                  <a:pt x="933314" y="1449240"/>
                  <a:pt x="951354" y="1459658"/>
                  <a:pt x="952649" y="1460792"/>
                </a:cubicBezTo>
                <a:cubicBezTo>
                  <a:pt x="959701" y="1466963"/>
                  <a:pt x="963637" y="1477708"/>
                  <a:pt x="972527" y="1480671"/>
                </a:cubicBezTo>
                <a:cubicBezTo>
                  <a:pt x="976503" y="1481996"/>
                  <a:pt x="988645" y="1484646"/>
                  <a:pt x="984454" y="1484646"/>
                </a:cubicBezTo>
                <a:cubicBezTo>
                  <a:pt x="977697" y="1484646"/>
                  <a:pt x="971202" y="1481996"/>
                  <a:pt x="964576" y="1480671"/>
                </a:cubicBezTo>
                <a:cubicBezTo>
                  <a:pt x="963251" y="1476695"/>
                  <a:pt x="958726" y="1472492"/>
                  <a:pt x="960600" y="1468744"/>
                </a:cubicBezTo>
                <a:cubicBezTo>
                  <a:pt x="962474" y="1464996"/>
                  <a:pt x="968336" y="1464768"/>
                  <a:pt x="972527" y="1464768"/>
                </a:cubicBezTo>
                <a:cubicBezTo>
                  <a:pt x="986517" y="1464768"/>
                  <a:pt x="996010" y="1468620"/>
                  <a:pt x="1008308" y="1472719"/>
                </a:cubicBezTo>
                <a:cubicBezTo>
                  <a:pt x="1010958" y="1476695"/>
                  <a:pt x="1014122" y="1480372"/>
                  <a:pt x="1016259" y="1484646"/>
                </a:cubicBezTo>
                <a:cubicBezTo>
                  <a:pt x="1018133" y="1488394"/>
                  <a:pt x="1017272" y="1493610"/>
                  <a:pt x="1020235" y="1496573"/>
                </a:cubicBezTo>
                <a:cubicBezTo>
                  <a:pt x="1023198" y="1499536"/>
                  <a:pt x="1028186" y="1499224"/>
                  <a:pt x="1032162" y="1500549"/>
                </a:cubicBezTo>
                <a:cubicBezTo>
                  <a:pt x="1034883" y="1508712"/>
                  <a:pt x="1035356" y="1516061"/>
                  <a:pt x="1044089" y="1520427"/>
                </a:cubicBezTo>
                <a:cubicBezTo>
                  <a:pt x="1051585" y="1524175"/>
                  <a:pt x="1067942" y="1528378"/>
                  <a:pt x="1067942" y="1528378"/>
                </a:cubicBezTo>
                <a:cubicBezTo>
                  <a:pt x="1074551" y="1534987"/>
                  <a:pt x="1078793" y="1540269"/>
                  <a:pt x="1087821" y="1544281"/>
                </a:cubicBezTo>
                <a:cubicBezTo>
                  <a:pt x="1095480" y="1547685"/>
                  <a:pt x="1103724" y="1549582"/>
                  <a:pt x="1111675" y="1552232"/>
                </a:cubicBezTo>
                <a:cubicBezTo>
                  <a:pt x="1115651" y="1553557"/>
                  <a:pt x="1119536" y="1555191"/>
                  <a:pt x="1123602" y="1556208"/>
                </a:cubicBezTo>
                <a:cubicBezTo>
                  <a:pt x="1128903" y="1557533"/>
                  <a:pt x="1134271" y="1558614"/>
                  <a:pt x="1139504" y="1560184"/>
                </a:cubicBezTo>
                <a:cubicBezTo>
                  <a:pt x="1139554" y="1560199"/>
                  <a:pt x="1169297" y="1570115"/>
                  <a:pt x="1175285" y="1572111"/>
                </a:cubicBezTo>
                <a:cubicBezTo>
                  <a:pt x="1179261" y="1573436"/>
                  <a:pt x="1183078" y="1575397"/>
                  <a:pt x="1187212" y="1576086"/>
                </a:cubicBezTo>
                <a:lnTo>
                  <a:pt x="1211066" y="1580062"/>
                </a:lnTo>
                <a:cubicBezTo>
                  <a:pt x="1209741" y="1566810"/>
                  <a:pt x="1208973" y="1553490"/>
                  <a:pt x="1207090" y="1540305"/>
                </a:cubicBezTo>
                <a:cubicBezTo>
                  <a:pt x="1206317" y="1534896"/>
                  <a:pt x="1206713" y="1528515"/>
                  <a:pt x="1203115" y="1524403"/>
                </a:cubicBezTo>
                <a:cubicBezTo>
                  <a:pt x="1188659" y="1507882"/>
                  <a:pt x="1180559" y="1509438"/>
                  <a:pt x="1163358" y="1504524"/>
                </a:cubicBezTo>
                <a:cubicBezTo>
                  <a:pt x="1159329" y="1503373"/>
                  <a:pt x="1155407" y="1501874"/>
                  <a:pt x="1151431" y="1500549"/>
                </a:cubicBezTo>
                <a:cubicBezTo>
                  <a:pt x="1140171" y="1466762"/>
                  <a:pt x="1155876" y="1507957"/>
                  <a:pt x="1139504" y="1480671"/>
                </a:cubicBezTo>
                <a:cubicBezTo>
                  <a:pt x="1137348" y="1477078"/>
                  <a:pt x="1137685" y="1472337"/>
                  <a:pt x="1135529" y="1468744"/>
                </a:cubicBezTo>
                <a:cubicBezTo>
                  <a:pt x="1133600" y="1465530"/>
                  <a:pt x="1130576" y="1463041"/>
                  <a:pt x="1127577" y="1460792"/>
                </a:cubicBezTo>
                <a:cubicBezTo>
                  <a:pt x="1119932" y="1455058"/>
                  <a:pt x="1110480" y="1451648"/>
                  <a:pt x="1103723" y="1444890"/>
                </a:cubicBezTo>
                <a:cubicBezTo>
                  <a:pt x="1101073" y="1442239"/>
                  <a:pt x="1098986" y="1438867"/>
                  <a:pt x="1095772" y="1436938"/>
                </a:cubicBezTo>
                <a:cubicBezTo>
                  <a:pt x="1092179" y="1434782"/>
                  <a:pt x="1087821" y="1434288"/>
                  <a:pt x="1083845" y="1432963"/>
                </a:cubicBezTo>
                <a:cubicBezTo>
                  <a:pt x="1081195" y="1430312"/>
                  <a:pt x="1079013" y="1427090"/>
                  <a:pt x="1075894" y="1425011"/>
                </a:cubicBezTo>
                <a:cubicBezTo>
                  <a:pt x="1070963" y="1421723"/>
                  <a:pt x="1057341" y="1422361"/>
                  <a:pt x="1059991" y="1417060"/>
                </a:cubicBezTo>
                <a:cubicBezTo>
                  <a:pt x="1063739" y="1409563"/>
                  <a:pt x="1083845" y="1409109"/>
                  <a:pt x="1083845" y="1409109"/>
                </a:cubicBezTo>
                <a:cubicBezTo>
                  <a:pt x="1094447" y="1410434"/>
                  <a:pt x="1105285" y="1410493"/>
                  <a:pt x="1115650" y="1413084"/>
                </a:cubicBezTo>
                <a:cubicBezTo>
                  <a:pt x="1121400" y="1414521"/>
                  <a:pt x="1126004" y="1418955"/>
                  <a:pt x="1131553" y="1421036"/>
                </a:cubicBezTo>
                <a:cubicBezTo>
                  <a:pt x="1136669" y="1422955"/>
                  <a:pt x="1142222" y="1423441"/>
                  <a:pt x="1147456" y="1425011"/>
                </a:cubicBezTo>
                <a:cubicBezTo>
                  <a:pt x="1155484" y="1427419"/>
                  <a:pt x="1163358" y="1430313"/>
                  <a:pt x="1171309" y="1432963"/>
                </a:cubicBezTo>
                <a:lnTo>
                  <a:pt x="1195163" y="1440914"/>
                </a:lnTo>
                <a:cubicBezTo>
                  <a:pt x="1199139" y="1442239"/>
                  <a:pt x="1203603" y="1442565"/>
                  <a:pt x="1207090" y="1444890"/>
                </a:cubicBezTo>
                <a:cubicBezTo>
                  <a:pt x="1211066" y="1447540"/>
                  <a:pt x="1215286" y="1449856"/>
                  <a:pt x="1219017" y="1452841"/>
                </a:cubicBezTo>
                <a:cubicBezTo>
                  <a:pt x="1232471" y="1463604"/>
                  <a:pt x="1227051" y="1468771"/>
                  <a:pt x="1250822" y="1476695"/>
                </a:cubicBezTo>
                <a:lnTo>
                  <a:pt x="1262749" y="1480671"/>
                </a:lnTo>
                <a:cubicBezTo>
                  <a:pt x="1273352" y="1448864"/>
                  <a:pt x="1257447" y="1485974"/>
                  <a:pt x="1278652" y="1464768"/>
                </a:cubicBezTo>
                <a:cubicBezTo>
                  <a:pt x="1283563" y="1459856"/>
                  <a:pt x="1288203" y="1444065"/>
                  <a:pt x="1290579" y="1436938"/>
                </a:cubicBezTo>
                <a:cubicBezTo>
                  <a:pt x="1289254" y="1430312"/>
                  <a:pt x="1288242" y="1423616"/>
                  <a:pt x="1286603" y="1417060"/>
                </a:cubicBezTo>
                <a:cubicBezTo>
                  <a:pt x="1285587" y="1412994"/>
                  <a:pt x="1282628" y="1409324"/>
                  <a:pt x="1282628" y="1405133"/>
                </a:cubicBezTo>
                <a:cubicBezTo>
                  <a:pt x="1282628" y="1398376"/>
                  <a:pt x="1285278" y="1391881"/>
                  <a:pt x="1286603" y="1385255"/>
                </a:cubicBezTo>
                <a:cubicBezTo>
                  <a:pt x="1286343" y="1384213"/>
                  <a:pt x="1280728" y="1360019"/>
                  <a:pt x="1278652" y="1357425"/>
                </a:cubicBezTo>
                <a:cubicBezTo>
                  <a:pt x="1275667" y="1353694"/>
                  <a:pt x="1270701" y="1352124"/>
                  <a:pt x="1266725" y="1349474"/>
                </a:cubicBezTo>
                <a:cubicBezTo>
                  <a:pt x="1265400" y="1345498"/>
                  <a:pt x="1264623" y="1341295"/>
                  <a:pt x="1262749" y="1337547"/>
                </a:cubicBezTo>
                <a:cubicBezTo>
                  <a:pt x="1260612" y="1333273"/>
                  <a:pt x="1256739" y="1329986"/>
                  <a:pt x="1254798" y="1325620"/>
                </a:cubicBezTo>
                <a:cubicBezTo>
                  <a:pt x="1251394" y="1317961"/>
                  <a:pt x="1246847" y="1301766"/>
                  <a:pt x="1246847" y="1301766"/>
                </a:cubicBezTo>
                <a:cubicBezTo>
                  <a:pt x="1245522" y="1292490"/>
                  <a:pt x="1244709" y="1283126"/>
                  <a:pt x="1242871" y="1273937"/>
                </a:cubicBezTo>
                <a:cubicBezTo>
                  <a:pt x="1242049" y="1269828"/>
                  <a:pt x="1241859" y="1264973"/>
                  <a:pt x="1238896" y="1262010"/>
                </a:cubicBezTo>
                <a:cubicBezTo>
                  <a:pt x="1235933" y="1259047"/>
                  <a:pt x="1230945" y="1259359"/>
                  <a:pt x="1226969" y="1258034"/>
                </a:cubicBezTo>
                <a:cubicBezTo>
                  <a:pt x="1213367" y="1244434"/>
                  <a:pt x="1224263" y="1252389"/>
                  <a:pt x="1199139" y="1246107"/>
                </a:cubicBezTo>
                <a:cubicBezTo>
                  <a:pt x="1195073" y="1245091"/>
                  <a:pt x="1191242" y="1243282"/>
                  <a:pt x="1187212" y="1242131"/>
                </a:cubicBezTo>
                <a:cubicBezTo>
                  <a:pt x="1181958" y="1240630"/>
                  <a:pt x="1176610" y="1239481"/>
                  <a:pt x="1171309" y="1238156"/>
                </a:cubicBezTo>
                <a:cubicBezTo>
                  <a:pt x="1168659" y="1235505"/>
                  <a:pt x="1165286" y="1233418"/>
                  <a:pt x="1163358" y="1230204"/>
                </a:cubicBezTo>
                <a:cubicBezTo>
                  <a:pt x="1161083" y="1226412"/>
                  <a:pt x="1155928" y="1204978"/>
                  <a:pt x="1155407" y="1202375"/>
                </a:cubicBezTo>
                <a:cubicBezTo>
                  <a:pt x="1153005" y="1190367"/>
                  <a:pt x="1154503" y="1175413"/>
                  <a:pt x="1143480" y="1166594"/>
                </a:cubicBezTo>
                <a:cubicBezTo>
                  <a:pt x="1140208" y="1163976"/>
                  <a:pt x="1135529" y="1163943"/>
                  <a:pt x="1131553" y="1162618"/>
                </a:cubicBezTo>
                <a:cubicBezTo>
                  <a:pt x="1107081" y="1125909"/>
                  <a:pt x="1138310" y="1171064"/>
                  <a:pt x="1115650" y="1142740"/>
                </a:cubicBezTo>
                <a:cubicBezTo>
                  <a:pt x="1112665" y="1139009"/>
                  <a:pt x="1110349" y="1134789"/>
                  <a:pt x="1107699" y="1130813"/>
                </a:cubicBezTo>
                <a:cubicBezTo>
                  <a:pt x="1109024" y="1124187"/>
                  <a:pt x="1107927" y="1116557"/>
                  <a:pt x="1111675" y="1110935"/>
                </a:cubicBezTo>
                <a:cubicBezTo>
                  <a:pt x="1114000" y="1107448"/>
                  <a:pt x="1119854" y="1108833"/>
                  <a:pt x="1123602" y="1106959"/>
                </a:cubicBezTo>
                <a:cubicBezTo>
                  <a:pt x="1127876" y="1104822"/>
                  <a:pt x="1131553" y="1101658"/>
                  <a:pt x="1135529" y="1099008"/>
                </a:cubicBezTo>
                <a:cubicBezTo>
                  <a:pt x="1141045" y="1082457"/>
                  <a:pt x="1141286" y="1088310"/>
                  <a:pt x="1135529" y="1067203"/>
                </a:cubicBezTo>
                <a:cubicBezTo>
                  <a:pt x="1133324" y="1059117"/>
                  <a:pt x="1127577" y="1043349"/>
                  <a:pt x="1127577" y="1043349"/>
                </a:cubicBezTo>
                <a:cubicBezTo>
                  <a:pt x="1143372" y="1039400"/>
                  <a:pt x="1149787" y="1035550"/>
                  <a:pt x="1167334" y="1043349"/>
                </a:cubicBezTo>
                <a:cubicBezTo>
                  <a:pt x="1172472" y="1045633"/>
                  <a:pt x="1175285" y="1051300"/>
                  <a:pt x="1179261" y="1055276"/>
                </a:cubicBezTo>
                <a:cubicBezTo>
                  <a:pt x="1185553" y="1080449"/>
                  <a:pt x="1180205" y="1066632"/>
                  <a:pt x="1199139" y="1095032"/>
                </a:cubicBezTo>
                <a:lnTo>
                  <a:pt x="1199139" y="1095032"/>
                </a:lnTo>
                <a:cubicBezTo>
                  <a:pt x="1200464" y="1099008"/>
                  <a:pt x="1200959" y="1103365"/>
                  <a:pt x="1203115" y="1106959"/>
                </a:cubicBezTo>
                <a:cubicBezTo>
                  <a:pt x="1205043" y="1110173"/>
                  <a:pt x="1208666" y="1112031"/>
                  <a:pt x="1211066" y="1114911"/>
                </a:cubicBezTo>
                <a:cubicBezTo>
                  <a:pt x="1215308" y="1120001"/>
                  <a:pt x="1219142" y="1125421"/>
                  <a:pt x="1222993" y="1130813"/>
                </a:cubicBezTo>
                <a:cubicBezTo>
                  <a:pt x="1225770" y="1134701"/>
                  <a:pt x="1227213" y="1139755"/>
                  <a:pt x="1230944" y="1142740"/>
                </a:cubicBezTo>
                <a:cubicBezTo>
                  <a:pt x="1235105" y="1146069"/>
                  <a:pt x="1261619" y="1150383"/>
                  <a:pt x="1262749" y="1150691"/>
                </a:cubicBezTo>
                <a:cubicBezTo>
                  <a:pt x="1270835" y="1152896"/>
                  <a:pt x="1286603" y="1158643"/>
                  <a:pt x="1286603" y="1158643"/>
                </a:cubicBezTo>
                <a:cubicBezTo>
                  <a:pt x="1289254" y="1161293"/>
                  <a:pt x="1292626" y="1163380"/>
                  <a:pt x="1294555" y="1166594"/>
                </a:cubicBezTo>
                <a:cubicBezTo>
                  <a:pt x="1302264" y="1179442"/>
                  <a:pt x="1296213" y="1192193"/>
                  <a:pt x="1302506" y="1206351"/>
                </a:cubicBezTo>
                <a:cubicBezTo>
                  <a:pt x="1304447" y="1210717"/>
                  <a:pt x="1310457" y="1211652"/>
                  <a:pt x="1314433" y="1214302"/>
                </a:cubicBezTo>
                <a:cubicBezTo>
                  <a:pt x="1322384" y="1212977"/>
                  <a:pt x="1334372" y="1217373"/>
                  <a:pt x="1338287" y="1210326"/>
                </a:cubicBezTo>
                <a:cubicBezTo>
                  <a:pt x="1343476" y="1200986"/>
                  <a:pt x="1334311" y="1189205"/>
                  <a:pt x="1334311" y="1178521"/>
                </a:cubicBezTo>
                <a:cubicBezTo>
                  <a:pt x="1334311" y="1167144"/>
                  <a:pt x="1338013" y="1154941"/>
                  <a:pt x="1346238" y="1146716"/>
                </a:cubicBezTo>
                <a:cubicBezTo>
                  <a:pt x="1349617" y="1143337"/>
                  <a:pt x="1353891" y="1140901"/>
                  <a:pt x="1358165" y="1138764"/>
                </a:cubicBezTo>
                <a:cubicBezTo>
                  <a:pt x="1361913" y="1136890"/>
                  <a:pt x="1366116" y="1136114"/>
                  <a:pt x="1370092" y="1134789"/>
                </a:cubicBezTo>
                <a:cubicBezTo>
                  <a:pt x="1372742" y="1130813"/>
                  <a:pt x="1375058" y="1126593"/>
                  <a:pt x="1378043" y="1122862"/>
                </a:cubicBezTo>
                <a:cubicBezTo>
                  <a:pt x="1380385" y="1119935"/>
                  <a:pt x="1384319" y="1118264"/>
                  <a:pt x="1385995" y="1114911"/>
                </a:cubicBezTo>
                <a:cubicBezTo>
                  <a:pt x="1389743" y="1107414"/>
                  <a:pt x="1393946" y="1091057"/>
                  <a:pt x="1393946" y="1091057"/>
                </a:cubicBezTo>
                <a:cubicBezTo>
                  <a:pt x="1395271" y="1075154"/>
                  <a:pt x="1394578" y="1058953"/>
                  <a:pt x="1397922" y="1043349"/>
                </a:cubicBezTo>
                <a:cubicBezTo>
                  <a:pt x="1398707" y="1039684"/>
                  <a:pt x="1405408" y="1039116"/>
                  <a:pt x="1405873" y="1035397"/>
                </a:cubicBezTo>
                <a:cubicBezTo>
                  <a:pt x="1406873" y="1027399"/>
                  <a:pt x="1403222" y="1019495"/>
                  <a:pt x="1401897" y="1011544"/>
                </a:cubicBezTo>
                <a:cubicBezTo>
                  <a:pt x="1394359" y="921070"/>
                  <a:pt x="1416044" y="990786"/>
                  <a:pt x="1314433" y="959860"/>
                </a:cubicBezTo>
                <a:cubicBezTo>
                  <a:pt x="1306415" y="957420"/>
                  <a:pt x="1309132" y="943957"/>
                  <a:pt x="1306482" y="936006"/>
                </a:cubicBezTo>
                <a:lnTo>
                  <a:pt x="1298530" y="912152"/>
                </a:lnTo>
                <a:cubicBezTo>
                  <a:pt x="1297205" y="908176"/>
                  <a:pt x="1298042" y="902549"/>
                  <a:pt x="1294555" y="900225"/>
                </a:cubicBezTo>
                <a:lnTo>
                  <a:pt x="1282628" y="892274"/>
                </a:lnTo>
                <a:cubicBezTo>
                  <a:pt x="1281303" y="886973"/>
                  <a:pt x="1279630" y="881747"/>
                  <a:pt x="1278652" y="876371"/>
                </a:cubicBezTo>
                <a:cubicBezTo>
                  <a:pt x="1276976" y="867152"/>
                  <a:pt x="1279707" y="856448"/>
                  <a:pt x="1274676" y="848542"/>
                </a:cubicBezTo>
                <a:cubicBezTo>
                  <a:pt x="1268347" y="838596"/>
                  <a:pt x="1250675" y="832029"/>
                  <a:pt x="1238896" y="828664"/>
                </a:cubicBezTo>
                <a:cubicBezTo>
                  <a:pt x="1233642" y="827163"/>
                  <a:pt x="1228247" y="826189"/>
                  <a:pt x="1222993" y="824688"/>
                </a:cubicBezTo>
                <a:cubicBezTo>
                  <a:pt x="1204625" y="819440"/>
                  <a:pt x="1208568" y="819046"/>
                  <a:pt x="1187212" y="804810"/>
                </a:cubicBezTo>
                <a:lnTo>
                  <a:pt x="1187212" y="804810"/>
                </a:lnTo>
                <a:cubicBezTo>
                  <a:pt x="1170752" y="799323"/>
                  <a:pt x="1178772" y="803159"/>
                  <a:pt x="1163358" y="792883"/>
                </a:cubicBezTo>
                <a:cubicBezTo>
                  <a:pt x="1160708" y="784932"/>
                  <a:pt x="1163358" y="771680"/>
                  <a:pt x="1155407" y="769029"/>
                </a:cubicBezTo>
                <a:cubicBezTo>
                  <a:pt x="1147456" y="766378"/>
                  <a:pt x="1139684" y="763109"/>
                  <a:pt x="1131553" y="761077"/>
                </a:cubicBezTo>
                <a:cubicBezTo>
                  <a:pt x="1111584" y="756086"/>
                  <a:pt x="1120834" y="758830"/>
                  <a:pt x="1103723" y="753126"/>
                </a:cubicBezTo>
                <a:cubicBezTo>
                  <a:pt x="1102398" y="749150"/>
                  <a:pt x="1099748" y="745390"/>
                  <a:pt x="1099748" y="741199"/>
                </a:cubicBezTo>
                <a:cubicBezTo>
                  <a:pt x="1099748" y="726544"/>
                  <a:pt x="1103210" y="725810"/>
                  <a:pt x="1111675" y="717345"/>
                </a:cubicBezTo>
                <a:cubicBezTo>
                  <a:pt x="1113000" y="713369"/>
                  <a:pt x="1112687" y="708381"/>
                  <a:pt x="1115650" y="705418"/>
                </a:cubicBezTo>
                <a:cubicBezTo>
                  <a:pt x="1118613" y="702455"/>
                  <a:pt x="1123511" y="702459"/>
                  <a:pt x="1127577" y="701443"/>
                </a:cubicBezTo>
                <a:lnTo>
                  <a:pt x="1159382" y="693491"/>
                </a:lnTo>
                <a:cubicBezTo>
                  <a:pt x="1158057" y="686865"/>
                  <a:pt x="1158759" y="679480"/>
                  <a:pt x="1155407" y="673613"/>
                </a:cubicBezTo>
                <a:cubicBezTo>
                  <a:pt x="1149569" y="663396"/>
                  <a:pt x="1113394" y="658141"/>
                  <a:pt x="1111675" y="657711"/>
                </a:cubicBezTo>
                <a:cubicBezTo>
                  <a:pt x="1109024" y="655060"/>
                  <a:pt x="1104458" y="653435"/>
                  <a:pt x="1103723" y="649759"/>
                </a:cubicBezTo>
                <a:cubicBezTo>
                  <a:pt x="1101464" y="638463"/>
                  <a:pt x="1113044" y="634269"/>
                  <a:pt x="1119626" y="629881"/>
                </a:cubicBezTo>
                <a:cubicBezTo>
                  <a:pt x="1122276" y="625905"/>
                  <a:pt x="1125440" y="622228"/>
                  <a:pt x="1127577" y="617954"/>
                </a:cubicBezTo>
                <a:cubicBezTo>
                  <a:pt x="1133866" y="605377"/>
                  <a:pt x="1133601" y="591751"/>
                  <a:pt x="1127577" y="578197"/>
                </a:cubicBezTo>
                <a:cubicBezTo>
                  <a:pt x="1124896" y="572165"/>
                  <a:pt x="1109015" y="568035"/>
                  <a:pt x="1103723" y="566271"/>
                </a:cubicBezTo>
                <a:cubicBezTo>
                  <a:pt x="1101073" y="563620"/>
                  <a:pt x="1098771" y="560568"/>
                  <a:pt x="1095772" y="558319"/>
                </a:cubicBezTo>
                <a:cubicBezTo>
                  <a:pt x="1066349" y="536251"/>
                  <a:pt x="1075871" y="542856"/>
                  <a:pt x="1036137" y="538441"/>
                </a:cubicBezTo>
                <a:cubicBezTo>
                  <a:pt x="1037462" y="529164"/>
                  <a:pt x="1036307" y="519174"/>
                  <a:pt x="1040113" y="510611"/>
                </a:cubicBezTo>
                <a:cubicBezTo>
                  <a:pt x="1041718" y="506999"/>
                  <a:pt x="1066685" y="495338"/>
                  <a:pt x="1067942" y="494709"/>
                </a:cubicBezTo>
                <a:cubicBezTo>
                  <a:pt x="1062641" y="486758"/>
                  <a:pt x="1061106" y="473877"/>
                  <a:pt x="1052040" y="470855"/>
                </a:cubicBezTo>
                <a:cubicBezTo>
                  <a:pt x="1048064" y="469530"/>
                  <a:pt x="1043861" y="468753"/>
                  <a:pt x="1040113" y="466879"/>
                </a:cubicBezTo>
                <a:cubicBezTo>
                  <a:pt x="1035839" y="464742"/>
                  <a:pt x="1032796" y="460185"/>
                  <a:pt x="1028186" y="458928"/>
                </a:cubicBezTo>
                <a:cubicBezTo>
                  <a:pt x="1017878" y="456117"/>
                  <a:pt x="1006941" y="456577"/>
                  <a:pt x="996381" y="454952"/>
                </a:cubicBezTo>
                <a:cubicBezTo>
                  <a:pt x="989702" y="453925"/>
                  <a:pt x="983192" y="451933"/>
                  <a:pt x="976502" y="450977"/>
                </a:cubicBezTo>
                <a:cubicBezTo>
                  <a:pt x="964623" y="449280"/>
                  <a:pt x="952649" y="448326"/>
                  <a:pt x="940722" y="447001"/>
                </a:cubicBezTo>
                <a:cubicBezTo>
                  <a:pt x="938071" y="444351"/>
                  <a:pt x="933037" y="442789"/>
                  <a:pt x="932770" y="439050"/>
                </a:cubicBezTo>
                <a:cubicBezTo>
                  <a:pt x="930801" y="411489"/>
                  <a:pt x="935066" y="398060"/>
                  <a:pt x="940722" y="375439"/>
                </a:cubicBezTo>
                <a:cubicBezTo>
                  <a:pt x="936411" y="362506"/>
                  <a:pt x="938893" y="361816"/>
                  <a:pt x="924819" y="355561"/>
                </a:cubicBezTo>
                <a:cubicBezTo>
                  <a:pt x="917160" y="352157"/>
                  <a:pt x="900965" y="347610"/>
                  <a:pt x="900965" y="347610"/>
                </a:cubicBezTo>
                <a:cubicBezTo>
                  <a:pt x="896989" y="344959"/>
                  <a:pt x="893312" y="341795"/>
                  <a:pt x="889038" y="339658"/>
                </a:cubicBezTo>
                <a:cubicBezTo>
                  <a:pt x="885290" y="337784"/>
                  <a:pt x="880704" y="337839"/>
                  <a:pt x="877111" y="335683"/>
                </a:cubicBezTo>
                <a:cubicBezTo>
                  <a:pt x="873897" y="333754"/>
                  <a:pt x="871810" y="330382"/>
                  <a:pt x="869160" y="327731"/>
                </a:cubicBezTo>
                <a:cubicBezTo>
                  <a:pt x="841905" y="336817"/>
                  <a:pt x="875721" y="326092"/>
                  <a:pt x="837355" y="335683"/>
                </a:cubicBezTo>
                <a:cubicBezTo>
                  <a:pt x="833289" y="336699"/>
                  <a:pt x="829471" y="338555"/>
                  <a:pt x="825428" y="339658"/>
                </a:cubicBezTo>
                <a:cubicBezTo>
                  <a:pt x="814885" y="342533"/>
                  <a:pt x="793622" y="347610"/>
                  <a:pt x="793622" y="347610"/>
                </a:cubicBezTo>
                <a:cubicBezTo>
                  <a:pt x="790972" y="344959"/>
                  <a:pt x="786322" y="343349"/>
                  <a:pt x="785671" y="339658"/>
                </a:cubicBezTo>
                <a:cubicBezTo>
                  <a:pt x="782209" y="320039"/>
                  <a:pt x="783896" y="299824"/>
                  <a:pt x="781696" y="280024"/>
                </a:cubicBezTo>
                <a:cubicBezTo>
                  <a:pt x="781233" y="275859"/>
                  <a:pt x="779876" y="271691"/>
                  <a:pt x="777720" y="268097"/>
                </a:cubicBezTo>
                <a:cubicBezTo>
                  <a:pt x="774549" y="262812"/>
                  <a:pt x="762488" y="254517"/>
                  <a:pt x="757842" y="252194"/>
                </a:cubicBezTo>
                <a:cubicBezTo>
                  <a:pt x="754094" y="250320"/>
                  <a:pt x="749767" y="249869"/>
                  <a:pt x="745915" y="248218"/>
                </a:cubicBezTo>
                <a:cubicBezTo>
                  <a:pt x="731790" y="242164"/>
                  <a:pt x="730065" y="240302"/>
                  <a:pt x="718085" y="232316"/>
                </a:cubicBezTo>
                <a:cubicBezTo>
                  <a:pt x="708592" y="203839"/>
                  <a:pt x="722163" y="236415"/>
                  <a:pt x="702182" y="212437"/>
                </a:cubicBezTo>
                <a:cubicBezTo>
                  <a:pt x="698388" y="207884"/>
                  <a:pt x="698025" y="201088"/>
                  <a:pt x="694231" y="196535"/>
                </a:cubicBezTo>
                <a:cubicBezTo>
                  <a:pt x="691172" y="192864"/>
                  <a:pt x="686035" y="191569"/>
                  <a:pt x="682304" y="188584"/>
                </a:cubicBezTo>
                <a:cubicBezTo>
                  <a:pt x="679377" y="186242"/>
                  <a:pt x="676694" y="183559"/>
                  <a:pt x="674353" y="180632"/>
                </a:cubicBezTo>
                <a:cubicBezTo>
                  <a:pt x="671368" y="176901"/>
                  <a:pt x="670133" y="171690"/>
                  <a:pt x="666402" y="168705"/>
                </a:cubicBezTo>
                <a:cubicBezTo>
                  <a:pt x="663130" y="166087"/>
                  <a:pt x="658451" y="166055"/>
                  <a:pt x="654475" y="164730"/>
                </a:cubicBezTo>
                <a:cubicBezTo>
                  <a:pt x="643131" y="165990"/>
                  <a:pt x="620090" y="166020"/>
                  <a:pt x="606767" y="172681"/>
                </a:cubicBezTo>
                <a:cubicBezTo>
                  <a:pt x="587302" y="182414"/>
                  <a:pt x="601685" y="177487"/>
                  <a:pt x="586889" y="188584"/>
                </a:cubicBezTo>
                <a:cubicBezTo>
                  <a:pt x="565019" y="204987"/>
                  <a:pt x="569702" y="202264"/>
                  <a:pt x="551108" y="208462"/>
                </a:cubicBezTo>
                <a:cubicBezTo>
                  <a:pt x="548457" y="211112"/>
                  <a:pt x="543621" y="212694"/>
                  <a:pt x="543156" y="216413"/>
                </a:cubicBezTo>
                <a:cubicBezTo>
                  <a:pt x="541884" y="226590"/>
                  <a:pt x="547669" y="241879"/>
                  <a:pt x="551108" y="252194"/>
                </a:cubicBezTo>
                <a:cubicBezTo>
                  <a:pt x="528204" y="275095"/>
                  <a:pt x="534521" y="272729"/>
                  <a:pt x="471595" y="256170"/>
                </a:cubicBezTo>
                <a:cubicBezTo>
                  <a:pt x="466311" y="254779"/>
                  <a:pt x="468944" y="245568"/>
                  <a:pt x="467619" y="240267"/>
                </a:cubicBezTo>
                <a:cubicBezTo>
                  <a:pt x="468944" y="219064"/>
                  <a:pt x="469481" y="197796"/>
                  <a:pt x="471595" y="176657"/>
                </a:cubicBezTo>
                <a:cubicBezTo>
                  <a:pt x="472139" y="171220"/>
                  <a:pt x="475570" y="166218"/>
                  <a:pt x="475570" y="160754"/>
                </a:cubicBezTo>
                <a:cubicBezTo>
                  <a:pt x="475570" y="150430"/>
                  <a:pt x="469943" y="147175"/>
                  <a:pt x="463643" y="140876"/>
                </a:cubicBezTo>
                <a:cubicBezTo>
                  <a:pt x="451578" y="104674"/>
                  <a:pt x="470090" y="161863"/>
                  <a:pt x="455692" y="109071"/>
                </a:cubicBezTo>
                <a:cubicBezTo>
                  <a:pt x="453487" y="100985"/>
                  <a:pt x="455692" y="87868"/>
                  <a:pt x="447741" y="85217"/>
                </a:cubicBezTo>
                <a:lnTo>
                  <a:pt x="435814" y="81241"/>
                </a:lnTo>
                <a:cubicBezTo>
                  <a:pt x="433163" y="78591"/>
                  <a:pt x="431076" y="75219"/>
                  <a:pt x="427862" y="73290"/>
                </a:cubicBezTo>
                <a:cubicBezTo>
                  <a:pt x="424269" y="71134"/>
                  <a:pt x="419788" y="70965"/>
                  <a:pt x="415936" y="69314"/>
                </a:cubicBezTo>
                <a:cubicBezTo>
                  <a:pt x="410489" y="66979"/>
                  <a:pt x="405334" y="64013"/>
                  <a:pt x="400033" y="61363"/>
                </a:cubicBezTo>
                <a:cubicBezTo>
                  <a:pt x="379888" y="41216"/>
                  <a:pt x="405958" y="64917"/>
                  <a:pt x="380155" y="49436"/>
                </a:cubicBezTo>
                <a:cubicBezTo>
                  <a:pt x="352868" y="33065"/>
                  <a:pt x="394061" y="48769"/>
                  <a:pt x="360276" y="37509"/>
                </a:cubicBezTo>
                <a:cubicBezTo>
                  <a:pt x="345699" y="38834"/>
                  <a:pt x="330807" y="38193"/>
                  <a:pt x="316544" y="41484"/>
                </a:cubicBezTo>
                <a:cubicBezTo>
                  <a:pt x="312892" y="42327"/>
                  <a:pt x="311592" y="47187"/>
                  <a:pt x="308593" y="49436"/>
                </a:cubicBezTo>
                <a:cubicBezTo>
                  <a:pt x="295862" y="58984"/>
                  <a:pt x="285909" y="61888"/>
                  <a:pt x="276788" y="73290"/>
                </a:cubicBezTo>
                <a:cubicBezTo>
                  <a:pt x="273803" y="77021"/>
                  <a:pt x="271207" y="81068"/>
                  <a:pt x="268836" y="85217"/>
                </a:cubicBezTo>
                <a:cubicBezTo>
                  <a:pt x="265896" y="90362"/>
                  <a:pt x="263220" y="95672"/>
                  <a:pt x="260885" y="101119"/>
                </a:cubicBezTo>
                <a:cubicBezTo>
                  <a:pt x="259234" y="104971"/>
                  <a:pt x="258944" y="109383"/>
                  <a:pt x="256909" y="113046"/>
                </a:cubicBezTo>
                <a:cubicBezTo>
                  <a:pt x="252268" y="121400"/>
                  <a:pt x="244029" y="127834"/>
                  <a:pt x="241007" y="136900"/>
                </a:cubicBezTo>
                <a:cubicBezTo>
                  <a:pt x="239682" y="140876"/>
                  <a:pt x="238905" y="145079"/>
                  <a:pt x="237031" y="148827"/>
                </a:cubicBezTo>
                <a:cubicBezTo>
                  <a:pt x="221617" y="179655"/>
                  <a:pt x="235098" y="142702"/>
                  <a:pt x="225104" y="172681"/>
                </a:cubicBezTo>
                <a:cubicBezTo>
                  <a:pt x="226429" y="181958"/>
                  <a:pt x="224049" y="192605"/>
                  <a:pt x="229080" y="200511"/>
                </a:cubicBezTo>
                <a:cubicBezTo>
                  <a:pt x="234211" y="208573"/>
                  <a:pt x="252934" y="216413"/>
                  <a:pt x="252934" y="216413"/>
                </a:cubicBezTo>
                <a:cubicBezTo>
                  <a:pt x="255584" y="220389"/>
                  <a:pt x="258748" y="224066"/>
                  <a:pt x="260885" y="228340"/>
                </a:cubicBezTo>
                <a:cubicBezTo>
                  <a:pt x="267005" y="240580"/>
                  <a:pt x="267286" y="255296"/>
                  <a:pt x="260885" y="268097"/>
                </a:cubicBezTo>
                <a:cubicBezTo>
                  <a:pt x="259011" y="271845"/>
                  <a:pt x="252934" y="270747"/>
                  <a:pt x="248958" y="272072"/>
                </a:cubicBezTo>
                <a:cubicBezTo>
                  <a:pt x="246308" y="274723"/>
                  <a:pt x="244221" y="278095"/>
                  <a:pt x="241007" y="280024"/>
                </a:cubicBezTo>
                <a:cubicBezTo>
                  <a:pt x="237414" y="282180"/>
                  <a:pt x="232043" y="281036"/>
                  <a:pt x="229080" y="283999"/>
                </a:cubicBezTo>
                <a:cubicBezTo>
                  <a:pt x="226117" y="286962"/>
                  <a:pt x="226429" y="291950"/>
                  <a:pt x="225104" y="295926"/>
                </a:cubicBezTo>
                <a:cubicBezTo>
                  <a:pt x="227755" y="298576"/>
                  <a:pt x="231380" y="300524"/>
                  <a:pt x="233056" y="303877"/>
                </a:cubicBezTo>
                <a:cubicBezTo>
                  <a:pt x="251332" y="340428"/>
                  <a:pt x="230993" y="317716"/>
                  <a:pt x="248958" y="335683"/>
                </a:cubicBezTo>
                <a:cubicBezTo>
                  <a:pt x="250283" y="339659"/>
                  <a:pt x="250316" y="344338"/>
                  <a:pt x="252934" y="347610"/>
                </a:cubicBezTo>
                <a:cubicBezTo>
                  <a:pt x="255919" y="351341"/>
                  <a:pt x="262329" y="351509"/>
                  <a:pt x="264861" y="355561"/>
                </a:cubicBezTo>
                <a:cubicBezTo>
                  <a:pt x="269303" y="362668"/>
                  <a:pt x="272812" y="379415"/>
                  <a:pt x="272812" y="379415"/>
                </a:cubicBezTo>
                <a:cubicBezTo>
                  <a:pt x="268836" y="382065"/>
                  <a:pt x="265159" y="385229"/>
                  <a:pt x="260885" y="387366"/>
                </a:cubicBezTo>
                <a:cubicBezTo>
                  <a:pt x="245464" y="395076"/>
                  <a:pt x="241041" y="390211"/>
                  <a:pt x="221129" y="387366"/>
                </a:cubicBezTo>
                <a:cubicBezTo>
                  <a:pt x="217153" y="383390"/>
                  <a:pt x="211992" y="380321"/>
                  <a:pt x="209202" y="375439"/>
                </a:cubicBezTo>
                <a:cubicBezTo>
                  <a:pt x="206491" y="370695"/>
                  <a:pt x="206796" y="364770"/>
                  <a:pt x="205226" y="359537"/>
                </a:cubicBezTo>
                <a:cubicBezTo>
                  <a:pt x="202818" y="351509"/>
                  <a:pt x="199925" y="343634"/>
                  <a:pt x="197275" y="335683"/>
                </a:cubicBezTo>
                <a:lnTo>
                  <a:pt x="193299" y="323756"/>
                </a:lnTo>
                <a:cubicBezTo>
                  <a:pt x="191974" y="307853"/>
                  <a:pt x="191432" y="291866"/>
                  <a:pt x="189323" y="276048"/>
                </a:cubicBezTo>
                <a:cubicBezTo>
                  <a:pt x="188769" y="271894"/>
                  <a:pt x="186499" y="268150"/>
                  <a:pt x="185348" y="264121"/>
                </a:cubicBezTo>
                <a:cubicBezTo>
                  <a:pt x="181604" y="251016"/>
                  <a:pt x="180130" y="242009"/>
                  <a:pt x="177396" y="228340"/>
                </a:cubicBezTo>
                <a:cubicBezTo>
                  <a:pt x="178721" y="209787"/>
                  <a:pt x="178314" y="191028"/>
                  <a:pt x="181372" y="172681"/>
                </a:cubicBezTo>
                <a:cubicBezTo>
                  <a:pt x="182346" y="166835"/>
                  <a:pt x="187122" y="162281"/>
                  <a:pt x="189323" y="156778"/>
                </a:cubicBezTo>
                <a:cubicBezTo>
                  <a:pt x="203516" y="121296"/>
                  <a:pt x="189930" y="143943"/>
                  <a:pt x="205226" y="120997"/>
                </a:cubicBezTo>
                <a:cubicBezTo>
                  <a:pt x="206551" y="101119"/>
                  <a:pt x="207002" y="81163"/>
                  <a:pt x="209202" y="61363"/>
                </a:cubicBezTo>
                <a:cubicBezTo>
                  <a:pt x="209665" y="57198"/>
                  <a:pt x="211021" y="53029"/>
                  <a:pt x="213177" y="49436"/>
                </a:cubicBezTo>
                <a:cubicBezTo>
                  <a:pt x="215106" y="46222"/>
                  <a:pt x="217915" y="43413"/>
                  <a:pt x="221129" y="41484"/>
                </a:cubicBezTo>
                <a:cubicBezTo>
                  <a:pt x="224722" y="39328"/>
                  <a:pt x="229080" y="38834"/>
                  <a:pt x="233056" y="37509"/>
                </a:cubicBezTo>
                <a:cubicBezTo>
                  <a:pt x="240452" y="30112"/>
                  <a:pt x="242902" y="26622"/>
                  <a:pt x="252934" y="21606"/>
                </a:cubicBezTo>
                <a:cubicBezTo>
                  <a:pt x="256682" y="19732"/>
                  <a:pt x="262873" y="20944"/>
                  <a:pt x="260885" y="17631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0" name="Freeform 89"/>
          <p:cNvSpPr/>
          <p:nvPr/>
        </p:nvSpPr>
        <p:spPr>
          <a:xfrm>
            <a:off x="6197605" y="2569637"/>
            <a:ext cx="131763" cy="146051"/>
          </a:xfrm>
          <a:custGeom>
            <a:avLst/>
            <a:gdLst>
              <a:gd name="connsiteX0" fmla="*/ 44290 w 131754"/>
              <a:gd name="connsiteY0" fmla="*/ 1300 h 144832"/>
              <a:gd name="connsiteX1" fmla="*/ 115852 w 131754"/>
              <a:gd name="connsiteY1" fmla="*/ 5276 h 144832"/>
              <a:gd name="connsiteX2" fmla="*/ 127779 w 131754"/>
              <a:gd name="connsiteY2" fmla="*/ 9251 h 144832"/>
              <a:gd name="connsiteX3" fmla="*/ 131754 w 131754"/>
              <a:gd name="connsiteY3" fmla="*/ 21178 h 144832"/>
              <a:gd name="connsiteX4" fmla="*/ 127779 w 131754"/>
              <a:gd name="connsiteY4" fmla="*/ 64910 h 144832"/>
              <a:gd name="connsiteX5" fmla="*/ 123803 w 131754"/>
              <a:gd name="connsiteY5" fmla="*/ 76837 h 144832"/>
              <a:gd name="connsiteX6" fmla="*/ 119827 w 131754"/>
              <a:gd name="connsiteY6" fmla="*/ 92740 h 144832"/>
              <a:gd name="connsiteX7" fmla="*/ 111876 w 131754"/>
              <a:gd name="connsiteY7" fmla="*/ 116594 h 144832"/>
              <a:gd name="connsiteX8" fmla="*/ 95973 w 131754"/>
              <a:gd name="connsiteY8" fmla="*/ 136472 h 144832"/>
              <a:gd name="connsiteX9" fmla="*/ 72119 w 131754"/>
              <a:gd name="connsiteY9" fmla="*/ 144423 h 144832"/>
              <a:gd name="connsiteX10" fmla="*/ 24412 w 131754"/>
              <a:gd name="connsiteY10" fmla="*/ 140448 h 144832"/>
              <a:gd name="connsiteX11" fmla="*/ 16460 w 131754"/>
              <a:gd name="connsiteY11" fmla="*/ 128521 h 144832"/>
              <a:gd name="connsiteX12" fmla="*/ 4533 w 131754"/>
              <a:gd name="connsiteY12" fmla="*/ 104667 h 144832"/>
              <a:gd name="connsiteX13" fmla="*/ 12485 w 131754"/>
              <a:gd name="connsiteY13" fmla="*/ 72862 h 144832"/>
              <a:gd name="connsiteX14" fmla="*/ 20436 w 131754"/>
              <a:gd name="connsiteY14" fmla="*/ 64910 h 144832"/>
              <a:gd name="connsiteX15" fmla="*/ 32363 w 131754"/>
              <a:gd name="connsiteY15" fmla="*/ 29130 h 144832"/>
              <a:gd name="connsiteX16" fmla="*/ 40314 w 131754"/>
              <a:gd name="connsiteY16" fmla="*/ 1300 h 144832"/>
              <a:gd name="connsiteX17" fmla="*/ 44290 w 131754"/>
              <a:gd name="connsiteY17" fmla="*/ 1300 h 144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31754" h="144832">
                <a:moveTo>
                  <a:pt x="44290" y="1300"/>
                </a:moveTo>
                <a:cubicBezTo>
                  <a:pt x="56880" y="1963"/>
                  <a:pt x="92069" y="3011"/>
                  <a:pt x="115852" y="5276"/>
                </a:cubicBezTo>
                <a:cubicBezTo>
                  <a:pt x="120024" y="5673"/>
                  <a:pt x="124816" y="6288"/>
                  <a:pt x="127779" y="9251"/>
                </a:cubicBezTo>
                <a:cubicBezTo>
                  <a:pt x="130742" y="12214"/>
                  <a:pt x="130429" y="17202"/>
                  <a:pt x="131754" y="21178"/>
                </a:cubicBezTo>
                <a:cubicBezTo>
                  <a:pt x="130429" y="35755"/>
                  <a:pt x="129849" y="50420"/>
                  <a:pt x="127779" y="64910"/>
                </a:cubicBezTo>
                <a:cubicBezTo>
                  <a:pt x="127186" y="69059"/>
                  <a:pt x="124954" y="72808"/>
                  <a:pt x="123803" y="76837"/>
                </a:cubicBezTo>
                <a:cubicBezTo>
                  <a:pt x="122302" y="82091"/>
                  <a:pt x="121397" y="87506"/>
                  <a:pt x="119827" y="92740"/>
                </a:cubicBezTo>
                <a:cubicBezTo>
                  <a:pt x="117419" y="100768"/>
                  <a:pt x="116525" y="109620"/>
                  <a:pt x="111876" y="116594"/>
                </a:cubicBezTo>
                <a:cubicBezTo>
                  <a:pt x="109066" y="120810"/>
                  <a:pt x="101640" y="133639"/>
                  <a:pt x="95973" y="136472"/>
                </a:cubicBezTo>
                <a:cubicBezTo>
                  <a:pt x="88476" y="140220"/>
                  <a:pt x="72119" y="144423"/>
                  <a:pt x="72119" y="144423"/>
                </a:cubicBezTo>
                <a:cubicBezTo>
                  <a:pt x="56217" y="143098"/>
                  <a:pt x="39756" y="144832"/>
                  <a:pt x="24412" y="140448"/>
                </a:cubicBezTo>
                <a:cubicBezTo>
                  <a:pt x="19818" y="139135"/>
                  <a:pt x="18597" y="132795"/>
                  <a:pt x="16460" y="128521"/>
                </a:cubicBezTo>
                <a:cubicBezTo>
                  <a:pt x="0" y="95601"/>
                  <a:pt x="27323" y="138849"/>
                  <a:pt x="4533" y="104667"/>
                </a:cubicBezTo>
                <a:cubicBezTo>
                  <a:pt x="5389" y="100390"/>
                  <a:pt x="8817" y="78975"/>
                  <a:pt x="12485" y="72862"/>
                </a:cubicBezTo>
                <a:cubicBezTo>
                  <a:pt x="14413" y="69648"/>
                  <a:pt x="17786" y="67561"/>
                  <a:pt x="20436" y="64910"/>
                </a:cubicBezTo>
                <a:lnTo>
                  <a:pt x="32363" y="29130"/>
                </a:lnTo>
                <a:cubicBezTo>
                  <a:pt x="36153" y="17760"/>
                  <a:pt x="37818" y="13784"/>
                  <a:pt x="40314" y="1300"/>
                </a:cubicBezTo>
                <a:cubicBezTo>
                  <a:pt x="40574" y="0"/>
                  <a:pt x="31700" y="637"/>
                  <a:pt x="44290" y="1300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1" name="Freeform 90"/>
          <p:cNvSpPr/>
          <p:nvPr/>
        </p:nvSpPr>
        <p:spPr>
          <a:xfrm>
            <a:off x="6030913" y="1756833"/>
            <a:ext cx="227012" cy="162984"/>
          </a:xfrm>
          <a:custGeom>
            <a:avLst/>
            <a:gdLst>
              <a:gd name="connsiteX0" fmla="*/ 3976 w 227367"/>
              <a:gd name="connsiteY0" fmla="*/ 0 h 163217"/>
              <a:gd name="connsiteX1" fmla="*/ 59635 w 227367"/>
              <a:gd name="connsiteY1" fmla="*/ 3976 h 163217"/>
              <a:gd name="connsiteX2" fmla="*/ 83489 w 227367"/>
              <a:gd name="connsiteY2" fmla="*/ 11927 h 163217"/>
              <a:gd name="connsiteX3" fmla="*/ 107343 w 227367"/>
              <a:gd name="connsiteY3" fmla="*/ 19879 h 163217"/>
              <a:gd name="connsiteX4" fmla="*/ 119270 w 227367"/>
              <a:gd name="connsiteY4" fmla="*/ 23854 h 163217"/>
              <a:gd name="connsiteX5" fmla="*/ 155051 w 227367"/>
              <a:gd name="connsiteY5" fmla="*/ 27830 h 163217"/>
              <a:gd name="connsiteX6" fmla="*/ 178905 w 227367"/>
              <a:gd name="connsiteY6" fmla="*/ 51684 h 163217"/>
              <a:gd name="connsiteX7" fmla="*/ 194807 w 227367"/>
              <a:gd name="connsiteY7" fmla="*/ 87465 h 163217"/>
              <a:gd name="connsiteX8" fmla="*/ 222637 w 227367"/>
              <a:gd name="connsiteY8" fmla="*/ 119270 h 163217"/>
              <a:gd name="connsiteX9" fmla="*/ 218661 w 227367"/>
              <a:gd name="connsiteY9" fmla="*/ 131197 h 163217"/>
              <a:gd name="connsiteX10" fmla="*/ 206734 w 227367"/>
              <a:gd name="connsiteY10" fmla="*/ 135172 h 163217"/>
              <a:gd name="connsiteX11" fmla="*/ 119270 w 227367"/>
              <a:gd name="connsiteY11" fmla="*/ 139148 h 163217"/>
              <a:gd name="connsiteX12" fmla="*/ 115294 w 227367"/>
              <a:gd name="connsiteY12" fmla="*/ 151075 h 163217"/>
              <a:gd name="connsiteX13" fmla="*/ 91440 w 227367"/>
              <a:gd name="connsiteY13" fmla="*/ 163002 h 163217"/>
              <a:gd name="connsiteX14" fmla="*/ 63611 w 227367"/>
              <a:gd name="connsiteY14" fmla="*/ 159026 h 163217"/>
              <a:gd name="connsiteX15" fmla="*/ 59635 w 227367"/>
              <a:gd name="connsiteY15" fmla="*/ 147099 h 163217"/>
              <a:gd name="connsiteX16" fmla="*/ 55659 w 227367"/>
              <a:gd name="connsiteY16" fmla="*/ 131197 h 163217"/>
              <a:gd name="connsiteX17" fmla="*/ 51684 w 227367"/>
              <a:gd name="connsiteY17" fmla="*/ 111319 h 163217"/>
              <a:gd name="connsiteX18" fmla="*/ 27830 w 227367"/>
              <a:gd name="connsiteY18" fmla="*/ 95416 h 163217"/>
              <a:gd name="connsiteX19" fmla="*/ 15903 w 227367"/>
              <a:gd name="connsiteY19" fmla="*/ 71562 h 163217"/>
              <a:gd name="connsiteX20" fmla="*/ 7952 w 227367"/>
              <a:gd name="connsiteY20" fmla="*/ 55659 h 163217"/>
              <a:gd name="connsiteX21" fmla="*/ 0 w 227367"/>
              <a:gd name="connsiteY21" fmla="*/ 31805 h 163217"/>
              <a:gd name="connsiteX22" fmla="*/ 3976 w 227367"/>
              <a:gd name="connsiteY22" fmla="*/ 0 h 163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27367" h="163217">
                <a:moveTo>
                  <a:pt x="3976" y="0"/>
                </a:moveTo>
                <a:cubicBezTo>
                  <a:pt x="22529" y="1325"/>
                  <a:pt x="41241" y="1217"/>
                  <a:pt x="59635" y="3976"/>
                </a:cubicBezTo>
                <a:cubicBezTo>
                  <a:pt x="67924" y="5219"/>
                  <a:pt x="75538" y="9277"/>
                  <a:pt x="83489" y="11927"/>
                </a:cubicBezTo>
                <a:lnTo>
                  <a:pt x="107343" y="19879"/>
                </a:lnTo>
                <a:cubicBezTo>
                  <a:pt x="111319" y="21204"/>
                  <a:pt x="115105" y="23391"/>
                  <a:pt x="119270" y="23854"/>
                </a:cubicBezTo>
                <a:lnTo>
                  <a:pt x="155051" y="27830"/>
                </a:lnTo>
                <a:cubicBezTo>
                  <a:pt x="163002" y="35781"/>
                  <a:pt x="175349" y="41016"/>
                  <a:pt x="178905" y="51684"/>
                </a:cubicBezTo>
                <a:cubicBezTo>
                  <a:pt x="184116" y="67317"/>
                  <a:pt x="184630" y="75835"/>
                  <a:pt x="194807" y="87465"/>
                </a:cubicBezTo>
                <a:cubicBezTo>
                  <a:pt x="227367" y="124676"/>
                  <a:pt x="204745" y="92431"/>
                  <a:pt x="222637" y="119270"/>
                </a:cubicBezTo>
                <a:cubicBezTo>
                  <a:pt x="221312" y="123246"/>
                  <a:pt x="221624" y="128234"/>
                  <a:pt x="218661" y="131197"/>
                </a:cubicBezTo>
                <a:cubicBezTo>
                  <a:pt x="215698" y="134160"/>
                  <a:pt x="210911" y="134838"/>
                  <a:pt x="206734" y="135172"/>
                </a:cubicBezTo>
                <a:cubicBezTo>
                  <a:pt x="177642" y="137499"/>
                  <a:pt x="148425" y="137823"/>
                  <a:pt x="119270" y="139148"/>
                </a:cubicBezTo>
                <a:cubicBezTo>
                  <a:pt x="117945" y="143124"/>
                  <a:pt x="117912" y="147803"/>
                  <a:pt x="115294" y="151075"/>
                </a:cubicBezTo>
                <a:cubicBezTo>
                  <a:pt x="109689" y="158080"/>
                  <a:pt x="99296" y="160383"/>
                  <a:pt x="91440" y="163002"/>
                </a:cubicBezTo>
                <a:cubicBezTo>
                  <a:pt x="82164" y="161677"/>
                  <a:pt x="71992" y="163217"/>
                  <a:pt x="63611" y="159026"/>
                </a:cubicBezTo>
                <a:cubicBezTo>
                  <a:pt x="59863" y="157152"/>
                  <a:pt x="60786" y="151128"/>
                  <a:pt x="59635" y="147099"/>
                </a:cubicBezTo>
                <a:cubicBezTo>
                  <a:pt x="58134" y="141845"/>
                  <a:pt x="56844" y="136531"/>
                  <a:pt x="55659" y="131197"/>
                </a:cubicBezTo>
                <a:cubicBezTo>
                  <a:pt x="54193" y="124601"/>
                  <a:pt x="55832" y="116653"/>
                  <a:pt x="51684" y="111319"/>
                </a:cubicBezTo>
                <a:cubicBezTo>
                  <a:pt x="45817" y="103776"/>
                  <a:pt x="27830" y="95416"/>
                  <a:pt x="27830" y="95416"/>
                </a:cubicBezTo>
                <a:cubicBezTo>
                  <a:pt x="12551" y="72497"/>
                  <a:pt x="25778" y="94604"/>
                  <a:pt x="15903" y="71562"/>
                </a:cubicBezTo>
                <a:cubicBezTo>
                  <a:pt x="13568" y="66115"/>
                  <a:pt x="10153" y="61162"/>
                  <a:pt x="7952" y="55659"/>
                </a:cubicBezTo>
                <a:cubicBezTo>
                  <a:pt x="4839" y="47877"/>
                  <a:pt x="0" y="40187"/>
                  <a:pt x="0" y="31805"/>
                </a:cubicBezTo>
                <a:lnTo>
                  <a:pt x="3976" y="0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2" name="Freeform 91"/>
          <p:cNvSpPr/>
          <p:nvPr/>
        </p:nvSpPr>
        <p:spPr>
          <a:xfrm>
            <a:off x="3886200" y="1661590"/>
            <a:ext cx="1181100" cy="899583"/>
          </a:xfrm>
          <a:custGeom>
            <a:avLst/>
            <a:gdLst>
              <a:gd name="connsiteX0" fmla="*/ 30411 w 1181029"/>
              <a:gd name="connsiteY0" fmla="*/ 3975 h 899543"/>
              <a:gd name="connsiteX1" fmla="*/ 50290 w 1181029"/>
              <a:gd name="connsiteY1" fmla="*/ 7951 h 899543"/>
              <a:gd name="connsiteX2" fmla="*/ 217267 w 1181029"/>
              <a:gd name="connsiteY2" fmla="*/ 0 h 899543"/>
              <a:gd name="connsiteX3" fmla="*/ 245097 w 1181029"/>
              <a:gd name="connsiteY3" fmla="*/ 7951 h 899543"/>
              <a:gd name="connsiteX4" fmla="*/ 257024 w 1181029"/>
              <a:gd name="connsiteY4" fmla="*/ 19878 h 899543"/>
              <a:gd name="connsiteX5" fmla="*/ 268951 w 1181029"/>
              <a:gd name="connsiteY5" fmla="*/ 27829 h 899543"/>
              <a:gd name="connsiteX6" fmla="*/ 304731 w 1181029"/>
              <a:gd name="connsiteY6" fmla="*/ 23854 h 899543"/>
              <a:gd name="connsiteX7" fmla="*/ 316658 w 1181029"/>
              <a:gd name="connsiteY7" fmla="*/ 19878 h 899543"/>
              <a:gd name="connsiteX8" fmla="*/ 340512 w 1181029"/>
              <a:gd name="connsiteY8" fmla="*/ 15902 h 899543"/>
              <a:gd name="connsiteX9" fmla="*/ 372317 w 1181029"/>
              <a:gd name="connsiteY9" fmla="*/ 3975 h 899543"/>
              <a:gd name="connsiteX10" fmla="*/ 384244 w 1181029"/>
              <a:gd name="connsiteY10" fmla="*/ 7951 h 899543"/>
              <a:gd name="connsiteX11" fmla="*/ 400147 w 1181029"/>
              <a:gd name="connsiteY11" fmla="*/ 31805 h 899543"/>
              <a:gd name="connsiteX12" fmla="*/ 408098 w 1181029"/>
              <a:gd name="connsiteY12" fmla="*/ 43732 h 899543"/>
              <a:gd name="connsiteX13" fmla="*/ 435928 w 1181029"/>
              <a:gd name="connsiteY13" fmla="*/ 67586 h 899543"/>
              <a:gd name="connsiteX14" fmla="*/ 443879 w 1181029"/>
              <a:gd name="connsiteY14" fmla="*/ 79513 h 899543"/>
              <a:gd name="connsiteX15" fmla="*/ 451831 w 1181029"/>
              <a:gd name="connsiteY15" fmla="*/ 103367 h 899543"/>
              <a:gd name="connsiteX16" fmla="*/ 455806 w 1181029"/>
              <a:gd name="connsiteY16" fmla="*/ 139147 h 899543"/>
              <a:gd name="connsiteX17" fmla="*/ 459782 w 1181029"/>
              <a:gd name="connsiteY17" fmla="*/ 166977 h 899543"/>
              <a:gd name="connsiteX18" fmla="*/ 471709 w 1181029"/>
              <a:gd name="connsiteY18" fmla="*/ 170953 h 899543"/>
              <a:gd name="connsiteX19" fmla="*/ 515441 w 1181029"/>
              <a:gd name="connsiteY19" fmla="*/ 170953 h 899543"/>
              <a:gd name="connsiteX20" fmla="*/ 519417 w 1181029"/>
              <a:gd name="connsiteY20" fmla="*/ 186855 h 899543"/>
              <a:gd name="connsiteX21" fmla="*/ 523392 w 1181029"/>
              <a:gd name="connsiteY21" fmla="*/ 198782 h 899543"/>
              <a:gd name="connsiteX22" fmla="*/ 543271 w 1181029"/>
              <a:gd name="connsiteY22" fmla="*/ 222636 h 899543"/>
              <a:gd name="connsiteX23" fmla="*/ 563149 w 1181029"/>
              <a:gd name="connsiteY23" fmla="*/ 254441 h 899543"/>
              <a:gd name="connsiteX24" fmla="*/ 571100 w 1181029"/>
              <a:gd name="connsiteY24" fmla="*/ 242514 h 899543"/>
              <a:gd name="connsiteX25" fmla="*/ 630735 w 1181029"/>
              <a:gd name="connsiteY25" fmla="*/ 250466 h 899543"/>
              <a:gd name="connsiteX26" fmla="*/ 642662 w 1181029"/>
              <a:gd name="connsiteY26" fmla="*/ 258417 h 899543"/>
              <a:gd name="connsiteX27" fmla="*/ 658564 w 1181029"/>
              <a:gd name="connsiteY27" fmla="*/ 282271 h 899543"/>
              <a:gd name="connsiteX28" fmla="*/ 666516 w 1181029"/>
              <a:gd name="connsiteY28" fmla="*/ 306125 h 899543"/>
              <a:gd name="connsiteX29" fmla="*/ 670491 w 1181029"/>
              <a:gd name="connsiteY29" fmla="*/ 318052 h 899543"/>
              <a:gd name="connsiteX30" fmla="*/ 682418 w 1181029"/>
              <a:gd name="connsiteY30" fmla="*/ 322027 h 899543"/>
              <a:gd name="connsiteX31" fmla="*/ 714224 w 1181029"/>
              <a:gd name="connsiteY31" fmla="*/ 310100 h 899543"/>
              <a:gd name="connsiteX32" fmla="*/ 718199 w 1181029"/>
              <a:gd name="connsiteY32" fmla="*/ 298174 h 899543"/>
              <a:gd name="connsiteX33" fmla="*/ 714224 w 1181029"/>
              <a:gd name="connsiteY33" fmla="*/ 278295 h 899543"/>
              <a:gd name="connsiteX34" fmla="*/ 710248 w 1181029"/>
              <a:gd name="connsiteY34" fmla="*/ 266368 h 899543"/>
              <a:gd name="connsiteX35" fmla="*/ 726151 w 1181029"/>
              <a:gd name="connsiteY35" fmla="*/ 262393 h 899543"/>
              <a:gd name="connsiteX36" fmla="*/ 750004 w 1181029"/>
              <a:gd name="connsiteY36" fmla="*/ 254441 h 899543"/>
              <a:gd name="connsiteX37" fmla="*/ 769883 w 1181029"/>
              <a:gd name="connsiteY37" fmla="*/ 258417 h 899543"/>
              <a:gd name="connsiteX38" fmla="*/ 777834 w 1181029"/>
              <a:gd name="connsiteY38" fmla="*/ 270344 h 899543"/>
              <a:gd name="connsiteX39" fmla="*/ 785785 w 1181029"/>
              <a:gd name="connsiteY39" fmla="*/ 298174 h 899543"/>
              <a:gd name="connsiteX40" fmla="*/ 793737 w 1181029"/>
              <a:gd name="connsiteY40" fmla="*/ 310100 h 899543"/>
              <a:gd name="connsiteX41" fmla="*/ 801688 w 1181029"/>
              <a:gd name="connsiteY41" fmla="*/ 333954 h 899543"/>
              <a:gd name="connsiteX42" fmla="*/ 809639 w 1181029"/>
              <a:gd name="connsiteY42" fmla="*/ 389614 h 899543"/>
              <a:gd name="connsiteX43" fmla="*/ 817591 w 1181029"/>
              <a:gd name="connsiteY43" fmla="*/ 401540 h 899543"/>
              <a:gd name="connsiteX44" fmla="*/ 833493 w 1181029"/>
              <a:gd name="connsiteY44" fmla="*/ 421419 h 899543"/>
              <a:gd name="connsiteX45" fmla="*/ 841444 w 1181029"/>
              <a:gd name="connsiteY45" fmla="*/ 413467 h 899543"/>
              <a:gd name="connsiteX46" fmla="*/ 841444 w 1181029"/>
              <a:gd name="connsiteY46" fmla="*/ 381662 h 899543"/>
              <a:gd name="connsiteX47" fmla="*/ 837469 w 1181029"/>
              <a:gd name="connsiteY47" fmla="*/ 326003 h 899543"/>
              <a:gd name="connsiteX48" fmla="*/ 849396 w 1181029"/>
              <a:gd name="connsiteY48" fmla="*/ 230587 h 899543"/>
              <a:gd name="connsiteX49" fmla="*/ 853371 w 1181029"/>
              <a:gd name="connsiteY49" fmla="*/ 218660 h 899543"/>
              <a:gd name="connsiteX50" fmla="*/ 885177 w 1181029"/>
              <a:gd name="connsiteY50" fmla="*/ 202758 h 899543"/>
              <a:gd name="connsiteX51" fmla="*/ 897104 w 1181029"/>
              <a:gd name="connsiteY51" fmla="*/ 198782 h 899543"/>
              <a:gd name="connsiteX52" fmla="*/ 897104 w 1181029"/>
              <a:gd name="connsiteY52" fmla="*/ 163001 h 899543"/>
              <a:gd name="connsiteX53" fmla="*/ 893128 w 1181029"/>
              <a:gd name="connsiteY53" fmla="*/ 151074 h 899543"/>
              <a:gd name="connsiteX54" fmla="*/ 881201 w 1181029"/>
              <a:gd name="connsiteY54" fmla="*/ 147099 h 899543"/>
              <a:gd name="connsiteX55" fmla="*/ 873250 w 1181029"/>
              <a:gd name="connsiteY55" fmla="*/ 123245 h 899543"/>
              <a:gd name="connsiteX56" fmla="*/ 877225 w 1181029"/>
              <a:gd name="connsiteY56" fmla="*/ 111318 h 899543"/>
              <a:gd name="connsiteX57" fmla="*/ 909031 w 1181029"/>
              <a:gd name="connsiteY57" fmla="*/ 107342 h 899543"/>
              <a:gd name="connsiteX58" fmla="*/ 936860 w 1181029"/>
              <a:gd name="connsiteY58" fmla="*/ 99391 h 899543"/>
              <a:gd name="connsiteX59" fmla="*/ 1000471 w 1181029"/>
              <a:gd name="connsiteY59" fmla="*/ 111318 h 899543"/>
              <a:gd name="connsiteX60" fmla="*/ 1008422 w 1181029"/>
              <a:gd name="connsiteY60" fmla="*/ 123245 h 899543"/>
              <a:gd name="connsiteX61" fmla="*/ 1004446 w 1181029"/>
              <a:gd name="connsiteY61" fmla="*/ 159026 h 899543"/>
              <a:gd name="connsiteX62" fmla="*/ 1000471 w 1181029"/>
              <a:gd name="connsiteY62" fmla="*/ 170953 h 899543"/>
              <a:gd name="connsiteX63" fmla="*/ 988544 w 1181029"/>
              <a:gd name="connsiteY63" fmla="*/ 210709 h 899543"/>
              <a:gd name="connsiteX64" fmla="*/ 984568 w 1181029"/>
              <a:gd name="connsiteY64" fmla="*/ 222636 h 899543"/>
              <a:gd name="connsiteX65" fmla="*/ 956738 w 1181029"/>
              <a:gd name="connsiteY65" fmla="*/ 234563 h 899543"/>
              <a:gd name="connsiteX66" fmla="*/ 952763 w 1181029"/>
              <a:gd name="connsiteY66" fmla="*/ 246490 h 899543"/>
              <a:gd name="connsiteX67" fmla="*/ 964690 w 1181029"/>
              <a:gd name="connsiteY67" fmla="*/ 282271 h 899543"/>
              <a:gd name="connsiteX68" fmla="*/ 968665 w 1181029"/>
              <a:gd name="connsiteY68" fmla="*/ 294198 h 899543"/>
              <a:gd name="connsiteX69" fmla="*/ 980592 w 1181029"/>
              <a:gd name="connsiteY69" fmla="*/ 306125 h 899543"/>
              <a:gd name="connsiteX70" fmla="*/ 988544 w 1181029"/>
              <a:gd name="connsiteY70" fmla="*/ 337930 h 899543"/>
              <a:gd name="connsiteX71" fmla="*/ 1000471 w 1181029"/>
              <a:gd name="connsiteY71" fmla="*/ 373711 h 899543"/>
              <a:gd name="connsiteX72" fmla="*/ 1004446 w 1181029"/>
              <a:gd name="connsiteY72" fmla="*/ 385638 h 899543"/>
              <a:gd name="connsiteX73" fmla="*/ 1012397 w 1181029"/>
              <a:gd name="connsiteY73" fmla="*/ 413467 h 899543"/>
              <a:gd name="connsiteX74" fmla="*/ 1020349 w 1181029"/>
              <a:gd name="connsiteY74" fmla="*/ 441297 h 899543"/>
              <a:gd name="connsiteX75" fmla="*/ 1016373 w 1181029"/>
              <a:gd name="connsiteY75" fmla="*/ 477078 h 899543"/>
              <a:gd name="connsiteX76" fmla="*/ 1008422 w 1181029"/>
              <a:gd name="connsiteY76" fmla="*/ 512859 h 899543"/>
              <a:gd name="connsiteX77" fmla="*/ 1000471 w 1181029"/>
              <a:gd name="connsiteY77" fmla="*/ 536713 h 899543"/>
              <a:gd name="connsiteX78" fmla="*/ 1016373 w 1181029"/>
              <a:gd name="connsiteY78" fmla="*/ 564542 h 899543"/>
              <a:gd name="connsiteX79" fmla="*/ 1028300 w 1181029"/>
              <a:gd name="connsiteY79" fmla="*/ 568518 h 899543"/>
              <a:gd name="connsiteX80" fmla="*/ 1064081 w 1181029"/>
              <a:gd name="connsiteY80" fmla="*/ 588396 h 899543"/>
              <a:gd name="connsiteX81" fmla="*/ 1079984 w 1181029"/>
              <a:gd name="connsiteY81" fmla="*/ 608274 h 899543"/>
              <a:gd name="connsiteX82" fmla="*/ 1087935 w 1181029"/>
              <a:gd name="connsiteY82" fmla="*/ 616226 h 899543"/>
              <a:gd name="connsiteX83" fmla="*/ 1111789 w 1181029"/>
              <a:gd name="connsiteY83" fmla="*/ 632128 h 899543"/>
              <a:gd name="connsiteX84" fmla="*/ 1123716 w 1181029"/>
              <a:gd name="connsiteY84" fmla="*/ 640080 h 899543"/>
              <a:gd name="connsiteX85" fmla="*/ 1139618 w 1181029"/>
              <a:gd name="connsiteY85" fmla="*/ 644055 h 899543"/>
              <a:gd name="connsiteX86" fmla="*/ 1159497 w 1181029"/>
              <a:gd name="connsiteY86" fmla="*/ 655982 h 899543"/>
              <a:gd name="connsiteX87" fmla="*/ 1167448 w 1181029"/>
              <a:gd name="connsiteY87" fmla="*/ 663934 h 899543"/>
              <a:gd name="connsiteX88" fmla="*/ 1179375 w 1181029"/>
              <a:gd name="connsiteY88" fmla="*/ 687787 h 899543"/>
              <a:gd name="connsiteX89" fmla="*/ 1175399 w 1181029"/>
              <a:gd name="connsiteY89" fmla="*/ 731520 h 899543"/>
              <a:gd name="connsiteX90" fmla="*/ 1159497 w 1181029"/>
              <a:gd name="connsiteY90" fmla="*/ 735495 h 899543"/>
              <a:gd name="connsiteX91" fmla="*/ 1131667 w 1181029"/>
              <a:gd name="connsiteY91" fmla="*/ 727544 h 899543"/>
              <a:gd name="connsiteX92" fmla="*/ 1127691 w 1181029"/>
              <a:gd name="connsiteY92" fmla="*/ 715617 h 899543"/>
              <a:gd name="connsiteX93" fmla="*/ 1091911 w 1181029"/>
              <a:gd name="connsiteY93" fmla="*/ 723568 h 899543"/>
              <a:gd name="connsiteX94" fmla="*/ 1087935 w 1181029"/>
              <a:gd name="connsiteY94" fmla="*/ 735495 h 899543"/>
              <a:gd name="connsiteX95" fmla="*/ 1107813 w 1181029"/>
              <a:gd name="connsiteY95" fmla="*/ 751398 h 899543"/>
              <a:gd name="connsiteX96" fmla="*/ 1123716 w 1181029"/>
              <a:gd name="connsiteY96" fmla="*/ 763325 h 899543"/>
              <a:gd name="connsiteX97" fmla="*/ 1147570 w 1181029"/>
              <a:gd name="connsiteY97" fmla="*/ 779227 h 899543"/>
              <a:gd name="connsiteX98" fmla="*/ 1151545 w 1181029"/>
              <a:gd name="connsiteY98" fmla="*/ 791154 h 899543"/>
              <a:gd name="connsiteX99" fmla="*/ 1147570 w 1181029"/>
              <a:gd name="connsiteY99" fmla="*/ 830911 h 899543"/>
              <a:gd name="connsiteX100" fmla="*/ 1139618 w 1181029"/>
              <a:gd name="connsiteY100" fmla="*/ 838862 h 899543"/>
              <a:gd name="connsiteX101" fmla="*/ 1016373 w 1181029"/>
              <a:gd name="connsiteY101" fmla="*/ 842838 h 899543"/>
              <a:gd name="connsiteX102" fmla="*/ 980592 w 1181029"/>
              <a:gd name="connsiteY102" fmla="*/ 834887 h 899543"/>
              <a:gd name="connsiteX103" fmla="*/ 972641 w 1181029"/>
              <a:gd name="connsiteY103" fmla="*/ 826935 h 899543"/>
              <a:gd name="connsiteX104" fmla="*/ 960714 w 1181029"/>
              <a:gd name="connsiteY104" fmla="*/ 818984 h 899543"/>
              <a:gd name="connsiteX105" fmla="*/ 932884 w 1181029"/>
              <a:gd name="connsiteY105" fmla="*/ 783203 h 899543"/>
              <a:gd name="connsiteX106" fmla="*/ 920957 w 1181029"/>
              <a:gd name="connsiteY106" fmla="*/ 779227 h 899543"/>
              <a:gd name="connsiteX107" fmla="*/ 901079 w 1181029"/>
              <a:gd name="connsiteY107" fmla="*/ 783203 h 899543"/>
              <a:gd name="connsiteX108" fmla="*/ 869274 w 1181029"/>
              <a:gd name="connsiteY108" fmla="*/ 811033 h 899543"/>
              <a:gd name="connsiteX109" fmla="*/ 857347 w 1181029"/>
              <a:gd name="connsiteY109" fmla="*/ 818984 h 899543"/>
              <a:gd name="connsiteX110" fmla="*/ 841444 w 1181029"/>
              <a:gd name="connsiteY110" fmla="*/ 842838 h 899543"/>
              <a:gd name="connsiteX111" fmla="*/ 837469 w 1181029"/>
              <a:gd name="connsiteY111" fmla="*/ 854765 h 899543"/>
              <a:gd name="connsiteX112" fmla="*/ 813615 w 1181029"/>
              <a:gd name="connsiteY112" fmla="*/ 866692 h 899543"/>
              <a:gd name="connsiteX113" fmla="*/ 801688 w 1181029"/>
              <a:gd name="connsiteY113" fmla="*/ 874643 h 899543"/>
              <a:gd name="connsiteX114" fmla="*/ 773858 w 1181029"/>
              <a:gd name="connsiteY114" fmla="*/ 882594 h 899543"/>
              <a:gd name="connsiteX115" fmla="*/ 761931 w 1181029"/>
              <a:gd name="connsiteY115" fmla="*/ 886570 h 899543"/>
              <a:gd name="connsiteX116" fmla="*/ 650613 w 1181029"/>
              <a:gd name="connsiteY116" fmla="*/ 894521 h 899543"/>
              <a:gd name="connsiteX117" fmla="*/ 602905 w 1181029"/>
              <a:gd name="connsiteY117" fmla="*/ 898497 h 899543"/>
              <a:gd name="connsiteX118" fmla="*/ 587003 w 1181029"/>
              <a:gd name="connsiteY118" fmla="*/ 894521 h 899543"/>
              <a:gd name="connsiteX119" fmla="*/ 594954 w 1181029"/>
              <a:gd name="connsiteY119" fmla="*/ 858740 h 899543"/>
              <a:gd name="connsiteX120" fmla="*/ 583027 w 1181029"/>
              <a:gd name="connsiteY120" fmla="*/ 803081 h 899543"/>
              <a:gd name="connsiteX121" fmla="*/ 567124 w 1181029"/>
              <a:gd name="connsiteY121" fmla="*/ 779227 h 899543"/>
              <a:gd name="connsiteX122" fmla="*/ 543271 w 1181029"/>
              <a:gd name="connsiteY122" fmla="*/ 771276 h 899543"/>
              <a:gd name="connsiteX123" fmla="*/ 531344 w 1181029"/>
              <a:gd name="connsiteY123" fmla="*/ 767300 h 899543"/>
              <a:gd name="connsiteX124" fmla="*/ 479660 w 1181029"/>
              <a:gd name="connsiteY124" fmla="*/ 759349 h 899543"/>
              <a:gd name="connsiteX125" fmla="*/ 459782 w 1181029"/>
              <a:gd name="connsiteY125" fmla="*/ 755374 h 899543"/>
              <a:gd name="connsiteX126" fmla="*/ 447855 w 1181029"/>
              <a:gd name="connsiteY126" fmla="*/ 751398 h 899543"/>
              <a:gd name="connsiteX127" fmla="*/ 420025 w 1181029"/>
              <a:gd name="connsiteY127" fmla="*/ 743447 h 899543"/>
              <a:gd name="connsiteX128" fmla="*/ 392196 w 1181029"/>
              <a:gd name="connsiteY128" fmla="*/ 731520 h 899543"/>
              <a:gd name="connsiteX129" fmla="*/ 388220 w 1181029"/>
              <a:gd name="connsiteY129" fmla="*/ 719593 h 899543"/>
              <a:gd name="connsiteX130" fmla="*/ 400147 w 1181029"/>
              <a:gd name="connsiteY130" fmla="*/ 699714 h 899543"/>
              <a:gd name="connsiteX131" fmla="*/ 424001 w 1181029"/>
              <a:gd name="connsiteY131" fmla="*/ 695739 h 899543"/>
              <a:gd name="connsiteX132" fmla="*/ 443879 w 1181029"/>
              <a:gd name="connsiteY132" fmla="*/ 691763 h 899543"/>
              <a:gd name="connsiteX133" fmla="*/ 467733 w 1181029"/>
              <a:gd name="connsiteY133" fmla="*/ 683812 h 899543"/>
              <a:gd name="connsiteX134" fmla="*/ 491587 w 1181029"/>
              <a:gd name="connsiteY134" fmla="*/ 679836 h 899543"/>
              <a:gd name="connsiteX135" fmla="*/ 507490 w 1181029"/>
              <a:gd name="connsiteY135" fmla="*/ 675860 h 899543"/>
              <a:gd name="connsiteX136" fmla="*/ 527368 w 1181029"/>
              <a:gd name="connsiteY136" fmla="*/ 671885 h 899543"/>
              <a:gd name="connsiteX137" fmla="*/ 563149 w 1181029"/>
              <a:gd name="connsiteY137" fmla="*/ 663934 h 899543"/>
              <a:gd name="connsiteX138" fmla="*/ 598930 w 1181029"/>
              <a:gd name="connsiteY138" fmla="*/ 659958 h 899543"/>
              <a:gd name="connsiteX139" fmla="*/ 638686 w 1181029"/>
              <a:gd name="connsiteY139" fmla="*/ 652007 h 899543"/>
              <a:gd name="connsiteX140" fmla="*/ 630735 w 1181029"/>
              <a:gd name="connsiteY140" fmla="*/ 644055 h 899543"/>
              <a:gd name="connsiteX141" fmla="*/ 606881 w 1181029"/>
              <a:gd name="connsiteY141" fmla="*/ 636104 h 899543"/>
              <a:gd name="connsiteX142" fmla="*/ 594954 w 1181029"/>
              <a:gd name="connsiteY142" fmla="*/ 632128 h 899543"/>
              <a:gd name="connsiteX143" fmla="*/ 563149 w 1181029"/>
              <a:gd name="connsiteY143" fmla="*/ 624177 h 899543"/>
              <a:gd name="connsiteX144" fmla="*/ 551222 w 1181029"/>
              <a:gd name="connsiteY144" fmla="*/ 620201 h 899543"/>
              <a:gd name="connsiteX145" fmla="*/ 523392 w 1181029"/>
              <a:gd name="connsiteY145" fmla="*/ 616226 h 899543"/>
              <a:gd name="connsiteX146" fmla="*/ 503514 w 1181029"/>
              <a:gd name="connsiteY146" fmla="*/ 612250 h 899543"/>
              <a:gd name="connsiteX147" fmla="*/ 475684 w 1181029"/>
              <a:gd name="connsiteY147" fmla="*/ 608274 h 899543"/>
              <a:gd name="connsiteX148" fmla="*/ 447855 w 1181029"/>
              <a:gd name="connsiteY148" fmla="*/ 600323 h 899543"/>
              <a:gd name="connsiteX149" fmla="*/ 384244 w 1181029"/>
              <a:gd name="connsiteY149" fmla="*/ 596347 h 899543"/>
              <a:gd name="connsiteX150" fmla="*/ 372317 w 1181029"/>
              <a:gd name="connsiteY150" fmla="*/ 548640 h 899543"/>
              <a:gd name="connsiteX151" fmla="*/ 388220 w 1181029"/>
              <a:gd name="connsiteY151" fmla="*/ 536713 h 899543"/>
              <a:gd name="connsiteX152" fmla="*/ 400147 w 1181029"/>
              <a:gd name="connsiteY152" fmla="*/ 532737 h 899543"/>
              <a:gd name="connsiteX153" fmla="*/ 408098 w 1181029"/>
              <a:gd name="connsiteY153" fmla="*/ 520810 h 899543"/>
              <a:gd name="connsiteX154" fmla="*/ 424001 w 1181029"/>
              <a:gd name="connsiteY154" fmla="*/ 504907 h 899543"/>
              <a:gd name="connsiteX155" fmla="*/ 328585 w 1181029"/>
              <a:gd name="connsiteY155" fmla="*/ 492980 h 899543"/>
              <a:gd name="connsiteX156" fmla="*/ 324610 w 1181029"/>
              <a:gd name="connsiteY156" fmla="*/ 481054 h 899543"/>
              <a:gd name="connsiteX157" fmla="*/ 316658 w 1181029"/>
              <a:gd name="connsiteY157" fmla="*/ 473102 h 899543"/>
              <a:gd name="connsiteX158" fmla="*/ 300756 w 1181029"/>
              <a:gd name="connsiteY158" fmla="*/ 449248 h 899543"/>
              <a:gd name="connsiteX159" fmla="*/ 312683 w 1181029"/>
              <a:gd name="connsiteY159" fmla="*/ 417443 h 899543"/>
              <a:gd name="connsiteX160" fmla="*/ 320634 w 1181029"/>
              <a:gd name="connsiteY160" fmla="*/ 405516 h 899543"/>
              <a:gd name="connsiteX161" fmla="*/ 328585 w 1181029"/>
              <a:gd name="connsiteY161" fmla="*/ 377687 h 899543"/>
              <a:gd name="connsiteX162" fmla="*/ 332561 w 1181029"/>
              <a:gd name="connsiteY162" fmla="*/ 361784 h 899543"/>
              <a:gd name="connsiteX163" fmla="*/ 336537 w 1181029"/>
              <a:gd name="connsiteY163" fmla="*/ 349857 h 899543"/>
              <a:gd name="connsiteX164" fmla="*/ 348464 w 1181029"/>
              <a:gd name="connsiteY164" fmla="*/ 306125 h 899543"/>
              <a:gd name="connsiteX165" fmla="*/ 320634 w 1181029"/>
              <a:gd name="connsiteY165" fmla="*/ 302149 h 899543"/>
              <a:gd name="connsiteX166" fmla="*/ 304731 w 1181029"/>
              <a:gd name="connsiteY166" fmla="*/ 310100 h 899543"/>
              <a:gd name="connsiteX167" fmla="*/ 268951 w 1181029"/>
              <a:gd name="connsiteY167" fmla="*/ 341906 h 899543"/>
              <a:gd name="connsiteX168" fmla="*/ 260999 w 1181029"/>
              <a:gd name="connsiteY168" fmla="*/ 353833 h 899543"/>
              <a:gd name="connsiteX169" fmla="*/ 257024 w 1181029"/>
              <a:gd name="connsiteY169" fmla="*/ 369735 h 899543"/>
              <a:gd name="connsiteX170" fmla="*/ 245097 w 1181029"/>
              <a:gd name="connsiteY170" fmla="*/ 405516 h 899543"/>
              <a:gd name="connsiteX171" fmla="*/ 241121 w 1181029"/>
              <a:gd name="connsiteY171" fmla="*/ 417443 h 899543"/>
              <a:gd name="connsiteX172" fmla="*/ 237145 w 1181029"/>
              <a:gd name="connsiteY172" fmla="*/ 429370 h 899543"/>
              <a:gd name="connsiteX173" fmla="*/ 225218 w 1181029"/>
              <a:gd name="connsiteY173" fmla="*/ 469127 h 899543"/>
              <a:gd name="connsiteX174" fmla="*/ 201364 w 1181029"/>
              <a:gd name="connsiteY174" fmla="*/ 485029 h 899543"/>
              <a:gd name="connsiteX175" fmla="*/ 177511 w 1181029"/>
              <a:gd name="connsiteY175" fmla="*/ 500932 h 899543"/>
              <a:gd name="connsiteX176" fmla="*/ 157632 w 1181029"/>
              <a:gd name="connsiteY176" fmla="*/ 520810 h 899543"/>
              <a:gd name="connsiteX177" fmla="*/ 145705 w 1181029"/>
              <a:gd name="connsiteY177" fmla="*/ 524786 h 899543"/>
              <a:gd name="connsiteX178" fmla="*/ 121851 w 1181029"/>
              <a:gd name="connsiteY178" fmla="*/ 540688 h 899543"/>
              <a:gd name="connsiteX179" fmla="*/ 113900 w 1181029"/>
              <a:gd name="connsiteY179" fmla="*/ 548640 h 899543"/>
              <a:gd name="connsiteX180" fmla="*/ 101973 w 1181029"/>
              <a:gd name="connsiteY180" fmla="*/ 552615 h 899543"/>
              <a:gd name="connsiteX181" fmla="*/ 90046 w 1181029"/>
              <a:gd name="connsiteY181" fmla="*/ 548640 h 899543"/>
              <a:gd name="connsiteX182" fmla="*/ 82095 w 1181029"/>
              <a:gd name="connsiteY182" fmla="*/ 540688 h 899543"/>
              <a:gd name="connsiteX183" fmla="*/ 70168 w 1181029"/>
              <a:gd name="connsiteY183" fmla="*/ 532737 h 899543"/>
              <a:gd name="connsiteX184" fmla="*/ 58241 w 1181029"/>
              <a:gd name="connsiteY184" fmla="*/ 496956 h 899543"/>
              <a:gd name="connsiteX185" fmla="*/ 54265 w 1181029"/>
              <a:gd name="connsiteY185" fmla="*/ 485029 h 899543"/>
              <a:gd name="connsiteX186" fmla="*/ 46314 w 1181029"/>
              <a:gd name="connsiteY186" fmla="*/ 457200 h 899543"/>
              <a:gd name="connsiteX187" fmla="*/ 22460 w 1181029"/>
              <a:gd name="connsiteY187" fmla="*/ 445273 h 899543"/>
              <a:gd name="connsiteX188" fmla="*/ 14509 w 1181029"/>
              <a:gd name="connsiteY188" fmla="*/ 437321 h 899543"/>
              <a:gd name="connsiteX189" fmla="*/ 2582 w 1181029"/>
              <a:gd name="connsiteY189" fmla="*/ 433346 h 899543"/>
              <a:gd name="connsiteX190" fmla="*/ 6557 w 1181029"/>
              <a:gd name="connsiteY190" fmla="*/ 278295 h 899543"/>
              <a:gd name="connsiteX191" fmla="*/ 30411 w 1181029"/>
              <a:gd name="connsiteY191" fmla="*/ 230587 h 899543"/>
              <a:gd name="connsiteX192" fmla="*/ 34387 w 1181029"/>
              <a:gd name="connsiteY192" fmla="*/ 218660 h 899543"/>
              <a:gd name="connsiteX193" fmla="*/ 30411 w 1181029"/>
              <a:gd name="connsiteY193" fmla="*/ 107342 h 899543"/>
              <a:gd name="connsiteX194" fmla="*/ 26436 w 1181029"/>
              <a:gd name="connsiteY194" fmla="*/ 91440 h 899543"/>
              <a:gd name="connsiteX195" fmla="*/ 30411 w 1181029"/>
              <a:gd name="connsiteY195" fmla="*/ 27829 h 899543"/>
              <a:gd name="connsiteX196" fmla="*/ 30411 w 1181029"/>
              <a:gd name="connsiteY196" fmla="*/ 3975 h 899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</a:cxnLst>
            <a:rect l="l" t="t" r="r" b="b"/>
            <a:pathLst>
              <a:path w="1181029" h="899543">
                <a:moveTo>
                  <a:pt x="30411" y="3975"/>
                </a:moveTo>
                <a:cubicBezTo>
                  <a:pt x="33724" y="662"/>
                  <a:pt x="43532" y="7951"/>
                  <a:pt x="50290" y="7951"/>
                </a:cubicBezTo>
                <a:cubicBezTo>
                  <a:pt x="197277" y="7951"/>
                  <a:pt x="157285" y="19991"/>
                  <a:pt x="217267" y="0"/>
                </a:cubicBezTo>
                <a:cubicBezTo>
                  <a:pt x="219391" y="531"/>
                  <a:pt x="241672" y="5668"/>
                  <a:pt x="245097" y="7951"/>
                </a:cubicBezTo>
                <a:cubicBezTo>
                  <a:pt x="249775" y="11070"/>
                  <a:pt x="252705" y="16279"/>
                  <a:pt x="257024" y="19878"/>
                </a:cubicBezTo>
                <a:cubicBezTo>
                  <a:pt x="260695" y="22937"/>
                  <a:pt x="264975" y="25179"/>
                  <a:pt x="268951" y="27829"/>
                </a:cubicBezTo>
                <a:cubicBezTo>
                  <a:pt x="280878" y="26504"/>
                  <a:pt x="292894" y="25827"/>
                  <a:pt x="304731" y="23854"/>
                </a:cubicBezTo>
                <a:cubicBezTo>
                  <a:pt x="308865" y="23165"/>
                  <a:pt x="312567" y="20787"/>
                  <a:pt x="316658" y="19878"/>
                </a:cubicBezTo>
                <a:cubicBezTo>
                  <a:pt x="324527" y="18129"/>
                  <a:pt x="332561" y="17227"/>
                  <a:pt x="340512" y="15902"/>
                </a:cubicBezTo>
                <a:cubicBezTo>
                  <a:pt x="349557" y="11380"/>
                  <a:pt x="361493" y="3975"/>
                  <a:pt x="372317" y="3975"/>
                </a:cubicBezTo>
                <a:cubicBezTo>
                  <a:pt x="376508" y="3975"/>
                  <a:pt x="380268" y="6626"/>
                  <a:pt x="384244" y="7951"/>
                </a:cubicBezTo>
                <a:cubicBezTo>
                  <a:pt x="391232" y="28912"/>
                  <a:pt x="383602" y="11950"/>
                  <a:pt x="400147" y="31805"/>
                </a:cubicBezTo>
                <a:cubicBezTo>
                  <a:pt x="403206" y="35476"/>
                  <a:pt x="404719" y="40353"/>
                  <a:pt x="408098" y="43732"/>
                </a:cubicBezTo>
                <a:cubicBezTo>
                  <a:pt x="426083" y="61717"/>
                  <a:pt x="416929" y="39086"/>
                  <a:pt x="435928" y="67586"/>
                </a:cubicBezTo>
                <a:cubicBezTo>
                  <a:pt x="438578" y="71562"/>
                  <a:pt x="441938" y="75147"/>
                  <a:pt x="443879" y="79513"/>
                </a:cubicBezTo>
                <a:cubicBezTo>
                  <a:pt x="447283" y="87172"/>
                  <a:pt x="451831" y="103367"/>
                  <a:pt x="451831" y="103367"/>
                </a:cubicBezTo>
                <a:cubicBezTo>
                  <a:pt x="453156" y="115294"/>
                  <a:pt x="454318" y="127240"/>
                  <a:pt x="455806" y="139147"/>
                </a:cubicBezTo>
                <a:cubicBezTo>
                  <a:pt x="456968" y="148446"/>
                  <a:pt x="455591" y="158595"/>
                  <a:pt x="459782" y="166977"/>
                </a:cubicBezTo>
                <a:cubicBezTo>
                  <a:pt x="461656" y="170725"/>
                  <a:pt x="467733" y="169628"/>
                  <a:pt x="471709" y="170953"/>
                </a:cubicBezTo>
                <a:cubicBezTo>
                  <a:pt x="481239" y="169365"/>
                  <a:pt x="505253" y="162463"/>
                  <a:pt x="515441" y="170953"/>
                </a:cubicBezTo>
                <a:cubicBezTo>
                  <a:pt x="519638" y="174451"/>
                  <a:pt x="517916" y="181601"/>
                  <a:pt x="519417" y="186855"/>
                </a:cubicBezTo>
                <a:cubicBezTo>
                  <a:pt x="520568" y="190884"/>
                  <a:pt x="521518" y="195034"/>
                  <a:pt x="523392" y="198782"/>
                </a:cubicBezTo>
                <a:cubicBezTo>
                  <a:pt x="528926" y="209850"/>
                  <a:pt x="534480" y="213845"/>
                  <a:pt x="543271" y="222636"/>
                </a:cubicBezTo>
                <a:cubicBezTo>
                  <a:pt x="552733" y="251023"/>
                  <a:pt x="544248" y="241841"/>
                  <a:pt x="563149" y="254441"/>
                </a:cubicBezTo>
                <a:cubicBezTo>
                  <a:pt x="565799" y="250465"/>
                  <a:pt x="566370" y="243190"/>
                  <a:pt x="571100" y="242514"/>
                </a:cubicBezTo>
                <a:cubicBezTo>
                  <a:pt x="578013" y="241527"/>
                  <a:pt x="615479" y="242838"/>
                  <a:pt x="630735" y="250466"/>
                </a:cubicBezTo>
                <a:cubicBezTo>
                  <a:pt x="635009" y="252603"/>
                  <a:pt x="638686" y="255767"/>
                  <a:pt x="642662" y="258417"/>
                </a:cubicBezTo>
                <a:cubicBezTo>
                  <a:pt x="647963" y="266368"/>
                  <a:pt x="655542" y="273205"/>
                  <a:pt x="658564" y="282271"/>
                </a:cubicBezTo>
                <a:lnTo>
                  <a:pt x="666516" y="306125"/>
                </a:lnTo>
                <a:cubicBezTo>
                  <a:pt x="667841" y="310101"/>
                  <a:pt x="666515" y="316727"/>
                  <a:pt x="670491" y="318052"/>
                </a:cubicBezTo>
                <a:lnTo>
                  <a:pt x="682418" y="322027"/>
                </a:lnTo>
                <a:cubicBezTo>
                  <a:pt x="693196" y="319872"/>
                  <a:pt x="706423" y="319851"/>
                  <a:pt x="714224" y="310100"/>
                </a:cubicBezTo>
                <a:cubicBezTo>
                  <a:pt x="716842" y="306828"/>
                  <a:pt x="716874" y="302149"/>
                  <a:pt x="718199" y="298174"/>
                </a:cubicBezTo>
                <a:cubicBezTo>
                  <a:pt x="716874" y="291548"/>
                  <a:pt x="715863" y="284851"/>
                  <a:pt x="714224" y="278295"/>
                </a:cubicBezTo>
                <a:cubicBezTo>
                  <a:pt x="713208" y="274229"/>
                  <a:pt x="707733" y="269721"/>
                  <a:pt x="710248" y="266368"/>
                </a:cubicBezTo>
                <a:cubicBezTo>
                  <a:pt x="713527" y="261997"/>
                  <a:pt x="720917" y="263963"/>
                  <a:pt x="726151" y="262393"/>
                </a:cubicBezTo>
                <a:cubicBezTo>
                  <a:pt x="734179" y="259985"/>
                  <a:pt x="742053" y="257092"/>
                  <a:pt x="750004" y="254441"/>
                </a:cubicBezTo>
                <a:cubicBezTo>
                  <a:pt x="756630" y="255766"/>
                  <a:pt x="764016" y="255064"/>
                  <a:pt x="769883" y="258417"/>
                </a:cubicBezTo>
                <a:cubicBezTo>
                  <a:pt x="774032" y="260788"/>
                  <a:pt x="775697" y="266070"/>
                  <a:pt x="777834" y="270344"/>
                </a:cubicBezTo>
                <a:cubicBezTo>
                  <a:pt x="785580" y="285837"/>
                  <a:pt x="778131" y="280315"/>
                  <a:pt x="785785" y="298174"/>
                </a:cubicBezTo>
                <a:cubicBezTo>
                  <a:pt x="787667" y="302566"/>
                  <a:pt x="791086" y="306125"/>
                  <a:pt x="793737" y="310100"/>
                </a:cubicBezTo>
                <a:cubicBezTo>
                  <a:pt x="796387" y="318051"/>
                  <a:pt x="800929" y="325607"/>
                  <a:pt x="801688" y="333954"/>
                </a:cubicBezTo>
                <a:cubicBezTo>
                  <a:pt x="802702" y="345110"/>
                  <a:pt x="801992" y="374321"/>
                  <a:pt x="809639" y="389614"/>
                </a:cubicBezTo>
                <a:cubicBezTo>
                  <a:pt x="811776" y="393888"/>
                  <a:pt x="814940" y="397565"/>
                  <a:pt x="817591" y="401540"/>
                </a:cubicBezTo>
                <a:cubicBezTo>
                  <a:pt x="819750" y="410176"/>
                  <a:pt x="818555" y="424407"/>
                  <a:pt x="833493" y="421419"/>
                </a:cubicBezTo>
                <a:cubicBezTo>
                  <a:pt x="837169" y="420684"/>
                  <a:pt x="838794" y="416118"/>
                  <a:pt x="841444" y="413467"/>
                </a:cubicBezTo>
                <a:cubicBezTo>
                  <a:pt x="848628" y="391916"/>
                  <a:pt x="844514" y="410832"/>
                  <a:pt x="841444" y="381662"/>
                </a:cubicBezTo>
                <a:cubicBezTo>
                  <a:pt x="839497" y="363164"/>
                  <a:pt x="838794" y="344556"/>
                  <a:pt x="837469" y="326003"/>
                </a:cubicBezTo>
                <a:cubicBezTo>
                  <a:pt x="841910" y="246059"/>
                  <a:pt x="833888" y="277110"/>
                  <a:pt x="849396" y="230587"/>
                </a:cubicBezTo>
                <a:cubicBezTo>
                  <a:pt x="850721" y="226611"/>
                  <a:pt x="850408" y="221623"/>
                  <a:pt x="853371" y="218660"/>
                </a:cubicBezTo>
                <a:cubicBezTo>
                  <a:pt x="867250" y="204783"/>
                  <a:pt x="857766" y="211895"/>
                  <a:pt x="885177" y="202758"/>
                </a:cubicBezTo>
                <a:lnTo>
                  <a:pt x="897104" y="198782"/>
                </a:lnTo>
                <a:cubicBezTo>
                  <a:pt x="903143" y="180663"/>
                  <a:pt x="902701" y="188189"/>
                  <a:pt x="897104" y="163001"/>
                </a:cubicBezTo>
                <a:cubicBezTo>
                  <a:pt x="896195" y="158910"/>
                  <a:pt x="896091" y="154037"/>
                  <a:pt x="893128" y="151074"/>
                </a:cubicBezTo>
                <a:cubicBezTo>
                  <a:pt x="890165" y="148111"/>
                  <a:pt x="885177" y="148424"/>
                  <a:pt x="881201" y="147099"/>
                </a:cubicBezTo>
                <a:cubicBezTo>
                  <a:pt x="878551" y="139148"/>
                  <a:pt x="870600" y="131196"/>
                  <a:pt x="873250" y="123245"/>
                </a:cubicBezTo>
                <a:cubicBezTo>
                  <a:pt x="874575" y="119269"/>
                  <a:pt x="873396" y="113020"/>
                  <a:pt x="877225" y="111318"/>
                </a:cubicBezTo>
                <a:cubicBezTo>
                  <a:pt x="886989" y="106979"/>
                  <a:pt x="898492" y="109098"/>
                  <a:pt x="909031" y="107342"/>
                </a:cubicBezTo>
                <a:cubicBezTo>
                  <a:pt x="919020" y="105677"/>
                  <a:pt x="927404" y="102543"/>
                  <a:pt x="936860" y="99391"/>
                </a:cubicBezTo>
                <a:cubicBezTo>
                  <a:pt x="974035" y="102047"/>
                  <a:pt x="983844" y="90535"/>
                  <a:pt x="1000471" y="111318"/>
                </a:cubicBezTo>
                <a:cubicBezTo>
                  <a:pt x="1003456" y="115049"/>
                  <a:pt x="1005772" y="119269"/>
                  <a:pt x="1008422" y="123245"/>
                </a:cubicBezTo>
                <a:cubicBezTo>
                  <a:pt x="1007097" y="135172"/>
                  <a:pt x="1006419" y="147189"/>
                  <a:pt x="1004446" y="159026"/>
                </a:cubicBezTo>
                <a:cubicBezTo>
                  <a:pt x="1003757" y="163160"/>
                  <a:pt x="1001622" y="166924"/>
                  <a:pt x="1000471" y="170953"/>
                </a:cubicBezTo>
                <a:cubicBezTo>
                  <a:pt x="988462" y="212985"/>
                  <a:pt x="1007426" y="154062"/>
                  <a:pt x="988544" y="210709"/>
                </a:cubicBezTo>
                <a:cubicBezTo>
                  <a:pt x="987219" y="214685"/>
                  <a:pt x="988055" y="220311"/>
                  <a:pt x="984568" y="222636"/>
                </a:cubicBezTo>
                <a:cubicBezTo>
                  <a:pt x="968094" y="233618"/>
                  <a:pt x="977276" y="229428"/>
                  <a:pt x="956738" y="234563"/>
                </a:cubicBezTo>
                <a:cubicBezTo>
                  <a:pt x="955413" y="238539"/>
                  <a:pt x="952763" y="242299"/>
                  <a:pt x="952763" y="246490"/>
                </a:cubicBezTo>
                <a:cubicBezTo>
                  <a:pt x="952763" y="267917"/>
                  <a:pt x="955088" y="267869"/>
                  <a:pt x="964690" y="282271"/>
                </a:cubicBezTo>
                <a:cubicBezTo>
                  <a:pt x="966015" y="286247"/>
                  <a:pt x="966341" y="290711"/>
                  <a:pt x="968665" y="294198"/>
                </a:cubicBezTo>
                <a:cubicBezTo>
                  <a:pt x="971784" y="298876"/>
                  <a:pt x="978265" y="301007"/>
                  <a:pt x="980592" y="306125"/>
                </a:cubicBezTo>
                <a:cubicBezTo>
                  <a:pt x="985114" y="316073"/>
                  <a:pt x="985088" y="327563"/>
                  <a:pt x="988544" y="337930"/>
                </a:cubicBezTo>
                <a:lnTo>
                  <a:pt x="1000471" y="373711"/>
                </a:lnTo>
                <a:cubicBezTo>
                  <a:pt x="1001796" y="377687"/>
                  <a:pt x="1003429" y="381573"/>
                  <a:pt x="1004446" y="385638"/>
                </a:cubicBezTo>
                <a:cubicBezTo>
                  <a:pt x="1016879" y="435365"/>
                  <a:pt x="1000988" y="373532"/>
                  <a:pt x="1012397" y="413467"/>
                </a:cubicBezTo>
                <a:cubicBezTo>
                  <a:pt x="1022373" y="448385"/>
                  <a:pt x="1010823" y="412720"/>
                  <a:pt x="1020349" y="441297"/>
                </a:cubicBezTo>
                <a:cubicBezTo>
                  <a:pt x="1019024" y="453224"/>
                  <a:pt x="1018070" y="465198"/>
                  <a:pt x="1016373" y="477078"/>
                </a:cubicBezTo>
                <a:cubicBezTo>
                  <a:pt x="1015342" y="484291"/>
                  <a:pt x="1010787" y="504974"/>
                  <a:pt x="1008422" y="512859"/>
                </a:cubicBezTo>
                <a:cubicBezTo>
                  <a:pt x="1006014" y="520887"/>
                  <a:pt x="1000471" y="536713"/>
                  <a:pt x="1000471" y="536713"/>
                </a:cubicBezTo>
                <a:cubicBezTo>
                  <a:pt x="1004275" y="551932"/>
                  <a:pt x="1002161" y="555067"/>
                  <a:pt x="1016373" y="564542"/>
                </a:cubicBezTo>
                <a:cubicBezTo>
                  <a:pt x="1019860" y="566867"/>
                  <a:pt x="1024637" y="566483"/>
                  <a:pt x="1028300" y="568518"/>
                </a:cubicBezTo>
                <a:cubicBezTo>
                  <a:pt x="1069311" y="591302"/>
                  <a:pt x="1037093" y="579399"/>
                  <a:pt x="1064081" y="588396"/>
                </a:cubicBezTo>
                <a:cubicBezTo>
                  <a:pt x="1070388" y="607315"/>
                  <a:pt x="1063635" y="595195"/>
                  <a:pt x="1079984" y="608274"/>
                </a:cubicBezTo>
                <a:cubicBezTo>
                  <a:pt x="1082911" y="610616"/>
                  <a:pt x="1084936" y="613977"/>
                  <a:pt x="1087935" y="616226"/>
                </a:cubicBezTo>
                <a:cubicBezTo>
                  <a:pt x="1095580" y="621960"/>
                  <a:pt x="1103838" y="626827"/>
                  <a:pt x="1111789" y="632128"/>
                </a:cubicBezTo>
                <a:cubicBezTo>
                  <a:pt x="1115765" y="634779"/>
                  <a:pt x="1119080" y="638921"/>
                  <a:pt x="1123716" y="640080"/>
                </a:cubicBezTo>
                <a:lnTo>
                  <a:pt x="1139618" y="644055"/>
                </a:lnTo>
                <a:cubicBezTo>
                  <a:pt x="1159769" y="664206"/>
                  <a:pt x="1133689" y="640497"/>
                  <a:pt x="1159497" y="655982"/>
                </a:cubicBezTo>
                <a:cubicBezTo>
                  <a:pt x="1162711" y="657911"/>
                  <a:pt x="1165106" y="661007"/>
                  <a:pt x="1167448" y="663934"/>
                </a:cubicBezTo>
                <a:cubicBezTo>
                  <a:pt x="1176256" y="674944"/>
                  <a:pt x="1175175" y="675189"/>
                  <a:pt x="1179375" y="687787"/>
                </a:cubicBezTo>
                <a:cubicBezTo>
                  <a:pt x="1178050" y="702365"/>
                  <a:pt x="1181029" y="718008"/>
                  <a:pt x="1175399" y="731520"/>
                </a:cubicBezTo>
                <a:cubicBezTo>
                  <a:pt x="1173298" y="736563"/>
                  <a:pt x="1164961" y="735495"/>
                  <a:pt x="1159497" y="735495"/>
                </a:cubicBezTo>
                <a:cubicBezTo>
                  <a:pt x="1154501" y="735495"/>
                  <a:pt x="1137294" y="729420"/>
                  <a:pt x="1131667" y="727544"/>
                </a:cubicBezTo>
                <a:cubicBezTo>
                  <a:pt x="1130342" y="723568"/>
                  <a:pt x="1131721" y="716768"/>
                  <a:pt x="1127691" y="715617"/>
                </a:cubicBezTo>
                <a:cubicBezTo>
                  <a:pt x="1120157" y="713465"/>
                  <a:pt x="1100852" y="720588"/>
                  <a:pt x="1091911" y="723568"/>
                </a:cubicBezTo>
                <a:cubicBezTo>
                  <a:pt x="1090586" y="727544"/>
                  <a:pt x="1087246" y="731361"/>
                  <a:pt x="1087935" y="735495"/>
                </a:cubicBezTo>
                <a:cubicBezTo>
                  <a:pt x="1090050" y="748189"/>
                  <a:pt x="1098510" y="748297"/>
                  <a:pt x="1107813" y="751398"/>
                </a:cubicBezTo>
                <a:cubicBezTo>
                  <a:pt x="1113114" y="755374"/>
                  <a:pt x="1118288" y="759525"/>
                  <a:pt x="1123716" y="763325"/>
                </a:cubicBezTo>
                <a:cubicBezTo>
                  <a:pt x="1131545" y="768805"/>
                  <a:pt x="1147570" y="779227"/>
                  <a:pt x="1147570" y="779227"/>
                </a:cubicBezTo>
                <a:cubicBezTo>
                  <a:pt x="1148895" y="783203"/>
                  <a:pt x="1151545" y="786963"/>
                  <a:pt x="1151545" y="791154"/>
                </a:cubicBezTo>
                <a:cubicBezTo>
                  <a:pt x="1151545" y="804472"/>
                  <a:pt x="1150800" y="817990"/>
                  <a:pt x="1147570" y="830911"/>
                </a:cubicBezTo>
                <a:cubicBezTo>
                  <a:pt x="1146661" y="834547"/>
                  <a:pt x="1143351" y="838523"/>
                  <a:pt x="1139618" y="838862"/>
                </a:cubicBezTo>
                <a:cubicBezTo>
                  <a:pt x="1098684" y="842583"/>
                  <a:pt x="1057455" y="841513"/>
                  <a:pt x="1016373" y="842838"/>
                </a:cubicBezTo>
                <a:cubicBezTo>
                  <a:pt x="1004446" y="840188"/>
                  <a:pt x="992074" y="839062"/>
                  <a:pt x="980592" y="834887"/>
                </a:cubicBezTo>
                <a:cubicBezTo>
                  <a:pt x="977069" y="833606"/>
                  <a:pt x="975568" y="829277"/>
                  <a:pt x="972641" y="826935"/>
                </a:cubicBezTo>
                <a:cubicBezTo>
                  <a:pt x="968910" y="823950"/>
                  <a:pt x="964690" y="821634"/>
                  <a:pt x="960714" y="818984"/>
                </a:cubicBezTo>
                <a:cubicBezTo>
                  <a:pt x="954661" y="806876"/>
                  <a:pt x="947328" y="788018"/>
                  <a:pt x="932884" y="783203"/>
                </a:cubicBezTo>
                <a:lnTo>
                  <a:pt x="920957" y="779227"/>
                </a:lnTo>
                <a:cubicBezTo>
                  <a:pt x="914331" y="780552"/>
                  <a:pt x="907406" y="780830"/>
                  <a:pt x="901079" y="783203"/>
                </a:cubicBezTo>
                <a:cubicBezTo>
                  <a:pt x="887522" y="788287"/>
                  <a:pt x="880436" y="803592"/>
                  <a:pt x="869274" y="811033"/>
                </a:cubicBezTo>
                <a:lnTo>
                  <a:pt x="857347" y="818984"/>
                </a:lnTo>
                <a:cubicBezTo>
                  <a:pt x="847892" y="847346"/>
                  <a:pt x="861299" y="813054"/>
                  <a:pt x="841444" y="842838"/>
                </a:cubicBezTo>
                <a:cubicBezTo>
                  <a:pt x="839120" y="846325"/>
                  <a:pt x="840087" y="851493"/>
                  <a:pt x="837469" y="854765"/>
                </a:cubicBezTo>
                <a:cubicBezTo>
                  <a:pt x="829875" y="864258"/>
                  <a:pt x="823216" y="861891"/>
                  <a:pt x="813615" y="866692"/>
                </a:cubicBezTo>
                <a:cubicBezTo>
                  <a:pt x="809341" y="868829"/>
                  <a:pt x="805962" y="872506"/>
                  <a:pt x="801688" y="874643"/>
                </a:cubicBezTo>
                <a:cubicBezTo>
                  <a:pt x="795328" y="877823"/>
                  <a:pt x="779810" y="880894"/>
                  <a:pt x="773858" y="882594"/>
                </a:cubicBezTo>
                <a:cubicBezTo>
                  <a:pt x="769828" y="883745"/>
                  <a:pt x="766040" y="885748"/>
                  <a:pt x="761931" y="886570"/>
                </a:cubicBezTo>
                <a:cubicBezTo>
                  <a:pt x="726324" y="893692"/>
                  <a:pt x="684583" y="892462"/>
                  <a:pt x="650613" y="894521"/>
                </a:cubicBezTo>
                <a:cubicBezTo>
                  <a:pt x="634684" y="895486"/>
                  <a:pt x="618808" y="897172"/>
                  <a:pt x="602905" y="898497"/>
                </a:cubicBezTo>
                <a:cubicBezTo>
                  <a:pt x="597604" y="897172"/>
                  <a:pt x="589155" y="899543"/>
                  <a:pt x="587003" y="894521"/>
                </a:cubicBezTo>
                <a:cubicBezTo>
                  <a:pt x="584378" y="888397"/>
                  <a:pt x="592218" y="866948"/>
                  <a:pt x="594954" y="858740"/>
                </a:cubicBezTo>
                <a:cubicBezTo>
                  <a:pt x="593272" y="845284"/>
                  <a:pt x="591741" y="816152"/>
                  <a:pt x="583027" y="803081"/>
                </a:cubicBezTo>
                <a:cubicBezTo>
                  <a:pt x="577726" y="795130"/>
                  <a:pt x="576190" y="782249"/>
                  <a:pt x="567124" y="779227"/>
                </a:cubicBezTo>
                <a:lnTo>
                  <a:pt x="543271" y="771276"/>
                </a:lnTo>
                <a:cubicBezTo>
                  <a:pt x="539295" y="769951"/>
                  <a:pt x="535493" y="767893"/>
                  <a:pt x="531344" y="767300"/>
                </a:cubicBezTo>
                <a:cubicBezTo>
                  <a:pt x="510469" y="764318"/>
                  <a:pt x="499910" y="763031"/>
                  <a:pt x="479660" y="759349"/>
                </a:cubicBezTo>
                <a:cubicBezTo>
                  <a:pt x="473012" y="758140"/>
                  <a:pt x="466337" y="757013"/>
                  <a:pt x="459782" y="755374"/>
                </a:cubicBezTo>
                <a:cubicBezTo>
                  <a:pt x="455716" y="754358"/>
                  <a:pt x="451884" y="752549"/>
                  <a:pt x="447855" y="751398"/>
                </a:cubicBezTo>
                <a:cubicBezTo>
                  <a:pt x="437779" y="748519"/>
                  <a:pt x="429549" y="747529"/>
                  <a:pt x="420025" y="743447"/>
                </a:cubicBezTo>
                <a:cubicBezTo>
                  <a:pt x="385637" y="728709"/>
                  <a:pt x="420167" y="740842"/>
                  <a:pt x="392196" y="731520"/>
                </a:cubicBezTo>
                <a:cubicBezTo>
                  <a:pt x="390871" y="727544"/>
                  <a:pt x="388220" y="723784"/>
                  <a:pt x="388220" y="719593"/>
                </a:cubicBezTo>
                <a:cubicBezTo>
                  <a:pt x="388220" y="713673"/>
                  <a:pt x="393849" y="702076"/>
                  <a:pt x="400147" y="699714"/>
                </a:cubicBezTo>
                <a:cubicBezTo>
                  <a:pt x="407695" y="696884"/>
                  <a:pt x="416070" y="697181"/>
                  <a:pt x="424001" y="695739"/>
                </a:cubicBezTo>
                <a:cubicBezTo>
                  <a:pt x="430649" y="694530"/>
                  <a:pt x="437360" y="693541"/>
                  <a:pt x="443879" y="691763"/>
                </a:cubicBezTo>
                <a:cubicBezTo>
                  <a:pt x="451965" y="689558"/>
                  <a:pt x="459466" y="685190"/>
                  <a:pt x="467733" y="683812"/>
                </a:cubicBezTo>
                <a:cubicBezTo>
                  <a:pt x="475684" y="682487"/>
                  <a:pt x="483683" y="681417"/>
                  <a:pt x="491587" y="679836"/>
                </a:cubicBezTo>
                <a:cubicBezTo>
                  <a:pt x="496945" y="678764"/>
                  <a:pt x="502156" y="677045"/>
                  <a:pt x="507490" y="675860"/>
                </a:cubicBezTo>
                <a:cubicBezTo>
                  <a:pt x="514086" y="674394"/>
                  <a:pt x="520772" y="673351"/>
                  <a:pt x="527368" y="671885"/>
                </a:cubicBezTo>
                <a:cubicBezTo>
                  <a:pt x="543007" y="668410"/>
                  <a:pt x="546346" y="666334"/>
                  <a:pt x="563149" y="663934"/>
                </a:cubicBezTo>
                <a:cubicBezTo>
                  <a:pt x="575029" y="662237"/>
                  <a:pt x="587035" y="661544"/>
                  <a:pt x="598930" y="659958"/>
                </a:cubicBezTo>
                <a:cubicBezTo>
                  <a:pt x="619814" y="657173"/>
                  <a:pt x="620629" y="656521"/>
                  <a:pt x="638686" y="652007"/>
                </a:cubicBezTo>
                <a:cubicBezTo>
                  <a:pt x="636036" y="649356"/>
                  <a:pt x="634088" y="645731"/>
                  <a:pt x="630735" y="644055"/>
                </a:cubicBezTo>
                <a:cubicBezTo>
                  <a:pt x="623238" y="640307"/>
                  <a:pt x="614832" y="638754"/>
                  <a:pt x="606881" y="636104"/>
                </a:cubicBezTo>
                <a:lnTo>
                  <a:pt x="594954" y="632128"/>
                </a:lnTo>
                <a:cubicBezTo>
                  <a:pt x="567695" y="623042"/>
                  <a:pt x="601521" y="633771"/>
                  <a:pt x="563149" y="624177"/>
                </a:cubicBezTo>
                <a:cubicBezTo>
                  <a:pt x="559083" y="623161"/>
                  <a:pt x="555331" y="621023"/>
                  <a:pt x="551222" y="620201"/>
                </a:cubicBezTo>
                <a:cubicBezTo>
                  <a:pt x="542033" y="618363"/>
                  <a:pt x="532635" y="617766"/>
                  <a:pt x="523392" y="616226"/>
                </a:cubicBezTo>
                <a:cubicBezTo>
                  <a:pt x="516727" y="615115"/>
                  <a:pt x="510179" y="613361"/>
                  <a:pt x="503514" y="612250"/>
                </a:cubicBezTo>
                <a:cubicBezTo>
                  <a:pt x="494271" y="610709"/>
                  <a:pt x="484961" y="609599"/>
                  <a:pt x="475684" y="608274"/>
                </a:cubicBezTo>
                <a:cubicBezTo>
                  <a:pt x="468423" y="605854"/>
                  <a:pt x="454981" y="601036"/>
                  <a:pt x="447855" y="600323"/>
                </a:cubicBezTo>
                <a:cubicBezTo>
                  <a:pt x="426715" y="598209"/>
                  <a:pt x="405448" y="597672"/>
                  <a:pt x="384244" y="596347"/>
                </a:cubicBezTo>
                <a:cubicBezTo>
                  <a:pt x="372240" y="578340"/>
                  <a:pt x="359712" y="571330"/>
                  <a:pt x="372317" y="548640"/>
                </a:cubicBezTo>
                <a:cubicBezTo>
                  <a:pt x="375535" y="542848"/>
                  <a:pt x="382467" y="540001"/>
                  <a:pt x="388220" y="536713"/>
                </a:cubicBezTo>
                <a:cubicBezTo>
                  <a:pt x="391859" y="534634"/>
                  <a:pt x="396171" y="534062"/>
                  <a:pt x="400147" y="532737"/>
                </a:cubicBezTo>
                <a:cubicBezTo>
                  <a:pt x="402797" y="528761"/>
                  <a:pt x="404988" y="524438"/>
                  <a:pt x="408098" y="520810"/>
                </a:cubicBezTo>
                <a:cubicBezTo>
                  <a:pt x="412977" y="515118"/>
                  <a:pt x="424001" y="504907"/>
                  <a:pt x="424001" y="504907"/>
                </a:cubicBezTo>
                <a:cubicBezTo>
                  <a:pt x="384702" y="478709"/>
                  <a:pt x="441275" y="513468"/>
                  <a:pt x="328585" y="492980"/>
                </a:cubicBezTo>
                <a:cubicBezTo>
                  <a:pt x="324462" y="492230"/>
                  <a:pt x="326766" y="484647"/>
                  <a:pt x="324610" y="481054"/>
                </a:cubicBezTo>
                <a:cubicBezTo>
                  <a:pt x="322681" y="477840"/>
                  <a:pt x="318907" y="476101"/>
                  <a:pt x="316658" y="473102"/>
                </a:cubicBezTo>
                <a:cubicBezTo>
                  <a:pt x="310924" y="465457"/>
                  <a:pt x="300756" y="449248"/>
                  <a:pt x="300756" y="449248"/>
                </a:cubicBezTo>
                <a:cubicBezTo>
                  <a:pt x="304198" y="438919"/>
                  <a:pt x="307924" y="426960"/>
                  <a:pt x="312683" y="417443"/>
                </a:cubicBezTo>
                <a:cubicBezTo>
                  <a:pt x="314820" y="413169"/>
                  <a:pt x="317984" y="409492"/>
                  <a:pt x="320634" y="405516"/>
                </a:cubicBezTo>
                <a:cubicBezTo>
                  <a:pt x="333067" y="355789"/>
                  <a:pt x="317176" y="417622"/>
                  <a:pt x="328585" y="377687"/>
                </a:cubicBezTo>
                <a:cubicBezTo>
                  <a:pt x="330086" y="372433"/>
                  <a:pt x="331060" y="367038"/>
                  <a:pt x="332561" y="361784"/>
                </a:cubicBezTo>
                <a:cubicBezTo>
                  <a:pt x="333712" y="357755"/>
                  <a:pt x="335434" y="353900"/>
                  <a:pt x="336537" y="349857"/>
                </a:cubicBezTo>
                <a:cubicBezTo>
                  <a:pt x="349989" y="300535"/>
                  <a:pt x="339312" y="333578"/>
                  <a:pt x="348464" y="306125"/>
                </a:cubicBezTo>
                <a:cubicBezTo>
                  <a:pt x="337040" y="294703"/>
                  <a:pt x="341832" y="295084"/>
                  <a:pt x="320634" y="302149"/>
                </a:cubicBezTo>
                <a:cubicBezTo>
                  <a:pt x="315011" y="304023"/>
                  <a:pt x="309877" y="307160"/>
                  <a:pt x="304731" y="310100"/>
                </a:cubicBezTo>
                <a:cubicBezTo>
                  <a:pt x="291862" y="317454"/>
                  <a:pt x="276382" y="330760"/>
                  <a:pt x="268951" y="341906"/>
                </a:cubicBezTo>
                <a:lnTo>
                  <a:pt x="260999" y="353833"/>
                </a:lnTo>
                <a:cubicBezTo>
                  <a:pt x="259674" y="359134"/>
                  <a:pt x="258594" y="364502"/>
                  <a:pt x="257024" y="369735"/>
                </a:cubicBezTo>
                <a:cubicBezTo>
                  <a:pt x="253411" y="381777"/>
                  <a:pt x="249073" y="393589"/>
                  <a:pt x="245097" y="405516"/>
                </a:cubicBezTo>
                <a:lnTo>
                  <a:pt x="241121" y="417443"/>
                </a:lnTo>
                <a:cubicBezTo>
                  <a:pt x="239796" y="421419"/>
                  <a:pt x="238161" y="425304"/>
                  <a:pt x="237145" y="429370"/>
                </a:cubicBezTo>
                <a:cubicBezTo>
                  <a:pt x="235343" y="436579"/>
                  <a:pt x="228447" y="465898"/>
                  <a:pt x="225218" y="469127"/>
                </a:cubicBezTo>
                <a:cubicBezTo>
                  <a:pt x="210328" y="484017"/>
                  <a:pt x="218625" y="479276"/>
                  <a:pt x="201364" y="485029"/>
                </a:cubicBezTo>
                <a:cubicBezTo>
                  <a:pt x="193413" y="490330"/>
                  <a:pt x="184268" y="494175"/>
                  <a:pt x="177511" y="500932"/>
                </a:cubicBezTo>
                <a:cubicBezTo>
                  <a:pt x="170885" y="507558"/>
                  <a:pt x="166522" y="517846"/>
                  <a:pt x="157632" y="520810"/>
                </a:cubicBezTo>
                <a:cubicBezTo>
                  <a:pt x="153656" y="522135"/>
                  <a:pt x="149368" y="522751"/>
                  <a:pt x="145705" y="524786"/>
                </a:cubicBezTo>
                <a:cubicBezTo>
                  <a:pt x="137351" y="529427"/>
                  <a:pt x="128608" y="533930"/>
                  <a:pt x="121851" y="540688"/>
                </a:cubicBezTo>
                <a:cubicBezTo>
                  <a:pt x="119201" y="543339"/>
                  <a:pt x="117114" y="546711"/>
                  <a:pt x="113900" y="548640"/>
                </a:cubicBezTo>
                <a:cubicBezTo>
                  <a:pt x="110307" y="550796"/>
                  <a:pt x="105949" y="551290"/>
                  <a:pt x="101973" y="552615"/>
                </a:cubicBezTo>
                <a:cubicBezTo>
                  <a:pt x="97997" y="551290"/>
                  <a:pt x="93639" y="550796"/>
                  <a:pt x="90046" y="548640"/>
                </a:cubicBezTo>
                <a:cubicBezTo>
                  <a:pt x="86832" y="546711"/>
                  <a:pt x="85022" y="543030"/>
                  <a:pt x="82095" y="540688"/>
                </a:cubicBezTo>
                <a:cubicBezTo>
                  <a:pt x="78364" y="537703"/>
                  <a:pt x="74144" y="535387"/>
                  <a:pt x="70168" y="532737"/>
                </a:cubicBezTo>
                <a:lnTo>
                  <a:pt x="58241" y="496956"/>
                </a:lnTo>
                <a:cubicBezTo>
                  <a:pt x="56916" y="492980"/>
                  <a:pt x="55281" y="489095"/>
                  <a:pt x="54265" y="485029"/>
                </a:cubicBezTo>
                <a:cubicBezTo>
                  <a:pt x="54005" y="483987"/>
                  <a:pt x="48389" y="459794"/>
                  <a:pt x="46314" y="457200"/>
                </a:cubicBezTo>
                <a:cubicBezTo>
                  <a:pt x="40708" y="450192"/>
                  <a:pt x="30319" y="447892"/>
                  <a:pt x="22460" y="445273"/>
                </a:cubicBezTo>
                <a:cubicBezTo>
                  <a:pt x="19810" y="442622"/>
                  <a:pt x="17723" y="439250"/>
                  <a:pt x="14509" y="437321"/>
                </a:cubicBezTo>
                <a:cubicBezTo>
                  <a:pt x="10916" y="435165"/>
                  <a:pt x="2791" y="437531"/>
                  <a:pt x="2582" y="433346"/>
                </a:cubicBezTo>
                <a:cubicBezTo>
                  <a:pt x="0" y="381710"/>
                  <a:pt x="3118" y="329881"/>
                  <a:pt x="6557" y="278295"/>
                </a:cubicBezTo>
                <a:cubicBezTo>
                  <a:pt x="8810" y="244506"/>
                  <a:pt x="19804" y="262406"/>
                  <a:pt x="30411" y="230587"/>
                </a:cubicBezTo>
                <a:lnTo>
                  <a:pt x="34387" y="218660"/>
                </a:lnTo>
                <a:cubicBezTo>
                  <a:pt x="33062" y="181554"/>
                  <a:pt x="32727" y="144399"/>
                  <a:pt x="30411" y="107342"/>
                </a:cubicBezTo>
                <a:cubicBezTo>
                  <a:pt x="30070" y="101889"/>
                  <a:pt x="26436" y="96904"/>
                  <a:pt x="26436" y="91440"/>
                </a:cubicBezTo>
                <a:cubicBezTo>
                  <a:pt x="26436" y="70195"/>
                  <a:pt x="29350" y="49048"/>
                  <a:pt x="30411" y="27829"/>
                </a:cubicBezTo>
                <a:cubicBezTo>
                  <a:pt x="30676" y="22535"/>
                  <a:pt x="27098" y="7288"/>
                  <a:pt x="30411" y="3975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3" name="Freeform 92"/>
          <p:cNvSpPr/>
          <p:nvPr/>
        </p:nvSpPr>
        <p:spPr>
          <a:xfrm>
            <a:off x="5264156" y="1411817"/>
            <a:ext cx="182563" cy="243416"/>
          </a:xfrm>
          <a:custGeom>
            <a:avLst/>
            <a:gdLst>
              <a:gd name="connsiteX0" fmla="*/ 182880 w 182880"/>
              <a:gd name="connsiteY0" fmla="*/ 238539 h 242514"/>
              <a:gd name="connsiteX1" fmla="*/ 178905 w 182880"/>
              <a:gd name="connsiteY1" fmla="*/ 123245 h 242514"/>
              <a:gd name="connsiteX2" fmla="*/ 166978 w 182880"/>
              <a:gd name="connsiteY2" fmla="*/ 95415 h 242514"/>
              <a:gd name="connsiteX3" fmla="*/ 155051 w 182880"/>
              <a:gd name="connsiteY3" fmla="*/ 87464 h 242514"/>
              <a:gd name="connsiteX4" fmla="*/ 139148 w 182880"/>
              <a:gd name="connsiteY4" fmla="*/ 47707 h 242514"/>
              <a:gd name="connsiteX5" fmla="*/ 135173 w 182880"/>
              <a:gd name="connsiteY5" fmla="*/ 35780 h 242514"/>
              <a:gd name="connsiteX6" fmla="*/ 123246 w 182880"/>
              <a:gd name="connsiteY6" fmla="*/ 11926 h 242514"/>
              <a:gd name="connsiteX7" fmla="*/ 95416 w 182880"/>
              <a:gd name="connsiteY7" fmla="*/ 0 h 242514"/>
              <a:gd name="connsiteX8" fmla="*/ 83489 w 182880"/>
              <a:gd name="connsiteY8" fmla="*/ 7951 h 242514"/>
              <a:gd name="connsiteX9" fmla="*/ 59635 w 182880"/>
              <a:gd name="connsiteY9" fmla="*/ 15902 h 242514"/>
              <a:gd name="connsiteX10" fmla="*/ 23854 w 182880"/>
              <a:gd name="connsiteY10" fmla="*/ 43732 h 242514"/>
              <a:gd name="connsiteX11" fmla="*/ 15903 w 182880"/>
              <a:gd name="connsiteY11" fmla="*/ 67586 h 242514"/>
              <a:gd name="connsiteX12" fmla="*/ 7952 w 182880"/>
              <a:gd name="connsiteY12" fmla="*/ 79513 h 242514"/>
              <a:gd name="connsiteX13" fmla="*/ 0 w 182880"/>
              <a:gd name="connsiteY13" fmla="*/ 103366 h 242514"/>
              <a:gd name="connsiteX14" fmla="*/ 3976 w 182880"/>
              <a:gd name="connsiteY14" fmla="*/ 178904 h 242514"/>
              <a:gd name="connsiteX15" fmla="*/ 11927 w 182880"/>
              <a:gd name="connsiteY15" fmla="*/ 190831 h 242514"/>
              <a:gd name="connsiteX16" fmla="*/ 31806 w 182880"/>
              <a:gd name="connsiteY16" fmla="*/ 206733 h 242514"/>
              <a:gd name="connsiteX17" fmla="*/ 39757 w 182880"/>
              <a:gd name="connsiteY17" fmla="*/ 214685 h 242514"/>
              <a:gd name="connsiteX18" fmla="*/ 67587 w 182880"/>
              <a:gd name="connsiteY18" fmla="*/ 222636 h 242514"/>
              <a:gd name="connsiteX19" fmla="*/ 79514 w 182880"/>
              <a:gd name="connsiteY19" fmla="*/ 230587 h 242514"/>
              <a:gd name="connsiteX20" fmla="*/ 87465 w 182880"/>
              <a:gd name="connsiteY20" fmla="*/ 238539 h 242514"/>
              <a:gd name="connsiteX21" fmla="*/ 99392 w 182880"/>
              <a:gd name="connsiteY21" fmla="*/ 242514 h 242514"/>
              <a:gd name="connsiteX22" fmla="*/ 107343 w 182880"/>
              <a:gd name="connsiteY22" fmla="*/ 230587 h 242514"/>
              <a:gd name="connsiteX23" fmla="*/ 131197 w 182880"/>
              <a:gd name="connsiteY23" fmla="*/ 210709 h 242514"/>
              <a:gd name="connsiteX24" fmla="*/ 159027 w 182880"/>
              <a:gd name="connsiteY24" fmla="*/ 214685 h 242514"/>
              <a:gd name="connsiteX25" fmla="*/ 163002 w 182880"/>
              <a:gd name="connsiteY25" fmla="*/ 226612 h 242514"/>
              <a:gd name="connsiteX26" fmla="*/ 170954 w 182880"/>
              <a:gd name="connsiteY26" fmla="*/ 234563 h 242514"/>
              <a:gd name="connsiteX27" fmla="*/ 182880 w 182880"/>
              <a:gd name="connsiteY27" fmla="*/ 238539 h 242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82880" h="242514">
                <a:moveTo>
                  <a:pt x="182880" y="238539"/>
                </a:moveTo>
                <a:cubicBezTo>
                  <a:pt x="181555" y="200108"/>
                  <a:pt x="181231" y="161629"/>
                  <a:pt x="178905" y="123245"/>
                </a:cubicBezTo>
                <a:cubicBezTo>
                  <a:pt x="178316" y="113533"/>
                  <a:pt x="173984" y="102421"/>
                  <a:pt x="166978" y="95415"/>
                </a:cubicBezTo>
                <a:cubicBezTo>
                  <a:pt x="163599" y="92036"/>
                  <a:pt x="159027" y="90114"/>
                  <a:pt x="155051" y="87464"/>
                </a:cubicBezTo>
                <a:cubicBezTo>
                  <a:pt x="143354" y="64068"/>
                  <a:pt x="148972" y="77178"/>
                  <a:pt x="139148" y="47707"/>
                </a:cubicBezTo>
                <a:lnTo>
                  <a:pt x="135173" y="35780"/>
                </a:lnTo>
                <a:cubicBezTo>
                  <a:pt x="131940" y="26081"/>
                  <a:pt x="130951" y="19631"/>
                  <a:pt x="123246" y="11926"/>
                </a:cubicBezTo>
                <a:cubicBezTo>
                  <a:pt x="114094" y="2774"/>
                  <a:pt x="107582" y="3041"/>
                  <a:pt x="95416" y="0"/>
                </a:cubicBezTo>
                <a:cubicBezTo>
                  <a:pt x="91440" y="2650"/>
                  <a:pt x="87855" y="6010"/>
                  <a:pt x="83489" y="7951"/>
                </a:cubicBezTo>
                <a:cubicBezTo>
                  <a:pt x="75830" y="11355"/>
                  <a:pt x="59635" y="15902"/>
                  <a:pt x="59635" y="15902"/>
                </a:cubicBezTo>
                <a:cubicBezTo>
                  <a:pt x="32818" y="42719"/>
                  <a:pt x="46449" y="36200"/>
                  <a:pt x="23854" y="43732"/>
                </a:cubicBezTo>
                <a:cubicBezTo>
                  <a:pt x="21204" y="51683"/>
                  <a:pt x="20552" y="60612"/>
                  <a:pt x="15903" y="67586"/>
                </a:cubicBezTo>
                <a:cubicBezTo>
                  <a:pt x="13253" y="71562"/>
                  <a:pt x="9893" y="75147"/>
                  <a:pt x="7952" y="79513"/>
                </a:cubicBezTo>
                <a:cubicBezTo>
                  <a:pt x="4548" y="87172"/>
                  <a:pt x="0" y="103366"/>
                  <a:pt x="0" y="103366"/>
                </a:cubicBezTo>
                <a:cubicBezTo>
                  <a:pt x="1325" y="128545"/>
                  <a:pt x="569" y="153921"/>
                  <a:pt x="3976" y="178904"/>
                </a:cubicBezTo>
                <a:cubicBezTo>
                  <a:pt x="4622" y="183638"/>
                  <a:pt x="8942" y="187100"/>
                  <a:pt x="11927" y="190831"/>
                </a:cubicBezTo>
                <a:cubicBezTo>
                  <a:pt x="20459" y="201496"/>
                  <a:pt x="20327" y="197550"/>
                  <a:pt x="31806" y="206733"/>
                </a:cubicBezTo>
                <a:cubicBezTo>
                  <a:pt x="34733" y="209075"/>
                  <a:pt x="36332" y="213163"/>
                  <a:pt x="39757" y="214685"/>
                </a:cubicBezTo>
                <a:cubicBezTo>
                  <a:pt x="48573" y="218603"/>
                  <a:pt x="58310" y="219986"/>
                  <a:pt x="67587" y="222636"/>
                </a:cubicBezTo>
                <a:cubicBezTo>
                  <a:pt x="71563" y="225286"/>
                  <a:pt x="75783" y="227602"/>
                  <a:pt x="79514" y="230587"/>
                </a:cubicBezTo>
                <a:cubicBezTo>
                  <a:pt x="82441" y="232929"/>
                  <a:pt x="84251" y="236610"/>
                  <a:pt x="87465" y="238539"/>
                </a:cubicBezTo>
                <a:cubicBezTo>
                  <a:pt x="91058" y="240695"/>
                  <a:pt x="95416" y="241189"/>
                  <a:pt x="99392" y="242514"/>
                </a:cubicBezTo>
                <a:cubicBezTo>
                  <a:pt x="102042" y="238538"/>
                  <a:pt x="104284" y="234258"/>
                  <a:pt x="107343" y="230587"/>
                </a:cubicBezTo>
                <a:cubicBezTo>
                  <a:pt x="116909" y="219108"/>
                  <a:pt x="119470" y="218527"/>
                  <a:pt x="131197" y="210709"/>
                </a:cubicBezTo>
                <a:cubicBezTo>
                  <a:pt x="140474" y="212034"/>
                  <a:pt x="150645" y="210494"/>
                  <a:pt x="159027" y="214685"/>
                </a:cubicBezTo>
                <a:cubicBezTo>
                  <a:pt x="162775" y="216559"/>
                  <a:pt x="160846" y="223019"/>
                  <a:pt x="163002" y="226612"/>
                </a:cubicBezTo>
                <a:cubicBezTo>
                  <a:pt x="164931" y="229826"/>
                  <a:pt x="168303" y="231912"/>
                  <a:pt x="170954" y="234563"/>
                </a:cubicBezTo>
                <a:lnTo>
                  <a:pt x="182880" y="238539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4" name="Freeform 93"/>
          <p:cNvSpPr/>
          <p:nvPr/>
        </p:nvSpPr>
        <p:spPr>
          <a:xfrm>
            <a:off x="4992689" y="1693336"/>
            <a:ext cx="279400" cy="459317"/>
          </a:xfrm>
          <a:custGeom>
            <a:avLst/>
            <a:gdLst>
              <a:gd name="connsiteX0" fmla="*/ 206734 w 278296"/>
              <a:gd name="connsiteY0" fmla="*/ 3313 h 457723"/>
              <a:gd name="connsiteX1" fmla="*/ 190831 w 278296"/>
              <a:gd name="connsiteY1" fmla="*/ 23192 h 457723"/>
              <a:gd name="connsiteX2" fmla="*/ 170953 w 278296"/>
              <a:gd name="connsiteY2" fmla="*/ 43070 h 457723"/>
              <a:gd name="connsiteX3" fmla="*/ 166978 w 278296"/>
              <a:gd name="connsiteY3" fmla="*/ 54997 h 457723"/>
              <a:gd name="connsiteX4" fmla="*/ 151075 w 278296"/>
              <a:gd name="connsiteY4" fmla="*/ 70900 h 457723"/>
              <a:gd name="connsiteX5" fmla="*/ 71562 w 278296"/>
              <a:gd name="connsiteY5" fmla="*/ 78851 h 457723"/>
              <a:gd name="connsiteX6" fmla="*/ 63611 w 278296"/>
              <a:gd name="connsiteY6" fmla="*/ 94753 h 457723"/>
              <a:gd name="connsiteX7" fmla="*/ 55659 w 278296"/>
              <a:gd name="connsiteY7" fmla="*/ 102705 h 457723"/>
              <a:gd name="connsiteX8" fmla="*/ 59635 w 278296"/>
              <a:gd name="connsiteY8" fmla="*/ 134510 h 457723"/>
              <a:gd name="connsiteX9" fmla="*/ 63611 w 278296"/>
              <a:gd name="connsiteY9" fmla="*/ 150413 h 457723"/>
              <a:gd name="connsiteX10" fmla="*/ 79513 w 278296"/>
              <a:gd name="connsiteY10" fmla="*/ 186193 h 457723"/>
              <a:gd name="connsiteX11" fmla="*/ 87464 w 278296"/>
              <a:gd name="connsiteY11" fmla="*/ 194145 h 457723"/>
              <a:gd name="connsiteX12" fmla="*/ 95416 w 278296"/>
              <a:gd name="connsiteY12" fmla="*/ 217999 h 457723"/>
              <a:gd name="connsiteX13" fmla="*/ 99391 w 278296"/>
              <a:gd name="connsiteY13" fmla="*/ 229926 h 457723"/>
              <a:gd name="connsiteX14" fmla="*/ 95416 w 278296"/>
              <a:gd name="connsiteY14" fmla="*/ 261731 h 457723"/>
              <a:gd name="connsiteX15" fmla="*/ 71562 w 278296"/>
              <a:gd name="connsiteY15" fmla="*/ 269682 h 457723"/>
              <a:gd name="connsiteX16" fmla="*/ 35781 w 278296"/>
              <a:gd name="connsiteY16" fmla="*/ 265707 h 457723"/>
              <a:gd name="connsiteX17" fmla="*/ 27830 w 278296"/>
              <a:gd name="connsiteY17" fmla="*/ 241853 h 457723"/>
              <a:gd name="connsiteX18" fmla="*/ 23854 w 278296"/>
              <a:gd name="connsiteY18" fmla="*/ 229926 h 457723"/>
              <a:gd name="connsiteX19" fmla="*/ 7951 w 278296"/>
              <a:gd name="connsiteY19" fmla="*/ 265707 h 457723"/>
              <a:gd name="connsiteX20" fmla="*/ 3976 w 278296"/>
              <a:gd name="connsiteY20" fmla="*/ 277633 h 457723"/>
              <a:gd name="connsiteX21" fmla="*/ 0 w 278296"/>
              <a:gd name="connsiteY21" fmla="*/ 289560 h 457723"/>
              <a:gd name="connsiteX22" fmla="*/ 3976 w 278296"/>
              <a:gd name="connsiteY22" fmla="*/ 305463 h 457723"/>
              <a:gd name="connsiteX23" fmla="*/ 15903 w 278296"/>
              <a:gd name="connsiteY23" fmla="*/ 309439 h 457723"/>
              <a:gd name="connsiteX24" fmla="*/ 39757 w 278296"/>
              <a:gd name="connsiteY24" fmla="*/ 325341 h 457723"/>
              <a:gd name="connsiteX25" fmla="*/ 59635 w 278296"/>
              <a:gd name="connsiteY25" fmla="*/ 337268 h 457723"/>
              <a:gd name="connsiteX26" fmla="*/ 75538 w 278296"/>
              <a:gd name="connsiteY26" fmla="*/ 353171 h 457723"/>
              <a:gd name="connsiteX27" fmla="*/ 79513 w 278296"/>
              <a:gd name="connsiteY27" fmla="*/ 373049 h 457723"/>
              <a:gd name="connsiteX28" fmla="*/ 91440 w 278296"/>
              <a:gd name="connsiteY28" fmla="*/ 381000 h 457723"/>
              <a:gd name="connsiteX29" fmla="*/ 111318 w 278296"/>
              <a:gd name="connsiteY29" fmla="*/ 392927 h 457723"/>
              <a:gd name="connsiteX30" fmla="*/ 119270 w 278296"/>
              <a:gd name="connsiteY30" fmla="*/ 404854 h 457723"/>
              <a:gd name="connsiteX31" fmla="*/ 123245 w 278296"/>
              <a:gd name="connsiteY31" fmla="*/ 416781 h 457723"/>
              <a:gd name="connsiteX32" fmla="*/ 143124 w 278296"/>
              <a:gd name="connsiteY32" fmla="*/ 432684 h 457723"/>
              <a:gd name="connsiteX33" fmla="*/ 166978 w 278296"/>
              <a:gd name="connsiteY33" fmla="*/ 440635 h 457723"/>
              <a:gd name="connsiteX34" fmla="*/ 178904 w 278296"/>
              <a:gd name="connsiteY34" fmla="*/ 448587 h 457723"/>
              <a:gd name="connsiteX35" fmla="*/ 186856 w 278296"/>
              <a:gd name="connsiteY35" fmla="*/ 456538 h 457723"/>
              <a:gd name="connsiteX36" fmla="*/ 190831 w 278296"/>
              <a:gd name="connsiteY36" fmla="*/ 444611 h 457723"/>
              <a:gd name="connsiteX37" fmla="*/ 202758 w 278296"/>
              <a:gd name="connsiteY37" fmla="*/ 440635 h 457723"/>
              <a:gd name="connsiteX38" fmla="*/ 226612 w 278296"/>
              <a:gd name="connsiteY38" fmla="*/ 436660 h 457723"/>
              <a:gd name="connsiteX39" fmla="*/ 250466 w 278296"/>
              <a:gd name="connsiteY39" fmla="*/ 428708 h 457723"/>
              <a:gd name="connsiteX40" fmla="*/ 254442 w 278296"/>
              <a:gd name="connsiteY40" fmla="*/ 416781 h 457723"/>
              <a:gd name="connsiteX41" fmla="*/ 278296 w 278296"/>
              <a:gd name="connsiteY41" fmla="*/ 384976 h 457723"/>
              <a:gd name="connsiteX42" fmla="*/ 274320 w 278296"/>
              <a:gd name="connsiteY42" fmla="*/ 357147 h 457723"/>
              <a:gd name="connsiteX43" fmla="*/ 270344 w 278296"/>
              <a:gd name="connsiteY43" fmla="*/ 345220 h 457723"/>
              <a:gd name="connsiteX44" fmla="*/ 258418 w 278296"/>
              <a:gd name="connsiteY44" fmla="*/ 337268 h 457723"/>
              <a:gd name="connsiteX45" fmla="*/ 262393 w 278296"/>
              <a:gd name="connsiteY45" fmla="*/ 317390 h 457723"/>
              <a:gd name="connsiteX46" fmla="*/ 270344 w 278296"/>
              <a:gd name="connsiteY46" fmla="*/ 305463 h 457723"/>
              <a:gd name="connsiteX47" fmla="*/ 262393 w 278296"/>
              <a:gd name="connsiteY47" fmla="*/ 225950 h 457723"/>
              <a:gd name="connsiteX48" fmla="*/ 258418 w 278296"/>
              <a:gd name="connsiteY48" fmla="*/ 202096 h 457723"/>
              <a:gd name="connsiteX49" fmla="*/ 190831 w 278296"/>
              <a:gd name="connsiteY49" fmla="*/ 198120 h 457723"/>
              <a:gd name="connsiteX50" fmla="*/ 194807 w 278296"/>
              <a:gd name="connsiteY50" fmla="*/ 166315 h 457723"/>
              <a:gd name="connsiteX51" fmla="*/ 218661 w 278296"/>
              <a:gd name="connsiteY51" fmla="*/ 150413 h 457723"/>
              <a:gd name="connsiteX52" fmla="*/ 226612 w 278296"/>
              <a:gd name="connsiteY52" fmla="*/ 142461 h 457723"/>
              <a:gd name="connsiteX53" fmla="*/ 230588 w 278296"/>
              <a:gd name="connsiteY53" fmla="*/ 130534 h 457723"/>
              <a:gd name="connsiteX54" fmla="*/ 234564 w 278296"/>
              <a:gd name="connsiteY54" fmla="*/ 114632 h 457723"/>
              <a:gd name="connsiteX55" fmla="*/ 258418 w 278296"/>
              <a:gd name="connsiteY55" fmla="*/ 106680 h 457723"/>
              <a:gd name="connsiteX56" fmla="*/ 230588 w 278296"/>
              <a:gd name="connsiteY56" fmla="*/ 86802 h 457723"/>
              <a:gd name="connsiteX57" fmla="*/ 246491 w 278296"/>
              <a:gd name="connsiteY57" fmla="*/ 82827 h 457723"/>
              <a:gd name="connsiteX58" fmla="*/ 242515 w 278296"/>
              <a:gd name="connsiteY58" fmla="*/ 58973 h 457723"/>
              <a:gd name="connsiteX59" fmla="*/ 194807 w 278296"/>
              <a:gd name="connsiteY59" fmla="*/ 43070 h 457723"/>
              <a:gd name="connsiteX60" fmla="*/ 206734 w 278296"/>
              <a:gd name="connsiteY60" fmla="*/ 3313 h 4577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278296" h="457723">
                <a:moveTo>
                  <a:pt x="206734" y="3313"/>
                </a:moveTo>
                <a:cubicBezTo>
                  <a:pt x="206071" y="0"/>
                  <a:pt x="196831" y="17192"/>
                  <a:pt x="190831" y="23192"/>
                </a:cubicBezTo>
                <a:cubicBezTo>
                  <a:pt x="164327" y="49696"/>
                  <a:pt x="192156" y="11265"/>
                  <a:pt x="170953" y="43070"/>
                </a:cubicBezTo>
                <a:cubicBezTo>
                  <a:pt x="169628" y="47046"/>
                  <a:pt x="169414" y="51587"/>
                  <a:pt x="166978" y="54997"/>
                </a:cubicBezTo>
                <a:cubicBezTo>
                  <a:pt x="162621" y="61097"/>
                  <a:pt x="158187" y="68530"/>
                  <a:pt x="151075" y="70900"/>
                </a:cubicBezTo>
                <a:cubicBezTo>
                  <a:pt x="117738" y="82010"/>
                  <a:pt x="143331" y="74629"/>
                  <a:pt x="71562" y="78851"/>
                </a:cubicBezTo>
                <a:cubicBezTo>
                  <a:pt x="68912" y="84152"/>
                  <a:pt x="66898" y="89822"/>
                  <a:pt x="63611" y="94753"/>
                </a:cubicBezTo>
                <a:cubicBezTo>
                  <a:pt x="61532" y="97872"/>
                  <a:pt x="56032" y="98975"/>
                  <a:pt x="55659" y="102705"/>
                </a:cubicBezTo>
                <a:cubicBezTo>
                  <a:pt x="54596" y="113336"/>
                  <a:pt x="57878" y="123971"/>
                  <a:pt x="59635" y="134510"/>
                </a:cubicBezTo>
                <a:cubicBezTo>
                  <a:pt x="60533" y="139900"/>
                  <a:pt x="62041" y="145179"/>
                  <a:pt x="63611" y="150413"/>
                </a:cubicBezTo>
                <a:cubicBezTo>
                  <a:pt x="68908" y="168069"/>
                  <a:pt x="69287" y="173410"/>
                  <a:pt x="79513" y="186193"/>
                </a:cubicBezTo>
                <a:cubicBezTo>
                  <a:pt x="81855" y="189120"/>
                  <a:pt x="84814" y="191494"/>
                  <a:pt x="87464" y="194145"/>
                </a:cubicBezTo>
                <a:lnTo>
                  <a:pt x="95416" y="217999"/>
                </a:lnTo>
                <a:lnTo>
                  <a:pt x="99391" y="229926"/>
                </a:lnTo>
                <a:cubicBezTo>
                  <a:pt x="98066" y="240528"/>
                  <a:pt x="101543" y="252978"/>
                  <a:pt x="95416" y="261731"/>
                </a:cubicBezTo>
                <a:cubicBezTo>
                  <a:pt x="90610" y="268597"/>
                  <a:pt x="71562" y="269682"/>
                  <a:pt x="71562" y="269682"/>
                </a:cubicBezTo>
                <a:cubicBezTo>
                  <a:pt x="59635" y="268357"/>
                  <a:pt x="45905" y="272150"/>
                  <a:pt x="35781" y="265707"/>
                </a:cubicBezTo>
                <a:cubicBezTo>
                  <a:pt x="28710" y="261207"/>
                  <a:pt x="30480" y="249804"/>
                  <a:pt x="27830" y="241853"/>
                </a:cubicBezTo>
                <a:lnTo>
                  <a:pt x="23854" y="229926"/>
                </a:lnTo>
                <a:cubicBezTo>
                  <a:pt x="11255" y="248826"/>
                  <a:pt x="17413" y="237322"/>
                  <a:pt x="7951" y="265707"/>
                </a:cubicBezTo>
                <a:lnTo>
                  <a:pt x="3976" y="277633"/>
                </a:lnTo>
                <a:lnTo>
                  <a:pt x="0" y="289560"/>
                </a:lnTo>
                <a:cubicBezTo>
                  <a:pt x="1325" y="294861"/>
                  <a:pt x="563" y="301196"/>
                  <a:pt x="3976" y="305463"/>
                </a:cubicBezTo>
                <a:cubicBezTo>
                  <a:pt x="6594" y="308735"/>
                  <a:pt x="12416" y="307114"/>
                  <a:pt x="15903" y="309439"/>
                </a:cubicBezTo>
                <a:cubicBezTo>
                  <a:pt x="45680" y="329291"/>
                  <a:pt x="11400" y="315890"/>
                  <a:pt x="39757" y="325341"/>
                </a:cubicBezTo>
                <a:cubicBezTo>
                  <a:pt x="69129" y="354716"/>
                  <a:pt x="23516" y="311470"/>
                  <a:pt x="59635" y="337268"/>
                </a:cubicBezTo>
                <a:cubicBezTo>
                  <a:pt x="65735" y="341625"/>
                  <a:pt x="75538" y="353171"/>
                  <a:pt x="75538" y="353171"/>
                </a:cubicBezTo>
                <a:cubicBezTo>
                  <a:pt x="76863" y="359797"/>
                  <a:pt x="76161" y="367182"/>
                  <a:pt x="79513" y="373049"/>
                </a:cubicBezTo>
                <a:cubicBezTo>
                  <a:pt x="81884" y="377198"/>
                  <a:pt x="87709" y="378015"/>
                  <a:pt x="91440" y="381000"/>
                </a:cubicBezTo>
                <a:cubicBezTo>
                  <a:pt x="107033" y="393475"/>
                  <a:pt x="90604" y="386024"/>
                  <a:pt x="111318" y="392927"/>
                </a:cubicBezTo>
                <a:cubicBezTo>
                  <a:pt x="113969" y="396903"/>
                  <a:pt x="117133" y="400580"/>
                  <a:pt x="119270" y="404854"/>
                </a:cubicBezTo>
                <a:cubicBezTo>
                  <a:pt x="121144" y="408602"/>
                  <a:pt x="121089" y="413188"/>
                  <a:pt x="123245" y="416781"/>
                </a:cubicBezTo>
                <a:cubicBezTo>
                  <a:pt x="126249" y="421788"/>
                  <a:pt x="138691" y="430714"/>
                  <a:pt x="143124" y="432684"/>
                </a:cubicBezTo>
                <a:cubicBezTo>
                  <a:pt x="150783" y="436088"/>
                  <a:pt x="166978" y="440635"/>
                  <a:pt x="166978" y="440635"/>
                </a:cubicBezTo>
                <a:cubicBezTo>
                  <a:pt x="170953" y="443286"/>
                  <a:pt x="175173" y="445602"/>
                  <a:pt x="178904" y="448587"/>
                </a:cubicBezTo>
                <a:cubicBezTo>
                  <a:pt x="181831" y="450929"/>
                  <a:pt x="183300" y="457723"/>
                  <a:pt x="186856" y="456538"/>
                </a:cubicBezTo>
                <a:cubicBezTo>
                  <a:pt x="190832" y="455213"/>
                  <a:pt x="187868" y="447574"/>
                  <a:pt x="190831" y="444611"/>
                </a:cubicBezTo>
                <a:cubicBezTo>
                  <a:pt x="193794" y="441648"/>
                  <a:pt x="198667" y="441544"/>
                  <a:pt x="202758" y="440635"/>
                </a:cubicBezTo>
                <a:cubicBezTo>
                  <a:pt x="210627" y="438886"/>
                  <a:pt x="218661" y="437985"/>
                  <a:pt x="226612" y="436660"/>
                </a:cubicBezTo>
                <a:cubicBezTo>
                  <a:pt x="234563" y="434009"/>
                  <a:pt x="247815" y="436659"/>
                  <a:pt x="250466" y="428708"/>
                </a:cubicBezTo>
                <a:cubicBezTo>
                  <a:pt x="251791" y="424732"/>
                  <a:pt x="252407" y="420444"/>
                  <a:pt x="254442" y="416781"/>
                </a:cubicBezTo>
                <a:cubicBezTo>
                  <a:pt x="265682" y="396548"/>
                  <a:pt x="266230" y="397040"/>
                  <a:pt x="278296" y="384976"/>
                </a:cubicBezTo>
                <a:cubicBezTo>
                  <a:pt x="276971" y="375700"/>
                  <a:pt x="276158" y="366336"/>
                  <a:pt x="274320" y="357147"/>
                </a:cubicBezTo>
                <a:cubicBezTo>
                  <a:pt x="273498" y="353038"/>
                  <a:pt x="272962" y="348493"/>
                  <a:pt x="270344" y="345220"/>
                </a:cubicBezTo>
                <a:cubicBezTo>
                  <a:pt x="267359" y="341489"/>
                  <a:pt x="262393" y="339919"/>
                  <a:pt x="258418" y="337268"/>
                </a:cubicBezTo>
                <a:cubicBezTo>
                  <a:pt x="259743" y="330642"/>
                  <a:pt x="260021" y="323717"/>
                  <a:pt x="262393" y="317390"/>
                </a:cubicBezTo>
                <a:cubicBezTo>
                  <a:pt x="264071" y="312916"/>
                  <a:pt x="270093" y="310234"/>
                  <a:pt x="270344" y="305463"/>
                </a:cubicBezTo>
                <a:cubicBezTo>
                  <a:pt x="273802" y="239761"/>
                  <a:pt x="269522" y="261599"/>
                  <a:pt x="262393" y="225950"/>
                </a:cubicBezTo>
                <a:cubicBezTo>
                  <a:pt x="260812" y="218046"/>
                  <a:pt x="265931" y="205018"/>
                  <a:pt x="258418" y="202096"/>
                </a:cubicBezTo>
                <a:cubicBezTo>
                  <a:pt x="237385" y="193916"/>
                  <a:pt x="213360" y="199445"/>
                  <a:pt x="190831" y="198120"/>
                </a:cubicBezTo>
                <a:cubicBezTo>
                  <a:pt x="192156" y="187518"/>
                  <a:pt x="189423" y="175544"/>
                  <a:pt x="194807" y="166315"/>
                </a:cubicBezTo>
                <a:cubicBezTo>
                  <a:pt x="199622" y="158061"/>
                  <a:pt x="211904" y="157171"/>
                  <a:pt x="218661" y="150413"/>
                </a:cubicBezTo>
                <a:lnTo>
                  <a:pt x="226612" y="142461"/>
                </a:lnTo>
                <a:cubicBezTo>
                  <a:pt x="227937" y="138485"/>
                  <a:pt x="229437" y="134563"/>
                  <a:pt x="230588" y="130534"/>
                </a:cubicBezTo>
                <a:cubicBezTo>
                  <a:pt x="232089" y="125280"/>
                  <a:pt x="230416" y="118188"/>
                  <a:pt x="234564" y="114632"/>
                </a:cubicBezTo>
                <a:cubicBezTo>
                  <a:pt x="240928" y="109177"/>
                  <a:pt x="258418" y="106680"/>
                  <a:pt x="258418" y="106680"/>
                </a:cubicBezTo>
                <a:cubicBezTo>
                  <a:pt x="230588" y="97404"/>
                  <a:pt x="237215" y="106680"/>
                  <a:pt x="230588" y="86802"/>
                </a:cubicBezTo>
                <a:cubicBezTo>
                  <a:pt x="235889" y="85477"/>
                  <a:pt x="242224" y="86240"/>
                  <a:pt x="246491" y="82827"/>
                </a:cubicBezTo>
                <a:cubicBezTo>
                  <a:pt x="256180" y="75076"/>
                  <a:pt x="247998" y="64457"/>
                  <a:pt x="242515" y="58973"/>
                </a:cubicBezTo>
                <a:cubicBezTo>
                  <a:pt x="229890" y="46347"/>
                  <a:pt x="211045" y="46678"/>
                  <a:pt x="194807" y="43070"/>
                </a:cubicBezTo>
                <a:cubicBezTo>
                  <a:pt x="199151" y="21354"/>
                  <a:pt x="207397" y="6626"/>
                  <a:pt x="206734" y="3313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5" name="Freeform 94"/>
          <p:cNvSpPr/>
          <p:nvPr/>
        </p:nvSpPr>
        <p:spPr>
          <a:xfrm>
            <a:off x="5211769" y="1128188"/>
            <a:ext cx="966787" cy="524933"/>
          </a:xfrm>
          <a:custGeom>
            <a:avLst/>
            <a:gdLst>
              <a:gd name="connsiteX0" fmla="*/ 8133 w 966975"/>
              <a:gd name="connsiteY0" fmla="*/ 34160 h 525093"/>
              <a:gd name="connsiteX1" fmla="*/ 55841 w 966975"/>
              <a:gd name="connsiteY1" fmla="*/ 30185 h 525093"/>
              <a:gd name="connsiteX2" fmla="*/ 79695 w 966975"/>
              <a:gd name="connsiteY2" fmla="*/ 18258 h 525093"/>
              <a:gd name="connsiteX3" fmla="*/ 95598 w 966975"/>
              <a:gd name="connsiteY3" fmla="*/ 10307 h 525093"/>
              <a:gd name="connsiteX4" fmla="*/ 103549 w 966975"/>
              <a:gd name="connsiteY4" fmla="*/ 2355 h 525093"/>
              <a:gd name="connsiteX5" fmla="*/ 131379 w 966975"/>
              <a:gd name="connsiteY5" fmla="*/ 14282 h 525093"/>
              <a:gd name="connsiteX6" fmla="*/ 147281 w 966975"/>
              <a:gd name="connsiteY6" fmla="*/ 38136 h 525093"/>
              <a:gd name="connsiteX7" fmla="*/ 167159 w 966975"/>
              <a:gd name="connsiteY7" fmla="*/ 54039 h 525093"/>
              <a:gd name="connsiteX8" fmla="*/ 175111 w 966975"/>
              <a:gd name="connsiteY8" fmla="*/ 65966 h 525093"/>
              <a:gd name="connsiteX9" fmla="*/ 222819 w 966975"/>
              <a:gd name="connsiteY9" fmla="*/ 69941 h 525093"/>
              <a:gd name="connsiteX10" fmla="*/ 238721 w 966975"/>
              <a:gd name="connsiteY10" fmla="*/ 50063 h 525093"/>
              <a:gd name="connsiteX11" fmla="*/ 262575 w 966975"/>
              <a:gd name="connsiteY11" fmla="*/ 58014 h 525093"/>
              <a:gd name="connsiteX12" fmla="*/ 278478 w 966975"/>
              <a:gd name="connsiteY12" fmla="*/ 61990 h 525093"/>
              <a:gd name="connsiteX13" fmla="*/ 302332 w 966975"/>
              <a:gd name="connsiteY13" fmla="*/ 69941 h 525093"/>
              <a:gd name="connsiteX14" fmla="*/ 338112 w 966975"/>
              <a:gd name="connsiteY14" fmla="*/ 81868 h 525093"/>
              <a:gd name="connsiteX15" fmla="*/ 350039 w 966975"/>
              <a:gd name="connsiteY15" fmla="*/ 85844 h 525093"/>
              <a:gd name="connsiteX16" fmla="*/ 361966 w 966975"/>
              <a:gd name="connsiteY16" fmla="*/ 89820 h 525093"/>
              <a:gd name="connsiteX17" fmla="*/ 389796 w 966975"/>
              <a:gd name="connsiteY17" fmla="*/ 97771 h 525093"/>
              <a:gd name="connsiteX18" fmla="*/ 397747 w 966975"/>
              <a:gd name="connsiteY18" fmla="*/ 109698 h 525093"/>
              <a:gd name="connsiteX19" fmla="*/ 393772 w 966975"/>
              <a:gd name="connsiteY19" fmla="*/ 145479 h 525093"/>
              <a:gd name="connsiteX20" fmla="*/ 377869 w 966975"/>
              <a:gd name="connsiteY20" fmla="*/ 153430 h 525093"/>
              <a:gd name="connsiteX21" fmla="*/ 365942 w 966975"/>
              <a:gd name="connsiteY21" fmla="*/ 157406 h 525093"/>
              <a:gd name="connsiteX22" fmla="*/ 354015 w 966975"/>
              <a:gd name="connsiteY22" fmla="*/ 165357 h 525093"/>
              <a:gd name="connsiteX23" fmla="*/ 330161 w 966975"/>
              <a:gd name="connsiteY23" fmla="*/ 177284 h 525093"/>
              <a:gd name="connsiteX24" fmla="*/ 326185 w 966975"/>
              <a:gd name="connsiteY24" fmla="*/ 189211 h 525093"/>
              <a:gd name="connsiteX25" fmla="*/ 334137 w 966975"/>
              <a:gd name="connsiteY25" fmla="*/ 213065 h 525093"/>
              <a:gd name="connsiteX26" fmla="*/ 342088 w 966975"/>
              <a:gd name="connsiteY26" fmla="*/ 244870 h 525093"/>
              <a:gd name="connsiteX27" fmla="*/ 346064 w 966975"/>
              <a:gd name="connsiteY27" fmla="*/ 256797 h 525093"/>
              <a:gd name="connsiteX28" fmla="*/ 357991 w 966975"/>
              <a:gd name="connsiteY28" fmla="*/ 260773 h 525093"/>
              <a:gd name="connsiteX29" fmla="*/ 457382 w 966975"/>
              <a:gd name="connsiteY29" fmla="*/ 260773 h 525093"/>
              <a:gd name="connsiteX30" fmla="*/ 469309 w 966975"/>
              <a:gd name="connsiteY30" fmla="*/ 264748 h 525093"/>
              <a:gd name="connsiteX31" fmla="*/ 485212 w 966975"/>
              <a:gd name="connsiteY31" fmla="*/ 268724 h 525093"/>
              <a:gd name="connsiteX32" fmla="*/ 513041 w 966975"/>
              <a:gd name="connsiteY32" fmla="*/ 272700 h 525093"/>
              <a:gd name="connsiteX33" fmla="*/ 532919 w 966975"/>
              <a:gd name="connsiteY33" fmla="*/ 284627 h 525093"/>
              <a:gd name="connsiteX34" fmla="*/ 544846 w 966975"/>
              <a:gd name="connsiteY34" fmla="*/ 288602 h 525093"/>
              <a:gd name="connsiteX35" fmla="*/ 588579 w 966975"/>
              <a:gd name="connsiteY35" fmla="*/ 284627 h 525093"/>
              <a:gd name="connsiteX36" fmla="*/ 604481 w 966975"/>
              <a:gd name="connsiteY36" fmla="*/ 264748 h 525093"/>
              <a:gd name="connsiteX37" fmla="*/ 628335 w 966975"/>
              <a:gd name="connsiteY37" fmla="*/ 244870 h 525093"/>
              <a:gd name="connsiteX38" fmla="*/ 644238 w 966975"/>
              <a:gd name="connsiteY38" fmla="*/ 224992 h 525093"/>
              <a:gd name="connsiteX39" fmla="*/ 656165 w 966975"/>
              <a:gd name="connsiteY39" fmla="*/ 221016 h 525093"/>
              <a:gd name="connsiteX40" fmla="*/ 664116 w 966975"/>
              <a:gd name="connsiteY40" fmla="*/ 209089 h 525093"/>
              <a:gd name="connsiteX41" fmla="*/ 687970 w 966975"/>
              <a:gd name="connsiteY41" fmla="*/ 201138 h 525093"/>
              <a:gd name="connsiteX42" fmla="*/ 723751 w 966975"/>
              <a:gd name="connsiteY42" fmla="*/ 173308 h 525093"/>
              <a:gd name="connsiteX43" fmla="*/ 735678 w 966975"/>
              <a:gd name="connsiteY43" fmla="*/ 169333 h 525093"/>
              <a:gd name="connsiteX44" fmla="*/ 783385 w 966975"/>
              <a:gd name="connsiteY44" fmla="*/ 145479 h 525093"/>
              <a:gd name="connsiteX45" fmla="*/ 795312 w 966975"/>
              <a:gd name="connsiteY45" fmla="*/ 141503 h 525093"/>
              <a:gd name="connsiteX46" fmla="*/ 807239 w 966975"/>
              <a:gd name="connsiteY46" fmla="*/ 137527 h 525093"/>
              <a:gd name="connsiteX47" fmla="*/ 854947 w 966975"/>
              <a:gd name="connsiteY47" fmla="*/ 141503 h 525093"/>
              <a:gd name="connsiteX48" fmla="*/ 882777 w 966975"/>
              <a:gd name="connsiteY48" fmla="*/ 149454 h 525093"/>
              <a:gd name="connsiteX49" fmla="*/ 898679 w 966975"/>
              <a:gd name="connsiteY49" fmla="*/ 153430 h 525093"/>
              <a:gd name="connsiteX50" fmla="*/ 914582 w 966975"/>
              <a:gd name="connsiteY50" fmla="*/ 161381 h 525093"/>
              <a:gd name="connsiteX51" fmla="*/ 926509 w 966975"/>
              <a:gd name="connsiteY51" fmla="*/ 165357 h 525093"/>
              <a:gd name="connsiteX52" fmla="*/ 934460 w 966975"/>
              <a:gd name="connsiteY52" fmla="*/ 181260 h 525093"/>
              <a:gd name="connsiteX53" fmla="*/ 938436 w 966975"/>
              <a:gd name="connsiteY53" fmla="*/ 193187 h 525093"/>
              <a:gd name="connsiteX54" fmla="*/ 946387 w 966975"/>
              <a:gd name="connsiteY54" fmla="*/ 209089 h 525093"/>
              <a:gd name="connsiteX55" fmla="*/ 950363 w 966975"/>
              <a:gd name="connsiteY55" fmla="*/ 296553 h 525093"/>
              <a:gd name="connsiteX56" fmla="*/ 962290 w 966975"/>
              <a:gd name="connsiteY56" fmla="*/ 336310 h 525093"/>
              <a:gd name="connsiteX57" fmla="*/ 966265 w 966975"/>
              <a:gd name="connsiteY57" fmla="*/ 348237 h 525093"/>
              <a:gd name="connsiteX58" fmla="*/ 962290 w 966975"/>
              <a:gd name="connsiteY58" fmla="*/ 372091 h 525093"/>
              <a:gd name="connsiteX59" fmla="*/ 946387 w 966975"/>
              <a:gd name="connsiteY59" fmla="*/ 376067 h 525093"/>
              <a:gd name="connsiteX60" fmla="*/ 922533 w 966975"/>
              <a:gd name="connsiteY60" fmla="*/ 384018 h 525093"/>
              <a:gd name="connsiteX61" fmla="*/ 898679 w 966975"/>
              <a:gd name="connsiteY61" fmla="*/ 399920 h 525093"/>
              <a:gd name="connsiteX62" fmla="*/ 862899 w 966975"/>
              <a:gd name="connsiteY62" fmla="*/ 415823 h 525093"/>
              <a:gd name="connsiteX63" fmla="*/ 843020 w 966975"/>
              <a:gd name="connsiteY63" fmla="*/ 427750 h 525093"/>
              <a:gd name="connsiteX64" fmla="*/ 811215 w 966975"/>
              <a:gd name="connsiteY64" fmla="*/ 435701 h 525093"/>
              <a:gd name="connsiteX65" fmla="*/ 799288 w 966975"/>
              <a:gd name="connsiteY65" fmla="*/ 443653 h 525093"/>
              <a:gd name="connsiteX66" fmla="*/ 775434 w 966975"/>
              <a:gd name="connsiteY66" fmla="*/ 451604 h 525093"/>
              <a:gd name="connsiteX67" fmla="*/ 751580 w 966975"/>
              <a:gd name="connsiteY67" fmla="*/ 463531 h 525093"/>
              <a:gd name="connsiteX68" fmla="*/ 739653 w 966975"/>
              <a:gd name="connsiteY68" fmla="*/ 471482 h 525093"/>
              <a:gd name="connsiteX69" fmla="*/ 703872 w 966975"/>
              <a:gd name="connsiteY69" fmla="*/ 479433 h 525093"/>
              <a:gd name="connsiteX70" fmla="*/ 600505 w 966975"/>
              <a:gd name="connsiteY70" fmla="*/ 479433 h 525093"/>
              <a:gd name="connsiteX71" fmla="*/ 576652 w 966975"/>
              <a:gd name="connsiteY71" fmla="*/ 487385 h 525093"/>
              <a:gd name="connsiteX72" fmla="*/ 556773 w 966975"/>
              <a:gd name="connsiteY72" fmla="*/ 503287 h 525093"/>
              <a:gd name="connsiteX73" fmla="*/ 548822 w 966975"/>
              <a:gd name="connsiteY73" fmla="*/ 511239 h 525093"/>
              <a:gd name="connsiteX74" fmla="*/ 544846 w 966975"/>
              <a:gd name="connsiteY74" fmla="*/ 523166 h 525093"/>
              <a:gd name="connsiteX75" fmla="*/ 524968 w 966975"/>
              <a:gd name="connsiteY75" fmla="*/ 503287 h 525093"/>
              <a:gd name="connsiteX76" fmla="*/ 513041 w 966975"/>
              <a:gd name="connsiteY76" fmla="*/ 487385 h 525093"/>
              <a:gd name="connsiteX77" fmla="*/ 489187 w 966975"/>
              <a:gd name="connsiteY77" fmla="*/ 475458 h 525093"/>
              <a:gd name="connsiteX78" fmla="*/ 477260 w 966975"/>
              <a:gd name="connsiteY78" fmla="*/ 467507 h 525093"/>
              <a:gd name="connsiteX79" fmla="*/ 397747 w 966975"/>
              <a:gd name="connsiteY79" fmla="*/ 467507 h 525093"/>
              <a:gd name="connsiteX80" fmla="*/ 354015 w 966975"/>
              <a:gd name="connsiteY80" fmla="*/ 459555 h 525093"/>
              <a:gd name="connsiteX81" fmla="*/ 338112 w 966975"/>
              <a:gd name="connsiteY81" fmla="*/ 451604 h 525093"/>
              <a:gd name="connsiteX82" fmla="*/ 326185 w 966975"/>
              <a:gd name="connsiteY82" fmla="*/ 447628 h 525093"/>
              <a:gd name="connsiteX83" fmla="*/ 302332 w 966975"/>
              <a:gd name="connsiteY83" fmla="*/ 427750 h 525093"/>
              <a:gd name="connsiteX84" fmla="*/ 294380 w 966975"/>
              <a:gd name="connsiteY84" fmla="*/ 403896 h 525093"/>
              <a:gd name="connsiteX85" fmla="*/ 290405 w 966975"/>
              <a:gd name="connsiteY85" fmla="*/ 391969 h 525093"/>
              <a:gd name="connsiteX86" fmla="*/ 286429 w 966975"/>
              <a:gd name="connsiteY86" fmla="*/ 356188 h 525093"/>
              <a:gd name="connsiteX87" fmla="*/ 282453 w 966975"/>
              <a:gd name="connsiteY87" fmla="*/ 252821 h 525093"/>
              <a:gd name="connsiteX88" fmla="*/ 270526 w 966975"/>
              <a:gd name="connsiteY88" fmla="*/ 213065 h 525093"/>
              <a:gd name="connsiteX89" fmla="*/ 262575 w 966975"/>
              <a:gd name="connsiteY89" fmla="*/ 205113 h 525093"/>
              <a:gd name="connsiteX90" fmla="*/ 246672 w 966975"/>
              <a:gd name="connsiteY90" fmla="*/ 185235 h 525093"/>
              <a:gd name="connsiteX91" fmla="*/ 234745 w 966975"/>
              <a:gd name="connsiteY91" fmla="*/ 181260 h 525093"/>
              <a:gd name="connsiteX92" fmla="*/ 222819 w 966975"/>
              <a:gd name="connsiteY92" fmla="*/ 173308 h 525093"/>
              <a:gd name="connsiteX93" fmla="*/ 214867 w 966975"/>
              <a:gd name="connsiteY93" fmla="*/ 165357 h 525093"/>
              <a:gd name="connsiteX94" fmla="*/ 202940 w 966975"/>
              <a:gd name="connsiteY94" fmla="*/ 161381 h 525093"/>
              <a:gd name="connsiteX95" fmla="*/ 191013 w 966975"/>
              <a:gd name="connsiteY95" fmla="*/ 153430 h 525093"/>
              <a:gd name="connsiteX96" fmla="*/ 175111 w 966975"/>
              <a:gd name="connsiteY96" fmla="*/ 145479 h 525093"/>
              <a:gd name="connsiteX97" fmla="*/ 167159 w 966975"/>
              <a:gd name="connsiteY97" fmla="*/ 137527 h 525093"/>
              <a:gd name="connsiteX98" fmla="*/ 103549 w 966975"/>
              <a:gd name="connsiteY98" fmla="*/ 133552 h 525093"/>
              <a:gd name="connsiteX99" fmla="*/ 28012 w 966975"/>
              <a:gd name="connsiteY99" fmla="*/ 133552 h 525093"/>
              <a:gd name="connsiteX100" fmla="*/ 8133 w 966975"/>
              <a:gd name="connsiteY100" fmla="*/ 113673 h 525093"/>
              <a:gd name="connsiteX101" fmla="*/ 8133 w 966975"/>
              <a:gd name="connsiteY101" fmla="*/ 34160 h 525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966975" h="525093">
                <a:moveTo>
                  <a:pt x="8133" y="34160"/>
                </a:moveTo>
                <a:cubicBezTo>
                  <a:pt x="16084" y="20245"/>
                  <a:pt x="40023" y="32294"/>
                  <a:pt x="55841" y="30185"/>
                </a:cubicBezTo>
                <a:cubicBezTo>
                  <a:pt x="67724" y="28601"/>
                  <a:pt x="69499" y="24084"/>
                  <a:pt x="79695" y="18258"/>
                </a:cubicBezTo>
                <a:cubicBezTo>
                  <a:pt x="84841" y="15318"/>
                  <a:pt x="90297" y="12957"/>
                  <a:pt x="95598" y="10307"/>
                </a:cubicBezTo>
                <a:cubicBezTo>
                  <a:pt x="98248" y="7656"/>
                  <a:pt x="99838" y="2885"/>
                  <a:pt x="103549" y="2355"/>
                </a:cubicBezTo>
                <a:cubicBezTo>
                  <a:pt x="120035" y="0"/>
                  <a:pt x="122569" y="5473"/>
                  <a:pt x="131379" y="14282"/>
                </a:cubicBezTo>
                <a:cubicBezTo>
                  <a:pt x="138605" y="43193"/>
                  <a:pt x="128977" y="19832"/>
                  <a:pt x="147281" y="38136"/>
                </a:cubicBezTo>
                <a:cubicBezTo>
                  <a:pt x="165264" y="56119"/>
                  <a:pt x="143939" y="46298"/>
                  <a:pt x="167159" y="54039"/>
                </a:cubicBezTo>
                <a:cubicBezTo>
                  <a:pt x="169810" y="58015"/>
                  <a:pt x="171732" y="62587"/>
                  <a:pt x="175111" y="65966"/>
                </a:cubicBezTo>
                <a:cubicBezTo>
                  <a:pt x="190450" y="81304"/>
                  <a:pt x="198799" y="72610"/>
                  <a:pt x="222819" y="69941"/>
                </a:cubicBezTo>
                <a:cubicBezTo>
                  <a:pt x="225301" y="62493"/>
                  <a:pt x="226732" y="50063"/>
                  <a:pt x="238721" y="50063"/>
                </a:cubicBezTo>
                <a:cubicBezTo>
                  <a:pt x="247102" y="50063"/>
                  <a:pt x="254444" y="55981"/>
                  <a:pt x="262575" y="58014"/>
                </a:cubicBezTo>
                <a:cubicBezTo>
                  <a:pt x="267876" y="59339"/>
                  <a:pt x="273244" y="60420"/>
                  <a:pt x="278478" y="61990"/>
                </a:cubicBezTo>
                <a:cubicBezTo>
                  <a:pt x="286506" y="64398"/>
                  <a:pt x="294381" y="67291"/>
                  <a:pt x="302332" y="69941"/>
                </a:cubicBezTo>
                <a:lnTo>
                  <a:pt x="338112" y="81868"/>
                </a:lnTo>
                <a:lnTo>
                  <a:pt x="350039" y="85844"/>
                </a:lnTo>
                <a:cubicBezTo>
                  <a:pt x="354015" y="87169"/>
                  <a:pt x="357900" y="88804"/>
                  <a:pt x="361966" y="89820"/>
                </a:cubicBezTo>
                <a:cubicBezTo>
                  <a:pt x="381935" y="94811"/>
                  <a:pt x="372685" y="92067"/>
                  <a:pt x="389796" y="97771"/>
                </a:cubicBezTo>
                <a:cubicBezTo>
                  <a:pt x="392446" y="101747"/>
                  <a:pt x="397350" y="104936"/>
                  <a:pt x="397747" y="109698"/>
                </a:cubicBezTo>
                <a:cubicBezTo>
                  <a:pt x="398744" y="121657"/>
                  <a:pt x="398738" y="134554"/>
                  <a:pt x="393772" y="145479"/>
                </a:cubicBezTo>
                <a:cubicBezTo>
                  <a:pt x="391320" y="150874"/>
                  <a:pt x="383316" y="151095"/>
                  <a:pt x="377869" y="153430"/>
                </a:cubicBezTo>
                <a:cubicBezTo>
                  <a:pt x="374017" y="155081"/>
                  <a:pt x="369690" y="155532"/>
                  <a:pt x="365942" y="157406"/>
                </a:cubicBezTo>
                <a:cubicBezTo>
                  <a:pt x="361668" y="159543"/>
                  <a:pt x="358289" y="163220"/>
                  <a:pt x="354015" y="165357"/>
                </a:cubicBezTo>
                <a:cubicBezTo>
                  <a:pt x="321095" y="181817"/>
                  <a:pt x="364342" y="154498"/>
                  <a:pt x="330161" y="177284"/>
                </a:cubicBezTo>
                <a:cubicBezTo>
                  <a:pt x="328836" y="181260"/>
                  <a:pt x="325722" y="185046"/>
                  <a:pt x="326185" y="189211"/>
                </a:cubicBezTo>
                <a:cubicBezTo>
                  <a:pt x="327111" y="197541"/>
                  <a:pt x="332104" y="204934"/>
                  <a:pt x="334137" y="213065"/>
                </a:cubicBezTo>
                <a:cubicBezTo>
                  <a:pt x="336787" y="223667"/>
                  <a:pt x="338632" y="234503"/>
                  <a:pt x="342088" y="244870"/>
                </a:cubicBezTo>
                <a:cubicBezTo>
                  <a:pt x="343413" y="248846"/>
                  <a:pt x="343101" y="253834"/>
                  <a:pt x="346064" y="256797"/>
                </a:cubicBezTo>
                <a:cubicBezTo>
                  <a:pt x="349027" y="259760"/>
                  <a:pt x="354015" y="259448"/>
                  <a:pt x="357991" y="260773"/>
                </a:cubicBezTo>
                <a:cubicBezTo>
                  <a:pt x="409077" y="257124"/>
                  <a:pt x="410214" y="254035"/>
                  <a:pt x="457382" y="260773"/>
                </a:cubicBezTo>
                <a:cubicBezTo>
                  <a:pt x="461531" y="261366"/>
                  <a:pt x="465280" y="263597"/>
                  <a:pt x="469309" y="264748"/>
                </a:cubicBezTo>
                <a:cubicBezTo>
                  <a:pt x="474563" y="266249"/>
                  <a:pt x="479836" y="267746"/>
                  <a:pt x="485212" y="268724"/>
                </a:cubicBezTo>
                <a:cubicBezTo>
                  <a:pt x="494431" y="270400"/>
                  <a:pt x="503765" y="271375"/>
                  <a:pt x="513041" y="272700"/>
                </a:cubicBezTo>
                <a:cubicBezTo>
                  <a:pt x="546828" y="283960"/>
                  <a:pt x="505633" y="268255"/>
                  <a:pt x="532919" y="284627"/>
                </a:cubicBezTo>
                <a:cubicBezTo>
                  <a:pt x="536512" y="286783"/>
                  <a:pt x="540870" y="287277"/>
                  <a:pt x="544846" y="288602"/>
                </a:cubicBezTo>
                <a:cubicBezTo>
                  <a:pt x="559424" y="287277"/>
                  <a:pt x="574316" y="287918"/>
                  <a:pt x="588579" y="284627"/>
                </a:cubicBezTo>
                <a:cubicBezTo>
                  <a:pt x="593692" y="283447"/>
                  <a:pt x="602375" y="266854"/>
                  <a:pt x="604481" y="264748"/>
                </a:cubicBezTo>
                <a:cubicBezTo>
                  <a:pt x="635754" y="233475"/>
                  <a:pt x="595770" y="283949"/>
                  <a:pt x="628335" y="244870"/>
                </a:cubicBezTo>
                <a:cubicBezTo>
                  <a:pt x="633755" y="238366"/>
                  <a:pt x="636524" y="229620"/>
                  <a:pt x="644238" y="224992"/>
                </a:cubicBezTo>
                <a:cubicBezTo>
                  <a:pt x="647832" y="222836"/>
                  <a:pt x="652189" y="222341"/>
                  <a:pt x="656165" y="221016"/>
                </a:cubicBezTo>
                <a:cubicBezTo>
                  <a:pt x="658815" y="217040"/>
                  <a:pt x="660064" y="211621"/>
                  <a:pt x="664116" y="209089"/>
                </a:cubicBezTo>
                <a:cubicBezTo>
                  <a:pt x="671223" y="204647"/>
                  <a:pt x="687970" y="201138"/>
                  <a:pt x="687970" y="201138"/>
                </a:cubicBezTo>
                <a:cubicBezTo>
                  <a:pt x="698260" y="190848"/>
                  <a:pt x="709487" y="178062"/>
                  <a:pt x="723751" y="173308"/>
                </a:cubicBezTo>
                <a:lnTo>
                  <a:pt x="735678" y="169333"/>
                </a:lnTo>
                <a:cubicBezTo>
                  <a:pt x="766506" y="148780"/>
                  <a:pt x="750465" y="156453"/>
                  <a:pt x="783385" y="145479"/>
                </a:cubicBezTo>
                <a:lnTo>
                  <a:pt x="795312" y="141503"/>
                </a:lnTo>
                <a:lnTo>
                  <a:pt x="807239" y="137527"/>
                </a:lnTo>
                <a:cubicBezTo>
                  <a:pt x="823142" y="138852"/>
                  <a:pt x="839112" y="139524"/>
                  <a:pt x="854947" y="141503"/>
                </a:cubicBezTo>
                <a:cubicBezTo>
                  <a:pt x="865986" y="142883"/>
                  <a:pt x="872514" y="146522"/>
                  <a:pt x="882777" y="149454"/>
                </a:cubicBezTo>
                <a:cubicBezTo>
                  <a:pt x="888031" y="150955"/>
                  <a:pt x="893563" y="151511"/>
                  <a:pt x="898679" y="153430"/>
                </a:cubicBezTo>
                <a:cubicBezTo>
                  <a:pt x="904228" y="155511"/>
                  <a:pt x="909135" y="159046"/>
                  <a:pt x="914582" y="161381"/>
                </a:cubicBezTo>
                <a:cubicBezTo>
                  <a:pt x="918434" y="163032"/>
                  <a:pt x="922533" y="164032"/>
                  <a:pt x="926509" y="165357"/>
                </a:cubicBezTo>
                <a:cubicBezTo>
                  <a:pt x="929159" y="170658"/>
                  <a:pt x="932125" y="175813"/>
                  <a:pt x="934460" y="181260"/>
                </a:cubicBezTo>
                <a:cubicBezTo>
                  <a:pt x="936111" y="185112"/>
                  <a:pt x="936785" y="189335"/>
                  <a:pt x="938436" y="193187"/>
                </a:cubicBezTo>
                <a:cubicBezTo>
                  <a:pt x="940771" y="198634"/>
                  <a:pt x="943737" y="203788"/>
                  <a:pt x="946387" y="209089"/>
                </a:cubicBezTo>
                <a:cubicBezTo>
                  <a:pt x="947712" y="238244"/>
                  <a:pt x="948124" y="267454"/>
                  <a:pt x="950363" y="296553"/>
                </a:cubicBezTo>
                <a:cubicBezTo>
                  <a:pt x="950964" y="304362"/>
                  <a:pt x="960907" y="332160"/>
                  <a:pt x="962290" y="336310"/>
                </a:cubicBezTo>
                <a:lnTo>
                  <a:pt x="966265" y="348237"/>
                </a:lnTo>
                <a:cubicBezTo>
                  <a:pt x="964940" y="356188"/>
                  <a:pt x="966975" y="365531"/>
                  <a:pt x="962290" y="372091"/>
                </a:cubicBezTo>
                <a:cubicBezTo>
                  <a:pt x="959114" y="376537"/>
                  <a:pt x="951621" y="374497"/>
                  <a:pt x="946387" y="376067"/>
                </a:cubicBezTo>
                <a:cubicBezTo>
                  <a:pt x="938359" y="378475"/>
                  <a:pt x="929507" y="379369"/>
                  <a:pt x="922533" y="384018"/>
                </a:cubicBezTo>
                <a:cubicBezTo>
                  <a:pt x="914582" y="389319"/>
                  <a:pt x="907745" y="396898"/>
                  <a:pt x="898679" y="399920"/>
                </a:cubicBezTo>
                <a:cubicBezTo>
                  <a:pt x="879763" y="406226"/>
                  <a:pt x="876400" y="405022"/>
                  <a:pt x="862899" y="415823"/>
                </a:cubicBezTo>
                <a:cubicBezTo>
                  <a:pt x="849438" y="426592"/>
                  <a:pt x="861349" y="422751"/>
                  <a:pt x="843020" y="427750"/>
                </a:cubicBezTo>
                <a:cubicBezTo>
                  <a:pt x="832477" y="430625"/>
                  <a:pt x="811215" y="435701"/>
                  <a:pt x="811215" y="435701"/>
                </a:cubicBezTo>
                <a:cubicBezTo>
                  <a:pt x="807239" y="438352"/>
                  <a:pt x="803654" y="441712"/>
                  <a:pt x="799288" y="443653"/>
                </a:cubicBezTo>
                <a:cubicBezTo>
                  <a:pt x="791629" y="447057"/>
                  <a:pt x="782408" y="446955"/>
                  <a:pt x="775434" y="451604"/>
                </a:cubicBezTo>
                <a:cubicBezTo>
                  <a:pt x="741253" y="474390"/>
                  <a:pt x="784500" y="447071"/>
                  <a:pt x="751580" y="463531"/>
                </a:cubicBezTo>
                <a:cubicBezTo>
                  <a:pt x="747306" y="465668"/>
                  <a:pt x="744045" y="469600"/>
                  <a:pt x="739653" y="471482"/>
                </a:cubicBezTo>
                <a:cubicBezTo>
                  <a:pt x="734734" y="473590"/>
                  <a:pt x="707417" y="478724"/>
                  <a:pt x="703872" y="479433"/>
                </a:cubicBezTo>
                <a:cubicBezTo>
                  <a:pt x="658311" y="475637"/>
                  <a:pt x="647974" y="472313"/>
                  <a:pt x="600505" y="479433"/>
                </a:cubicBezTo>
                <a:cubicBezTo>
                  <a:pt x="592217" y="480676"/>
                  <a:pt x="576652" y="487385"/>
                  <a:pt x="576652" y="487385"/>
                </a:cubicBezTo>
                <a:cubicBezTo>
                  <a:pt x="557443" y="506592"/>
                  <a:pt x="581862" y="483215"/>
                  <a:pt x="556773" y="503287"/>
                </a:cubicBezTo>
                <a:cubicBezTo>
                  <a:pt x="553846" y="505629"/>
                  <a:pt x="551472" y="508588"/>
                  <a:pt x="548822" y="511239"/>
                </a:cubicBezTo>
                <a:cubicBezTo>
                  <a:pt x="547497" y="515215"/>
                  <a:pt x="548912" y="522150"/>
                  <a:pt x="544846" y="523166"/>
                </a:cubicBezTo>
                <a:cubicBezTo>
                  <a:pt x="537136" y="525093"/>
                  <a:pt x="527378" y="506660"/>
                  <a:pt x="524968" y="503287"/>
                </a:cubicBezTo>
                <a:cubicBezTo>
                  <a:pt x="521117" y="497895"/>
                  <a:pt x="517726" y="492070"/>
                  <a:pt x="513041" y="487385"/>
                </a:cubicBezTo>
                <a:cubicBezTo>
                  <a:pt x="505332" y="479676"/>
                  <a:pt x="498890" y="478692"/>
                  <a:pt x="489187" y="475458"/>
                </a:cubicBezTo>
                <a:cubicBezTo>
                  <a:pt x="485211" y="472808"/>
                  <a:pt x="481534" y="469644"/>
                  <a:pt x="477260" y="467507"/>
                </a:cubicBezTo>
                <a:cubicBezTo>
                  <a:pt x="453864" y="455809"/>
                  <a:pt x="415985" y="466434"/>
                  <a:pt x="397747" y="467507"/>
                </a:cubicBezTo>
                <a:cubicBezTo>
                  <a:pt x="387586" y="466055"/>
                  <a:pt x="365552" y="463881"/>
                  <a:pt x="354015" y="459555"/>
                </a:cubicBezTo>
                <a:cubicBezTo>
                  <a:pt x="348466" y="457474"/>
                  <a:pt x="343559" y="453939"/>
                  <a:pt x="338112" y="451604"/>
                </a:cubicBezTo>
                <a:cubicBezTo>
                  <a:pt x="334260" y="449953"/>
                  <a:pt x="329933" y="449502"/>
                  <a:pt x="326185" y="447628"/>
                </a:cubicBezTo>
                <a:cubicBezTo>
                  <a:pt x="315116" y="442093"/>
                  <a:pt x="311124" y="436542"/>
                  <a:pt x="302332" y="427750"/>
                </a:cubicBezTo>
                <a:lnTo>
                  <a:pt x="294380" y="403896"/>
                </a:lnTo>
                <a:lnTo>
                  <a:pt x="290405" y="391969"/>
                </a:lnTo>
                <a:cubicBezTo>
                  <a:pt x="289080" y="380042"/>
                  <a:pt x="287114" y="368169"/>
                  <a:pt x="286429" y="356188"/>
                </a:cubicBezTo>
                <a:cubicBezTo>
                  <a:pt x="284462" y="321763"/>
                  <a:pt x="284747" y="287226"/>
                  <a:pt x="282453" y="252821"/>
                </a:cubicBezTo>
                <a:cubicBezTo>
                  <a:pt x="282067" y="247028"/>
                  <a:pt x="271583" y="214122"/>
                  <a:pt x="270526" y="213065"/>
                </a:cubicBezTo>
                <a:cubicBezTo>
                  <a:pt x="267876" y="210414"/>
                  <a:pt x="264917" y="208040"/>
                  <a:pt x="262575" y="205113"/>
                </a:cubicBezTo>
                <a:cubicBezTo>
                  <a:pt x="257575" y="198863"/>
                  <a:pt x="254055" y="189665"/>
                  <a:pt x="246672" y="185235"/>
                </a:cubicBezTo>
                <a:cubicBezTo>
                  <a:pt x="243079" y="183079"/>
                  <a:pt x="238721" y="182585"/>
                  <a:pt x="234745" y="181260"/>
                </a:cubicBezTo>
                <a:cubicBezTo>
                  <a:pt x="230770" y="178609"/>
                  <a:pt x="226550" y="176293"/>
                  <a:pt x="222819" y="173308"/>
                </a:cubicBezTo>
                <a:cubicBezTo>
                  <a:pt x="219892" y="170966"/>
                  <a:pt x="218081" y="167285"/>
                  <a:pt x="214867" y="165357"/>
                </a:cubicBezTo>
                <a:cubicBezTo>
                  <a:pt x="211273" y="163201"/>
                  <a:pt x="206688" y="163255"/>
                  <a:pt x="202940" y="161381"/>
                </a:cubicBezTo>
                <a:cubicBezTo>
                  <a:pt x="198666" y="159244"/>
                  <a:pt x="195162" y="155801"/>
                  <a:pt x="191013" y="153430"/>
                </a:cubicBezTo>
                <a:cubicBezTo>
                  <a:pt x="185867" y="150490"/>
                  <a:pt x="180042" y="148766"/>
                  <a:pt x="175111" y="145479"/>
                </a:cubicBezTo>
                <a:cubicBezTo>
                  <a:pt x="171992" y="143400"/>
                  <a:pt x="170857" y="138143"/>
                  <a:pt x="167159" y="137527"/>
                </a:cubicBezTo>
                <a:cubicBezTo>
                  <a:pt x="146203" y="134034"/>
                  <a:pt x="124752" y="134877"/>
                  <a:pt x="103549" y="133552"/>
                </a:cubicBezTo>
                <a:cubicBezTo>
                  <a:pt x="76941" y="137986"/>
                  <a:pt x="57103" y="143249"/>
                  <a:pt x="28012" y="133552"/>
                </a:cubicBezTo>
                <a:cubicBezTo>
                  <a:pt x="19122" y="130589"/>
                  <a:pt x="8133" y="113673"/>
                  <a:pt x="8133" y="113673"/>
                </a:cubicBezTo>
                <a:cubicBezTo>
                  <a:pt x="0" y="73003"/>
                  <a:pt x="182" y="48075"/>
                  <a:pt x="8133" y="34160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6" name="Freeform 95"/>
          <p:cNvSpPr/>
          <p:nvPr/>
        </p:nvSpPr>
        <p:spPr>
          <a:xfrm>
            <a:off x="4814893" y="1435103"/>
            <a:ext cx="79375" cy="150284"/>
          </a:xfrm>
          <a:custGeom>
            <a:avLst/>
            <a:gdLst>
              <a:gd name="connsiteX0" fmla="*/ 67586 w 79513"/>
              <a:gd name="connsiteY0" fmla="*/ 3976 h 151075"/>
              <a:gd name="connsiteX1" fmla="*/ 71562 w 79513"/>
              <a:gd name="connsiteY1" fmla="*/ 35781 h 151075"/>
              <a:gd name="connsiteX2" fmla="*/ 79513 w 79513"/>
              <a:gd name="connsiteY2" fmla="*/ 59635 h 151075"/>
              <a:gd name="connsiteX3" fmla="*/ 71562 w 79513"/>
              <a:gd name="connsiteY3" fmla="*/ 115294 h 151075"/>
              <a:gd name="connsiteX4" fmla="*/ 67586 w 79513"/>
              <a:gd name="connsiteY4" fmla="*/ 127221 h 151075"/>
              <a:gd name="connsiteX5" fmla="*/ 47708 w 79513"/>
              <a:gd name="connsiteY5" fmla="*/ 143124 h 151075"/>
              <a:gd name="connsiteX6" fmla="*/ 39756 w 79513"/>
              <a:gd name="connsiteY6" fmla="*/ 151075 h 151075"/>
              <a:gd name="connsiteX7" fmla="*/ 7951 w 79513"/>
              <a:gd name="connsiteY7" fmla="*/ 131197 h 151075"/>
              <a:gd name="connsiteX8" fmla="*/ 0 w 79513"/>
              <a:gd name="connsiteY8" fmla="*/ 107343 h 151075"/>
              <a:gd name="connsiteX9" fmla="*/ 3975 w 79513"/>
              <a:gd name="connsiteY9" fmla="*/ 87465 h 151075"/>
              <a:gd name="connsiteX10" fmla="*/ 11927 w 79513"/>
              <a:gd name="connsiteY10" fmla="*/ 75538 h 151075"/>
              <a:gd name="connsiteX11" fmla="*/ 15902 w 79513"/>
              <a:gd name="connsiteY11" fmla="*/ 11927 h 151075"/>
              <a:gd name="connsiteX12" fmla="*/ 67586 w 79513"/>
              <a:gd name="connsiteY12" fmla="*/ 3976 h 151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9513" h="151075">
                <a:moveTo>
                  <a:pt x="67586" y="3976"/>
                </a:moveTo>
                <a:cubicBezTo>
                  <a:pt x="76863" y="7952"/>
                  <a:pt x="69323" y="25334"/>
                  <a:pt x="71562" y="35781"/>
                </a:cubicBezTo>
                <a:cubicBezTo>
                  <a:pt x="73318" y="43976"/>
                  <a:pt x="79513" y="59635"/>
                  <a:pt x="79513" y="59635"/>
                </a:cubicBezTo>
                <a:cubicBezTo>
                  <a:pt x="76346" y="91307"/>
                  <a:pt x="78212" y="92018"/>
                  <a:pt x="71562" y="115294"/>
                </a:cubicBezTo>
                <a:cubicBezTo>
                  <a:pt x="70411" y="119324"/>
                  <a:pt x="69742" y="123627"/>
                  <a:pt x="67586" y="127221"/>
                </a:cubicBezTo>
                <a:cubicBezTo>
                  <a:pt x="63154" y="134608"/>
                  <a:pt x="53961" y="138122"/>
                  <a:pt x="47708" y="143124"/>
                </a:cubicBezTo>
                <a:cubicBezTo>
                  <a:pt x="44781" y="145465"/>
                  <a:pt x="42407" y="148425"/>
                  <a:pt x="39756" y="151075"/>
                </a:cubicBezTo>
                <a:cubicBezTo>
                  <a:pt x="20018" y="144496"/>
                  <a:pt x="15621" y="148454"/>
                  <a:pt x="7951" y="131197"/>
                </a:cubicBezTo>
                <a:cubicBezTo>
                  <a:pt x="4547" y="123538"/>
                  <a:pt x="0" y="107343"/>
                  <a:pt x="0" y="107343"/>
                </a:cubicBezTo>
                <a:cubicBezTo>
                  <a:pt x="1325" y="100717"/>
                  <a:pt x="1602" y="93792"/>
                  <a:pt x="3975" y="87465"/>
                </a:cubicBezTo>
                <a:cubicBezTo>
                  <a:pt x="5653" y="82991"/>
                  <a:pt x="11182" y="80258"/>
                  <a:pt x="11927" y="75538"/>
                </a:cubicBezTo>
                <a:cubicBezTo>
                  <a:pt x="15240" y="54553"/>
                  <a:pt x="8202" y="31728"/>
                  <a:pt x="15902" y="11927"/>
                </a:cubicBezTo>
                <a:cubicBezTo>
                  <a:pt x="19972" y="1462"/>
                  <a:pt x="58309" y="0"/>
                  <a:pt x="67586" y="3976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7" name="Freeform 96"/>
          <p:cNvSpPr/>
          <p:nvPr/>
        </p:nvSpPr>
        <p:spPr>
          <a:xfrm>
            <a:off x="4889500" y="1221323"/>
            <a:ext cx="350838" cy="340783"/>
          </a:xfrm>
          <a:custGeom>
            <a:avLst/>
            <a:gdLst>
              <a:gd name="connsiteX0" fmla="*/ 123245 w 350055"/>
              <a:gd name="connsiteY0" fmla="*/ 27830 h 342352"/>
              <a:gd name="connsiteX1" fmla="*/ 119270 w 350055"/>
              <a:gd name="connsiteY1" fmla="*/ 103367 h 342352"/>
              <a:gd name="connsiteX2" fmla="*/ 87465 w 350055"/>
              <a:gd name="connsiteY2" fmla="*/ 107343 h 342352"/>
              <a:gd name="connsiteX3" fmla="*/ 83489 w 350055"/>
              <a:gd name="connsiteY3" fmla="*/ 119270 h 342352"/>
              <a:gd name="connsiteX4" fmla="*/ 79513 w 350055"/>
              <a:gd name="connsiteY4" fmla="*/ 170953 h 342352"/>
              <a:gd name="connsiteX5" fmla="*/ 67586 w 350055"/>
              <a:gd name="connsiteY5" fmla="*/ 174929 h 342352"/>
              <a:gd name="connsiteX6" fmla="*/ 27830 w 350055"/>
              <a:gd name="connsiteY6" fmla="*/ 178905 h 342352"/>
              <a:gd name="connsiteX7" fmla="*/ 15903 w 350055"/>
              <a:gd name="connsiteY7" fmla="*/ 190832 h 342352"/>
              <a:gd name="connsiteX8" fmla="*/ 3976 w 350055"/>
              <a:gd name="connsiteY8" fmla="*/ 194807 h 342352"/>
              <a:gd name="connsiteX9" fmla="*/ 0 w 350055"/>
              <a:gd name="connsiteY9" fmla="*/ 206734 h 342352"/>
              <a:gd name="connsiteX10" fmla="*/ 7951 w 350055"/>
              <a:gd name="connsiteY10" fmla="*/ 218661 h 342352"/>
              <a:gd name="connsiteX11" fmla="*/ 47708 w 350055"/>
              <a:gd name="connsiteY11" fmla="*/ 226612 h 342352"/>
              <a:gd name="connsiteX12" fmla="*/ 75538 w 350055"/>
              <a:gd name="connsiteY12" fmla="*/ 230588 h 342352"/>
              <a:gd name="connsiteX13" fmla="*/ 83489 w 350055"/>
              <a:gd name="connsiteY13" fmla="*/ 218661 h 342352"/>
              <a:gd name="connsiteX14" fmla="*/ 95416 w 350055"/>
              <a:gd name="connsiteY14" fmla="*/ 214685 h 342352"/>
              <a:gd name="connsiteX15" fmla="*/ 107343 w 350055"/>
              <a:gd name="connsiteY15" fmla="*/ 206734 h 342352"/>
              <a:gd name="connsiteX16" fmla="*/ 155051 w 350055"/>
              <a:gd name="connsiteY16" fmla="*/ 198783 h 342352"/>
              <a:gd name="connsiteX17" fmla="*/ 174929 w 350055"/>
              <a:gd name="connsiteY17" fmla="*/ 214685 h 342352"/>
              <a:gd name="connsiteX18" fmla="*/ 170953 w 350055"/>
              <a:gd name="connsiteY18" fmla="*/ 270345 h 342352"/>
              <a:gd name="connsiteX19" fmla="*/ 163002 w 350055"/>
              <a:gd name="connsiteY19" fmla="*/ 294198 h 342352"/>
              <a:gd name="connsiteX20" fmla="*/ 166978 w 350055"/>
              <a:gd name="connsiteY20" fmla="*/ 318052 h 342352"/>
              <a:gd name="connsiteX21" fmla="*/ 174929 w 350055"/>
              <a:gd name="connsiteY21" fmla="*/ 326004 h 342352"/>
              <a:gd name="connsiteX22" fmla="*/ 194807 w 350055"/>
              <a:gd name="connsiteY22" fmla="*/ 341906 h 342352"/>
              <a:gd name="connsiteX23" fmla="*/ 218661 w 350055"/>
              <a:gd name="connsiteY23" fmla="*/ 337931 h 342352"/>
              <a:gd name="connsiteX24" fmla="*/ 234564 w 350055"/>
              <a:gd name="connsiteY24" fmla="*/ 322028 h 342352"/>
              <a:gd name="connsiteX25" fmla="*/ 246491 w 350055"/>
              <a:gd name="connsiteY25" fmla="*/ 318052 h 342352"/>
              <a:gd name="connsiteX26" fmla="*/ 274320 w 350055"/>
              <a:gd name="connsiteY26" fmla="*/ 310101 h 342352"/>
              <a:gd name="connsiteX27" fmla="*/ 302150 w 350055"/>
              <a:gd name="connsiteY27" fmla="*/ 318052 h 342352"/>
              <a:gd name="connsiteX28" fmla="*/ 310101 w 350055"/>
              <a:gd name="connsiteY28" fmla="*/ 306125 h 342352"/>
              <a:gd name="connsiteX29" fmla="*/ 318052 w 350055"/>
              <a:gd name="connsiteY29" fmla="*/ 270345 h 342352"/>
              <a:gd name="connsiteX30" fmla="*/ 337931 w 350055"/>
              <a:gd name="connsiteY30" fmla="*/ 250466 h 342352"/>
              <a:gd name="connsiteX31" fmla="*/ 341906 w 350055"/>
              <a:gd name="connsiteY31" fmla="*/ 198783 h 342352"/>
              <a:gd name="connsiteX32" fmla="*/ 333955 w 350055"/>
              <a:gd name="connsiteY32" fmla="*/ 186856 h 342352"/>
              <a:gd name="connsiteX33" fmla="*/ 310101 w 350055"/>
              <a:gd name="connsiteY33" fmla="*/ 178905 h 342352"/>
              <a:gd name="connsiteX34" fmla="*/ 310101 w 350055"/>
              <a:gd name="connsiteY34" fmla="*/ 123245 h 342352"/>
              <a:gd name="connsiteX35" fmla="*/ 318052 w 350055"/>
              <a:gd name="connsiteY35" fmla="*/ 99392 h 342352"/>
              <a:gd name="connsiteX36" fmla="*/ 314077 w 350055"/>
              <a:gd name="connsiteY36" fmla="*/ 75538 h 342352"/>
              <a:gd name="connsiteX37" fmla="*/ 302150 w 350055"/>
              <a:gd name="connsiteY37" fmla="*/ 67586 h 342352"/>
              <a:gd name="connsiteX38" fmla="*/ 294198 w 350055"/>
              <a:gd name="connsiteY38" fmla="*/ 59635 h 342352"/>
              <a:gd name="connsiteX39" fmla="*/ 270345 w 350055"/>
              <a:gd name="connsiteY39" fmla="*/ 11927 h 342352"/>
              <a:gd name="connsiteX40" fmla="*/ 262393 w 350055"/>
              <a:gd name="connsiteY40" fmla="*/ 3976 h 342352"/>
              <a:gd name="connsiteX41" fmla="*/ 242515 w 350055"/>
              <a:gd name="connsiteY41" fmla="*/ 0 h 342352"/>
              <a:gd name="connsiteX42" fmla="*/ 198783 w 350055"/>
              <a:gd name="connsiteY42" fmla="*/ 3976 h 342352"/>
              <a:gd name="connsiteX43" fmla="*/ 174929 w 350055"/>
              <a:gd name="connsiteY43" fmla="*/ 11927 h 342352"/>
              <a:gd name="connsiteX44" fmla="*/ 159026 w 350055"/>
              <a:gd name="connsiteY44" fmla="*/ 15903 h 342352"/>
              <a:gd name="connsiteX45" fmla="*/ 147099 w 350055"/>
              <a:gd name="connsiteY45" fmla="*/ 19878 h 342352"/>
              <a:gd name="connsiteX46" fmla="*/ 123245 w 350055"/>
              <a:gd name="connsiteY46" fmla="*/ 27830 h 342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350055" h="342352">
                <a:moveTo>
                  <a:pt x="123245" y="27830"/>
                </a:moveTo>
                <a:cubicBezTo>
                  <a:pt x="118607" y="41745"/>
                  <a:pt x="129617" y="80374"/>
                  <a:pt x="119270" y="103367"/>
                </a:cubicBezTo>
                <a:cubicBezTo>
                  <a:pt x="114886" y="113110"/>
                  <a:pt x="97228" y="103004"/>
                  <a:pt x="87465" y="107343"/>
                </a:cubicBezTo>
                <a:cubicBezTo>
                  <a:pt x="83635" y="109045"/>
                  <a:pt x="84814" y="115294"/>
                  <a:pt x="83489" y="119270"/>
                </a:cubicBezTo>
                <a:cubicBezTo>
                  <a:pt x="82164" y="136498"/>
                  <a:pt x="84260" y="154339"/>
                  <a:pt x="79513" y="170953"/>
                </a:cubicBezTo>
                <a:cubicBezTo>
                  <a:pt x="78362" y="174983"/>
                  <a:pt x="71728" y="174292"/>
                  <a:pt x="67586" y="174929"/>
                </a:cubicBezTo>
                <a:cubicBezTo>
                  <a:pt x="54423" y="176954"/>
                  <a:pt x="41082" y="177580"/>
                  <a:pt x="27830" y="178905"/>
                </a:cubicBezTo>
                <a:cubicBezTo>
                  <a:pt x="23854" y="182881"/>
                  <a:pt x="20581" y="187713"/>
                  <a:pt x="15903" y="190832"/>
                </a:cubicBezTo>
                <a:cubicBezTo>
                  <a:pt x="12416" y="193156"/>
                  <a:pt x="6939" y="191844"/>
                  <a:pt x="3976" y="194807"/>
                </a:cubicBezTo>
                <a:cubicBezTo>
                  <a:pt x="1013" y="197770"/>
                  <a:pt x="1325" y="202758"/>
                  <a:pt x="0" y="206734"/>
                </a:cubicBezTo>
                <a:cubicBezTo>
                  <a:pt x="2650" y="210710"/>
                  <a:pt x="3975" y="216011"/>
                  <a:pt x="7951" y="218661"/>
                </a:cubicBezTo>
                <a:cubicBezTo>
                  <a:pt x="11907" y="221298"/>
                  <a:pt x="47626" y="226598"/>
                  <a:pt x="47708" y="226612"/>
                </a:cubicBezTo>
                <a:cubicBezTo>
                  <a:pt x="58569" y="233853"/>
                  <a:pt x="61417" y="240002"/>
                  <a:pt x="75538" y="230588"/>
                </a:cubicBezTo>
                <a:cubicBezTo>
                  <a:pt x="79514" y="227938"/>
                  <a:pt x="79758" y="221646"/>
                  <a:pt x="83489" y="218661"/>
                </a:cubicBezTo>
                <a:cubicBezTo>
                  <a:pt x="86761" y="216043"/>
                  <a:pt x="91668" y="216559"/>
                  <a:pt x="95416" y="214685"/>
                </a:cubicBezTo>
                <a:cubicBezTo>
                  <a:pt x="99690" y="212548"/>
                  <a:pt x="103069" y="208871"/>
                  <a:pt x="107343" y="206734"/>
                </a:cubicBezTo>
                <a:cubicBezTo>
                  <a:pt x="120666" y="200073"/>
                  <a:pt x="143707" y="200043"/>
                  <a:pt x="155051" y="198783"/>
                </a:cubicBezTo>
                <a:cubicBezTo>
                  <a:pt x="186552" y="188283"/>
                  <a:pt x="180283" y="182565"/>
                  <a:pt x="174929" y="214685"/>
                </a:cubicBezTo>
                <a:cubicBezTo>
                  <a:pt x="173604" y="233238"/>
                  <a:pt x="173712" y="251950"/>
                  <a:pt x="170953" y="270345"/>
                </a:cubicBezTo>
                <a:cubicBezTo>
                  <a:pt x="169710" y="278633"/>
                  <a:pt x="163002" y="294198"/>
                  <a:pt x="163002" y="294198"/>
                </a:cubicBezTo>
                <a:cubicBezTo>
                  <a:pt x="164327" y="302149"/>
                  <a:pt x="164148" y="310504"/>
                  <a:pt x="166978" y="318052"/>
                </a:cubicBezTo>
                <a:cubicBezTo>
                  <a:pt x="168294" y="321562"/>
                  <a:pt x="172588" y="323077"/>
                  <a:pt x="174929" y="326004"/>
                </a:cubicBezTo>
                <a:cubicBezTo>
                  <a:pt x="188006" y="342352"/>
                  <a:pt x="175890" y="335601"/>
                  <a:pt x="194807" y="341906"/>
                </a:cubicBezTo>
                <a:cubicBezTo>
                  <a:pt x="202758" y="340581"/>
                  <a:pt x="211451" y="341536"/>
                  <a:pt x="218661" y="337931"/>
                </a:cubicBezTo>
                <a:cubicBezTo>
                  <a:pt x="225366" y="334578"/>
                  <a:pt x="227452" y="324399"/>
                  <a:pt x="234564" y="322028"/>
                </a:cubicBezTo>
                <a:cubicBezTo>
                  <a:pt x="238540" y="320703"/>
                  <a:pt x="242461" y="319203"/>
                  <a:pt x="246491" y="318052"/>
                </a:cubicBezTo>
                <a:cubicBezTo>
                  <a:pt x="281435" y="308068"/>
                  <a:pt x="245723" y="319634"/>
                  <a:pt x="274320" y="310101"/>
                </a:cubicBezTo>
                <a:cubicBezTo>
                  <a:pt x="278031" y="311338"/>
                  <a:pt x="299652" y="318885"/>
                  <a:pt x="302150" y="318052"/>
                </a:cubicBezTo>
                <a:cubicBezTo>
                  <a:pt x="306683" y="316541"/>
                  <a:pt x="307451" y="310101"/>
                  <a:pt x="310101" y="306125"/>
                </a:cubicBezTo>
                <a:cubicBezTo>
                  <a:pt x="310282" y="305036"/>
                  <a:pt x="313859" y="275935"/>
                  <a:pt x="318052" y="270345"/>
                </a:cubicBezTo>
                <a:cubicBezTo>
                  <a:pt x="323675" y="262848"/>
                  <a:pt x="337931" y="250466"/>
                  <a:pt x="337931" y="250466"/>
                </a:cubicBezTo>
                <a:cubicBezTo>
                  <a:pt x="346173" y="225739"/>
                  <a:pt x="350055" y="225946"/>
                  <a:pt x="341906" y="198783"/>
                </a:cubicBezTo>
                <a:cubicBezTo>
                  <a:pt x="340533" y="194206"/>
                  <a:pt x="338007" y="189388"/>
                  <a:pt x="333955" y="186856"/>
                </a:cubicBezTo>
                <a:cubicBezTo>
                  <a:pt x="326848" y="182414"/>
                  <a:pt x="310101" y="178905"/>
                  <a:pt x="310101" y="178905"/>
                </a:cubicBezTo>
                <a:cubicBezTo>
                  <a:pt x="302263" y="155393"/>
                  <a:pt x="303066" y="163112"/>
                  <a:pt x="310101" y="123245"/>
                </a:cubicBezTo>
                <a:cubicBezTo>
                  <a:pt x="311558" y="114991"/>
                  <a:pt x="318052" y="99392"/>
                  <a:pt x="318052" y="99392"/>
                </a:cubicBezTo>
                <a:cubicBezTo>
                  <a:pt x="316727" y="91441"/>
                  <a:pt x="317682" y="82748"/>
                  <a:pt x="314077" y="75538"/>
                </a:cubicBezTo>
                <a:cubicBezTo>
                  <a:pt x="311940" y="71264"/>
                  <a:pt x="305881" y="70571"/>
                  <a:pt x="302150" y="67586"/>
                </a:cubicBezTo>
                <a:cubicBezTo>
                  <a:pt x="299223" y="65244"/>
                  <a:pt x="296849" y="62285"/>
                  <a:pt x="294198" y="59635"/>
                </a:cubicBezTo>
                <a:cubicBezTo>
                  <a:pt x="287732" y="40238"/>
                  <a:pt x="285757" y="27337"/>
                  <a:pt x="270345" y="11927"/>
                </a:cubicBezTo>
                <a:cubicBezTo>
                  <a:pt x="267694" y="9277"/>
                  <a:pt x="265838" y="5453"/>
                  <a:pt x="262393" y="3976"/>
                </a:cubicBezTo>
                <a:cubicBezTo>
                  <a:pt x="256182" y="1314"/>
                  <a:pt x="249141" y="1325"/>
                  <a:pt x="242515" y="0"/>
                </a:cubicBezTo>
                <a:cubicBezTo>
                  <a:pt x="227938" y="1325"/>
                  <a:pt x="213198" y="1432"/>
                  <a:pt x="198783" y="3976"/>
                </a:cubicBezTo>
                <a:cubicBezTo>
                  <a:pt x="190529" y="5433"/>
                  <a:pt x="183060" y="9894"/>
                  <a:pt x="174929" y="11927"/>
                </a:cubicBezTo>
                <a:cubicBezTo>
                  <a:pt x="169628" y="13252"/>
                  <a:pt x="164280" y="14402"/>
                  <a:pt x="159026" y="15903"/>
                </a:cubicBezTo>
                <a:cubicBezTo>
                  <a:pt x="154997" y="17054"/>
                  <a:pt x="151248" y="19285"/>
                  <a:pt x="147099" y="19878"/>
                </a:cubicBezTo>
                <a:cubicBezTo>
                  <a:pt x="141852" y="20628"/>
                  <a:pt x="127883" y="13915"/>
                  <a:pt x="123245" y="27830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8" name="Freeform 97"/>
          <p:cNvSpPr/>
          <p:nvPr/>
        </p:nvSpPr>
        <p:spPr>
          <a:xfrm>
            <a:off x="5491169" y="958851"/>
            <a:ext cx="92075" cy="114300"/>
          </a:xfrm>
          <a:custGeom>
            <a:avLst/>
            <a:gdLst>
              <a:gd name="connsiteX0" fmla="*/ 0 w 92968"/>
              <a:gd name="connsiteY0" fmla="*/ 0 h 115294"/>
              <a:gd name="connsiteX1" fmla="*/ 47707 w 92968"/>
              <a:gd name="connsiteY1" fmla="*/ 11927 h 115294"/>
              <a:gd name="connsiteX2" fmla="*/ 59634 w 92968"/>
              <a:gd name="connsiteY2" fmla="*/ 15903 h 115294"/>
              <a:gd name="connsiteX3" fmla="*/ 71561 w 92968"/>
              <a:gd name="connsiteY3" fmla="*/ 19878 h 115294"/>
              <a:gd name="connsiteX4" fmla="*/ 83488 w 92968"/>
              <a:gd name="connsiteY4" fmla="*/ 47708 h 115294"/>
              <a:gd name="connsiteX5" fmla="*/ 91440 w 92968"/>
              <a:gd name="connsiteY5" fmla="*/ 71562 h 115294"/>
              <a:gd name="connsiteX6" fmla="*/ 79513 w 92968"/>
              <a:gd name="connsiteY6" fmla="*/ 107343 h 115294"/>
              <a:gd name="connsiteX7" fmla="*/ 55659 w 92968"/>
              <a:gd name="connsiteY7" fmla="*/ 115294 h 115294"/>
              <a:gd name="connsiteX8" fmla="*/ 35781 w 92968"/>
              <a:gd name="connsiteY8" fmla="*/ 111318 h 115294"/>
              <a:gd name="connsiteX9" fmla="*/ 31805 w 92968"/>
              <a:gd name="connsiteY9" fmla="*/ 99391 h 115294"/>
              <a:gd name="connsiteX10" fmla="*/ 23854 w 92968"/>
              <a:gd name="connsiteY10" fmla="*/ 83489 h 115294"/>
              <a:gd name="connsiteX11" fmla="*/ 15902 w 92968"/>
              <a:gd name="connsiteY11" fmla="*/ 51684 h 115294"/>
              <a:gd name="connsiteX12" fmla="*/ 0 w 92968"/>
              <a:gd name="connsiteY12" fmla="*/ 0 h 11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2968" h="115294">
                <a:moveTo>
                  <a:pt x="0" y="0"/>
                </a:moveTo>
                <a:cubicBezTo>
                  <a:pt x="32119" y="5354"/>
                  <a:pt x="16208" y="1427"/>
                  <a:pt x="47707" y="11927"/>
                </a:cubicBezTo>
                <a:lnTo>
                  <a:pt x="59634" y="15903"/>
                </a:lnTo>
                <a:lnTo>
                  <a:pt x="71561" y="19878"/>
                </a:lnTo>
                <a:cubicBezTo>
                  <a:pt x="82078" y="61944"/>
                  <a:pt x="67800" y="12410"/>
                  <a:pt x="83488" y="47708"/>
                </a:cubicBezTo>
                <a:cubicBezTo>
                  <a:pt x="86892" y="55367"/>
                  <a:pt x="91440" y="71562"/>
                  <a:pt x="91440" y="71562"/>
                </a:cubicBezTo>
                <a:cubicBezTo>
                  <a:pt x="89738" y="83476"/>
                  <a:pt x="92968" y="100615"/>
                  <a:pt x="79513" y="107343"/>
                </a:cubicBezTo>
                <a:cubicBezTo>
                  <a:pt x="72016" y="111091"/>
                  <a:pt x="55659" y="115294"/>
                  <a:pt x="55659" y="115294"/>
                </a:cubicBezTo>
                <a:cubicBezTo>
                  <a:pt x="49033" y="113969"/>
                  <a:pt x="41403" y="115066"/>
                  <a:pt x="35781" y="111318"/>
                </a:cubicBezTo>
                <a:cubicBezTo>
                  <a:pt x="32294" y="108993"/>
                  <a:pt x="33456" y="103243"/>
                  <a:pt x="31805" y="99391"/>
                </a:cubicBezTo>
                <a:cubicBezTo>
                  <a:pt x="29470" y="93944"/>
                  <a:pt x="26189" y="88936"/>
                  <a:pt x="23854" y="83489"/>
                </a:cubicBezTo>
                <a:cubicBezTo>
                  <a:pt x="19664" y="73713"/>
                  <a:pt x="17599" y="61867"/>
                  <a:pt x="15902" y="51684"/>
                </a:cubicBezTo>
                <a:cubicBezTo>
                  <a:pt x="11365" y="24460"/>
                  <a:pt x="11927" y="31298"/>
                  <a:pt x="0" y="0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99" name="Freeform 98"/>
          <p:cNvSpPr/>
          <p:nvPr/>
        </p:nvSpPr>
        <p:spPr>
          <a:xfrm>
            <a:off x="5280025" y="975786"/>
            <a:ext cx="127000" cy="63500"/>
          </a:xfrm>
          <a:custGeom>
            <a:avLst/>
            <a:gdLst>
              <a:gd name="connsiteX0" fmla="*/ 123595 w 127571"/>
              <a:gd name="connsiteY0" fmla="*/ 27829 h 63610"/>
              <a:gd name="connsiteX1" fmla="*/ 119620 w 127571"/>
              <a:gd name="connsiteY1" fmla="*/ 7951 h 63610"/>
              <a:gd name="connsiteX2" fmla="*/ 103717 w 127571"/>
              <a:gd name="connsiteY2" fmla="*/ 3975 h 63610"/>
              <a:gd name="connsiteX3" fmla="*/ 91790 w 127571"/>
              <a:gd name="connsiteY3" fmla="*/ 0 h 63610"/>
              <a:gd name="connsiteX4" fmla="*/ 44082 w 127571"/>
              <a:gd name="connsiteY4" fmla="*/ 3975 h 63610"/>
              <a:gd name="connsiteX5" fmla="*/ 36131 w 127571"/>
              <a:gd name="connsiteY5" fmla="*/ 11927 h 63610"/>
              <a:gd name="connsiteX6" fmla="*/ 24204 w 127571"/>
              <a:gd name="connsiteY6" fmla="*/ 19878 h 63610"/>
              <a:gd name="connsiteX7" fmla="*/ 350 w 127571"/>
              <a:gd name="connsiteY7" fmla="*/ 35781 h 63610"/>
              <a:gd name="connsiteX8" fmla="*/ 4326 w 127571"/>
              <a:gd name="connsiteY8" fmla="*/ 55659 h 63610"/>
              <a:gd name="connsiteX9" fmla="*/ 20228 w 127571"/>
              <a:gd name="connsiteY9" fmla="*/ 59635 h 63610"/>
              <a:gd name="connsiteX10" fmla="*/ 32155 w 127571"/>
              <a:gd name="connsiteY10" fmla="*/ 63610 h 63610"/>
              <a:gd name="connsiteX11" fmla="*/ 63961 w 127571"/>
              <a:gd name="connsiteY11" fmla="*/ 59635 h 63610"/>
              <a:gd name="connsiteX12" fmla="*/ 83839 w 127571"/>
              <a:gd name="connsiteY12" fmla="*/ 43732 h 63610"/>
              <a:gd name="connsiteX13" fmla="*/ 95766 w 127571"/>
              <a:gd name="connsiteY13" fmla="*/ 35781 h 63610"/>
              <a:gd name="connsiteX14" fmla="*/ 123595 w 127571"/>
              <a:gd name="connsiteY14" fmla="*/ 27829 h 63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7571" h="63610">
                <a:moveTo>
                  <a:pt x="123595" y="27829"/>
                </a:moveTo>
                <a:cubicBezTo>
                  <a:pt x="127571" y="23191"/>
                  <a:pt x="123946" y="13142"/>
                  <a:pt x="119620" y="7951"/>
                </a:cubicBezTo>
                <a:cubicBezTo>
                  <a:pt x="116122" y="3753"/>
                  <a:pt x="108971" y="5476"/>
                  <a:pt x="103717" y="3975"/>
                </a:cubicBezTo>
                <a:cubicBezTo>
                  <a:pt x="99688" y="2824"/>
                  <a:pt x="95766" y="1325"/>
                  <a:pt x="91790" y="0"/>
                </a:cubicBezTo>
                <a:cubicBezTo>
                  <a:pt x="75887" y="1325"/>
                  <a:pt x="59686" y="631"/>
                  <a:pt x="44082" y="3975"/>
                </a:cubicBezTo>
                <a:cubicBezTo>
                  <a:pt x="40417" y="4760"/>
                  <a:pt x="39058" y="9585"/>
                  <a:pt x="36131" y="11927"/>
                </a:cubicBezTo>
                <a:cubicBezTo>
                  <a:pt x="32400" y="14912"/>
                  <a:pt x="27875" y="16819"/>
                  <a:pt x="24204" y="19878"/>
                </a:cubicBezTo>
                <a:cubicBezTo>
                  <a:pt x="4349" y="36423"/>
                  <a:pt x="21311" y="28793"/>
                  <a:pt x="350" y="35781"/>
                </a:cubicBezTo>
                <a:cubicBezTo>
                  <a:pt x="1675" y="42407"/>
                  <a:pt x="0" y="50468"/>
                  <a:pt x="4326" y="55659"/>
                </a:cubicBezTo>
                <a:cubicBezTo>
                  <a:pt x="7824" y="59856"/>
                  <a:pt x="14974" y="58134"/>
                  <a:pt x="20228" y="59635"/>
                </a:cubicBezTo>
                <a:cubicBezTo>
                  <a:pt x="24257" y="60786"/>
                  <a:pt x="28179" y="62285"/>
                  <a:pt x="32155" y="63610"/>
                </a:cubicBezTo>
                <a:cubicBezTo>
                  <a:pt x="42757" y="62285"/>
                  <a:pt x="53653" y="62446"/>
                  <a:pt x="63961" y="59635"/>
                </a:cubicBezTo>
                <a:cubicBezTo>
                  <a:pt x="73238" y="57105"/>
                  <a:pt x="77033" y="49177"/>
                  <a:pt x="83839" y="43732"/>
                </a:cubicBezTo>
                <a:cubicBezTo>
                  <a:pt x="87570" y="40747"/>
                  <a:pt x="91492" y="37918"/>
                  <a:pt x="95766" y="35781"/>
                </a:cubicBezTo>
                <a:cubicBezTo>
                  <a:pt x="107909" y="29710"/>
                  <a:pt x="119619" y="32467"/>
                  <a:pt x="123595" y="27829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0" name="Freeform 99"/>
          <p:cNvSpPr/>
          <p:nvPr/>
        </p:nvSpPr>
        <p:spPr>
          <a:xfrm>
            <a:off x="4143375" y="1176873"/>
            <a:ext cx="655638" cy="472017"/>
          </a:xfrm>
          <a:custGeom>
            <a:avLst/>
            <a:gdLst>
              <a:gd name="connsiteX0" fmla="*/ 610796 w 654528"/>
              <a:gd name="connsiteY0" fmla="*/ 131855 h 473137"/>
              <a:gd name="connsiteX1" fmla="*/ 630674 w 654528"/>
              <a:gd name="connsiteY1" fmla="*/ 147757 h 473137"/>
              <a:gd name="connsiteX2" fmla="*/ 642601 w 654528"/>
              <a:gd name="connsiteY2" fmla="*/ 171611 h 473137"/>
              <a:gd name="connsiteX3" fmla="*/ 650553 w 654528"/>
              <a:gd name="connsiteY3" fmla="*/ 179562 h 473137"/>
              <a:gd name="connsiteX4" fmla="*/ 654528 w 654528"/>
              <a:gd name="connsiteY4" fmla="*/ 191489 h 473137"/>
              <a:gd name="connsiteX5" fmla="*/ 646577 w 654528"/>
              <a:gd name="connsiteY5" fmla="*/ 251124 h 473137"/>
              <a:gd name="connsiteX6" fmla="*/ 642601 w 654528"/>
              <a:gd name="connsiteY6" fmla="*/ 267027 h 473137"/>
              <a:gd name="connsiteX7" fmla="*/ 626699 w 654528"/>
              <a:gd name="connsiteY7" fmla="*/ 290881 h 473137"/>
              <a:gd name="connsiteX8" fmla="*/ 614772 w 654528"/>
              <a:gd name="connsiteY8" fmla="*/ 314735 h 473137"/>
              <a:gd name="connsiteX9" fmla="*/ 606820 w 654528"/>
              <a:gd name="connsiteY9" fmla="*/ 322686 h 473137"/>
              <a:gd name="connsiteX10" fmla="*/ 594893 w 654528"/>
              <a:gd name="connsiteY10" fmla="*/ 326662 h 473137"/>
              <a:gd name="connsiteX11" fmla="*/ 582966 w 654528"/>
              <a:gd name="connsiteY11" fmla="*/ 334613 h 473137"/>
              <a:gd name="connsiteX12" fmla="*/ 559113 w 654528"/>
              <a:gd name="connsiteY12" fmla="*/ 342564 h 473137"/>
              <a:gd name="connsiteX13" fmla="*/ 547186 w 654528"/>
              <a:gd name="connsiteY13" fmla="*/ 346540 h 473137"/>
              <a:gd name="connsiteX14" fmla="*/ 535259 w 654528"/>
              <a:gd name="connsiteY14" fmla="*/ 350515 h 473137"/>
              <a:gd name="connsiteX15" fmla="*/ 380208 w 654528"/>
              <a:gd name="connsiteY15" fmla="*/ 358467 h 473137"/>
              <a:gd name="connsiteX16" fmla="*/ 368281 w 654528"/>
              <a:gd name="connsiteY16" fmla="*/ 362442 h 473137"/>
              <a:gd name="connsiteX17" fmla="*/ 356354 w 654528"/>
              <a:gd name="connsiteY17" fmla="*/ 382321 h 473137"/>
              <a:gd name="connsiteX18" fmla="*/ 352379 w 654528"/>
              <a:gd name="connsiteY18" fmla="*/ 402199 h 473137"/>
              <a:gd name="connsiteX19" fmla="*/ 312622 w 654528"/>
              <a:gd name="connsiteY19" fmla="*/ 406175 h 473137"/>
              <a:gd name="connsiteX20" fmla="*/ 304671 w 654528"/>
              <a:gd name="connsiteY20" fmla="*/ 418102 h 473137"/>
              <a:gd name="connsiteX21" fmla="*/ 296719 w 654528"/>
              <a:gd name="connsiteY21" fmla="*/ 441955 h 473137"/>
              <a:gd name="connsiteX22" fmla="*/ 272866 w 654528"/>
              <a:gd name="connsiteY22" fmla="*/ 449907 h 473137"/>
              <a:gd name="connsiteX23" fmla="*/ 165523 w 654528"/>
              <a:gd name="connsiteY23" fmla="*/ 434004 h 473137"/>
              <a:gd name="connsiteX24" fmla="*/ 161547 w 654528"/>
              <a:gd name="connsiteY24" fmla="*/ 418102 h 473137"/>
              <a:gd name="connsiteX25" fmla="*/ 173474 w 654528"/>
              <a:gd name="connsiteY25" fmla="*/ 390272 h 473137"/>
              <a:gd name="connsiteX26" fmla="*/ 197328 w 654528"/>
              <a:gd name="connsiteY26" fmla="*/ 382321 h 473137"/>
              <a:gd name="connsiteX27" fmla="*/ 221182 w 654528"/>
              <a:gd name="connsiteY27" fmla="*/ 370394 h 473137"/>
              <a:gd name="connsiteX28" fmla="*/ 233109 w 654528"/>
              <a:gd name="connsiteY28" fmla="*/ 362442 h 473137"/>
              <a:gd name="connsiteX29" fmla="*/ 256963 w 654528"/>
              <a:gd name="connsiteY29" fmla="*/ 354491 h 473137"/>
              <a:gd name="connsiteX30" fmla="*/ 268890 w 654528"/>
              <a:gd name="connsiteY30" fmla="*/ 350515 h 473137"/>
              <a:gd name="connsiteX31" fmla="*/ 292744 w 654528"/>
              <a:gd name="connsiteY31" fmla="*/ 334613 h 473137"/>
              <a:gd name="connsiteX32" fmla="*/ 304671 w 654528"/>
              <a:gd name="connsiteY32" fmla="*/ 326662 h 473137"/>
              <a:gd name="connsiteX33" fmla="*/ 324549 w 654528"/>
              <a:gd name="connsiteY33" fmla="*/ 310759 h 473137"/>
              <a:gd name="connsiteX34" fmla="*/ 336476 w 654528"/>
              <a:gd name="connsiteY34" fmla="*/ 306783 h 473137"/>
              <a:gd name="connsiteX35" fmla="*/ 348403 w 654528"/>
              <a:gd name="connsiteY35" fmla="*/ 294856 h 473137"/>
              <a:gd name="connsiteX36" fmla="*/ 344427 w 654528"/>
              <a:gd name="connsiteY36" fmla="*/ 255100 h 473137"/>
              <a:gd name="connsiteX37" fmla="*/ 316598 w 654528"/>
              <a:gd name="connsiteY37" fmla="*/ 259075 h 473137"/>
              <a:gd name="connsiteX38" fmla="*/ 304671 w 654528"/>
              <a:gd name="connsiteY38" fmla="*/ 263051 h 473137"/>
              <a:gd name="connsiteX39" fmla="*/ 169499 w 654528"/>
              <a:gd name="connsiteY39" fmla="*/ 259075 h 473137"/>
              <a:gd name="connsiteX40" fmla="*/ 161547 w 654528"/>
              <a:gd name="connsiteY40" fmla="*/ 251124 h 473137"/>
              <a:gd name="connsiteX41" fmla="*/ 117815 w 654528"/>
              <a:gd name="connsiteY41" fmla="*/ 247148 h 473137"/>
              <a:gd name="connsiteX42" fmla="*/ 101913 w 654528"/>
              <a:gd name="connsiteY42" fmla="*/ 255100 h 473137"/>
              <a:gd name="connsiteX43" fmla="*/ 89986 w 654528"/>
              <a:gd name="connsiteY43" fmla="*/ 263051 h 473137"/>
              <a:gd name="connsiteX44" fmla="*/ 78059 w 654528"/>
              <a:gd name="connsiteY44" fmla="*/ 267027 h 473137"/>
              <a:gd name="connsiteX45" fmla="*/ 66132 w 654528"/>
              <a:gd name="connsiteY45" fmla="*/ 263051 h 473137"/>
              <a:gd name="connsiteX46" fmla="*/ 54205 w 654528"/>
              <a:gd name="connsiteY46" fmla="*/ 243173 h 473137"/>
              <a:gd name="connsiteX47" fmla="*/ 46253 w 654528"/>
              <a:gd name="connsiteY47" fmla="*/ 235222 h 473137"/>
              <a:gd name="connsiteX48" fmla="*/ 42278 w 654528"/>
              <a:gd name="connsiteY48" fmla="*/ 223295 h 473137"/>
              <a:gd name="connsiteX49" fmla="*/ 22399 w 654528"/>
              <a:gd name="connsiteY49" fmla="*/ 207392 h 473137"/>
              <a:gd name="connsiteX50" fmla="*/ 18424 w 654528"/>
              <a:gd name="connsiteY50" fmla="*/ 195465 h 473137"/>
              <a:gd name="connsiteX51" fmla="*/ 6497 w 654528"/>
              <a:gd name="connsiteY51" fmla="*/ 187514 h 473137"/>
              <a:gd name="connsiteX52" fmla="*/ 26375 w 654528"/>
              <a:gd name="connsiteY52" fmla="*/ 159684 h 473137"/>
              <a:gd name="connsiteX53" fmla="*/ 46253 w 654528"/>
              <a:gd name="connsiteY53" fmla="*/ 135830 h 473137"/>
              <a:gd name="connsiteX54" fmla="*/ 62156 w 654528"/>
              <a:gd name="connsiteY54" fmla="*/ 111976 h 473137"/>
              <a:gd name="connsiteX55" fmla="*/ 78059 w 654528"/>
              <a:gd name="connsiteY55" fmla="*/ 108001 h 473137"/>
              <a:gd name="connsiteX56" fmla="*/ 109864 w 654528"/>
              <a:gd name="connsiteY56" fmla="*/ 92098 h 473137"/>
              <a:gd name="connsiteX57" fmla="*/ 137693 w 654528"/>
              <a:gd name="connsiteY57" fmla="*/ 56317 h 473137"/>
              <a:gd name="connsiteX58" fmla="*/ 145645 w 654528"/>
              <a:gd name="connsiteY58" fmla="*/ 32463 h 473137"/>
              <a:gd name="connsiteX59" fmla="*/ 149620 w 654528"/>
              <a:gd name="connsiteY59" fmla="*/ 4634 h 473137"/>
              <a:gd name="connsiteX60" fmla="*/ 165523 w 654528"/>
              <a:gd name="connsiteY60" fmla="*/ 658 h 473137"/>
              <a:gd name="connsiteX61" fmla="*/ 213231 w 654528"/>
              <a:gd name="connsiteY61" fmla="*/ 12585 h 473137"/>
              <a:gd name="connsiteX62" fmla="*/ 229133 w 654528"/>
              <a:gd name="connsiteY62" fmla="*/ 16561 h 473137"/>
              <a:gd name="connsiteX63" fmla="*/ 241060 w 654528"/>
              <a:gd name="connsiteY63" fmla="*/ 24512 h 473137"/>
              <a:gd name="connsiteX64" fmla="*/ 249012 w 654528"/>
              <a:gd name="connsiteY64" fmla="*/ 36439 h 473137"/>
              <a:gd name="connsiteX65" fmla="*/ 260939 w 654528"/>
              <a:gd name="connsiteY65" fmla="*/ 40415 h 473137"/>
              <a:gd name="connsiteX66" fmla="*/ 272866 w 654528"/>
              <a:gd name="connsiteY66" fmla="*/ 48366 h 473137"/>
              <a:gd name="connsiteX67" fmla="*/ 284793 w 654528"/>
              <a:gd name="connsiteY67" fmla="*/ 52342 h 473137"/>
              <a:gd name="connsiteX68" fmla="*/ 300695 w 654528"/>
              <a:gd name="connsiteY68" fmla="*/ 60293 h 473137"/>
              <a:gd name="connsiteX69" fmla="*/ 304671 w 654528"/>
              <a:gd name="connsiteY69" fmla="*/ 72220 h 473137"/>
              <a:gd name="connsiteX70" fmla="*/ 312622 w 654528"/>
              <a:gd name="connsiteY70" fmla="*/ 84147 h 473137"/>
              <a:gd name="connsiteX71" fmla="*/ 316598 w 654528"/>
              <a:gd name="connsiteY71" fmla="*/ 100049 h 473137"/>
              <a:gd name="connsiteX72" fmla="*/ 320573 w 654528"/>
              <a:gd name="connsiteY72" fmla="*/ 111976 h 473137"/>
              <a:gd name="connsiteX73" fmla="*/ 340452 w 654528"/>
              <a:gd name="connsiteY73" fmla="*/ 175587 h 473137"/>
              <a:gd name="connsiteX74" fmla="*/ 352379 w 654528"/>
              <a:gd name="connsiteY74" fmla="*/ 179562 h 473137"/>
              <a:gd name="connsiteX75" fmla="*/ 380208 w 654528"/>
              <a:gd name="connsiteY75" fmla="*/ 211368 h 473137"/>
              <a:gd name="connsiteX76" fmla="*/ 384184 w 654528"/>
              <a:gd name="connsiteY76" fmla="*/ 223295 h 473137"/>
              <a:gd name="connsiteX77" fmla="*/ 419965 w 654528"/>
              <a:gd name="connsiteY77" fmla="*/ 243173 h 473137"/>
              <a:gd name="connsiteX78" fmla="*/ 483575 w 654528"/>
              <a:gd name="connsiteY78" fmla="*/ 239197 h 473137"/>
              <a:gd name="connsiteX79" fmla="*/ 479599 w 654528"/>
              <a:gd name="connsiteY79" fmla="*/ 227270 h 473137"/>
              <a:gd name="connsiteX80" fmla="*/ 467673 w 654528"/>
              <a:gd name="connsiteY80" fmla="*/ 219319 h 473137"/>
              <a:gd name="connsiteX81" fmla="*/ 451770 w 654528"/>
              <a:gd name="connsiteY81" fmla="*/ 199441 h 473137"/>
              <a:gd name="connsiteX82" fmla="*/ 447794 w 654528"/>
              <a:gd name="connsiteY82" fmla="*/ 187514 h 473137"/>
              <a:gd name="connsiteX83" fmla="*/ 439843 w 654528"/>
              <a:gd name="connsiteY83" fmla="*/ 179562 h 473137"/>
              <a:gd name="connsiteX84" fmla="*/ 427916 w 654528"/>
              <a:gd name="connsiteY84" fmla="*/ 131855 h 473137"/>
              <a:gd name="connsiteX85" fmla="*/ 419965 w 654528"/>
              <a:gd name="connsiteY85" fmla="*/ 123903 h 473137"/>
              <a:gd name="connsiteX86" fmla="*/ 423940 w 654528"/>
              <a:gd name="connsiteY86" fmla="*/ 84147 h 473137"/>
              <a:gd name="connsiteX87" fmla="*/ 435867 w 654528"/>
              <a:gd name="connsiteY87" fmla="*/ 76195 h 473137"/>
              <a:gd name="connsiteX88" fmla="*/ 443819 w 654528"/>
              <a:gd name="connsiteY88" fmla="*/ 68244 h 473137"/>
              <a:gd name="connsiteX89" fmla="*/ 447794 w 654528"/>
              <a:gd name="connsiteY89" fmla="*/ 56317 h 473137"/>
              <a:gd name="connsiteX90" fmla="*/ 479599 w 654528"/>
              <a:gd name="connsiteY90" fmla="*/ 32463 h 473137"/>
              <a:gd name="connsiteX91" fmla="*/ 487551 w 654528"/>
              <a:gd name="connsiteY91" fmla="*/ 40415 h 473137"/>
              <a:gd name="connsiteX92" fmla="*/ 499478 w 654528"/>
              <a:gd name="connsiteY92" fmla="*/ 84147 h 473137"/>
              <a:gd name="connsiteX93" fmla="*/ 503453 w 654528"/>
              <a:gd name="connsiteY93" fmla="*/ 127879 h 473137"/>
              <a:gd name="connsiteX94" fmla="*/ 531283 w 654528"/>
              <a:gd name="connsiteY94" fmla="*/ 155708 h 473137"/>
              <a:gd name="connsiteX95" fmla="*/ 539234 w 654528"/>
              <a:gd name="connsiteY95" fmla="*/ 167635 h 473137"/>
              <a:gd name="connsiteX96" fmla="*/ 547186 w 654528"/>
              <a:gd name="connsiteY96" fmla="*/ 195465 h 473137"/>
              <a:gd name="connsiteX97" fmla="*/ 575015 w 654528"/>
              <a:gd name="connsiteY97" fmla="*/ 179562 h 473137"/>
              <a:gd name="connsiteX98" fmla="*/ 586942 w 654528"/>
              <a:gd name="connsiteY98" fmla="*/ 171611 h 473137"/>
              <a:gd name="connsiteX99" fmla="*/ 590918 w 654528"/>
              <a:gd name="connsiteY99" fmla="*/ 159684 h 473137"/>
              <a:gd name="connsiteX100" fmla="*/ 610796 w 654528"/>
              <a:gd name="connsiteY100" fmla="*/ 131855 h 473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654528" h="473137">
                <a:moveTo>
                  <a:pt x="610796" y="131855"/>
                </a:moveTo>
                <a:cubicBezTo>
                  <a:pt x="617422" y="129867"/>
                  <a:pt x="624674" y="141757"/>
                  <a:pt x="630674" y="147757"/>
                </a:cubicBezTo>
                <a:cubicBezTo>
                  <a:pt x="645760" y="162842"/>
                  <a:pt x="632898" y="155439"/>
                  <a:pt x="642601" y="171611"/>
                </a:cubicBezTo>
                <a:cubicBezTo>
                  <a:pt x="644530" y="174825"/>
                  <a:pt x="647902" y="176912"/>
                  <a:pt x="650553" y="179562"/>
                </a:cubicBezTo>
                <a:cubicBezTo>
                  <a:pt x="651878" y="183538"/>
                  <a:pt x="654528" y="187298"/>
                  <a:pt x="654528" y="191489"/>
                </a:cubicBezTo>
                <a:cubicBezTo>
                  <a:pt x="654528" y="245422"/>
                  <a:pt x="654464" y="223520"/>
                  <a:pt x="646577" y="251124"/>
                </a:cubicBezTo>
                <a:cubicBezTo>
                  <a:pt x="645076" y="256378"/>
                  <a:pt x="645045" y="262140"/>
                  <a:pt x="642601" y="267027"/>
                </a:cubicBezTo>
                <a:cubicBezTo>
                  <a:pt x="638327" y="275574"/>
                  <a:pt x="629721" y="281815"/>
                  <a:pt x="626699" y="290881"/>
                </a:cubicBezTo>
                <a:cubicBezTo>
                  <a:pt x="622500" y="303477"/>
                  <a:pt x="623579" y="303727"/>
                  <a:pt x="614772" y="314735"/>
                </a:cubicBezTo>
                <a:cubicBezTo>
                  <a:pt x="612430" y="317662"/>
                  <a:pt x="610034" y="320758"/>
                  <a:pt x="606820" y="322686"/>
                </a:cubicBezTo>
                <a:cubicBezTo>
                  <a:pt x="603226" y="324842"/>
                  <a:pt x="598641" y="324788"/>
                  <a:pt x="594893" y="326662"/>
                </a:cubicBezTo>
                <a:cubicBezTo>
                  <a:pt x="590619" y="328799"/>
                  <a:pt x="587332" y="332672"/>
                  <a:pt x="582966" y="334613"/>
                </a:cubicBezTo>
                <a:cubicBezTo>
                  <a:pt x="575307" y="338017"/>
                  <a:pt x="567064" y="339914"/>
                  <a:pt x="559113" y="342564"/>
                </a:cubicBezTo>
                <a:lnTo>
                  <a:pt x="547186" y="346540"/>
                </a:lnTo>
                <a:lnTo>
                  <a:pt x="535259" y="350515"/>
                </a:lnTo>
                <a:cubicBezTo>
                  <a:pt x="478047" y="369585"/>
                  <a:pt x="527611" y="354372"/>
                  <a:pt x="380208" y="358467"/>
                </a:cubicBezTo>
                <a:cubicBezTo>
                  <a:pt x="376232" y="359792"/>
                  <a:pt x="371874" y="360286"/>
                  <a:pt x="368281" y="362442"/>
                </a:cubicBezTo>
                <a:cubicBezTo>
                  <a:pt x="360010" y="367405"/>
                  <a:pt x="358561" y="373493"/>
                  <a:pt x="356354" y="382321"/>
                </a:cubicBezTo>
                <a:cubicBezTo>
                  <a:pt x="354715" y="388876"/>
                  <a:pt x="358311" y="398963"/>
                  <a:pt x="352379" y="402199"/>
                </a:cubicBezTo>
                <a:cubicBezTo>
                  <a:pt x="340687" y="408577"/>
                  <a:pt x="325874" y="404850"/>
                  <a:pt x="312622" y="406175"/>
                </a:cubicBezTo>
                <a:cubicBezTo>
                  <a:pt x="309972" y="410151"/>
                  <a:pt x="306612" y="413736"/>
                  <a:pt x="304671" y="418102"/>
                </a:cubicBezTo>
                <a:cubicBezTo>
                  <a:pt x="301267" y="425761"/>
                  <a:pt x="304670" y="439304"/>
                  <a:pt x="296719" y="441955"/>
                </a:cubicBezTo>
                <a:lnTo>
                  <a:pt x="272866" y="449907"/>
                </a:lnTo>
                <a:cubicBezTo>
                  <a:pt x="235118" y="448397"/>
                  <a:pt x="182295" y="473137"/>
                  <a:pt x="165523" y="434004"/>
                </a:cubicBezTo>
                <a:cubicBezTo>
                  <a:pt x="163371" y="428982"/>
                  <a:pt x="162872" y="423403"/>
                  <a:pt x="161547" y="418102"/>
                </a:cubicBezTo>
                <a:cubicBezTo>
                  <a:pt x="163425" y="410589"/>
                  <a:pt x="165340" y="395356"/>
                  <a:pt x="173474" y="390272"/>
                </a:cubicBezTo>
                <a:cubicBezTo>
                  <a:pt x="180581" y="385830"/>
                  <a:pt x="197328" y="382321"/>
                  <a:pt x="197328" y="382321"/>
                </a:cubicBezTo>
                <a:cubicBezTo>
                  <a:pt x="213331" y="366316"/>
                  <a:pt x="195536" y="381385"/>
                  <a:pt x="221182" y="370394"/>
                </a:cubicBezTo>
                <a:cubicBezTo>
                  <a:pt x="225574" y="368512"/>
                  <a:pt x="228743" y="364383"/>
                  <a:pt x="233109" y="362442"/>
                </a:cubicBezTo>
                <a:cubicBezTo>
                  <a:pt x="240768" y="359038"/>
                  <a:pt x="249012" y="357141"/>
                  <a:pt x="256963" y="354491"/>
                </a:cubicBezTo>
                <a:cubicBezTo>
                  <a:pt x="260939" y="353166"/>
                  <a:pt x="265403" y="352840"/>
                  <a:pt x="268890" y="350515"/>
                </a:cubicBezTo>
                <a:lnTo>
                  <a:pt x="292744" y="334613"/>
                </a:lnTo>
                <a:cubicBezTo>
                  <a:pt x="296720" y="331963"/>
                  <a:pt x="301293" y="330041"/>
                  <a:pt x="304671" y="326662"/>
                </a:cubicBezTo>
                <a:cubicBezTo>
                  <a:pt x="312068" y="319264"/>
                  <a:pt x="314516" y="315775"/>
                  <a:pt x="324549" y="310759"/>
                </a:cubicBezTo>
                <a:cubicBezTo>
                  <a:pt x="328297" y="308885"/>
                  <a:pt x="332500" y="308108"/>
                  <a:pt x="336476" y="306783"/>
                </a:cubicBezTo>
                <a:cubicBezTo>
                  <a:pt x="340452" y="302807"/>
                  <a:pt x="345284" y="299534"/>
                  <a:pt x="348403" y="294856"/>
                </a:cubicBezTo>
                <a:cubicBezTo>
                  <a:pt x="357538" y="281154"/>
                  <a:pt x="348678" y="269975"/>
                  <a:pt x="344427" y="255100"/>
                </a:cubicBezTo>
                <a:cubicBezTo>
                  <a:pt x="335151" y="256425"/>
                  <a:pt x="325787" y="257237"/>
                  <a:pt x="316598" y="259075"/>
                </a:cubicBezTo>
                <a:cubicBezTo>
                  <a:pt x="312489" y="259897"/>
                  <a:pt x="308862" y="263051"/>
                  <a:pt x="304671" y="263051"/>
                </a:cubicBezTo>
                <a:cubicBezTo>
                  <a:pt x="259594" y="263051"/>
                  <a:pt x="214556" y="260400"/>
                  <a:pt x="169499" y="259075"/>
                </a:cubicBezTo>
                <a:cubicBezTo>
                  <a:pt x="166848" y="256425"/>
                  <a:pt x="164666" y="253203"/>
                  <a:pt x="161547" y="251124"/>
                </a:cubicBezTo>
                <a:cubicBezTo>
                  <a:pt x="142263" y="238268"/>
                  <a:pt x="143607" y="243464"/>
                  <a:pt x="117815" y="247148"/>
                </a:cubicBezTo>
                <a:cubicBezTo>
                  <a:pt x="112514" y="249799"/>
                  <a:pt x="107059" y="252160"/>
                  <a:pt x="101913" y="255100"/>
                </a:cubicBezTo>
                <a:cubicBezTo>
                  <a:pt x="97764" y="257471"/>
                  <a:pt x="94260" y="260914"/>
                  <a:pt x="89986" y="263051"/>
                </a:cubicBezTo>
                <a:cubicBezTo>
                  <a:pt x="86238" y="264925"/>
                  <a:pt x="82035" y="265702"/>
                  <a:pt x="78059" y="267027"/>
                </a:cubicBezTo>
                <a:cubicBezTo>
                  <a:pt x="74083" y="265702"/>
                  <a:pt x="69726" y="265207"/>
                  <a:pt x="66132" y="263051"/>
                </a:cubicBezTo>
                <a:cubicBezTo>
                  <a:pt x="53537" y="255494"/>
                  <a:pt x="61243" y="254903"/>
                  <a:pt x="54205" y="243173"/>
                </a:cubicBezTo>
                <a:cubicBezTo>
                  <a:pt x="52276" y="239959"/>
                  <a:pt x="48904" y="237872"/>
                  <a:pt x="46253" y="235222"/>
                </a:cubicBezTo>
                <a:cubicBezTo>
                  <a:pt x="44928" y="231246"/>
                  <a:pt x="44434" y="226888"/>
                  <a:pt x="42278" y="223295"/>
                </a:cubicBezTo>
                <a:cubicBezTo>
                  <a:pt x="38501" y="217000"/>
                  <a:pt x="27817" y="211004"/>
                  <a:pt x="22399" y="207392"/>
                </a:cubicBezTo>
                <a:cubicBezTo>
                  <a:pt x="21074" y="203416"/>
                  <a:pt x="21042" y="198737"/>
                  <a:pt x="18424" y="195465"/>
                </a:cubicBezTo>
                <a:cubicBezTo>
                  <a:pt x="15439" y="191734"/>
                  <a:pt x="7810" y="192108"/>
                  <a:pt x="6497" y="187514"/>
                </a:cubicBezTo>
                <a:cubicBezTo>
                  <a:pt x="0" y="164772"/>
                  <a:pt x="14633" y="168071"/>
                  <a:pt x="26375" y="159684"/>
                </a:cubicBezTo>
                <a:cubicBezTo>
                  <a:pt x="33214" y="154799"/>
                  <a:pt x="42378" y="143580"/>
                  <a:pt x="46253" y="135830"/>
                </a:cubicBezTo>
                <a:cubicBezTo>
                  <a:pt x="52704" y="122928"/>
                  <a:pt x="46331" y="121019"/>
                  <a:pt x="62156" y="111976"/>
                </a:cubicBezTo>
                <a:cubicBezTo>
                  <a:pt x="66900" y="109265"/>
                  <a:pt x="72805" y="109502"/>
                  <a:pt x="78059" y="108001"/>
                </a:cubicBezTo>
                <a:cubicBezTo>
                  <a:pt x="91227" y="104239"/>
                  <a:pt x="97620" y="101281"/>
                  <a:pt x="109864" y="92098"/>
                </a:cubicBezTo>
                <a:cubicBezTo>
                  <a:pt x="119012" y="85237"/>
                  <a:pt x="134880" y="64754"/>
                  <a:pt x="137693" y="56317"/>
                </a:cubicBezTo>
                <a:lnTo>
                  <a:pt x="145645" y="32463"/>
                </a:lnTo>
                <a:cubicBezTo>
                  <a:pt x="146970" y="23187"/>
                  <a:pt x="144654" y="12580"/>
                  <a:pt x="149620" y="4634"/>
                </a:cubicBezTo>
                <a:cubicBezTo>
                  <a:pt x="152516" y="0"/>
                  <a:pt x="160059" y="658"/>
                  <a:pt x="165523" y="658"/>
                </a:cubicBezTo>
                <a:cubicBezTo>
                  <a:pt x="186323" y="658"/>
                  <a:pt x="193501" y="7652"/>
                  <a:pt x="213231" y="12585"/>
                </a:cubicBezTo>
                <a:lnTo>
                  <a:pt x="229133" y="16561"/>
                </a:lnTo>
                <a:cubicBezTo>
                  <a:pt x="233109" y="19211"/>
                  <a:pt x="237681" y="21133"/>
                  <a:pt x="241060" y="24512"/>
                </a:cubicBezTo>
                <a:cubicBezTo>
                  <a:pt x="244439" y="27891"/>
                  <a:pt x="245281" y="33454"/>
                  <a:pt x="249012" y="36439"/>
                </a:cubicBezTo>
                <a:cubicBezTo>
                  <a:pt x="252284" y="39057"/>
                  <a:pt x="257191" y="38541"/>
                  <a:pt x="260939" y="40415"/>
                </a:cubicBezTo>
                <a:cubicBezTo>
                  <a:pt x="265213" y="42552"/>
                  <a:pt x="268592" y="46229"/>
                  <a:pt x="272866" y="48366"/>
                </a:cubicBezTo>
                <a:cubicBezTo>
                  <a:pt x="276614" y="50240"/>
                  <a:pt x="280941" y="50691"/>
                  <a:pt x="284793" y="52342"/>
                </a:cubicBezTo>
                <a:cubicBezTo>
                  <a:pt x="290240" y="54677"/>
                  <a:pt x="295394" y="57643"/>
                  <a:pt x="300695" y="60293"/>
                </a:cubicBezTo>
                <a:cubicBezTo>
                  <a:pt x="302020" y="64269"/>
                  <a:pt x="302797" y="68472"/>
                  <a:pt x="304671" y="72220"/>
                </a:cubicBezTo>
                <a:cubicBezTo>
                  <a:pt x="306808" y="76494"/>
                  <a:pt x="310740" y="79755"/>
                  <a:pt x="312622" y="84147"/>
                </a:cubicBezTo>
                <a:cubicBezTo>
                  <a:pt x="314774" y="89169"/>
                  <a:pt x="315097" y="94795"/>
                  <a:pt x="316598" y="100049"/>
                </a:cubicBezTo>
                <a:cubicBezTo>
                  <a:pt x="317749" y="104078"/>
                  <a:pt x="319248" y="108000"/>
                  <a:pt x="320573" y="111976"/>
                </a:cubicBezTo>
                <a:cubicBezTo>
                  <a:pt x="325083" y="141288"/>
                  <a:pt x="317586" y="160343"/>
                  <a:pt x="340452" y="175587"/>
                </a:cubicBezTo>
                <a:cubicBezTo>
                  <a:pt x="343939" y="177911"/>
                  <a:pt x="348403" y="178237"/>
                  <a:pt x="352379" y="179562"/>
                </a:cubicBezTo>
                <a:cubicBezTo>
                  <a:pt x="366294" y="188839"/>
                  <a:pt x="373581" y="191489"/>
                  <a:pt x="380208" y="211368"/>
                </a:cubicBezTo>
                <a:cubicBezTo>
                  <a:pt x="381533" y="215344"/>
                  <a:pt x="381221" y="220332"/>
                  <a:pt x="384184" y="223295"/>
                </a:cubicBezTo>
                <a:cubicBezTo>
                  <a:pt x="397853" y="236964"/>
                  <a:pt x="404968" y="238173"/>
                  <a:pt x="419965" y="243173"/>
                </a:cubicBezTo>
                <a:cubicBezTo>
                  <a:pt x="441168" y="241848"/>
                  <a:pt x="463048" y="244671"/>
                  <a:pt x="483575" y="239197"/>
                </a:cubicBezTo>
                <a:cubicBezTo>
                  <a:pt x="487624" y="238117"/>
                  <a:pt x="482217" y="230542"/>
                  <a:pt x="479599" y="227270"/>
                </a:cubicBezTo>
                <a:cubicBezTo>
                  <a:pt x="476614" y="223539"/>
                  <a:pt x="471404" y="222304"/>
                  <a:pt x="467673" y="219319"/>
                </a:cubicBezTo>
                <a:cubicBezTo>
                  <a:pt x="461508" y="214387"/>
                  <a:pt x="455216" y="206332"/>
                  <a:pt x="451770" y="199441"/>
                </a:cubicBezTo>
                <a:cubicBezTo>
                  <a:pt x="449896" y="195693"/>
                  <a:pt x="449950" y="191108"/>
                  <a:pt x="447794" y="187514"/>
                </a:cubicBezTo>
                <a:cubicBezTo>
                  <a:pt x="445866" y="184300"/>
                  <a:pt x="442493" y="182213"/>
                  <a:pt x="439843" y="179562"/>
                </a:cubicBezTo>
                <a:cubicBezTo>
                  <a:pt x="438529" y="171678"/>
                  <a:pt x="434216" y="138156"/>
                  <a:pt x="427916" y="131855"/>
                </a:cubicBezTo>
                <a:lnTo>
                  <a:pt x="419965" y="123903"/>
                </a:lnTo>
                <a:cubicBezTo>
                  <a:pt x="414338" y="107025"/>
                  <a:pt x="411614" y="106335"/>
                  <a:pt x="423940" y="84147"/>
                </a:cubicBezTo>
                <a:cubicBezTo>
                  <a:pt x="426261" y="79970"/>
                  <a:pt x="432136" y="79180"/>
                  <a:pt x="435867" y="76195"/>
                </a:cubicBezTo>
                <a:cubicBezTo>
                  <a:pt x="438794" y="73853"/>
                  <a:pt x="441168" y="70894"/>
                  <a:pt x="443819" y="68244"/>
                </a:cubicBezTo>
                <a:cubicBezTo>
                  <a:pt x="445144" y="64268"/>
                  <a:pt x="445280" y="59670"/>
                  <a:pt x="447794" y="56317"/>
                </a:cubicBezTo>
                <a:cubicBezTo>
                  <a:pt x="463021" y="36015"/>
                  <a:pt x="462189" y="38267"/>
                  <a:pt x="479599" y="32463"/>
                </a:cubicBezTo>
                <a:cubicBezTo>
                  <a:pt x="482250" y="35114"/>
                  <a:pt x="485875" y="37062"/>
                  <a:pt x="487551" y="40415"/>
                </a:cubicBezTo>
                <a:cubicBezTo>
                  <a:pt x="494276" y="53864"/>
                  <a:pt x="496570" y="69607"/>
                  <a:pt x="499478" y="84147"/>
                </a:cubicBezTo>
                <a:cubicBezTo>
                  <a:pt x="500803" y="98724"/>
                  <a:pt x="498824" y="113993"/>
                  <a:pt x="503453" y="127879"/>
                </a:cubicBezTo>
                <a:cubicBezTo>
                  <a:pt x="504486" y="130977"/>
                  <a:pt x="528188" y="151066"/>
                  <a:pt x="531283" y="155708"/>
                </a:cubicBezTo>
                <a:cubicBezTo>
                  <a:pt x="533933" y="159684"/>
                  <a:pt x="537097" y="163361"/>
                  <a:pt x="539234" y="167635"/>
                </a:cubicBezTo>
                <a:cubicBezTo>
                  <a:pt x="542086" y="173340"/>
                  <a:pt x="545912" y="190368"/>
                  <a:pt x="547186" y="195465"/>
                </a:cubicBezTo>
                <a:cubicBezTo>
                  <a:pt x="576244" y="176094"/>
                  <a:pt x="539707" y="199739"/>
                  <a:pt x="575015" y="179562"/>
                </a:cubicBezTo>
                <a:cubicBezTo>
                  <a:pt x="579164" y="177191"/>
                  <a:pt x="582966" y="174261"/>
                  <a:pt x="586942" y="171611"/>
                </a:cubicBezTo>
                <a:cubicBezTo>
                  <a:pt x="588267" y="167635"/>
                  <a:pt x="587955" y="162647"/>
                  <a:pt x="590918" y="159684"/>
                </a:cubicBezTo>
                <a:cubicBezTo>
                  <a:pt x="607556" y="143047"/>
                  <a:pt x="604170" y="133843"/>
                  <a:pt x="610796" y="131855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1" name="Freeform 100"/>
          <p:cNvSpPr/>
          <p:nvPr/>
        </p:nvSpPr>
        <p:spPr>
          <a:xfrm>
            <a:off x="4824417" y="1206504"/>
            <a:ext cx="111125" cy="69851"/>
          </a:xfrm>
          <a:custGeom>
            <a:avLst/>
            <a:gdLst>
              <a:gd name="connsiteX0" fmla="*/ 5301 w 110542"/>
              <a:gd name="connsiteY0" fmla="*/ 6626 h 71008"/>
              <a:gd name="connsiteX1" fmla="*/ 45058 w 110542"/>
              <a:gd name="connsiteY1" fmla="*/ 14577 h 71008"/>
              <a:gd name="connsiteX2" fmla="*/ 56985 w 110542"/>
              <a:gd name="connsiteY2" fmla="*/ 18553 h 71008"/>
              <a:gd name="connsiteX3" fmla="*/ 80839 w 110542"/>
              <a:gd name="connsiteY3" fmla="*/ 30480 h 71008"/>
              <a:gd name="connsiteX4" fmla="*/ 96741 w 110542"/>
              <a:gd name="connsiteY4" fmla="*/ 42407 h 71008"/>
              <a:gd name="connsiteX5" fmla="*/ 108668 w 110542"/>
              <a:gd name="connsiteY5" fmla="*/ 46382 h 71008"/>
              <a:gd name="connsiteX6" fmla="*/ 104693 w 110542"/>
              <a:gd name="connsiteY6" fmla="*/ 58309 h 71008"/>
              <a:gd name="connsiteX7" fmla="*/ 80839 w 110542"/>
              <a:gd name="connsiteY7" fmla="*/ 66261 h 71008"/>
              <a:gd name="connsiteX8" fmla="*/ 68912 w 110542"/>
              <a:gd name="connsiteY8" fmla="*/ 70236 h 71008"/>
              <a:gd name="connsiteX9" fmla="*/ 17228 w 110542"/>
              <a:gd name="connsiteY9" fmla="*/ 66261 h 71008"/>
              <a:gd name="connsiteX10" fmla="*/ 13253 w 110542"/>
              <a:gd name="connsiteY10" fmla="*/ 54334 h 71008"/>
              <a:gd name="connsiteX11" fmla="*/ 5301 w 110542"/>
              <a:gd name="connsiteY11" fmla="*/ 6626 h 710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0542" h="71008">
                <a:moveTo>
                  <a:pt x="5301" y="6626"/>
                </a:moveTo>
                <a:cubicBezTo>
                  <a:pt x="10602" y="0"/>
                  <a:pt x="31889" y="11538"/>
                  <a:pt x="45058" y="14577"/>
                </a:cubicBezTo>
                <a:cubicBezTo>
                  <a:pt x="49141" y="15519"/>
                  <a:pt x="53237" y="16679"/>
                  <a:pt x="56985" y="18553"/>
                </a:cubicBezTo>
                <a:cubicBezTo>
                  <a:pt x="87813" y="33967"/>
                  <a:pt x="50860" y="20486"/>
                  <a:pt x="80839" y="30480"/>
                </a:cubicBezTo>
                <a:cubicBezTo>
                  <a:pt x="86140" y="34456"/>
                  <a:pt x="90988" y="39120"/>
                  <a:pt x="96741" y="42407"/>
                </a:cubicBezTo>
                <a:cubicBezTo>
                  <a:pt x="100380" y="44486"/>
                  <a:pt x="106794" y="42634"/>
                  <a:pt x="108668" y="46382"/>
                </a:cubicBezTo>
                <a:cubicBezTo>
                  <a:pt x="110542" y="50130"/>
                  <a:pt x="108103" y="55873"/>
                  <a:pt x="104693" y="58309"/>
                </a:cubicBezTo>
                <a:cubicBezTo>
                  <a:pt x="97873" y="63181"/>
                  <a:pt x="88790" y="63611"/>
                  <a:pt x="80839" y="66261"/>
                </a:cubicBezTo>
                <a:lnTo>
                  <a:pt x="68912" y="70236"/>
                </a:lnTo>
                <a:cubicBezTo>
                  <a:pt x="51684" y="68911"/>
                  <a:pt x="33842" y="71008"/>
                  <a:pt x="17228" y="66261"/>
                </a:cubicBezTo>
                <a:cubicBezTo>
                  <a:pt x="13199" y="65110"/>
                  <a:pt x="13532" y="58515"/>
                  <a:pt x="13253" y="54334"/>
                </a:cubicBezTo>
                <a:cubicBezTo>
                  <a:pt x="12195" y="38467"/>
                  <a:pt x="0" y="13252"/>
                  <a:pt x="5301" y="6626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 dirty="0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2" name="Freeform 101"/>
          <p:cNvSpPr/>
          <p:nvPr/>
        </p:nvSpPr>
        <p:spPr>
          <a:xfrm>
            <a:off x="4829181" y="730251"/>
            <a:ext cx="307975" cy="270933"/>
          </a:xfrm>
          <a:custGeom>
            <a:avLst/>
            <a:gdLst>
              <a:gd name="connsiteX0" fmla="*/ 9939 w 308113"/>
              <a:gd name="connsiteY0" fmla="*/ 76691 h 270304"/>
              <a:gd name="connsiteX1" fmla="*/ 77525 w 308113"/>
              <a:gd name="connsiteY1" fmla="*/ 72716 h 270304"/>
              <a:gd name="connsiteX2" fmla="*/ 85476 w 308113"/>
              <a:gd name="connsiteY2" fmla="*/ 64764 h 270304"/>
              <a:gd name="connsiteX3" fmla="*/ 93427 w 308113"/>
              <a:gd name="connsiteY3" fmla="*/ 40911 h 270304"/>
              <a:gd name="connsiteX4" fmla="*/ 97403 w 308113"/>
              <a:gd name="connsiteY4" fmla="*/ 28984 h 270304"/>
              <a:gd name="connsiteX5" fmla="*/ 101379 w 308113"/>
              <a:gd name="connsiteY5" fmla="*/ 17057 h 270304"/>
              <a:gd name="connsiteX6" fmla="*/ 109330 w 308113"/>
              <a:gd name="connsiteY6" fmla="*/ 9105 h 270304"/>
              <a:gd name="connsiteX7" fmla="*/ 121257 w 308113"/>
              <a:gd name="connsiteY7" fmla="*/ 1154 h 270304"/>
              <a:gd name="connsiteX8" fmla="*/ 264380 w 308113"/>
              <a:gd name="connsiteY8" fmla="*/ 5130 h 270304"/>
              <a:gd name="connsiteX9" fmla="*/ 268356 w 308113"/>
              <a:gd name="connsiteY9" fmla="*/ 17057 h 270304"/>
              <a:gd name="connsiteX10" fmla="*/ 264380 w 308113"/>
              <a:gd name="connsiteY10" fmla="*/ 40911 h 270304"/>
              <a:gd name="connsiteX11" fmla="*/ 260405 w 308113"/>
              <a:gd name="connsiteY11" fmla="*/ 52837 h 270304"/>
              <a:gd name="connsiteX12" fmla="*/ 248478 w 308113"/>
              <a:gd name="connsiteY12" fmla="*/ 92594 h 270304"/>
              <a:gd name="connsiteX13" fmla="*/ 244502 w 308113"/>
              <a:gd name="connsiteY13" fmla="*/ 104521 h 270304"/>
              <a:gd name="connsiteX14" fmla="*/ 248478 w 308113"/>
              <a:gd name="connsiteY14" fmla="*/ 128375 h 270304"/>
              <a:gd name="connsiteX15" fmla="*/ 260405 w 308113"/>
              <a:gd name="connsiteY15" fmla="*/ 136326 h 270304"/>
              <a:gd name="connsiteX16" fmla="*/ 276307 w 308113"/>
              <a:gd name="connsiteY16" fmla="*/ 160180 h 270304"/>
              <a:gd name="connsiteX17" fmla="*/ 296186 w 308113"/>
              <a:gd name="connsiteY17" fmla="*/ 191985 h 270304"/>
              <a:gd name="connsiteX18" fmla="*/ 304137 w 308113"/>
              <a:gd name="connsiteY18" fmla="*/ 199937 h 270304"/>
              <a:gd name="connsiteX19" fmla="*/ 308113 w 308113"/>
              <a:gd name="connsiteY19" fmla="*/ 211864 h 270304"/>
              <a:gd name="connsiteX20" fmla="*/ 296186 w 308113"/>
              <a:gd name="connsiteY20" fmla="*/ 235717 h 270304"/>
              <a:gd name="connsiteX21" fmla="*/ 284259 w 308113"/>
              <a:gd name="connsiteY21" fmla="*/ 239693 h 270304"/>
              <a:gd name="connsiteX22" fmla="*/ 272332 w 308113"/>
              <a:gd name="connsiteY22" fmla="*/ 247644 h 270304"/>
              <a:gd name="connsiteX23" fmla="*/ 252453 w 308113"/>
              <a:gd name="connsiteY23" fmla="*/ 263547 h 270304"/>
              <a:gd name="connsiteX24" fmla="*/ 236551 w 308113"/>
              <a:gd name="connsiteY24" fmla="*/ 219815 h 270304"/>
              <a:gd name="connsiteX25" fmla="*/ 212697 w 308113"/>
              <a:gd name="connsiteY25" fmla="*/ 203912 h 270304"/>
              <a:gd name="connsiteX26" fmla="*/ 188843 w 308113"/>
              <a:gd name="connsiteY26" fmla="*/ 191985 h 270304"/>
              <a:gd name="connsiteX27" fmla="*/ 180892 w 308113"/>
              <a:gd name="connsiteY27" fmla="*/ 180058 h 270304"/>
              <a:gd name="connsiteX28" fmla="*/ 176916 w 308113"/>
              <a:gd name="connsiteY28" fmla="*/ 168131 h 270304"/>
              <a:gd name="connsiteX29" fmla="*/ 161013 w 308113"/>
              <a:gd name="connsiteY29" fmla="*/ 164156 h 270304"/>
              <a:gd name="connsiteX30" fmla="*/ 153062 w 308113"/>
              <a:gd name="connsiteY30" fmla="*/ 156204 h 270304"/>
              <a:gd name="connsiteX31" fmla="*/ 129208 w 308113"/>
              <a:gd name="connsiteY31" fmla="*/ 148253 h 270304"/>
              <a:gd name="connsiteX32" fmla="*/ 29817 w 308113"/>
              <a:gd name="connsiteY32" fmla="*/ 148253 h 270304"/>
              <a:gd name="connsiteX33" fmla="*/ 25841 w 308113"/>
              <a:gd name="connsiteY33" fmla="*/ 136326 h 270304"/>
              <a:gd name="connsiteX34" fmla="*/ 17890 w 308113"/>
              <a:gd name="connsiteY34" fmla="*/ 124399 h 270304"/>
              <a:gd name="connsiteX35" fmla="*/ 9939 w 308113"/>
              <a:gd name="connsiteY35" fmla="*/ 76691 h 270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08113" h="270304">
                <a:moveTo>
                  <a:pt x="9939" y="76691"/>
                </a:moveTo>
                <a:cubicBezTo>
                  <a:pt x="19878" y="68077"/>
                  <a:pt x="55234" y="76236"/>
                  <a:pt x="77525" y="72716"/>
                </a:cubicBezTo>
                <a:cubicBezTo>
                  <a:pt x="81228" y="72131"/>
                  <a:pt x="83800" y="68117"/>
                  <a:pt x="85476" y="64764"/>
                </a:cubicBezTo>
                <a:cubicBezTo>
                  <a:pt x="89224" y="57268"/>
                  <a:pt x="90777" y="48862"/>
                  <a:pt x="93427" y="40911"/>
                </a:cubicBezTo>
                <a:lnTo>
                  <a:pt x="97403" y="28984"/>
                </a:lnTo>
                <a:cubicBezTo>
                  <a:pt x="98728" y="25008"/>
                  <a:pt x="98416" y="20020"/>
                  <a:pt x="101379" y="17057"/>
                </a:cubicBezTo>
                <a:cubicBezTo>
                  <a:pt x="104029" y="14406"/>
                  <a:pt x="106403" y="11447"/>
                  <a:pt x="109330" y="9105"/>
                </a:cubicBezTo>
                <a:cubicBezTo>
                  <a:pt x="113061" y="6120"/>
                  <a:pt x="117281" y="3804"/>
                  <a:pt x="121257" y="1154"/>
                </a:cubicBezTo>
                <a:cubicBezTo>
                  <a:pt x="168965" y="2479"/>
                  <a:pt x="216930" y="0"/>
                  <a:pt x="264380" y="5130"/>
                </a:cubicBezTo>
                <a:cubicBezTo>
                  <a:pt x="268546" y="5580"/>
                  <a:pt x="268356" y="12866"/>
                  <a:pt x="268356" y="17057"/>
                </a:cubicBezTo>
                <a:cubicBezTo>
                  <a:pt x="268356" y="25118"/>
                  <a:pt x="266129" y="33042"/>
                  <a:pt x="264380" y="40911"/>
                </a:cubicBezTo>
                <a:cubicBezTo>
                  <a:pt x="263471" y="45002"/>
                  <a:pt x="261556" y="48808"/>
                  <a:pt x="260405" y="52837"/>
                </a:cubicBezTo>
                <a:cubicBezTo>
                  <a:pt x="248393" y="94879"/>
                  <a:pt x="267364" y="35935"/>
                  <a:pt x="248478" y="92594"/>
                </a:cubicBezTo>
                <a:lnTo>
                  <a:pt x="244502" y="104521"/>
                </a:lnTo>
                <a:cubicBezTo>
                  <a:pt x="245827" y="112472"/>
                  <a:pt x="244873" y="121165"/>
                  <a:pt x="248478" y="128375"/>
                </a:cubicBezTo>
                <a:cubicBezTo>
                  <a:pt x="250615" y="132649"/>
                  <a:pt x="257259" y="132730"/>
                  <a:pt x="260405" y="136326"/>
                </a:cubicBezTo>
                <a:cubicBezTo>
                  <a:pt x="266698" y="143518"/>
                  <a:pt x="273285" y="151114"/>
                  <a:pt x="276307" y="160180"/>
                </a:cubicBezTo>
                <a:cubicBezTo>
                  <a:pt x="287781" y="194598"/>
                  <a:pt x="276139" y="175947"/>
                  <a:pt x="296186" y="191985"/>
                </a:cubicBezTo>
                <a:cubicBezTo>
                  <a:pt x="299113" y="194327"/>
                  <a:pt x="301487" y="197286"/>
                  <a:pt x="304137" y="199937"/>
                </a:cubicBezTo>
                <a:cubicBezTo>
                  <a:pt x="305462" y="203913"/>
                  <a:pt x="308113" y="207673"/>
                  <a:pt x="308113" y="211864"/>
                </a:cubicBezTo>
                <a:cubicBezTo>
                  <a:pt x="308113" y="217625"/>
                  <a:pt x="300206" y="232501"/>
                  <a:pt x="296186" y="235717"/>
                </a:cubicBezTo>
                <a:cubicBezTo>
                  <a:pt x="292914" y="238335"/>
                  <a:pt x="288007" y="237819"/>
                  <a:pt x="284259" y="239693"/>
                </a:cubicBezTo>
                <a:cubicBezTo>
                  <a:pt x="279985" y="241830"/>
                  <a:pt x="276063" y="244659"/>
                  <a:pt x="272332" y="247644"/>
                </a:cubicBezTo>
                <a:cubicBezTo>
                  <a:pt x="244007" y="270304"/>
                  <a:pt x="289161" y="239076"/>
                  <a:pt x="252453" y="263547"/>
                </a:cubicBezTo>
                <a:cubicBezTo>
                  <a:pt x="224694" y="254292"/>
                  <a:pt x="251110" y="267130"/>
                  <a:pt x="236551" y="219815"/>
                </a:cubicBezTo>
                <a:cubicBezTo>
                  <a:pt x="232440" y="206455"/>
                  <a:pt x="221923" y="208525"/>
                  <a:pt x="212697" y="203912"/>
                </a:cubicBezTo>
                <a:cubicBezTo>
                  <a:pt x="181869" y="188498"/>
                  <a:pt x="218822" y="201979"/>
                  <a:pt x="188843" y="191985"/>
                </a:cubicBezTo>
                <a:cubicBezTo>
                  <a:pt x="186193" y="188009"/>
                  <a:pt x="183029" y="184332"/>
                  <a:pt x="180892" y="180058"/>
                </a:cubicBezTo>
                <a:cubicBezTo>
                  <a:pt x="179018" y="176310"/>
                  <a:pt x="180189" y="170749"/>
                  <a:pt x="176916" y="168131"/>
                </a:cubicBezTo>
                <a:cubicBezTo>
                  <a:pt x="172649" y="164718"/>
                  <a:pt x="166314" y="165481"/>
                  <a:pt x="161013" y="164156"/>
                </a:cubicBezTo>
                <a:cubicBezTo>
                  <a:pt x="158363" y="161505"/>
                  <a:pt x="156415" y="157880"/>
                  <a:pt x="153062" y="156204"/>
                </a:cubicBezTo>
                <a:cubicBezTo>
                  <a:pt x="145565" y="152456"/>
                  <a:pt x="129208" y="148253"/>
                  <a:pt x="129208" y="148253"/>
                </a:cubicBezTo>
                <a:cubicBezTo>
                  <a:pt x="97140" y="151169"/>
                  <a:pt x="61716" y="156760"/>
                  <a:pt x="29817" y="148253"/>
                </a:cubicBezTo>
                <a:cubicBezTo>
                  <a:pt x="25768" y="147173"/>
                  <a:pt x="27715" y="140074"/>
                  <a:pt x="25841" y="136326"/>
                </a:cubicBezTo>
                <a:cubicBezTo>
                  <a:pt x="23704" y="132052"/>
                  <a:pt x="19831" y="128765"/>
                  <a:pt x="17890" y="124399"/>
                </a:cubicBezTo>
                <a:cubicBezTo>
                  <a:pt x="9101" y="104623"/>
                  <a:pt x="0" y="85305"/>
                  <a:pt x="9939" y="76691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3" name="Freeform 102"/>
          <p:cNvSpPr/>
          <p:nvPr/>
        </p:nvSpPr>
        <p:spPr>
          <a:xfrm>
            <a:off x="4857750" y="1293288"/>
            <a:ext cx="84138" cy="42333"/>
          </a:xfrm>
          <a:custGeom>
            <a:avLst/>
            <a:gdLst>
              <a:gd name="connsiteX0" fmla="*/ 0 w 83489"/>
              <a:gd name="connsiteY0" fmla="*/ 15903 h 43732"/>
              <a:gd name="connsiteX1" fmla="*/ 3976 w 83489"/>
              <a:gd name="connsiteY1" fmla="*/ 35781 h 43732"/>
              <a:gd name="connsiteX2" fmla="*/ 15903 w 83489"/>
              <a:gd name="connsiteY2" fmla="*/ 43732 h 43732"/>
              <a:gd name="connsiteX3" fmla="*/ 83489 w 83489"/>
              <a:gd name="connsiteY3" fmla="*/ 39756 h 43732"/>
              <a:gd name="connsiteX4" fmla="*/ 71562 w 83489"/>
              <a:gd name="connsiteY4" fmla="*/ 0 h 43732"/>
              <a:gd name="connsiteX5" fmla="*/ 23854 w 83489"/>
              <a:gd name="connsiteY5" fmla="*/ 11927 h 43732"/>
              <a:gd name="connsiteX6" fmla="*/ 11927 w 83489"/>
              <a:gd name="connsiteY6" fmla="*/ 15903 h 43732"/>
              <a:gd name="connsiteX7" fmla="*/ 0 w 83489"/>
              <a:gd name="connsiteY7" fmla="*/ 15903 h 43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489" h="43732">
                <a:moveTo>
                  <a:pt x="0" y="15903"/>
                </a:moveTo>
                <a:cubicBezTo>
                  <a:pt x="1325" y="22529"/>
                  <a:pt x="623" y="29914"/>
                  <a:pt x="3976" y="35781"/>
                </a:cubicBezTo>
                <a:cubicBezTo>
                  <a:pt x="6347" y="39930"/>
                  <a:pt x="11131" y="43493"/>
                  <a:pt x="15903" y="43732"/>
                </a:cubicBezTo>
                <a:lnTo>
                  <a:pt x="83489" y="39756"/>
                </a:lnTo>
                <a:cubicBezTo>
                  <a:pt x="73809" y="10719"/>
                  <a:pt x="77569" y="24034"/>
                  <a:pt x="71562" y="0"/>
                </a:cubicBezTo>
                <a:cubicBezTo>
                  <a:pt x="39443" y="5354"/>
                  <a:pt x="55353" y="1427"/>
                  <a:pt x="23854" y="11927"/>
                </a:cubicBezTo>
                <a:lnTo>
                  <a:pt x="11927" y="15903"/>
                </a:lnTo>
                <a:lnTo>
                  <a:pt x="0" y="15903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4" name="Freeform 103"/>
          <p:cNvSpPr/>
          <p:nvPr/>
        </p:nvSpPr>
        <p:spPr>
          <a:xfrm>
            <a:off x="5124456" y="734490"/>
            <a:ext cx="207963" cy="232833"/>
          </a:xfrm>
          <a:custGeom>
            <a:avLst/>
            <a:gdLst>
              <a:gd name="connsiteX0" fmla="*/ 39756 w 208142"/>
              <a:gd name="connsiteY0" fmla="*/ 0 h 230587"/>
              <a:gd name="connsiteX1" fmla="*/ 55659 w 208142"/>
              <a:gd name="connsiteY1" fmla="*/ 31805 h 230587"/>
              <a:gd name="connsiteX2" fmla="*/ 47707 w 208142"/>
              <a:gd name="connsiteY2" fmla="*/ 55659 h 230587"/>
              <a:gd name="connsiteX3" fmla="*/ 35781 w 208142"/>
              <a:gd name="connsiteY3" fmla="*/ 67586 h 230587"/>
              <a:gd name="connsiteX4" fmla="*/ 11927 w 208142"/>
              <a:gd name="connsiteY4" fmla="*/ 83488 h 230587"/>
              <a:gd name="connsiteX5" fmla="*/ 0 w 208142"/>
              <a:gd name="connsiteY5" fmla="*/ 107342 h 230587"/>
              <a:gd name="connsiteX6" fmla="*/ 3975 w 208142"/>
              <a:gd name="connsiteY6" fmla="*/ 123245 h 230587"/>
              <a:gd name="connsiteX7" fmla="*/ 11927 w 208142"/>
              <a:gd name="connsiteY7" fmla="*/ 131196 h 230587"/>
              <a:gd name="connsiteX8" fmla="*/ 47707 w 208142"/>
              <a:gd name="connsiteY8" fmla="*/ 147099 h 230587"/>
              <a:gd name="connsiteX9" fmla="*/ 59634 w 208142"/>
              <a:gd name="connsiteY9" fmla="*/ 151074 h 230587"/>
              <a:gd name="connsiteX10" fmla="*/ 67586 w 208142"/>
              <a:gd name="connsiteY10" fmla="*/ 159026 h 230587"/>
              <a:gd name="connsiteX11" fmla="*/ 75537 w 208142"/>
              <a:gd name="connsiteY11" fmla="*/ 182880 h 230587"/>
              <a:gd name="connsiteX12" fmla="*/ 79513 w 208142"/>
              <a:gd name="connsiteY12" fmla="*/ 194807 h 230587"/>
              <a:gd name="connsiteX13" fmla="*/ 91440 w 208142"/>
              <a:gd name="connsiteY13" fmla="*/ 202758 h 230587"/>
              <a:gd name="connsiteX14" fmla="*/ 107342 w 208142"/>
              <a:gd name="connsiteY14" fmla="*/ 206734 h 230587"/>
              <a:gd name="connsiteX15" fmla="*/ 115294 w 208142"/>
              <a:gd name="connsiteY15" fmla="*/ 214685 h 230587"/>
              <a:gd name="connsiteX16" fmla="*/ 127221 w 208142"/>
              <a:gd name="connsiteY16" fmla="*/ 218661 h 230587"/>
              <a:gd name="connsiteX17" fmla="*/ 131196 w 208142"/>
              <a:gd name="connsiteY17" fmla="*/ 230587 h 230587"/>
              <a:gd name="connsiteX18" fmla="*/ 143123 w 208142"/>
              <a:gd name="connsiteY18" fmla="*/ 222636 h 230587"/>
              <a:gd name="connsiteX19" fmla="*/ 155050 w 208142"/>
              <a:gd name="connsiteY19" fmla="*/ 210709 h 230587"/>
              <a:gd name="connsiteX20" fmla="*/ 178904 w 208142"/>
              <a:gd name="connsiteY20" fmla="*/ 202758 h 230587"/>
              <a:gd name="connsiteX21" fmla="*/ 186855 w 208142"/>
              <a:gd name="connsiteY21" fmla="*/ 190831 h 230587"/>
              <a:gd name="connsiteX22" fmla="*/ 194807 w 208142"/>
              <a:gd name="connsiteY22" fmla="*/ 166977 h 230587"/>
              <a:gd name="connsiteX23" fmla="*/ 206734 w 208142"/>
              <a:gd name="connsiteY23" fmla="*/ 143123 h 230587"/>
              <a:gd name="connsiteX24" fmla="*/ 202758 w 208142"/>
              <a:gd name="connsiteY24" fmla="*/ 111318 h 230587"/>
              <a:gd name="connsiteX25" fmla="*/ 178904 w 208142"/>
              <a:gd name="connsiteY25" fmla="*/ 95415 h 230587"/>
              <a:gd name="connsiteX26" fmla="*/ 163001 w 208142"/>
              <a:gd name="connsiteY26" fmla="*/ 75537 h 230587"/>
              <a:gd name="connsiteX27" fmla="*/ 151074 w 208142"/>
              <a:gd name="connsiteY27" fmla="*/ 67586 h 230587"/>
              <a:gd name="connsiteX28" fmla="*/ 131196 w 208142"/>
              <a:gd name="connsiteY28" fmla="*/ 63610 h 230587"/>
              <a:gd name="connsiteX29" fmla="*/ 119269 w 208142"/>
              <a:gd name="connsiteY29" fmla="*/ 55659 h 230587"/>
              <a:gd name="connsiteX30" fmla="*/ 91440 w 208142"/>
              <a:gd name="connsiteY30" fmla="*/ 47707 h 230587"/>
              <a:gd name="connsiteX31" fmla="*/ 83488 w 208142"/>
              <a:gd name="connsiteY31" fmla="*/ 35781 h 230587"/>
              <a:gd name="connsiteX32" fmla="*/ 75537 w 208142"/>
              <a:gd name="connsiteY32" fmla="*/ 27829 h 230587"/>
              <a:gd name="connsiteX33" fmla="*/ 71561 w 208142"/>
              <a:gd name="connsiteY33" fmla="*/ 15902 h 230587"/>
              <a:gd name="connsiteX34" fmla="*/ 55659 w 208142"/>
              <a:gd name="connsiteY34" fmla="*/ 11927 h 230587"/>
              <a:gd name="connsiteX35" fmla="*/ 39756 w 208142"/>
              <a:gd name="connsiteY35" fmla="*/ 0 h 230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208142" h="230587">
                <a:moveTo>
                  <a:pt x="39756" y="0"/>
                </a:moveTo>
                <a:cubicBezTo>
                  <a:pt x="40522" y="1277"/>
                  <a:pt x="56461" y="24584"/>
                  <a:pt x="55659" y="31805"/>
                </a:cubicBezTo>
                <a:cubicBezTo>
                  <a:pt x="54733" y="40135"/>
                  <a:pt x="51777" y="48332"/>
                  <a:pt x="47707" y="55659"/>
                </a:cubicBezTo>
                <a:cubicBezTo>
                  <a:pt x="44977" y="60574"/>
                  <a:pt x="40219" y="64134"/>
                  <a:pt x="35781" y="67586"/>
                </a:cubicBezTo>
                <a:cubicBezTo>
                  <a:pt x="28238" y="73453"/>
                  <a:pt x="11927" y="83488"/>
                  <a:pt x="11927" y="83488"/>
                </a:cubicBezTo>
                <a:cubicBezTo>
                  <a:pt x="7905" y="89520"/>
                  <a:pt x="0" y="99110"/>
                  <a:pt x="0" y="107342"/>
                </a:cubicBezTo>
                <a:cubicBezTo>
                  <a:pt x="0" y="112806"/>
                  <a:pt x="1531" y="118358"/>
                  <a:pt x="3975" y="123245"/>
                </a:cubicBezTo>
                <a:cubicBezTo>
                  <a:pt x="5651" y="126598"/>
                  <a:pt x="9000" y="128855"/>
                  <a:pt x="11927" y="131196"/>
                </a:cubicBezTo>
                <a:cubicBezTo>
                  <a:pt x="25427" y="141995"/>
                  <a:pt x="28795" y="140795"/>
                  <a:pt x="47707" y="147099"/>
                </a:cubicBezTo>
                <a:lnTo>
                  <a:pt x="59634" y="151074"/>
                </a:lnTo>
                <a:cubicBezTo>
                  <a:pt x="62285" y="153725"/>
                  <a:pt x="65910" y="155673"/>
                  <a:pt x="67586" y="159026"/>
                </a:cubicBezTo>
                <a:cubicBezTo>
                  <a:pt x="71334" y="166523"/>
                  <a:pt x="72887" y="174929"/>
                  <a:pt x="75537" y="182880"/>
                </a:cubicBezTo>
                <a:cubicBezTo>
                  <a:pt x="76862" y="186856"/>
                  <a:pt x="76026" y="192482"/>
                  <a:pt x="79513" y="194807"/>
                </a:cubicBezTo>
                <a:cubicBezTo>
                  <a:pt x="83489" y="197457"/>
                  <a:pt x="87048" y="200876"/>
                  <a:pt x="91440" y="202758"/>
                </a:cubicBezTo>
                <a:cubicBezTo>
                  <a:pt x="96462" y="204910"/>
                  <a:pt x="102041" y="205409"/>
                  <a:pt x="107342" y="206734"/>
                </a:cubicBezTo>
                <a:cubicBezTo>
                  <a:pt x="109993" y="209384"/>
                  <a:pt x="112080" y="212757"/>
                  <a:pt x="115294" y="214685"/>
                </a:cubicBezTo>
                <a:cubicBezTo>
                  <a:pt x="118888" y="216841"/>
                  <a:pt x="124258" y="215698"/>
                  <a:pt x="127221" y="218661"/>
                </a:cubicBezTo>
                <a:cubicBezTo>
                  <a:pt x="130184" y="221624"/>
                  <a:pt x="129871" y="226612"/>
                  <a:pt x="131196" y="230587"/>
                </a:cubicBezTo>
                <a:cubicBezTo>
                  <a:pt x="135172" y="227937"/>
                  <a:pt x="139452" y="225695"/>
                  <a:pt x="143123" y="222636"/>
                </a:cubicBezTo>
                <a:cubicBezTo>
                  <a:pt x="147442" y="219037"/>
                  <a:pt x="150135" y="213439"/>
                  <a:pt x="155050" y="210709"/>
                </a:cubicBezTo>
                <a:cubicBezTo>
                  <a:pt x="162377" y="206639"/>
                  <a:pt x="178904" y="202758"/>
                  <a:pt x="178904" y="202758"/>
                </a:cubicBezTo>
                <a:cubicBezTo>
                  <a:pt x="181554" y="198782"/>
                  <a:pt x="184914" y="195197"/>
                  <a:pt x="186855" y="190831"/>
                </a:cubicBezTo>
                <a:cubicBezTo>
                  <a:pt x="190259" y="183172"/>
                  <a:pt x="190158" y="173951"/>
                  <a:pt x="194807" y="166977"/>
                </a:cubicBezTo>
                <a:cubicBezTo>
                  <a:pt x="205083" y="151563"/>
                  <a:pt x="201247" y="159583"/>
                  <a:pt x="206734" y="143123"/>
                </a:cubicBezTo>
                <a:cubicBezTo>
                  <a:pt x="205409" y="132521"/>
                  <a:pt x="208142" y="120547"/>
                  <a:pt x="202758" y="111318"/>
                </a:cubicBezTo>
                <a:cubicBezTo>
                  <a:pt x="197943" y="103063"/>
                  <a:pt x="178904" y="95415"/>
                  <a:pt x="178904" y="95415"/>
                </a:cubicBezTo>
                <a:cubicBezTo>
                  <a:pt x="172998" y="86556"/>
                  <a:pt x="171096" y="82013"/>
                  <a:pt x="163001" y="75537"/>
                </a:cubicBezTo>
                <a:cubicBezTo>
                  <a:pt x="159270" y="72552"/>
                  <a:pt x="155548" y="69264"/>
                  <a:pt x="151074" y="67586"/>
                </a:cubicBezTo>
                <a:cubicBezTo>
                  <a:pt x="144747" y="65213"/>
                  <a:pt x="137822" y="64935"/>
                  <a:pt x="131196" y="63610"/>
                </a:cubicBezTo>
                <a:cubicBezTo>
                  <a:pt x="127220" y="60960"/>
                  <a:pt x="123543" y="57796"/>
                  <a:pt x="119269" y="55659"/>
                </a:cubicBezTo>
                <a:cubicBezTo>
                  <a:pt x="113565" y="52807"/>
                  <a:pt x="96536" y="48981"/>
                  <a:pt x="91440" y="47707"/>
                </a:cubicBezTo>
                <a:cubicBezTo>
                  <a:pt x="88789" y="43732"/>
                  <a:pt x="86473" y="39512"/>
                  <a:pt x="83488" y="35781"/>
                </a:cubicBezTo>
                <a:cubicBezTo>
                  <a:pt x="81146" y="32854"/>
                  <a:pt x="77465" y="31043"/>
                  <a:pt x="75537" y="27829"/>
                </a:cubicBezTo>
                <a:cubicBezTo>
                  <a:pt x="73381" y="24235"/>
                  <a:pt x="74833" y="18520"/>
                  <a:pt x="71561" y="15902"/>
                </a:cubicBezTo>
                <a:cubicBezTo>
                  <a:pt x="67294" y="12489"/>
                  <a:pt x="60960" y="13252"/>
                  <a:pt x="55659" y="11927"/>
                </a:cubicBezTo>
                <a:lnTo>
                  <a:pt x="39756" y="0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5" name="Freeform 104"/>
          <p:cNvSpPr/>
          <p:nvPr/>
        </p:nvSpPr>
        <p:spPr>
          <a:xfrm>
            <a:off x="5302254" y="499536"/>
            <a:ext cx="315913" cy="357717"/>
          </a:xfrm>
          <a:custGeom>
            <a:avLst/>
            <a:gdLst>
              <a:gd name="connsiteX0" fmla="*/ 37345 w 315641"/>
              <a:gd name="connsiteY0" fmla="*/ 1988 h 357983"/>
              <a:gd name="connsiteX1" fmla="*/ 57223 w 315641"/>
              <a:gd name="connsiteY1" fmla="*/ 17891 h 357983"/>
              <a:gd name="connsiteX2" fmla="*/ 81077 w 315641"/>
              <a:gd name="connsiteY2" fmla="*/ 25842 h 357983"/>
              <a:gd name="connsiteX3" fmla="*/ 93004 w 315641"/>
              <a:gd name="connsiteY3" fmla="*/ 33793 h 357983"/>
              <a:gd name="connsiteX4" fmla="*/ 108907 w 315641"/>
              <a:gd name="connsiteY4" fmla="*/ 49696 h 357983"/>
              <a:gd name="connsiteX5" fmla="*/ 112882 w 315641"/>
              <a:gd name="connsiteY5" fmla="*/ 61623 h 357983"/>
              <a:gd name="connsiteX6" fmla="*/ 176493 w 315641"/>
              <a:gd name="connsiteY6" fmla="*/ 73550 h 357983"/>
              <a:gd name="connsiteX7" fmla="*/ 188420 w 315641"/>
              <a:gd name="connsiteY7" fmla="*/ 81501 h 357983"/>
              <a:gd name="connsiteX8" fmla="*/ 220225 w 315641"/>
              <a:gd name="connsiteY8" fmla="*/ 85477 h 357983"/>
              <a:gd name="connsiteX9" fmla="*/ 232152 w 315641"/>
              <a:gd name="connsiteY9" fmla="*/ 89453 h 357983"/>
              <a:gd name="connsiteX10" fmla="*/ 244079 w 315641"/>
              <a:gd name="connsiteY10" fmla="*/ 101379 h 357983"/>
              <a:gd name="connsiteX11" fmla="*/ 252030 w 315641"/>
              <a:gd name="connsiteY11" fmla="*/ 125233 h 357983"/>
              <a:gd name="connsiteX12" fmla="*/ 256006 w 315641"/>
              <a:gd name="connsiteY12" fmla="*/ 141136 h 357983"/>
              <a:gd name="connsiteX13" fmla="*/ 267933 w 315641"/>
              <a:gd name="connsiteY13" fmla="*/ 149087 h 357983"/>
              <a:gd name="connsiteX14" fmla="*/ 287811 w 315641"/>
              <a:gd name="connsiteY14" fmla="*/ 161014 h 357983"/>
              <a:gd name="connsiteX15" fmla="*/ 311665 w 315641"/>
              <a:gd name="connsiteY15" fmla="*/ 188844 h 357983"/>
              <a:gd name="connsiteX16" fmla="*/ 315641 w 315641"/>
              <a:gd name="connsiteY16" fmla="*/ 200771 h 357983"/>
              <a:gd name="connsiteX17" fmla="*/ 311665 w 315641"/>
              <a:gd name="connsiteY17" fmla="*/ 212698 h 357983"/>
              <a:gd name="connsiteX18" fmla="*/ 303714 w 315641"/>
              <a:gd name="connsiteY18" fmla="*/ 244503 h 357983"/>
              <a:gd name="connsiteX19" fmla="*/ 299738 w 315641"/>
              <a:gd name="connsiteY19" fmla="*/ 256430 h 357983"/>
              <a:gd name="connsiteX20" fmla="*/ 283835 w 315641"/>
              <a:gd name="connsiteY20" fmla="*/ 327992 h 357983"/>
              <a:gd name="connsiteX21" fmla="*/ 271908 w 315641"/>
              <a:gd name="connsiteY21" fmla="*/ 331967 h 357983"/>
              <a:gd name="connsiteX22" fmla="*/ 263957 w 315641"/>
              <a:gd name="connsiteY22" fmla="*/ 339919 h 357983"/>
              <a:gd name="connsiteX23" fmla="*/ 252030 w 315641"/>
              <a:gd name="connsiteY23" fmla="*/ 343894 h 357983"/>
              <a:gd name="connsiteX24" fmla="*/ 240103 w 315641"/>
              <a:gd name="connsiteY24" fmla="*/ 351846 h 357983"/>
              <a:gd name="connsiteX25" fmla="*/ 176493 w 315641"/>
              <a:gd name="connsiteY25" fmla="*/ 347870 h 357983"/>
              <a:gd name="connsiteX26" fmla="*/ 116858 w 315641"/>
              <a:gd name="connsiteY26" fmla="*/ 355821 h 357983"/>
              <a:gd name="connsiteX27" fmla="*/ 104931 w 315641"/>
              <a:gd name="connsiteY27" fmla="*/ 347870 h 357983"/>
              <a:gd name="connsiteX28" fmla="*/ 100955 w 315641"/>
              <a:gd name="connsiteY28" fmla="*/ 335943 h 357983"/>
              <a:gd name="connsiteX29" fmla="*/ 96980 w 315641"/>
              <a:gd name="connsiteY29" fmla="*/ 292211 h 357983"/>
              <a:gd name="connsiteX30" fmla="*/ 93004 w 315641"/>
              <a:gd name="connsiteY30" fmla="*/ 264381 h 357983"/>
              <a:gd name="connsiteX31" fmla="*/ 81077 w 315641"/>
              <a:gd name="connsiteY31" fmla="*/ 236552 h 357983"/>
              <a:gd name="connsiteX32" fmla="*/ 73126 w 315641"/>
              <a:gd name="connsiteY32" fmla="*/ 228600 h 357983"/>
              <a:gd name="connsiteX33" fmla="*/ 69150 w 315641"/>
              <a:gd name="connsiteY33" fmla="*/ 216673 h 357983"/>
              <a:gd name="connsiteX34" fmla="*/ 65174 w 315641"/>
              <a:gd name="connsiteY34" fmla="*/ 153063 h 357983"/>
              <a:gd name="connsiteX35" fmla="*/ 41321 w 315641"/>
              <a:gd name="connsiteY35" fmla="*/ 145112 h 357983"/>
              <a:gd name="connsiteX36" fmla="*/ 29394 w 315641"/>
              <a:gd name="connsiteY36" fmla="*/ 137160 h 357983"/>
              <a:gd name="connsiteX37" fmla="*/ 21442 w 315641"/>
              <a:gd name="connsiteY37" fmla="*/ 73550 h 357983"/>
              <a:gd name="connsiteX38" fmla="*/ 29394 w 315641"/>
              <a:gd name="connsiteY38" fmla="*/ 41745 h 357983"/>
              <a:gd name="connsiteX39" fmla="*/ 37345 w 315641"/>
              <a:gd name="connsiteY39" fmla="*/ 29818 h 357983"/>
              <a:gd name="connsiteX40" fmla="*/ 37345 w 315641"/>
              <a:gd name="connsiteY40" fmla="*/ 1988 h 35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15641" h="357983">
                <a:moveTo>
                  <a:pt x="37345" y="1988"/>
                </a:moveTo>
                <a:cubicBezTo>
                  <a:pt x="40658" y="0"/>
                  <a:pt x="49774" y="13828"/>
                  <a:pt x="57223" y="17891"/>
                </a:cubicBezTo>
                <a:cubicBezTo>
                  <a:pt x="64581" y="21904"/>
                  <a:pt x="74103" y="21193"/>
                  <a:pt x="81077" y="25842"/>
                </a:cubicBezTo>
                <a:cubicBezTo>
                  <a:pt x="85053" y="28492"/>
                  <a:pt x="89376" y="30683"/>
                  <a:pt x="93004" y="33793"/>
                </a:cubicBezTo>
                <a:cubicBezTo>
                  <a:pt x="98696" y="38672"/>
                  <a:pt x="108907" y="49696"/>
                  <a:pt x="108907" y="49696"/>
                </a:cubicBezTo>
                <a:cubicBezTo>
                  <a:pt x="110232" y="53672"/>
                  <a:pt x="109472" y="59187"/>
                  <a:pt x="112882" y="61623"/>
                </a:cubicBezTo>
                <a:cubicBezTo>
                  <a:pt x="126741" y="71522"/>
                  <a:pt x="164356" y="72336"/>
                  <a:pt x="176493" y="73550"/>
                </a:cubicBezTo>
                <a:cubicBezTo>
                  <a:pt x="180469" y="76200"/>
                  <a:pt x="183810" y="80244"/>
                  <a:pt x="188420" y="81501"/>
                </a:cubicBezTo>
                <a:cubicBezTo>
                  <a:pt x="198728" y="84312"/>
                  <a:pt x="209713" y="83566"/>
                  <a:pt x="220225" y="85477"/>
                </a:cubicBezTo>
                <a:cubicBezTo>
                  <a:pt x="224348" y="86227"/>
                  <a:pt x="228176" y="88128"/>
                  <a:pt x="232152" y="89453"/>
                </a:cubicBezTo>
                <a:cubicBezTo>
                  <a:pt x="236128" y="93428"/>
                  <a:pt x="241349" y="96464"/>
                  <a:pt x="244079" y="101379"/>
                </a:cubicBezTo>
                <a:cubicBezTo>
                  <a:pt x="248149" y="108706"/>
                  <a:pt x="249997" y="117102"/>
                  <a:pt x="252030" y="125233"/>
                </a:cubicBezTo>
                <a:cubicBezTo>
                  <a:pt x="253355" y="130534"/>
                  <a:pt x="252975" y="136590"/>
                  <a:pt x="256006" y="141136"/>
                </a:cubicBezTo>
                <a:cubicBezTo>
                  <a:pt x="258656" y="145112"/>
                  <a:pt x="264202" y="146102"/>
                  <a:pt x="267933" y="149087"/>
                </a:cubicBezTo>
                <a:cubicBezTo>
                  <a:pt x="283526" y="161562"/>
                  <a:pt x="267097" y="154111"/>
                  <a:pt x="287811" y="161014"/>
                </a:cubicBezTo>
                <a:cubicBezTo>
                  <a:pt x="297594" y="170797"/>
                  <a:pt x="305610" y="176733"/>
                  <a:pt x="311665" y="188844"/>
                </a:cubicBezTo>
                <a:cubicBezTo>
                  <a:pt x="313539" y="192592"/>
                  <a:pt x="314316" y="196795"/>
                  <a:pt x="315641" y="200771"/>
                </a:cubicBezTo>
                <a:cubicBezTo>
                  <a:pt x="314316" y="204747"/>
                  <a:pt x="312768" y="208655"/>
                  <a:pt x="311665" y="212698"/>
                </a:cubicBezTo>
                <a:cubicBezTo>
                  <a:pt x="308790" y="223241"/>
                  <a:pt x="307170" y="234136"/>
                  <a:pt x="303714" y="244503"/>
                </a:cubicBezTo>
                <a:lnTo>
                  <a:pt x="299738" y="256430"/>
                </a:lnTo>
                <a:cubicBezTo>
                  <a:pt x="297532" y="289517"/>
                  <a:pt x="309244" y="311053"/>
                  <a:pt x="283835" y="327992"/>
                </a:cubicBezTo>
                <a:cubicBezTo>
                  <a:pt x="280348" y="330316"/>
                  <a:pt x="275884" y="330642"/>
                  <a:pt x="271908" y="331967"/>
                </a:cubicBezTo>
                <a:cubicBezTo>
                  <a:pt x="269258" y="334618"/>
                  <a:pt x="267171" y="337990"/>
                  <a:pt x="263957" y="339919"/>
                </a:cubicBezTo>
                <a:cubicBezTo>
                  <a:pt x="260364" y="342075"/>
                  <a:pt x="255778" y="342020"/>
                  <a:pt x="252030" y="343894"/>
                </a:cubicBezTo>
                <a:cubicBezTo>
                  <a:pt x="247756" y="346031"/>
                  <a:pt x="244079" y="349195"/>
                  <a:pt x="240103" y="351846"/>
                </a:cubicBezTo>
                <a:cubicBezTo>
                  <a:pt x="203614" y="339682"/>
                  <a:pt x="224589" y="343060"/>
                  <a:pt x="176493" y="347870"/>
                </a:cubicBezTo>
                <a:cubicBezTo>
                  <a:pt x="154536" y="355190"/>
                  <a:pt x="149288" y="357983"/>
                  <a:pt x="116858" y="355821"/>
                </a:cubicBezTo>
                <a:cubicBezTo>
                  <a:pt x="112090" y="355503"/>
                  <a:pt x="108907" y="350520"/>
                  <a:pt x="104931" y="347870"/>
                </a:cubicBezTo>
                <a:cubicBezTo>
                  <a:pt x="103606" y="343894"/>
                  <a:pt x="101548" y="340092"/>
                  <a:pt x="100955" y="335943"/>
                </a:cubicBezTo>
                <a:cubicBezTo>
                  <a:pt x="98885" y="321453"/>
                  <a:pt x="98596" y="306759"/>
                  <a:pt x="96980" y="292211"/>
                </a:cubicBezTo>
                <a:cubicBezTo>
                  <a:pt x="95945" y="282897"/>
                  <a:pt x="94842" y="273570"/>
                  <a:pt x="93004" y="264381"/>
                </a:cubicBezTo>
                <a:cubicBezTo>
                  <a:pt x="91490" y="256809"/>
                  <a:pt x="84771" y="242093"/>
                  <a:pt x="81077" y="236552"/>
                </a:cubicBezTo>
                <a:cubicBezTo>
                  <a:pt x="78998" y="233433"/>
                  <a:pt x="75776" y="231251"/>
                  <a:pt x="73126" y="228600"/>
                </a:cubicBezTo>
                <a:cubicBezTo>
                  <a:pt x="71801" y="224624"/>
                  <a:pt x="69589" y="220841"/>
                  <a:pt x="69150" y="216673"/>
                </a:cubicBezTo>
                <a:cubicBezTo>
                  <a:pt x="66926" y="195545"/>
                  <a:pt x="72874" y="172863"/>
                  <a:pt x="65174" y="153063"/>
                </a:cubicBezTo>
                <a:cubicBezTo>
                  <a:pt x="62136" y="145252"/>
                  <a:pt x="41321" y="145112"/>
                  <a:pt x="41321" y="145112"/>
                </a:cubicBezTo>
                <a:cubicBezTo>
                  <a:pt x="37345" y="142461"/>
                  <a:pt x="33668" y="139297"/>
                  <a:pt x="29394" y="137160"/>
                </a:cubicBezTo>
                <a:cubicBezTo>
                  <a:pt x="0" y="122463"/>
                  <a:pt x="10375" y="158394"/>
                  <a:pt x="21442" y="73550"/>
                </a:cubicBezTo>
                <a:cubicBezTo>
                  <a:pt x="22855" y="62714"/>
                  <a:pt x="23332" y="50838"/>
                  <a:pt x="29394" y="41745"/>
                </a:cubicBezTo>
                <a:cubicBezTo>
                  <a:pt x="32044" y="37769"/>
                  <a:pt x="35208" y="34092"/>
                  <a:pt x="37345" y="29818"/>
                </a:cubicBezTo>
                <a:cubicBezTo>
                  <a:pt x="39219" y="26070"/>
                  <a:pt x="34032" y="3976"/>
                  <a:pt x="37345" y="1988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6" name="Freeform 105"/>
          <p:cNvSpPr/>
          <p:nvPr/>
        </p:nvSpPr>
        <p:spPr>
          <a:xfrm>
            <a:off x="4500567" y="690035"/>
            <a:ext cx="187325" cy="139700"/>
          </a:xfrm>
          <a:custGeom>
            <a:avLst/>
            <a:gdLst>
              <a:gd name="connsiteX0" fmla="*/ 3976 w 186706"/>
              <a:gd name="connsiteY0" fmla="*/ 1325 h 140473"/>
              <a:gd name="connsiteX1" fmla="*/ 19879 w 186706"/>
              <a:gd name="connsiteY1" fmla="*/ 21204 h 140473"/>
              <a:gd name="connsiteX2" fmla="*/ 35781 w 186706"/>
              <a:gd name="connsiteY2" fmla="*/ 45058 h 140473"/>
              <a:gd name="connsiteX3" fmla="*/ 39757 w 186706"/>
              <a:gd name="connsiteY3" fmla="*/ 60960 h 140473"/>
              <a:gd name="connsiteX4" fmla="*/ 51684 w 186706"/>
              <a:gd name="connsiteY4" fmla="*/ 64936 h 140473"/>
              <a:gd name="connsiteX5" fmla="*/ 103367 w 186706"/>
              <a:gd name="connsiteY5" fmla="*/ 60960 h 140473"/>
              <a:gd name="connsiteX6" fmla="*/ 147099 w 186706"/>
              <a:gd name="connsiteY6" fmla="*/ 60960 h 140473"/>
              <a:gd name="connsiteX7" fmla="*/ 170953 w 186706"/>
              <a:gd name="connsiteY7" fmla="*/ 68912 h 140473"/>
              <a:gd name="connsiteX8" fmla="*/ 178905 w 186706"/>
              <a:gd name="connsiteY8" fmla="*/ 76863 h 140473"/>
              <a:gd name="connsiteX9" fmla="*/ 178905 w 186706"/>
              <a:gd name="connsiteY9" fmla="*/ 116619 h 140473"/>
              <a:gd name="connsiteX10" fmla="*/ 174929 w 186706"/>
              <a:gd name="connsiteY10" fmla="*/ 132522 h 140473"/>
              <a:gd name="connsiteX11" fmla="*/ 163002 w 186706"/>
              <a:gd name="connsiteY11" fmla="*/ 140473 h 140473"/>
              <a:gd name="connsiteX12" fmla="*/ 151075 w 186706"/>
              <a:gd name="connsiteY12" fmla="*/ 136498 h 140473"/>
              <a:gd name="connsiteX13" fmla="*/ 115294 w 186706"/>
              <a:gd name="connsiteY13" fmla="*/ 116619 h 140473"/>
              <a:gd name="connsiteX14" fmla="*/ 67586 w 186706"/>
              <a:gd name="connsiteY14" fmla="*/ 112644 h 140473"/>
              <a:gd name="connsiteX15" fmla="*/ 63611 w 186706"/>
              <a:gd name="connsiteY15" fmla="*/ 100717 h 140473"/>
              <a:gd name="connsiteX16" fmla="*/ 55659 w 186706"/>
              <a:gd name="connsiteY16" fmla="*/ 92765 h 140473"/>
              <a:gd name="connsiteX17" fmla="*/ 0 w 186706"/>
              <a:gd name="connsiteY17" fmla="*/ 84814 h 140473"/>
              <a:gd name="connsiteX18" fmla="*/ 3976 w 186706"/>
              <a:gd name="connsiteY18" fmla="*/ 29155 h 140473"/>
              <a:gd name="connsiteX19" fmla="*/ 3976 w 186706"/>
              <a:gd name="connsiteY19" fmla="*/ 1325 h 14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86706" h="140473">
                <a:moveTo>
                  <a:pt x="3976" y="1325"/>
                </a:moveTo>
                <a:cubicBezTo>
                  <a:pt x="6626" y="0"/>
                  <a:pt x="14888" y="14341"/>
                  <a:pt x="19879" y="21204"/>
                </a:cubicBezTo>
                <a:cubicBezTo>
                  <a:pt x="25500" y="28933"/>
                  <a:pt x="35781" y="45058"/>
                  <a:pt x="35781" y="45058"/>
                </a:cubicBezTo>
                <a:cubicBezTo>
                  <a:pt x="37106" y="50359"/>
                  <a:pt x="36344" y="56694"/>
                  <a:pt x="39757" y="60960"/>
                </a:cubicBezTo>
                <a:cubicBezTo>
                  <a:pt x="42375" y="64232"/>
                  <a:pt x="47493" y="64936"/>
                  <a:pt x="51684" y="64936"/>
                </a:cubicBezTo>
                <a:cubicBezTo>
                  <a:pt x="68963" y="64936"/>
                  <a:pt x="86139" y="62285"/>
                  <a:pt x="103367" y="60960"/>
                </a:cubicBezTo>
                <a:cubicBezTo>
                  <a:pt x="123129" y="54374"/>
                  <a:pt x="117001" y="54510"/>
                  <a:pt x="147099" y="60960"/>
                </a:cubicBezTo>
                <a:cubicBezTo>
                  <a:pt x="155294" y="62716"/>
                  <a:pt x="170953" y="68912"/>
                  <a:pt x="170953" y="68912"/>
                </a:cubicBezTo>
                <a:cubicBezTo>
                  <a:pt x="173604" y="71562"/>
                  <a:pt x="176976" y="73649"/>
                  <a:pt x="178905" y="76863"/>
                </a:cubicBezTo>
                <a:cubicBezTo>
                  <a:pt x="186706" y="89865"/>
                  <a:pt x="181542" y="102116"/>
                  <a:pt x="178905" y="116619"/>
                </a:cubicBezTo>
                <a:cubicBezTo>
                  <a:pt x="177928" y="121995"/>
                  <a:pt x="177960" y="127976"/>
                  <a:pt x="174929" y="132522"/>
                </a:cubicBezTo>
                <a:cubicBezTo>
                  <a:pt x="172279" y="136498"/>
                  <a:pt x="166978" y="137823"/>
                  <a:pt x="163002" y="140473"/>
                </a:cubicBezTo>
                <a:cubicBezTo>
                  <a:pt x="159026" y="139148"/>
                  <a:pt x="154738" y="138533"/>
                  <a:pt x="151075" y="136498"/>
                </a:cubicBezTo>
                <a:cubicBezTo>
                  <a:pt x="139217" y="129911"/>
                  <a:pt x="129497" y="118513"/>
                  <a:pt x="115294" y="116619"/>
                </a:cubicBezTo>
                <a:cubicBezTo>
                  <a:pt x="99476" y="114510"/>
                  <a:pt x="83489" y="113969"/>
                  <a:pt x="67586" y="112644"/>
                </a:cubicBezTo>
                <a:cubicBezTo>
                  <a:pt x="66261" y="108668"/>
                  <a:pt x="65767" y="104310"/>
                  <a:pt x="63611" y="100717"/>
                </a:cubicBezTo>
                <a:cubicBezTo>
                  <a:pt x="61682" y="97503"/>
                  <a:pt x="58873" y="94694"/>
                  <a:pt x="55659" y="92765"/>
                </a:cubicBezTo>
                <a:cubicBezTo>
                  <a:pt x="43369" y="85391"/>
                  <a:pt x="668" y="84875"/>
                  <a:pt x="0" y="84814"/>
                </a:cubicBezTo>
                <a:cubicBezTo>
                  <a:pt x="1325" y="66261"/>
                  <a:pt x="1217" y="47549"/>
                  <a:pt x="3976" y="29155"/>
                </a:cubicBezTo>
                <a:cubicBezTo>
                  <a:pt x="5219" y="20866"/>
                  <a:pt x="1326" y="2650"/>
                  <a:pt x="3976" y="1325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7" name="Freeform 106"/>
          <p:cNvSpPr/>
          <p:nvPr/>
        </p:nvSpPr>
        <p:spPr>
          <a:xfrm>
            <a:off x="4800605" y="969436"/>
            <a:ext cx="85725" cy="143933"/>
          </a:xfrm>
          <a:custGeom>
            <a:avLst/>
            <a:gdLst>
              <a:gd name="connsiteX0" fmla="*/ 1325 w 84814"/>
              <a:gd name="connsiteY0" fmla="*/ 1325 h 144449"/>
              <a:gd name="connsiteX1" fmla="*/ 5300 w 84814"/>
              <a:gd name="connsiteY1" fmla="*/ 29155 h 144449"/>
              <a:gd name="connsiteX2" fmla="*/ 13252 w 84814"/>
              <a:gd name="connsiteY2" fmla="*/ 108668 h 144449"/>
              <a:gd name="connsiteX3" fmla="*/ 21203 w 84814"/>
              <a:gd name="connsiteY3" fmla="*/ 132522 h 144449"/>
              <a:gd name="connsiteX4" fmla="*/ 29154 w 84814"/>
              <a:gd name="connsiteY4" fmla="*/ 144449 h 144449"/>
              <a:gd name="connsiteX5" fmla="*/ 45057 w 84814"/>
              <a:gd name="connsiteY5" fmla="*/ 140473 h 144449"/>
              <a:gd name="connsiteX6" fmla="*/ 49033 w 84814"/>
              <a:gd name="connsiteY6" fmla="*/ 124570 h 144449"/>
              <a:gd name="connsiteX7" fmla="*/ 72887 w 84814"/>
              <a:gd name="connsiteY7" fmla="*/ 132522 h 144449"/>
              <a:gd name="connsiteX8" fmla="*/ 84814 w 84814"/>
              <a:gd name="connsiteY8" fmla="*/ 112643 h 144449"/>
              <a:gd name="connsiteX9" fmla="*/ 72887 w 84814"/>
              <a:gd name="connsiteY9" fmla="*/ 88789 h 144449"/>
              <a:gd name="connsiteX10" fmla="*/ 64935 w 84814"/>
              <a:gd name="connsiteY10" fmla="*/ 80838 h 144449"/>
              <a:gd name="connsiteX11" fmla="*/ 53008 w 84814"/>
              <a:gd name="connsiteY11" fmla="*/ 76863 h 144449"/>
              <a:gd name="connsiteX12" fmla="*/ 25179 w 84814"/>
              <a:gd name="connsiteY12" fmla="*/ 45057 h 144449"/>
              <a:gd name="connsiteX13" fmla="*/ 13252 w 84814"/>
              <a:gd name="connsiteY13" fmla="*/ 21203 h 144449"/>
              <a:gd name="connsiteX14" fmla="*/ 1325 w 84814"/>
              <a:gd name="connsiteY14" fmla="*/ 1325 h 144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4814" h="144449">
                <a:moveTo>
                  <a:pt x="1325" y="1325"/>
                </a:moveTo>
                <a:cubicBezTo>
                  <a:pt x="0" y="2650"/>
                  <a:pt x="4452" y="19823"/>
                  <a:pt x="5300" y="29155"/>
                </a:cubicBezTo>
                <a:cubicBezTo>
                  <a:pt x="7914" y="57908"/>
                  <a:pt x="5983" y="82016"/>
                  <a:pt x="13252" y="108668"/>
                </a:cubicBezTo>
                <a:cubicBezTo>
                  <a:pt x="15457" y="116754"/>
                  <a:pt x="16554" y="125548"/>
                  <a:pt x="21203" y="132522"/>
                </a:cubicBezTo>
                <a:lnTo>
                  <a:pt x="29154" y="144449"/>
                </a:lnTo>
                <a:cubicBezTo>
                  <a:pt x="34455" y="143124"/>
                  <a:pt x="41193" y="144337"/>
                  <a:pt x="45057" y="140473"/>
                </a:cubicBezTo>
                <a:cubicBezTo>
                  <a:pt x="48921" y="136609"/>
                  <a:pt x="43779" y="126071"/>
                  <a:pt x="49033" y="124570"/>
                </a:cubicBezTo>
                <a:cubicBezTo>
                  <a:pt x="57092" y="122268"/>
                  <a:pt x="72887" y="132522"/>
                  <a:pt x="72887" y="132522"/>
                </a:cubicBezTo>
                <a:cubicBezTo>
                  <a:pt x="79185" y="126224"/>
                  <a:pt x="84814" y="122964"/>
                  <a:pt x="84814" y="112643"/>
                </a:cubicBezTo>
                <a:cubicBezTo>
                  <a:pt x="84814" y="105296"/>
                  <a:pt x="76906" y="93813"/>
                  <a:pt x="72887" y="88789"/>
                </a:cubicBezTo>
                <a:cubicBezTo>
                  <a:pt x="70545" y="85862"/>
                  <a:pt x="68149" y="82766"/>
                  <a:pt x="64935" y="80838"/>
                </a:cubicBezTo>
                <a:cubicBezTo>
                  <a:pt x="61341" y="78682"/>
                  <a:pt x="56984" y="78188"/>
                  <a:pt x="53008" y="76863"/>
                </a:cubicBezTo>
                <a:cubicBezTo>
                  <a:pt x="42644" y="66499"/>
                  <a:pt x="31754" y="58207"/>
                  <a:pt x="25179" y="45057"/>
                </a:cubicBezTo>
                <a:cubicBezTo>
                  <a:pt x="8719" y="12137"/>
                  <a:pt x="36038" y="55384"/>
                  <a:pt x="13252" y="21203"/>
                </a:cubicBezTo>
                <a:cubicBezTo>
                  <a:pt x="8821" y="3483"/>
                  <a:pt x="2650" y="0"/>
                  <a:pt x="1325" y="1325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8" name="Freeform 107"/>
          <p:cNvSpPr/>
          <p:nvPr/>
        </p:nvSpPr>
        <p:spPr>
          <a:xfrm>
            <a:off x="4427539" y="833967"/>
            <a:ext cx="234950" cy="177800"/>
          </a:xfrm>
          <a:custGeom>
            <a:avLst/>
            <a:gdLst>
              <a:gd name="connsiteX0" fmla="*/ 5963 w 235570"/>
              <a:gd name="connsiteY0" fmla="*/ 5963 h 177700"/>
              <a:gd name="connsiteX1" fmla="*/ 45720 w 235570"/>
              <a:gd name="connsiteY1" fmla="*/ 17890 h 177700"/>
              <a:gd name="connsiteX2" fmla="*/ 53671 w 235570"/>
              <a:gd name="connsiteY2" fmla="*/ 41743 h 177700"/>
              <a:gd name="connsiteX3" fmla="*/ 57647 w 235570"/>
              <a:gd name="connsiteY3" fmla="*/ 73549 h 177700"/>
              <a:gd name="connsiteX4" fmla="*/ 89452 w 235570"/>
              <a:gd name="connsiteY4" fmla="*/ 65597 h 177700"/>
              <a:gd name="connsiteX5" fmla="*/ 101379 w 235570"/>
              <a:gd name="connsiteY5" fmla="*/ 41743 h 177700"/>
              <a:gd name="connsiteX6" fmla="*/ 105354 w 235570"/>
              <a:gd name="connsiteY6" fmla="*/ 29817 h 177700"/>
              <a:gd name="connsiteX7" fmla="*/ 117281 w 235570"/>
              <a:gd name="connsiteY7" fmla="*/ 25841 h 177700"/>
              <a:gd name="connsiteX8" fmla="*/ 145111 w 235570"/>
              <a:gd name="connsiteY8" fmla="*/ 21865 h 177700"/>
              <a:gd name="connsiteX9" fmla="*/ 184868 w 235570"/>
              <a:gd name="connsiteY9" fmla="*/ 25841 h 177700"/>
              <a:gd name="connsiteX10" fmla="*/ 208721 w 235570"/>
              <a:gd name="connsiteY10" fmla="*/ 33792 h 177700"/>
              <a:gd name="connsiteX11" fmla="*/ 220648 w 235570"/>
              <a:gd name="connsiteY11" fmla="*/ 37768 h 177700"/>
              <a:gd name="connsiteX12" fmla="*/ 228600 w 235570"/>
              <a:gd name="connsiteY12" fmla="*/ 45719 h 177700"/>
              <a:gd name="connsiteX13" fmla="*/ 228600 w 235570"/>
              <a:gd name="connsiteY13" fmla="*/ 81500 h 177700"/>
              <a:gd name="connsiteX14" fmla="*/ 220648 w 235570"/>
              <a:gd name="connsiteY14" fmla="*/ 97403 h 177700"/>
              <a:gd name="connsiteX15" fmla="*/ 208721 w 235570"/>
              <a:gd name="connsiteY15" fmla="*/ 109330 h 177700"/>
              <a:gd name="connsiteX16" fmla="*/ 200770 w 235570"/>
              <a:gd name="connsiteY16" fmla="*/ 121257 h 177700"/>
              <a:gd name="connsiteX17" fmla="*/ 184868 w 235570"/>
              <a:gd name="connsiteY17" fmla="*/ 129208 h 177700"/>
              <a:gd name="connsiteX18" fmla="*/ 161014 w 235570"/>
              <a:gd name="connsiteY18" fmla="*/ 137159 h 177700"/>
              <a:gd name="connsiteX19" fmla="*/ 157038 w 235570"/>
              <a:gd name="connsiteY19" fmla="*/ 157037 h 177700"/>
              <a:gd name="connsiteX20" fmla="*/ 153062 w 235570"/>
              <a:gd name="connsiteY20" fmla="*/ 168964 h 177700"/>
              <a:gd name="connsiteX21" fmla="*/ 129208 w 235570"/>
              <a:gd name="connsiteY21" fmla="*/ 176916 h 177700"/>
              <a:gd name="connsiteX22" fmla="*/ 81501 w 235570"/>
              <a:gd name="connsiteY22" fmla="*/ 172940 h 177700"/>
              <a:gd name="connsiteX23" fmla="*/ 65598 w 235570"/>
              <a:gd name="connsiteY23" fmla="*/ 157037 h 177700"/>
              <a:gd name="connsiteX24" fmla="*/ 45720 w 235570"/>
              <a:gd name="connsiteY24" fmla="*/ 129208 h 177700"/>
              <a:gd name="connsiteX25" fmla="*/ 21866 w 235570"/>
              <a:gd name="connsiteY25" fmla="*/ 125232 h 177700"/>
              <a:gd name="connsiteX26" fmla="*/ 17890 w 235570"/>
              <a:gd name="connsiteY26" fmla="*/ 81500 h 177700"/>
              <a:gd name="connsiteX27" fmla="*/ 13914 w 235570"/>
              <a:gd name="connsiteY27" fmla="*/ 65597 h 177700"/>
              <a:gd name="connsiteX28" fmla="*/ 9939 w 235570"/>
              <a:gd name="connsiteY28" fmla="*/ 53670 h 177700"/>
              <a:gd name="connsiteX29" fmla="*/ 5963 w 235570"/>
              <a:gd name="connsiteY29" fmla="*/ 5963 h 17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235570" h="177700">
                <a:moveTo>
                  <a:pt x="5963" y="5963"/>
                </a:moveTo>
                <a:cubicBezTo>
                  <a:pt x="11926" y="0"/>
                  <a:pt x="38483" y="3417"/>
                  <a:pt x="45720" y="17890"/>
                </a:cubicBezTo>
                <a:cubicBezTo>
                  <a:pt x="49468" y="25386"/>
                  <a:pt x="53671" y="41743"/>
                  <a:pt x="53671" y="41743"/>
                </a:cubicBezTo>
                <a:cubicBezTo>
                  <a:pt x="54996" y="52345"/>
                  <a:pt x="50694" y="65437"/>
                  <a:pt x="57647" y="73549"/>
                </a:cubicBezTo>
                <a:cubicBezTo>
                  <a:pt x="59779" y="76037"/>
                  <a:pt x="84669" y="67192"/>
                  <a:pt x="89452" y="65597"/>
                </a:cubicBezTo>
                <a:cubicBezTo>
                  <a:pt x="99447" y="35615"/>
                  <a:pt x="85964" y="72575"/>
                  <a:pt x="101379" y="41743"/>
                </a:cubicBezTo>
                <a:cubicBezTo>
                  <a:pt x="103253" y="37995"/>
                  <a:pt x="102391" y="32780"/>
                  <a:pt x="105354" y="29817"/>
                </a:cubicBezTo>
                <a:cubicBezTo>
                  <a:pt x="108317" y="26854"/>
                  <a:pt x="113172" y="26663"/>
                  <a:pt x="117281" y="25841"/>
                </a:cubicBezTo>
                <a:cubicBezTo>
                  <a:pt x="126470" y="24003"/>
                  <a:pt x="135834" y="23190"/>
                  <a:pt x="145111" y="21865"/>
                </a:cubicBezTo>
                <a:cubicBezTo>
                  <a:pt x="158363" y="23190"/>
                  <a:pt x="171778" y="23387"/>
                  <a:pt x="184868" y="25841"/>
                </a:cubicBezTo>
                <a:cubicBezTo>
                  <a:pt x="193106" y="27386"/>
                  <a:pt x="200770" y="31142"/>
                  <a:pt x="208721" y="33792"/>
                </a:cubicBezTo>
                <a:lnTo>
                  <a:pt x="220648" y="37768"/>
                </a:lnTo>
                <a:cubicBezTo>
                  <a:pt x="223299" y="40418"/>
                  <a:pt x="226671" y="42505"/>
                  <a:pt x="228600" y="45719"/>
                </a:cubicBezTo>
                <a:cubicBezTo>
                  <a:pt x="235570" y="57336"/>
                  <a:pt x="232404" y="68818"/>
                  <a:pt x="228600" y="81500"/>
                </a:cubicBezTo>
                <a:cubicBezTo>
                  <a:pt x="226897" y="87177"/>
                  <a:pt x="224093" y="92580"/>
                  <a:pt x="220648" y="97403"/>
                </a:cubicBezTo>
                <a:cubicBezTo>
                  <a:pt x="217380" y="101978"/>
                  <a:pt x="212320" y="105011"/>
                  <a:pt x="208721" y="109330"/>
                </a:cubicBezTo>
                <a:cubicBezTo>
                  <a:pt x="205662" y="113001"/>
                  <a:pt x="204441" y="118198"/>
                  <a:pt x="200770" y="121257"/>
                </a:cubicBezTo>
                <a:cubicBezTo>
                  <a:pt x="196217" y="125051"/>
                  <a:pt x="190370" y="127007"/>
                  <a:pt x="184868" y="129208"/>
                </a:cubicBezTo>
                <a:cubicBezTo>
                  <a:pt x="177086" y="132321"/>
                  <a:pt x="161014" y="137159"/>
                  <a:pt x="161014" y="137159"/>
                </a:cubicBezTo>
                <a:cubicBezTo>
                  <a:pt x="159689" y="143785"/>
                  <a:pt x="158677" y="150482"/>
                  <a:pt x="157038" y="157037"/>
                </a:cubicBezTo>
                <a:cubicBezTo>
                  <a:pt x="156022" y="161103"/>
                  <a:pt x="156472" y="166528"/>
                  <a:pt x="153062" y="168964"/>
                </a:cubicBezTo>
                <a:cubicBezTo>
                  <a:pt x="146242" y="173836"/>
                  <a:pt x="129208" y="176916"/>
                  <a:pt x="129208" y="176916"/>
                </a:cubicBezTo>
                <a:cubicBezTo>
                  <a:pt x="113306" y="175591"/>
                  <a:pt x="96732" y="177700"/>
                  <a:pt x="81501" y="172940"/>
                </a:cubicBezTo>
                <a:cubicBezTo>
                  <a:pt x="74346" y="170704"/>
                  <a:pt x="65598" y="157037"/>
                  <a:pt x="65598" y="157037"/>
                </a:cubicBezTo>
                <a:cubicBezTo>
                  <a:pt x="57911" y="133976"/>
                  <a:pt x="64804" y="133449"/>
                  <a:pt x="45720" y="129208"/>
                </a:cubicBezTo>
                <a:cubicBezTo>
                  <a:pt x="37851" y="127459"/>
                  <a:pt x="29817" y="126557"/>
                  <a:pt x="21866" y="125232"/>
                </a:cubicBezTo>
                <a:cubicBezTo>
                  <a:pt x="20541" y="110655"/>
                  <a:pt x="19825" y="96009"/>
                  <a:pt x="17890" y="81500"/>
                </a:cubicBezTo>
                <a:cubicBezTo>
                  <a:pt x="17168" y="76084"/>
                  <a:pt x="15415" y="70851"/>
                  <a:pt x="13914" y="65597"/>
                </a:cubicBezTo>
                <a:cubicBezTo>
                  <a:pt x="12763" y="61568"/>
                  <a:pt x="10318" y="57843"/>
                  <a:pt x="9939" y="53670"/>
                </a:cubicBezTo>
                <a:cubicBezTo>
                  <a:pt x="8979" y="43112"/>
                  <a:pt x="0" y="11926"/>
                  <a:pt x="5963" y="5963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09" name="Freeform 108"/>
          <p:cNvSpPr/>
          <p:nvPr/>
        </p:nvSpPr>
        <p:spPr>
          <a:xfrm>
            <a:off x="4078288" y="1217084"/>
            <a:ext cx="133350" cy="91016"/>
          </a:xfrm>
          <a:custGeom>
            <a:avLst/>
            <a:gdLst>
              <a:gd name="connsiteX0" fmla="*/ 3976 w 132130"/>
              <a:gd name="connsiteY0" fmla="*/ 15902 h 91950"/>
              <a:gd name="connsiteX1" fmla="*/ 23854 w 132130"/>
              <a:gd name="connsiteY1" fmla="*/ 19878 h 91950"/>
              <a:gd name="connsiteX2" fmla="*/ 99391 w 132130"/>
              <a:gd name="connsiteY2" fmla="*/ 11927 h 91950"/>
              <a:gd name="connsiteX3" fmla="*/ 119270 w 132130"/>
              <a:gd name="connsiteY3" fmla="*/ 0 h 91950"/>
              <a:gd name="connsiteX4" fmla="*/ 131197 w 132130"/>
              <a:gd name="connsiteY4" fmla="*/ 3975 h 91950"/>
              <a:gd name="connsiteX5" fmla="*/ 103367 w 132130"/>
              <a:gd name="connsiteY5" fmla="*/ 43732 h 91950"/>
              <a:gd name="connsiteX6" fmla="*/ 79513 w 132130"/>
              <a:gd name="connsiteY6" fmla="*/ 51683 h 91950"/>
              <a:gd name="connsiteX7" fmla="*/ 67586 w 132130"/>
              <a:gd name="connsiteY7" fmla="*/ 55659 h 91950"/>
              <a:gd name="connsiteX8" fmla="*/ 51684 w 132130"/>
              <a:gd name="connsiteY8" fmla="*/ 67586 h 91950"/>
              <a:gd name="connsiteX9" fmla="*/ 19878 w 132130"/>
              <a:gd name="connsiteY9" fmla="*/ 91440 h 91950"/>
              <a:gd name="connsiteX10" fmla="*/ 3976 w 132130"/>
              <a:gd name="connsiteY10" fmla="*/ 87464 h 91950"/>
              <a:gd name="connsiteX11" fmla="*/ 0 w 132130"/>
              <a:gd name="connsiteY11" fmla="*/ 75537 h 91950"/>
              <a:gd name="connsiteX12" fmla="*/ 3976 w 132130"/>
              <a:gd name="connsiteY12" fmla="*/ 39756 h 91950"/>
              <a:gd name="connsiteX13" fmla="*/ 3976 w 132130"/>
              <a:gd name="connsiteY13" fmla="*/ 15902 h 9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2130" h="91950">
                <a:moveTo>
                  <a:pt x="3976" y="15902"/>
                </a:moveTo>
                <a:cubicBezTo>
                  <a:pt x="7289" y="12589"/>
                  <a:pt x="17097" y="19878"/>
                  <a:pt x="23854" y="19878"/>
                </a:cubicBezTo>
                <a:cubicBezTo>
                  <a:pt x="78932" y="19878"/>
                  <a:pt x="69817" y="21783"/>
                  <a:pt x="99391" y="11927"/>
                </a:cubicBezTo>
                <a:cubicBezTo>
                  <a:pt x="105690" y="5628"/>
                  <a:pt x="108947" y="0"/>
                  <a:pt x="119270" y="0"/>
                </a:cubicBezTo>
                <a:cubicBezTo>
                  <a:pt x="123461" y="0"/>
                  <a:pt x="127221" y="2650"/>
                  <a:pt x="131197" y="3975"/>
                </a:cubicBezTo>
                <a:cubicBezTo>
                  <a:pt x="127166" y="28156"/>
                  <a:pt x="132130" y="34145"/>
                  <a:pt x="103367" y="43732"/>
                </a:cubicBezTo>
                <a:lnTo>
                  <a:pt x="79513" y="51683"/>
                </a:lnTo>
                <a:lnTo>
                  <a:pt x="67586" y="55659"/>
                </a:lnTo>
                <a:cubicBezTo>
                  <a:pt x="62285" y="59635"/>
                  <a:pt x="56636" y="63184"/>
                  <a:pt x="51684" y="67586"/>
                </a:cubicBezTo>
                <a:cubicBezTo>
                  <a:pt x="24275" y="91950"/>
                  <a:pt x="42737" y="83820"/>
                  <a:pt x="19878" y="91440"/>
                </a:cubicBezTo>
                <a:cubicBezTo>
                  <a:pt x="14577" y="90115"/>
                  <a:pt x="8242" y="90877"/>
                  <a:pt x="3976" y="87464"/>
                </a:cubicBezTo>
                <a:cubicBezTo>
                  <a:pt x="704" y="84846"/>
                  <a:pt x="0" y="79728"/>
                  <a:pt x="0" y="75537"/>
                </a:cubicBezTo>
                <a:cubicBezTo>
                  <a:pt x="0" y="63537"/>
                  <a:pt x="2889" y="51707"/>
                  <a:pt x="3976" y="39756"/>
                </a:cubicBezTo>
                <a:cubicBezTo>
                  <a:pt x="4216" y="37117"/>
                  <a:pt x="663" y="19215"/>
                  <a:pt x="3976" y="15902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0" name="Freeform 109"/>
          <p:cNvSpPr/>
          <p:nvPr/>
        </p:nvSpPr>
        <p:spPr>
          <a:xfrm>
            <a:off x="3943350" y="914403"/>
            <a:ext cx="427038" cy="266700"/>
          </a:xfrm>
          <a:custGeom>
            <a:avLst/>
            <a:gdLst>
              <a:gd name="connsiteX0" fmla="*/ 8580 w 426846"/>
              <a:gd name="connsiteY0" fmla="*/ 190831 h 266369"/>
              <a:gd name="connsiteX1" fmla="*/ 28459 w 426846"/>
              <a:gd name="connsiteY1" fmla="*/ 178904 h 266369"/>
              <a:gd name="connsiteX2" fmla="*/ 56288 w 426846"/>
              <a:gd name="connsiteY2" fmla="*/ 147099 h 266369"/>
              <a:gd name="connsiteX3" fmla="*/ 96045 w 426846"/>
              <a:gd name="connsiteY3" fmla="*/ 135172 h 266369"/>
              <a:gd name="connsiteX4" fmla="*/ 119899 w 426846"/>
              <a:gd name="connsiteY4" fmla="*/ 127221 h 266369"/>
              <a:gd name="connsiteX5" fmla="*/ 135801 w 426846"/>
              <a:gd name="connsiteY5" fmla="*/ 115294 h 266369"/>
              <a:gd name="connsiteX6" fmla="*/ 147728 w 426846"/>
              <a:gd name="connsiteY6" fmla="*/ 107343 h 266369"/>
              <a:gd name="connsiteX7" fmla="*/ 155679 w 426846"/>
              <a:gd name="connsiteY7" fmla="*/ 83489 h 266369"/>
              <a:gd name="connsiteX8" fmla="*/ 195436 w 426846"/>
              <a:gd name="connsiteY8" fmla="*/ 79513 h 266369"/>
              <a:gd name="connsiteX9" fmla="*/ 207363 w 426846"/>
              <a:gd name="connsiteY9" fmla="*/ 75537 h 266369"/>
              <a:gd name="connsiteX10" fmla="*/ 211339 w 426846"/>
              <a:gd name="connsiteY10" fmla="*/ 63610 h 266369"/>
              <a:gd name="connsiteX11" fmla="*/ 235192 w 426846"/>
              <a:gd name="connsiteY11" fmla="*/ 43732 h 266369"/>
              <a:gd name="connsiteX12" fmla="*/ 243144 w 426846"/>
              <a:gd name="connsiteY12" fmla="*/ 35781 h 266369"/>
              <a:gd name="connsiteX13" fmla="*/ 322657 w 426846"/>
              <a:gd name="connsiteY13" fmla="*/ 23854 h 266369"/>
              <a:gd name="connsiteX14" fmla="*/ 346511 w 426846"/>
              <a:gd name="connsiteY14" fmla="*/ 15903 h 266369"/>
              <a:gd name="connsiteX15" fmla="*/ 366389 w 426846"/>
              <a:gd name="connsiteY15" fmla="*/ 0 h 266369"/>
              <a:gd name="connsiteX16" fmla="*/ 386267 w 426846"/>
              <a:gd name="connsiteY16" fmla="*/ 3976 h 266369"/>
              <a:gd name="connsiteX17" fmla="*/ 402170 w 426846"/>
              <a:gd name="connsiteY17" fmla="*/ 35781 h 266369"/>
              <a:gd name="connsiteX18" fmla="*/ 422048 w 426846"/>
              <a:gd name="connsiteY18" fmla="*/ 55659 h 266369"/>
              <a:gd name="connsiteX19" fmla="*/ 426024 w 426846"/>
              <a:gd name="connsiteY19" fmla="*/ 67586 h 266369"/>
              <a:gd name="connsiteX20" fmla="*/ 418072 w 426846"/>
              <a:gd name="connsiteY20" fmla="*/ 75537 h 266369"/>
              <a:gd name="connsiteX21" fmla="*/ 394219 w 426846"/>
              <a:gd name="connsiteY21" fmla="*/ 87464 h 266369"/>
              <a:gd name="connsiteX22" fmla="*/ 390243 w 426846"/>
              <a:gd name="connsiteY22" fmla="*/ 151075 h 266369"/>
              <a:gd name="connsiteX23" fmla="*/ 378316 w 426846"/>
              <a:gd name="connsiteY23" fmla="*/ 159026 h 266369"/>
              <a:gd name="connsiteX24" fmla="*/ 366389 w 426846"/>
              <a:gd name="connsiteY24" fmla="*/ 182880 h 266369"/>
              <a:gd name="connsiteX25" fmla="*/ 266998 w 426846"/>
              <a:gd name="connsiteY25" fmla="*/ 182880 h 266369"/>
              <a:gd name="connsiteX26" fmla="*/ 243144 w 426846"/>
              <a:gd name="connsiteY26" fmla="*/ 210710 h 266369"/>
              <a:gd name="connsiteX27" fmla="*/ 239168 w 426846"/>
              <a:gd name="connsiteY27" fmla="*/ 222637 h 266369"/>
              <a:gd name="connsiteX28" fmla="*/ 235192 w 426846"/>
              <a:gd name="connsiteY28" fmla="*/ 242515 h 266369"/>
              <a:gd name="connsiteX29" fmla="*/ 223265 w 426846"/>
              <a:gd name="connsiteY29" fmla="*/ 246490 h 266369"/>
              <a:gd name="connsiteX30" fmla="*/ 199412 w 426846"/>
              <a:gd name="connsiteY30" fmla="*/ 242515 h 266369"/>
              <a:gd name="connsiteX31" fmla="*/ 171582 w 426846"/>
              <a:gd name="connsiteY31" fmla="*/ 234563 h 266369"/>
              <a:gd name="connsiteX32" fmla="*/ 143752 w 426846"/>
              <a:gd name="connsiteY32" fmla="*/ 258417 h 266369"/>
              <a:gd name="connsiteX33" fmla="*/ 119899 w 426846"/>
              <a:gd name="connsiteY33" fmla="*/ 266369 h 266369"/>
              <a:gd name="connsiteX34" fmla="*/ 32434 w 426846"/>
              <a:gd name="connsiteY34" fmla="*/ 262393 h 266369"/>
              <a:gd name="connsiteX35" fmla="*/ 20507 w 426846"/>
              <a:gd name="connsiteY35" fmla="*/ 254442 h 266369"/>
              <a:gd name="connsiteX36" fmla="*/ 8580 w 426846"/>
              <a:gd name="connsiteY36" fmla="*/ 250466 h 266369"/>
              <a:gd name="connsiteX37" fmla="*/ 629 w 426846"/>
              <a:gd name="connsiteY37" fmla="*/ 238539 h 266369"/>
              <a:gd name="connsiteX38" fmla="*/ 8580 w 426846"/>
              <a:gd name="connsiteY38" fmla="*/ 190831 h 266369"/>
              <a:gd name="connsiteX39" fmla="*/ 8580 w 426846"/>
              <a:gd name="connsiteY39" fmla="*/ 190831 h 266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26846" h="266369">
                <a:moveTo>
                  <a:pt x="8580" y="190831"/>
                </a:moveTo>
                <a:cubicBezTo>
                  <a:pt x="11893" y="188843"/>
                  <a:pt x="22995" y="184368"/>
                  <a:pt x="28459" y="178904"/>
                </a:cubicBezTo>
                <a:cubicBezTo>
                  <a:pt x="47809" y="159554"/>
                  <a:pt x="36011" y="156111"/>
                  <a:pt x="56288" y="147099"/>
                </a:cubicBezTo>
                <a:cubicBezTo>
                  <a:pt x="75745" y="138452"/>
                  <a:pt x="78257" y="140508"/>
                  <a:pt x="96045" y="135172"/>
                </a:cubicBezTo>
                <a:cubicBezTo>
                  <a:pt x="104073" y="132764"/>
                  <a:pt x="119899" y="127221"/>
                  <a:pt x="119899" y="127221"/>
                </a:cubicBezTo>
                <a:cubicBezTo>
                  <a:pt x="125200" y="123245"/>
                  <a:pt x="130409" y="119145"/>
                  <a:pt x="135801" y="115294"/>
                </a:cubicBezTo>
                <a:cubicBezTo>
                  <a:pt x="139689" y="112517"/>
                  <a:pt x="145196" y="111395"/>
                  <a:pt x="147728" y="107343"/>
                </a:cubicBezTo>
                <a:cubicBezTo>
                  <a:pt x="152170" y="100236"/>
                  <a:pt x="147339" y="84323"/>
                  <a:pt x="155679" y="83489"/>
                </a:cubicBezTo>
                <a:lnTo>
                  <a:pt x="195436" y="79513"/>
                </a:lnTo>
                <a:cubicBezTo>
                  <a:pt x="199412" y="78188"/>
                  <a:pt x="204400" y="78500"/>
                  <a:pt x="207363" y="75537"/>
                </a:cubicBezTo>
                <a:cubicBezTo>
                  <a:pt x="210326" y="72574"/>
                  <a:pt x="209260" y="67249"/>
                  <a:pt x="211339" y="63610"/>
                </a:cubicBezTo>
                <a:cubicBezTo>
                  <a:pt x="221532" y="45771"/>
                  <a:pt x="219665" y="48908"/>
                  <a:pt x="235192" y="43732"/>
                </a:cubicBezTo>
                <a:cubicBezTo>
                  <a:pt x="237843" y="41082"/>
                  <a:pt x="239664" y="37173"/>
                  <a:pt x="243144" y="35781"/>
                </a:cubicBezTo>
                <a:cubicBezTo>
                  <a:pt x="268031" y="25827"/>
                  <a:pt x="296767" y="26012"/>
                  <a:pt x="322657" y="23854"/>
                </a:cubicBezTo>
                <a:cubicBezTo>
                  <a:pt x="330608" y="21204"/>
                  <a:pt x="341862" y="22877"/>
                  <a:pt x="346511" y="15903"/>
                </a:cubicBezTo>
                <a:cubicBezTo>
                  <a:pt x="356787" y="489"/>
                  <a:pt x="349929" y="5487"/>
                  <a:pt x="366389" y="0"/>
                </a:cubicBezTo>
                <a:cubicBezTo>
                  <a:pt x="373015" y="1325"/>
                  <a:pt x="380056" y="1314"/>
                  <a:pt x="386267" y="3976"/>
                </a:cubicBezTo>
                <a:cubicBezTo>
                  <a:pt x="398466" y="9204"/>
                  <a:pt x="396790" y="27710"/>
                  <a:pt x="402170" y="35781"/>
                </a:cubicBezTo>
                <a:cubicBezTo>
                  <a:pt x="412771" y="51684"/>
                  <a:pt x="406145" y="45058"/>
                  <a:pt x="422048" y="55659"/>
                </a:cubicBezTo>
                <a:cubicBezTo>
                  <a:pt x="423373" y="59635"/>
                  <a:pt x="426846" y="63477"/>
                  <a:pt x="426024" y="67586"/>
                </a:cubicBezTo>
                <a:cubicBezTo>
                  <a:pt x="425289" y="71262"/>
                  <a:pt x="420999" y="73195"/>
                  <a:pt x="418072" y="75537"/>
                </a:cubicBezTo>
                <a:cubicBezTo>
                  <a:pt x="407060" y="84346"/>
                  <a:pt x="406818" y="83265"/>
                  <a:pt x="394219" y="87464"/>
                </a:cubicBezTo>
                <a:cubicBezTo>
                  <a:pt x="392894" y="108668"/>
                  <a:pt x="394852" y="130336"/>
                  <a:pt x="390243" y="151075"/>
                </a:cubicBezTo>
                <a:cubicBezTo>
                  <a:pt x="389206" y="155739"/>
                  <a:pt x="381695" y="155647"/>
                  <a:pt x="378316" y="159026"/>
                </a:cubicBezTo>
                <a:cubicBezTo>
                  <a:pt x="370610" y="166732"/>
                  <a:pt x="369622" y="173181"/>
                  <a:pt x="366389" y="182880"/>
                </a:cubicBezTo>
                <a:cubicBezTo>
                  <a:pt x="358357" y="182408"/>
                  <a:pt x="287952" y="174149"/>
                  <a:pt x="266998" y="182880"/>
                </a:cubicBezTo>
                <a:cubicBezTo>
                  <a:pt x="260819" y="185455"/>
                  <a:pt x="246902" y="203194"/>
                  <a:pt x="243144" y="210710"/>
                </a:cubicBezTo>
                <a:cubicBezTo>
                  <a:pt x="241270" y="214458"/>
                  <a:pt x="240184" y="218571"/>
                  <a:pt x="239168" y="222637"/>
                </a:cubicBezTo>
                <a:cubicBezTo>
                  <a:pt x="237529" y="229192"/>
                  <a:pt x="238940" y="236893"/>
                  <a:pt x="235192" y="242515"/>
                </a:cubicBezTo>
                <a:cubicBezTo>
                  <a:pt x="232867" y="246002"/>
                  <a:pt x="227241" y="245165"/>
                  <a:pt x="223265" y="246490"/>
                </a:cubicBezTo>
                <a:cubicBezTo>
                  <a:pt x="215314" y="245165"/>
                  <a:pt x="207316" y="244096"/>
                  <a:pt x="199412" y="242515"/>
                </a:cubicBezTo>
                <a:cubicBezTo>
                  <a:pt x="186933" y="240019"/>
                  <a:pt x="182949" y="238352"/>
                  <a:pt x="171582" y="234563"/>
                </a:cubicBezTo>
                <a:cubicBezTo>
                  <a:pt x="163624" y="242521"/>
                  <a:pt x="153954" y="253316"/>
                  <a:pt x="143752" y="258417"/>
                </a:cubicBezTo>
                <a:cubicBezTo>
                  <a:pt x="136256" y="262165"/>
                  <a:pt x="119899" y="266369"/>
                  <a:pt x="119899" y="266369"/>
                </a:cubicBezTo>
                <a:cubicBezTo>
                  <a:pt x="90744" y="265044"/>
                  <a:pt x="61411" y="265870"/>
                  <a:pt x="32434" y="262393"/>
                </a:cubicBezTo>
                <a:cubicBezTo>
                  <a:pt x="27690" y="261824"/>
                  <a:pt x="24781" y="256579"/>
                  <a:pt x="20507" y="254442"/>
                </a:cubicBezTo>
                <a:cubicBezTo>
                  <a:pt x="16759" y="252568"/>
                  <a:pt x="12556" y="251791"/>
                  <a:pt x="8580" y="250466"/>
                </a:cubicBezTo>
                <a:cubicBezTo>
                  <a:pt x="5930" y="246490"/>
                  <a:pt x="1026" y="243301"/>
                  <a:pt x="629" y="238539"/>
                </a:cubicBezTo>
                <a:cubicBezTo>
                  <a:pt x="0" y="230988"/>
                  <a:pt x="2580" y="202830"/>
                  <a:pt x="8580" y="190831"/>
                </a:cubicBezTo>
                <a:lnTo>
                  <a:pt x="8580" y="190831"/>
                </a:ln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1" name="Freeform 110"/>
          <p:cNvSpPr/>
          <p:nvPr/>
        </p:nvSpPr>
        <p:spPr>
          <a:xfrm>
            <a:off x="5522919" y="165103"/>
            <a:ext cx="695325" cy="1039284"/>
          </a:xfrm>
          <a:custGeom>
            <a:avLst/>
            <a:gdLst>
              <a:gd name="connsiteX0" fmla="*/ 2650 w 694413"/>
              <a:gd name="connsiteY0" fmla="*/ 366883 h 1038769"/>
              <a:gd name="connsiteX1" fmla="*/ 22528 w 694413"/>
              <a:gd name="connsiteY1" fmla="*/ 358932 h 1038769"/>
              <a:gd name="connsiteX2" fmla="*/ 46382 w 694413"/>
              <a:gd name="connsiteY2" fmla="*/ 350981 h 1038769"/>
              <a:gd name="connsiteX3" fmla="*/ 70236 w 694413"/>
              <a:gd name="connsiteY3" fmla="*/ 319176 h 1038769"/>
              <a:gd name="connsiteX4" fmla="*/ 74211 w 694413"/>
              <a:gd name="connsiteY4" fmla="*/ 239663 h 1038769"/>
              <a:gd name="connsiteX5" fmla="*/ 82163 w 694413"/>
              <a:gd name="connsiteY5" fmla="*/ 231711 h 1038769"/>
              <a:gd name="connsiteX6" fmla="*/ 106016 w 694413"/>
              <a:gd name="connsiteY6" fmla="*/ 211833 h 1038769"/>
              <a:gd name="connsiteX7" fmla="*/ 133846 w 694413"/>
              <a:gd name="connsiteY7" fmla="*/ 191955 h 1038769"/>
              <a:gd name="connsiteX8" fmla="*/ 153724 w 694413"/>
              <a:gd name="connsiteY8" fmla="*/ 176052 h 1038769"/>
              <a:gd name="connsiteX9" fmla="*/ 165651 w 694413"/>
              <a:gd name="connsiteY9" fmla="*/ 172076 h 1038769"/>
              <a:gd name="connsiteX10" fmla="*/ 185530 w 694413"/>
              <a:gd name="connsiteY10" fmla="*/ 152198 h 1038769"/>
              <a:gd name="connsiteX11" fmla="*/ 217335 w 694413"/>
              <a:gd name="connsiteY11" fmla="*/ 124369 h 1038769"/>
              <a:gd name="connsiteX12" fmla="*/ 229262 w 694413"/>
              <a:gd name="connsiteY12" fmla="*/ 120393 h 1038769"/>
              <a:gd name="connsiteX13" fmla="*/ 265043 w 694413"/>
              <a:gd name="connsiteY13" fmla="*/ 112442 h 1038769"/>
              <a:gd name="connsiteX14" fmla="*/ 296848 w 694413"/>
              <a:gd name="connsiteY14" fmla="*/ 96539 h 1038769"/>
              <a:gd name="connsiteX15" fmla="*/ 308775 w 694413"/>
              <a:gd name="connsiteY15" fmla="*/ 88588 h 1038769"/>
              <a:gd name="connsiteX16" fmla="*/ 340580 w 694413"/>
              <a:gd name="connsiteY16" fmla="*/ 64734 h 1038769"/>
              <a:gd name="connsiteX17" fmla="*/ 388288 w 694413"/>
              <a:gd name="connsiteY17" fmla="*/ 60758 h 1038769"/>
              <a:gd name="connsiteX18" fmla="*/ 424069 w 694413"/>
              <a:gd name="connsiteY18" fmla="*/ 40880 h 1038769"/>
              <a:gd name="connsiteX19" fmla="*/ 435996 w 694413"/>
              <a:gd name="connsiteY19" fmla="*/ 28953 h 1038769"/>
              <a:gd name="connsiteX20" fmla="*/ 447923 w 694413"/>
              <a:gd name="connsiteY20" fmla="*/ 24977 h 1038769"/>
              <a:gd name="connsiteX21" fmla="*/ 459850 w 694413"/>
              <a:gd name="connsiteY21" fmla="*/ 17026 h 1038769"/>
              <a:gd name="connsiteX22" fmla="*/ 527436 w 694413"/>
              <a:gd name="connsiteY22" fmla="*/ 9075 h 1038769"/>
              <a:gd name="connsiteX23" fmla="*/ 543338 w 694413"/>
              <a:gd name="connsiteY23" fmla="*/ 5099 h 1038769"/>
              <a:gd name="connsiteX24" fmla="*/ 646705 w 694413"/>
              <a:gd name="connsiteY24" fmla="*/ 13050 h 1038769"/>
              <a:gd name="connsiteX25" fmla="*/ 662608 w 694413"/>
              <a:gd name="connsiteY25" fmla="*/ 32929 h 1038769"/>
              <a:gd name="connsiteX26" fmla="*/ 666583 w 694413"/>
              <a:gd name="connsiteY26" fmla="*/ 44856 h 1038769"/>
              <a:gd name="connsiteX27" fmla="*/ 674535 w 694413"/>
              <a:gd name="connsiteY27" fmla="*/ 72685 h 1038769"/>
              <a:gd name="connsiteX28" fmla="*/ 670559 w 694413"/>
              <a:gd name="connsiteY28" fmla="*/ 88588 h 1038769"/>
              <a:gd name="connsiteX29" fmla="*/ 634778 w 694413"/>
              <a:gd name="connsiteY29" fmla="*/ 108466 h 1038769"/>
              <a:gd name="connsiteX30" fmla="*/ 610924 w 694413"/>
              <a:gd name="connsiteY30" fmla="*/ 120393 h 1038769"/>
              <a:gd name="connsiteX31" fmla="*/ 587070 w 694413"/>
              <a:gd name="connsiteY31" fmla="*/ 136296 h 1038769"/>
              <a:gd name="connsiteX32" fmla="*/ 575143 w 694413"/>
              <a:gd name="connsiteY32" fmla="*/ 148223 h 1038769"/>
              <a:gd name="connsiteX33" fmla="*/ 551290 w 694413"/>
              <a:gd name="connsiteY33" fmla="*/ 164125 h 1038769"/>
              <a:gd name="connsiteX34" fmla="*/ 539363 w 694413"/>
              <a:gd name="connsiteY34" fmla="*/ 172076 h 1038769"/>
              <a:gd name="connsiteX35" fmla="*/ 527436 w 694413"/>
              <a:gd name="connsiteY35" fmla="*/ 180028 h 1038769"/>
              <a:gd name="connsiteX36" fmla="*/ 515509 w 694413"/>
              <a:gd name="connsiteY36" fmla="*/ 184003 h 1038769"/>
              <a:gd name="connsiteX37" fmla="*/ 507557 w 694413"/>
              <a:gd name="connsiteY37" fmla="*/ 191955 h 1038769"/>
              <a:gd name="connsiteX38" fmla="*/ 491655 w 694413"/>
              <a:gd name="connsiteY38" fmla="*/ 215809 h 1038769"/>
              <a:gd name="connsiteX39" fmla="*/ 499606 w 694413"/>
              <a:gd name="connsiteY39" fmla="*/ 227736 h 1038769"/>
              <a:gd name="connsiteX40" fmla="*/ 531411 w 694413"/>
              <a:gd name="connsiteY40" fmla="*/ 227736 h 1038769"/>
              <a:gd name="connsiteX41" fmla="*/ 539363 w 694413"/>
              <a:gd name="connsiteY41" fmla="*/ 219784 h 1038769"/>
              <a:gd name="connsiteX42" fmla="*/ 551290 w 694413"/>
              <a:gd name="connsiteY42" fmla="*/ 211833 h 1038769"/>
              <a:gd name="connsiteX43" fmla="*/ 559241 w 694413"/>
              <a:gd name="connsiteY43" fmla="*/ 199906 h 1038769"/>
              <a:gd name="connsiteX44" fmla="*/ 571168 w 694413"/>
              <a:gd name="connsiteY44" fmla="*/ 191955 h 1038769"/>
              <a:gd name="connsiteX45" fmla="*/ 591046 w 694413"/>
              <a:gd name="connsiteY45" fmla="*/ 176052 h 1038769"/>
              <a:gd name="connsiteX46" fmla="*/ 606949 w 694413"/>
              <a:gd name="connsiteY46" fmla="*/ 180028 h 1038769"/>
              <a:gd name="connsiteX47" fmla="*/ 602973 w 694413"/>
              <a:gd name="connsiteY47" fmla="*/ 211833 h 1038769"/>
              <a:gd name="connsiteX48" fmla="*/ 598997 w 694413"/>
              <a:gd name="connsiteY48" fmla="*/ 235687 h 1038769"/>
              <a:gd name="connsiteX49" fmla="*/ 610924 w 694413"/>
              <a:gd name="connsiteY49" fmla="*/ 231711 h 1038769"/>
              <a:gd name="connsiteX50" fmla="*/ 618876 w 694413"/>
              <a:gd name="connsiteY50" fmla="*/ 223760 h 1038769"/>
              <a:gd name="connsiteX51" fmla="*/ 630803 w 694413"/>
              <a:gd name="connsiteY51" fmla="*/ 215809 h 1038769"/>
              <a:gd name="connsiteX52" fmla="*/ 638754 w 694413"/>
              <a:gd name="connsiteY52" fmla="*/ 191955 h 1038769"/>
              <a:gd name="connsiteX53" fmla="*/ 642730 w 694413"/>
              <a:gd name="connsiteY53" fmla="*/ 180028 h 1038769"/>
              <a:gd name="connsiteX54" fmla="*/ 650681 w 694413"/>
              <a:gd name="connsiteY54" fmla="*/ 172076 h 1038769"/>
              <a:gd name="connsiteX55" fmla="*/ 662608 w 694413"/>
              <a:gd name="connsiteY55" fmla="*/ 164125 h 1038769"/>
              <a:gd name="connsiteX56" fmla="*/ 674535 w 694413"/>
              <a:gd name="connsiteY56" fmla="*/ 160149 h 1038769"/>
              <a:gd name="connsiteX57" fmla="*/ 682486 w 694413"/>
              <a:gd name="connsiteY57" fmla="*/ 168101 h 1038769"/>
              <a:gd name="connsiteX58" fmla="*/ 690437 w 694413"/>
              <a:gd name="connsiteY58" fmla="*/ 211833 h 1038769"/>
              <a:gd name="connsiteX59" fmla="*/ 694413 w 694413"/>
              <a:gd name="connsiteY59" fmla="*/ 223760 h 1038769"/>
              <a:gd name="connsiteX60" fmla="*/ 690437 w 694413"/>
              <a:gd name="connsiteY60" fmla="*/ 311224 h 1038769"/>
              <a:gd name="connsiteX61" fmla="*/ 686462 w 694413"/>
              <a:gd name="connsiteY61" fmla="*/ 323151 h 1038769"/>
              <a:gd name="connsiteX62" fmla="*/ 678510 w 694413"/>
              <a:gd name="connsiteY62" fmla="*/ 331103 h 1038769"/>
              <a:gd name="connsiteX63" fmla="*/ 670559 w 694413"/>
              <a:gd name="connsiteY63" fmla="*/ 354956 h 1038769"/>
              <a:gd name="connsiteX64" fmla="*/ 662608 w 694413"/>
              <a:gd name="connsiteY64" fmla="*/ 382786 h 1038769"/>
              <a:gd name="connsiteX65" fmla="*/ 662608 w 694413"/>
              <a:gd name="connsiteY65" fmla="*/ 422543 h 1038769"/>
              <a:gd name="connsiteX66" fmla="*/ 650681 w 694413"/>
              <a:gd name="connsiteY66" fmla="*/ 430494 h 1038769"/>
              <a:gd name="connsiteX67" fmla="*/ 646705 w 694413"/>
              <a:gd name="connsiteY67" fmla="*/ 442421 h 1038769"/>
              <a:gd name="connsiteX68" fmla="*/ 634778 w 694413"/>
              <a:gd name="connsiteY68" fmla="*/ 450372 h 1038769"/>
              <a:gd name="connsiteX69" fmla="*/ 614900 w 694413"/>
              <a:gd name="connsiteY69" fmla="*/ 482177 h 1038769"/>
              <a:gd name="connsiteX70" fmla="*/ 606949 w 694413"/>
              <a:gd name="connsiteY70" fmla="*/ 490129 h 1038769"/>
              <a:gd name="connsiteX71" fmla="*/ 583095 w 694413"/>
              <a:gd name="connsiteY71" fmla="*/ 498080 h 1038769"/>
              <a:gd name="connsiteX72" fmla="*/ 571168 w 694413"/>
              <a:gd name="connsiteY72" fmla="*/ 502056 h 1038769"/>
              <a:gd name="connsiteX73" fmla="*/ 563216 w 694413"/>
              <a:gd name="connsiteY73" fmla="*/ 510007 h 1038769"/>
              <a:gd name="connsiteX74" fmla="*/ 567192 w 694413"/>
              <a:gd name="connsiteY74" fmla="*/ 521934 h 1038769"/>
              <a:gd name="connsiteX75" fmla="*/ 591046 w 694413"/>
              <a:gd name="connsiteY75" fmla="*/ 529885 h 1038769"/>
              <a:gd name="connsiteX76" fmla="*/ 614900 w 694413"/>
              <a:gd name="connsiteY76" fmla="*/ 541812 h 1038769"/>
              <a:gd name="connsiteX77" fmla="*/ 610924 w 694413"/>
              <a:gd name="connsiteY77" fmla="*/ 553739 h 1038769"/>
              <a:gd name="connsiteX78" fmla="*/ 606949 w 694413"/>
              <a:gd name="connsiteY78" fmla="*/ 597471 h 1038769"/>
              <a:gd name="connsiteX79" fmla="*/ 579119 w 694413"/>
              <a:gd name="connsiteY79" fmla="*/ 633252 h 1038769"/>
              <a:gd name="connsiteX80" fmla="*/ 575143 w 694413"/>
              <a:gd name="connsiteY80" fmla="*/ 649155 h 1038769"/>
              <a:gd name="connsiteX81" fmla="*/ 571168 w 694413"/>
              <a:gd name="connsiteY81" fmla="*/ 676984 h 1038769"/>
              <a:gd name="connsiteX82" fmla="*/ 563216 w 694413"/>
              <a:gd name="connsiteY82" fmla="*/ 700838 h 1038769"/>
              <a:gd name="connsiteX83" fmla="*/ 555265 w 694413"/>
              <a:gd name="connsiteY83" fmla="*/ 724692 h 1038769"/>
              <a:gd name="connsiteX84" fmla="*/ 551290 w 694413"/>
              <a:gd name="connsiteY84" fmla="*/ 736619 h 1038769"/>
              <a:gd name="connsiteX85" fmla="*/ 543338 w 694413"/>
              <a:gd name="connsiteY85" fmla="*/ 748546 h 1038769"/>
              <a:gd name="connsiteX86" fmla="*/ 539363 w 694413"/>
              <a:gd name="connsiteY86" fmla="*/ 760473 h 1038769"/>
              <a:gd name="connsiteX87" fmla="*/ 523460 w 694413"/>
              <a:gd name="connsiteY87" fmla="*/ 764449 h 1038769"/>
              <a:gd name="connsiteX88" fmla="*/ 471776 w 694413"/>
              <a:gd name="connsiteY88" fmla="*/ 776376 h 1038769"/>
              <a:gd name="connsiteX89" fmla="*/ 451898 w 694413"/>
              <a:gd name="connsiteY89" fmla="*/ 788303 h 1038769"/>
              <a:gd name="connsiteX90" fmla="*/ 439971 w 694413"/>
              <a:gd name="connsiteY90" fmla="*/ 792278 h 1038769"/>
              <a:gd name="connsiteX91" fmla="*/ 428044 w 694413"/>
              <a:gd name="connsiteY91" fmla="*/ 816132 h 1038769"/>
              <a:gd name="connsiteX92" fmla="*/ 435996 w 694413"/>
              <a:gd name="connsiteY92" fmla="*/ 828059 h 1038769"/>
              <a:gd name="connsiteX93" fmla="*/ 447923 w 694413"/>
              <a:gd name="connsiteY93" fmla="*/ 832035 h 1038769"/>
              <a:gd name="connsiteX94" fmla="*/ 467801 w 694413"/>
              <a:gd name="connsiteY94" fmla="*/ 859864 h 1038769"/>
              <a:gd name="connsiteX95" fmla="*/ 515509 w 694413"/>
              <a:gd name="connsiteY95" fmla="*/ 855889 h 1038769"/>
              <a:gd name="connsiteX96" fmla="*/ 539363 w 694413"/>
              <a:gd name="connsiteY96" fmla="*/ 843962 h 1038769"/>
              <a:gd name="connsiteX97" fmla="*/ 547314 w 694413"/>
              <a:gd name="connsiteY97" fmla="*/ 836010 h 1038769"/>
              <a:gd name="connsiteX98" fmla="*/ 559241 w 694413"/>
              <a:gd name="connsiteY98" fmla="*/ 828059 h 1038769"/>
              <a:gd name="connsiteX99" fmla="*/ 626827 w 694413"/>
              <a:gd name="connsiteY99" fmla="*/ 836010 h 1038769"/>
              <a:gd name="connsiteX100" fmla="*/ 638754 w 694413"/>
              <a:gd name="connsiteY100" fmla="*/ 839986 h 1038769"/>
              <a:gd name="connsiteX101" fmla="*/ 642730 w 694413"/>
              <a:gd name="connsiteY101" fmla="*/ 895645 h 1038769"/>
              <a:gd name="connsiteX102" fmla="*/ 626827 w 694413"/>
              <a:gd name="connsiteY102" fmla="*/ 919499 h 1038769"/>
              <a:gd name="connsiteX103" fmla="*/ 622851 w 694413"/>
              <a:gd name="connsiteY103" fmla="*/ 947329 h 1038769"/>
              <a:gd name="connsiteX104" fmla="*/ 598997 w 694413"/>
              <a:gd name="connsiteY104" fmla="*/ 955280 h 1038769"/>
              <a:gd name="connsiteX105" fmla="*/ 587070 w 694413"/>
              <a:gd name="connsiteY105" fmla="*/ 959256 h 1038769"/>
              <a:gd name="connsiteX106" fmla="*/ 575143 w 694413"/>
              <a:gd name="connsiteY106" fmla="*/ 963231 h 1038769"/>
              <a:gd name="connsiteX107" fmla="*/ 567192 w 694413"/>
              <a:gd name="connsiteY107" fmla="*/ 971183 h 1038769"/>
              <a:gd name="connsiteX108" fmla="*/ 555265 w 694413"/>
              <a:gd name="connsiteY108" fmla="*/ 995036 h 1038769"/>
              <a:gd name="connsiteX109" fmla="*/ 531411 w 694413"/>
              <a:gd name="connsiteY109" fmla="*/ 1002988 h 1038769"/>
              <a:gd name="connsiteX110" fmla="*/ 519484 w 694413"/>
              <a:gd name="connsiteY110" fmla="*/ 1006963 h 1038769"/>
              <a:gd name="connsiteX111" fmla="*/ 471776 w 694413"/>
              <a:gd name="connsiteY111" fmla="*/ 1002988 h 1038769"/>
              <a:gd name="connsiteX112" fmla="*/ 459850 w 694413"/>
              <a:gd name="connsiteY112" fmla="*/ 999012 h 1038769"/>
              <a:gd name="connsiteX113" fmla="*/ 435996 w 694413"/>
              <a:gd name="connsiteY113" fmla="*/ 967207 h 1038769"/>
              <a:gd name="connsiteX114" fmla="*/ 428044 w 694413"/>
              <a:gd name="connsiteY114" fmla="*/ 943353 h 1038769"/>
              <a:gd name="connsiteX115" fmla="*/ 412142 w 694413"/>
              <a:gd name="connsiteY115" fmla="*/ 919499 h 1038769"/>
              <a:gd name="connsiteX116" fmla="*/ 400215 w 694413"/>
              <a:gd name="connsiteY116" fmla="*/ 915523 h 1038769"/>
              <a:gd name="connsiteX117" fmla="*/ 372385 w 694413"/>
              <a:gd name="connsiteY117" fmla="*/ 919499 h 1038769"/>
              <a:gd name="connsiteX118" fmla="*/ 360458 w 694413"/>
              <a:gd name="connsiteY118" fmla="*/ 923475 h 1038769"/>
              <a:gd name="connsiteX119" fmla="*/ 352507 w 694413"/>
              <a:gd name="connsiteY119" fmla="*/ 947329 h 1038769"/>
              <a:gd name="connsiteX120" fmla="*/ 348531 w 694413"/>
              <a:gd name="connsiteY120" fmla="*/ 959256 h 1038769"/>
              <a:gd name="connsiteX121" fmla="*/ 340580 w 694413"/>
              <a:gd name="connsiteY121" fmla="*/ 971183 h 1038769"/>
              <a:gd name="connsiteX122" fmla="*/ 328653 w 694413"/>
              <a:gd name="connsiteY122" fmla="*/ 975158 h 1038769"/>
              <a:gd name="connsiteX123" fmla="*/ 308775 w 694413"/>
              <a:gd name="connsiteY123" fmla="*/ 1022866 h 1038769"/>
              <a:gd name="connsiteX124" fmla="*/ 296848 w 694413"/>
              <a:gd name="connsiteY124" fmla="*/ 1026842 h 1038769"/>
              <a:gd name="connsiteX125" fmla="*/ 284921 w 694413"/>
              <a:gd name="connsiteY125" fmla="*/ 1018890 h 1038769"/>
              <a:gd name="connsiteX126" fmla="*/ 269018 w 694413"/>
              <a:gd name="connsiteY126" fmla="*/ 1010939 h 1038769"/>
              <a:gd name="connsiteX127" fmla="*/ 261067 w 694413"/>
              <a:gd name="connsiteY127" fmla="*/ 999012 h 1038769"/>
              <a:gd name="connsiteX128" fmla="*/ 249140 w 694413"/>
              <a:gd name="connsiteY128" fmla="*/ 991061 h 1038769"/>
              <a:gd name="connsiteX129" fmla="*/ 233237 w 694413"/>
              <a:gd name="connsiteY129" fmla="*/ 971183 h 1038769"/>
              <a:gd name="connsiteX130" fmla="*/ 221310 w 694413"/>
              <a:gd name="connsiteY130" fmla="*/ 979134 h 1038769"/>
              <a:gd name="connsiteX131" fmla="*/ 213359 w 694413"/>
              <a:gd name="connsiteY131" fmla="*/ 1002988 h 1038769"/>
              <a:gd name="connsiteX132" fmla="*/ 205408 w 694413"/>
              <a:gd name="connsiteY132" fmla="*/ 1014915 h 1038769"/>
              <a:gd name="connsiteX133" fmla="*/ 185530 w 694413"/>
              <a:gd name="connsiteY133" fmla="*/ 1030817 h 1038769"/>
              <a:gd name="connsiteX134" fmla="*/ 157700 w 694413"/>
              <a:gd name="connsiteY134" fmla="*/ 1038769 h 1038769"/>
              <a:gd name="connsiteX135" fmla="*/ 90114 w 694413"/>
              <a:gd name="connsiteY135" fmla="*/ 1034793 h 1038769"/>
              <a:gd name="connsiteX136" fmla="*/ 66260 w 694413"/>
              <a:gd name="connsiteY136" fmla="*/ 1010939 h 1038769"/>
              <a:gd name="connsiteX137" fmla="*/ 78187 w 694413"/>
              <a:gd name="connsiteY137" fmla="*/ 987085 h 1038769"/>
              <a:gd name="connsiteX138" fmla="*/ 90114 w 694413"/>
              <a:gd name="connsiteY138" fmla="*/ 979134 h 1038769"/>
              <a:gd name="connsiteX139" fmla="*/ 98065 w 694413"/>
              <a:gd name="connsiteY139" fmla="*/ 967207 h 1038769"/>
              <a:gd name="connsiteX140" fmla="*/ 121919 w 694413"/>
              <a:gd name="connsiteY140" fmla="*/ 951304 h 1038769"/>
              <a:gd name="connsiteX141" fmla="*/ 149749 w 694413"/>
              <a:gd name="connsiteY141" fmla="*/ 943353 h 1038769"/>
              <a:gd name="connsiteX142" fmla="*/ 161676 w 694413"/>
              <a:gd name="connsiteY142" fmla="*/ 931426 h 1038769"/>
              <a:gd name="connsiteX143" fmla="*/ 161676 w 694413"/>
              <a:gd name="connsiteY143" fmla="*/ 887694 h 1038769"/>
              <a:gd name="connsiteX144" fmla="*/ 153724 w 694413"/>
              <a:gd name="connsiteY144" fmla="*/ 875767 h 1038769"/>
              <a:gd name="connsiteX145" fmla="*/ 149749 w 694413"/>
              <a:gd name="connsiteY145" fmla="*/ 863840 h 1038769"/>
              <a:gd name="connsiteX146" fmla="*/ 137822 w 694413"/>
              <a:gd name="connsiteY146" fmla="*/ 859864 h 1038769"/>
              <a:gd name="connsiteX147" fmla="*/ 109992 w 694413"/>
              <a:gd name="connsiteY147" fmla="*/ 847937 h 1038769"/>
              <a:gd name="connsiteX148" fmla="*/ 109992 w 694413"/>
              <a:gd name="connsiteY148" fmla="*/ 772400 h 1038769"/>
              <a:gd name="connsiteX149" fmla="*/ 113968 w 694413"/>
              <a:gd name="connsiteY149" fmla="*/ 760473 h 1038769"/>
              <a:gd name="connsiteX150" fmla="*/ 133846 w 694413"/>
              <a:gd name="connsiteY150" fmla="*/ 752522 h 1038769"/>
              <a:gd name="connsiteX151" fmla="*/ 157700 w 694413"/>
              <a:gd name="connsiteY151" fmla="*/ 740595 h 1038769"/>
              <a:gd name="connsiteX152" fmla="*/ 181554 w 694413"/>
              <a:gd name="connsiteY152" fmla="*/ 752522 h 1038769"/>
              <a:gd name="connsiteX153" fmla="*/ 193481 w 694413"/>
              <a:gd name="connsiteY153" fmla="*/ 760473 h 1038769"/>
              <a:gd name="connsiteX154" fmla="*/ 201432 w 694413"/>
              <a:gd name="connsiteY154" fmla="*/ 832035 h 1038769"/>
              <a:gd name="connsiteX155" fmla="*/ 205408 w 694413"/>
              <a:gd name="connsiteY155" fmla="*/ 843962 h 1038769"/>
              <a:gd name="connsiteX156" fmla="*/ 233237 w 694413"/>
              <a:gd name="connsiteY156" fmla="*/ 851913 h 1038769"/>
              <a:gd name="connsiteX157" fmla="*/ 272994 w 694413"/>
              <a:gd name="connsiteY157" fmla="*/ 847937 h 1038769"/>
              <a:gd name="connsiteX158" fmla="*/ 296848 w 694413"/>
              <a:gd name="connsiteY158" fmla="*/ 839986 h 1038769"/>
              <a:gd name="connsiteX159" fmla="*/ 312750 w 694413"/>
              <a:gd name="connsiteY159" fmla="*/ 836010 h 1038769"/>
              <a:gd name="connsiteX160" fmla="*/ 336604 w 694413"/>
              <a:gd name="connsiteY160" fmla="*/ 828059 h 1038769"/>
              <a:gd name="connsiteX161" fmla="*/ 348531 w 694413"/>
              <a:gd name="connsiteY161" fmla="*/ 824083 h 1038769"/>
              <a:gd name="connsiteX162" fmla="*/ 328653 w 694413"/>
              <a:gd name="connsiteY162" fmla="*/ 752522 h 1038769"/>
              <a:gd name="connsiteX163" fmla="*/ 316726 w 694413"/>
              <a:gd name="connsiteY163" fmla="*/ 756497 h 1038769"/>
              <a:gd name="connsiteX164" fmla="*/ 300823 w 694413"/>
              <a:gd name="connsiteY164" fmla="*/ 776376 h 1038769"/>
              <a:gd name="connsiteX165" fmla="*/ 276970 w 694413"/>
              <a:gd name="connsiteY165" fmla="*/ 784327 h 1038769"/>
              <a:gd name="connsiteX166" fmla="*/ 241189 w 694413"/>
              <a:gd name="connsiteY166" fmla="*/ 776376 h 1038769"/>
              <a:gd name="connsiteX167" fmla="*/ 237213 w 694413"/>
              <a:gd name="connsiteY167" fmla="*/ 764449 h 1038769"/>
              <a:gd name="connsiteX168" fmla="*/ 241189 w 694413"/>
              <a:gd name="connsiteY168" fmla="*/ 732643 h 1038769"/>
              <a:gd name="connsiteX169" fmla="*/ 249140 w 694413"/>
              <a:gd name="connsiteY169" fmla="*/ 720716 h 1038769"/>
              <a:gd name="connsiteX170" fmla="*/ 253116 w 694413"/>
              <a:gd name="connsiteY170" fmla="*/ 708789 h 1038769"/>
              <a:gd name="connsiteX171" fmla="*/ 265043 w 694413"/>
              <a:gd name="connsiteY171" fmla="*/ 684936 h 1038769"/>
              <a:gd name="connsiteX172" fmla="*/ 261067 w 694413"/>
              <a:gd name="connsiteY172" fmla="*/ 633252 h 1038769"/>
              <a:gd name="connsiteX173" fmla="*/ 249140 w 694413"/>
              <a:gd name="connsiteY173" fmla="*/ 625301 h 1038769"/>
              <a:gd name="connsiteX174" fmla="*/ 229262 w 694413"/>
              <a:gd name="connsiteY174" fmla="*/ 613374 h 1038769"/>
              <a:gd name="connsiteX175" fmla="*/ 189505 w 694413"/>
              <a:gd name="connsiteY175" fmla="*/ 621325 h 1038769"/>
              <a:gd name="connsiteX176" fmla="*/ 141797 w 694413"/>
              <a:gd name="connsiteY176" fmla="*/ 661082 h 1038769"/>
              <a:gd name="connsiteX177" fmla="*/ 117943 w 694413"/>
              <a:gd name="connsiteY177" fmla="*/ 676984 h 1038769"/>
              <a:gd name="connsiteX178" fmla="*/ 121919 w 694413"/>
              <a:gd name="connsiteY178" fmla="*/ 581569 h 1038769"/>
              <a:gd name="connsiteX179" fmla="*/ 133846 w 694413"/>
              <a:gd name="connsiteY179" fmla="*/ 561690 h 1038769"/>
              <a:gd name="connsiteX180" fmla="*/ 141797 w 694413"/>
              <a:gd name="connsiteY180" fmla="*/ 549763 h 1038769"/>
              <a:gd name="connsiteX181" fmla="*/ 161676 w 694413"/>
              <a:gd name="connsiteY181" fmla="*/ 533861 h 1038769"/>
              <a:gd name="connsiteX182" fmla="*/ 165651 w 694413"/>
              <a:gd name="connsiteY182" fmla="*/ 521934 h 1038769"/>
              <a:gd name="connsiteX183" fmla="*/ 221310 w 694413"/>
              <a:gd name="connsiteY183" fmla="*/ 510007 h 1038769"/>
              <a:gd name="connsiteX184" fmla="*/ 233237 w 694413"/>
              <a:gd name="connsiteY184" fmla="*/ 502056 h 1038769"/>
              <a:gd name="connsiteX185" fmla="*/ 241189 w 694413"/>
              <a:gd name="connsiteY185" fmla="*/ 494104 h 1038769"/>
              <a:gd name="connsiteX186" fmla="*/ 253116 w 694413"/>
              <a:gd name="connsiteY186" fmla="*/ 541812 h 1038769"/>
              <a:gd name="connsiteX187" fmla="*/ 269018 w 694413"/>
              <a:gd name="connsiteY187" fmla="*/ 545788 h 1038769"/>
              <a:gd name="connsiteX188" fmla="*/ 280945 w 694413"/>
              <a:gd name="connsiteY188" fmla="*/ 553739 h 1038769"/>
              <a:gd name="connsiteX189" fmla="*/ 304799 w 694413"/>
              <a:gd name="connsiteY189" fmla="*/ 561690 h 1038769"/>
              <a:gd name="connsiteX190" fmla="*/ 332629 w 694413"/>
              <a:gd name="connsiteY190" fmla="*/ 549763 h 1038769"/>
              <a:gd name="connsiteX191" fmla="*/ 320702 w 694413"/>
              <a:gd name="connsiteY191" fmla="*/ 490129 h 1038769"/>
              <a:gd name="connsiteX192" fmla="*/ 312750 w 694413"/>
              <a:gd name="connsiteY192" fmla="*/ 482177 h 1038769"/>
              <a:gd name="connsiteX193" fmla="*/ 304799 w 694413"/>
              <a:gd name="connsiteY193" fmla="*/ 470250 h 1038769"/>
              <a:gd name="connsiteX194" fmla="*/ 300823 w 694413"/>
              <a:gd name="connsiteY194" fmla="*/ 458323 h 1038769"/>
              <a:gd name="connsiteX195" fmla="*/ 288896 w 694413"/>
              <a:gd name="connsiteY195" fmla="*/ 454348 h 1038769"/>
              <a:gd name="connsiteX196" fmla="*/ 280945 w 694413"/>
              <a:gd name="connsiteY196" fmla="*/ 446396 h 1038769"/>
              <a:gd name="connsiteX197" fmla="*/ 265043 w 694413"/>
              <a:gd name="connsiteY197" fmla="*/ 442421 h 1038769"/>
              <a:gd name="connsiteX198" fmla="*/ 253116 w 694413"/>
              <a:gd name="connsiteY198" fmla="*/ 414591 h 1038769"/>
              <a:gd name="connsiteX199" fmla="*/ 257091 w 694413"/>
              <a:gd name="connsiteY199" fmla="*/ 339054 h 1038769"/>
              <a:gd name="connsiteX200" fmla="*/ 245164 w 694413"/>
              <a:gd name="connsiteY200" fmla="*/ 335078 h 1038769"/>
              <a:gd name="connsiteX201" fmla="*/ 233237 w 694413"/>
              <a:gd name="connsiteY201" fmla="*/ 339054 h 1038769"/>
              <a:gd name="connsiteX202" fmla="*/ 205408 w 694413"/>
              <a:gd name="connsiteY202" fmla="*/ 358932 h 1038769"/>
              <a:gd name="connsiteX203" fmla="*/ 197456 w 694413"/>
              <a:gd name="connsiteY203" fmla="*/ 382786 h 1038769"/>
              <a:gd name="connsiteX204" fmla="*/ 193481 w 694413"/>
              <a:gd name="connsiteY204" fmla="*/ 394713 h 1038769"/>
              <a:gd name="connsiteX205" fmla="*/ 189505 w 694413"/>
              <a:gd name="connsiteY205" fmla="*/ 434469 h 1038769"/>
              <a:gd name="connsiteX206" fmla="*/ 177578 w 694413"/>
              <a:gd name="connsiteY206" fmla="*/ 454348 h 1038769"/>
              <a:gd name="connsiteX207" fmla="*/ 98065 w 694413"/>
              <a:gd name="connsiteY207" fmla="*/ 466275 h 1038769"/>
              <a:gd name="connsiteX208" fmla="*/ 66260 w 694413"/>
              <a:gd name="connsiteY208" fmla="*/ 462299 h 1038769"/>
              <a:gd name="connsiteX209" fmla="*/ 62284 w 694413"/>
              <a:gd name="connsiteY209" fmla="*/ 418567 h 1038769"/>
              <a:gd name="connsiteX210" fmla="*/ 50357 w 694413"/>
              <a:gd name="connsiteY210" fmla="*/ 406640 h 1038769"/>
              <a:gd name="connsiteX211" fmla="*/ 38430 w 694413"/>
              <a:gd name="connsiteY211" fmla="*/ 390737 h 1038769"/>
              <a:gd name="connsiteX212" fmla="*/ 2650 w 694413"/>
              <a:gd name="connsiteY212" fmla="*/ 366883 h 1038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</a:cxnLst>
            <a:rect l="l" t="t" r="r" b="b"/>
            <a:pathLst>
              <a:path w="694413" h="1038769">
                <a:moveTo>
                  <a:pt x="2650" y="366883"/>
                </a:moveTo>
                <a:cubicBezTo>
                  <a:pt x="0" y="361582"/>
                  <a:pt x="15821" y="361371"/>
                  <a:pt x="22528" y="358932"/>
                </a:cubicBezTo>
                <a:cubicBezTo>
                  <a:pt x="30405" y="356068"/>
                  <a:pt x="46382" y="350981"/>
                  <a:pt x="46382" y="350981"/>
                </a:cubicBezTo>
                <a:cubicBezTo>
                  <a:pt x="69223" y="328140"/>
                  <a:pt x="63297" y="339993"/>
                  <a:pt x="70236" y="319176"/>
                </a:cubicBezTo>
                <a:cubicBezTo>
                  <a:pt x="71561" y="292672"/>
                  <a:pt x="70625" y="265957"/>
                  <a:pt x="74211" y="239663"/>
                </a:cubicBezTo>
                <a:cubicBezTo>
                  <a:pt x="74717" y="235949"/>
                  <a:pt x="79821" y="234638"/>
                  <a:pt x="82163" y="231711"/>
                </a:cubicBezTo>
                <a:cubicBezTo>
                  <a:pt x="107155" y="200471"/>
                  <a:pt x="68782" y="239759"/>
                  <a:pt x="106016" y="211833"/>
                </a:cubicBezTo>
                <a:cubicBezTo>
                  <a:pt x="136200" y="189195"/>
                  <a:pt x="108480" y="200409"/>
                  <a:pt x="133846" y="191955"/>
                </a:cubicBezTo>
                <a:cubicBezTo>
                  <a:pt x="141243" y="184557"/>
                  <a:pt x="143691" y="181068"/>
                  <a:pt x="153724" y="176052"/>
                </a:cubicBezTo>
                <a:cubicBezTo>
                  <a:pt x="157472" y="174178"/>
                  <a:pt x="161675" y="173401"/>
                  <a:pt x="165651" y="172076"/>
                </a:cubicBezTo>
                <a:cubicBezTo>
                  <a:pt x="172277" y="165450"/>
                  <a:pt x="180332" y="159995"/>
                  <a:pt x="185530" y="152198"/>
                </a:cubicBezTo>
                <a:cubicBezTo>
                  <a:pt x="194807" y="138282"/>
                  <a:pt x="197455" y="130996"/>
                  <a:pt x="217335" y="124369"/>
                </a:cubicBezTo>
                <a:cubicBezTo>
                  <a:pt x="221311" y="123044"/>
                  <a:pt x="225171" y="121302"/>
                  <a:pt x="229262" y="120393"/>
                </a:cubicBezTo>
                <a:cubicBezTo>
                  <a:pt x="271254" y="111061"/>
                  <a:pt x="238188" y="121392"/>
                  <a:pt x="265043" y="112442"/>
                </a:cubicBezTo>
                <a:cubicBezTo>
                  <a:pt x="291172" y="86309"/>
                  <a:pt x="242042" y="133075"/>
                  <a:pt x="296848" y="96539"/>
                </a:cubicBezTo>
                <a:cubicBezTo>
                  <a:pt x="300824" y="93889"/>
                  <a:pt x="305179" y="91734"/>
                  <a:pt x="308775" y="88588"/>
                </a:cubicBezTo>
                <a:cubicBezTo>
                  <a:pt x="322917" y="76213"/>
                  <a:pt x="323653" y="66991"/>
                  <a:pt x="340580" y="64734"/>
                </a:cubicBezTo>
                <a:cubicBezTo>
                  <a:pt x="356398" y="62625"/>
                  <a:pt x="372385" y="62083"/>
                  <a:pt x="388288" y="60758"/>
                </a:cubicBezTo>
                <a:cubicBezTo>
                  <a:pt x="403287" y="55759"/>
                  <a:pt x="410397" y="54552"/>
                  <a:pt x="424069" y="40880"/>
                </a:cubicBezTo>
                <a:cubicBezTo>
                  <a:pt x="428045" y="36904"/>
                  <a:pt x="431318" y="32072"/>
                  <a:pt x="435996" y="28953"/>
                </a:cubicBezTo>
                <a:cubicBezTo>
                  <a:pt x="439483" y="26628"/>
                  <a:pt x="444175" y="26851"/>
                  <a:pt x="447923" y="24977"/>
                </a:cubicBezTo>
                <a:cubicBezTo>
                  <a:pt x="452197" y="22840"/>
                  <a:pt x="455458" y="18908"/>
                  <a:pt x="459850" y="17026"/>
                </a:cubicBezTo>
                <a:cubicBezTo>
                  <a:pt x="475930" y="10134"/>
                  <a:pt x="522751" y="9435"/>
                  <a:pt x="527436" y="9075"/>
                </a:cubicBezTo>
                <a:cubicBezTo>
                  <a:pt x="532737" y="7750"/>
                  <a:pt x="537874" y="5099"/>
                  <a:pt x="543338" y="5099"/>
                </a:cubicBezTo>
                <a:cubicBezTo>
                  <a:pt x="626488" y="5099"/>
                  <a:pt x="607548" y="0"/>
                  <a:pt x="646705" y="13050"/>
                </a:cubicBezTo>
                <a:cubicBezTo>
                  <a:pt x="656700" y="43031"/>
                  <a:pt x="642055" y="7236"/>
                  <a:pt x="662608" y="32929"/>
                </a:cubicBezTo>
                <a:cubicBezTo>
                  <a:pt x="665226" y="36201"/>
                  <a:pt x="665432" y="40827"/>
                  <a:pt x="666583" y="44856"/>
                </a:cubicBezTo>
                <a:cubicBezTo>
                  <a:pt x="676559" y="79774"/>
                  <a:pt x="665009" y="44108"/>
                  <a:pt x="674535" y="72685"/>
                </a:cubicBezTo>
                <a:cubicBezTo>
                  <a:pt x="673210" y="77986"/>
                  <a:pt x="674157" y="84476"/>
                  <a:pt x="670559" y="88588"/>
                </a:cubicBezTo>
                <a:cubicBezTo>
                  <a:pt x="651062" y="110869"/>
                  <a:pt x="652331" y="99690"/>
                  <a:pt x="634778" y="108466"/>
                </a:cubicBezTo>
                <a:cubicBezTo>
                  <a:pt x="603950" y="123880"/>
                  <a:pt x="640903" y="110399"/>
                  <a:pt x="610924" y="120393"/>
                </a:cubicBezTo>
                <a:cubicBezTo>
                  <a:pt x="572876" y="158441"/>
                  <a:pt x="621592" y="113281"/>
                  <a:pt x="587070" y="136296"/>
                </a:cubicBezTo>
                <a:cubicBezTo>
                  <a:pt x="582392" y="139415"/>
                  <a:pt x="579581" y="144771"/>
                  <a:pt x="575143" y="148223"/>
                </a:cubicBezTo>
                <a:cubicBezTo>
                  <a:pt x="567600" y="154090"/>
                  <a:pt x="559241" y="158824"/>
                  <a:pt x="551290" y="164125"/>
                </a:cubicBezTo>
                <a:lnTo>
                  <a:pt x="539363" y="172076"/>
                </a:lnTo>
                <a:cubicBezTo>
                  <a:pt x="535387" y="174727"/>
                  <a:pt x="531969" y="178517"/>
                  <a:pt x="527436" y="180028"/>
                </a:cubicBezTo>
                <a:lnTo>
                  <a:pt x="515509" y="184003"/>
                </a:lnTo>
                <a:cubicBezTo>
                  <a:pt x="512858" y="186654"/>
                  <a:pt x="509806" y="188956"/>
                  <a:pt x="507557" y="191955"/>
                </a:cubicBezTo>
                <a:cubicBezTo>
                  <a:pt x="501823" y="199600"/>
                  <a:pt x="491655" y="215809"/>
                  <a:pt x="491655" y="215809"/>
                </a:cubicBezTo>
                <a:cubicBezTo>
                  <a:pt x="494305" y="219785"/>
                  <a:pt x="495875" y="224751"/>
                  <a:pt x="499606" y="227736"/>
                </a:cubicBezTo>
                <a:cubicBezTo>
                  <a:pt x="509385" y="235559"/>
                  <a:pt x="521224" y="229773"/>
                  <a:pt x="531411" y="227736"/>
                </a:cubicBezTo>
                <a:cubicBezTo>
                  <a:pt x="534062" y="225085"/>
                  <a:pt x="536436" y="222126"/>
                  <a:pt x="539363" y="219784"/>
                </a:cubicBezTo>
                <a:cubicBezTo>
                  <a:pt x="543094" y="216799"/>
                  <a:pt x="547911" y="215212"/>
                  <a:pt x="551290" y="211833"/>
                </a:cubicBezTo>
                <a:cubicBezTo>
                  <a:pt x="554669" y="208454"/>
                  <a:pt x="555862" y="203285"/>
                  <a:pt x="559241" y="199906"/>
                </a:cubicBezTo>
                <a:cubicBezTo>
                  <a:pt x="562620" y="196527"/>
                  <a:pt x="567437" y="194940"/>
                  <a:pt x="571168" y="191955"/>
                </a:cubicBezTo>
                <a:cubicBezTo>
                  <a:pt x="599492" y="169295"/>
                  <a:pt x="554337" y="200524"/>
                  <a:pt x="591046" y="176052"/>
                </a:cubicBezTo>
                <a:cubicBezTo>
                  <a:pt x="596347" y="177377"/>
                  <a:pt x="605221" y="174844"/>
                  <a:pt x="606949" y="180028"/>
                </a:cubicBezTo>
                <a:cubicBezTo>
                  <a:pt x="610328" y="190164"/>
                  <a:pt x="604484" y="201256"/>
                  <a:pt x="602973" y="211833"/>
                </a:cubicBezTo>
                <a:cubicBezTo>
                  <a:pt x="601833" y="219813"/>
                  <a:pt x="596003" y="228202"/>
                  <a:pt x="598997" y="235687"/>
                </a:cubicBezTo>
                <a:cubicBezTo>
                  <a:pt x="600553" y="239578"/>
                  <a:pt x="606948" y="233036"/>
                  <a:pt x="610924" y="231711"/>
                </a:cubicBezTo>
                <a:cubicBezTo>
                  <a:pt x="613575" y="229061"/>
                  <a:pt x="615949" y="226101"/>
                  <a:pt x="618876" y="223760"/>
                </a:cubicBezTo>
                <a:cubicBezTo>
                  <a:pt x="622607" y="220775"/>
                  <a:pt x="628271" y="219861"/>
                  <a:pt x="630803" y="215809"/>
                </a:cubicBezTo>
                <a:cubicBezTo>
                  <a:pt x="635245" y="208702"/>
                  <a:pt x="636104" y="199906"/>
                  <a:pt x="638754" y="191955"/>
                </a:cubicBezTo>
                <a:cubicBezTo>
                  <a:pt x="640079" y="187979"/>
                  <a:pt x="639767" y="182991"/>
                  <a:pt x="642730" y="180028"/>
                </a:cubicBezTo>
                <a:cubicBezTo>
                  <a:pt x="645380" y="177377"/>
                  <a:pt x="647754" y="174418"/>
                  <a:pt x="650681" y="172076"/>
                </a:cubicBezTo>
                <a:cubicBezTo>
                  <a:pt x="654412" y="169091"/>
                  <a:pt x="658334" y="166262"/>
                  <a:pt x="662608" y="164125"/>
                </a:cubicBezTo>
                <a:cubicBezTo>
                  <a:pt x="666356" y="162251"/>
                  <a:pt x="670559" y="161474"/>
                  <a:pt x="674535" y="160149"/>
                </a:cubicBezTo>
                <a:cubicBezTo>
                  <a:pt x="677185" y="162800"/>
                  <a:pt x="680558" y="164887"/>
                  <a:pt x="682486" y="168101"/>
                </a:cubicBezTo>
                <a:cubicBezTo>
                  <a:pt x="688434" y="178014"/>
                  <a:pt x="689530" y="206845"/>
                  <a:pt x="690437" y="211833"/>
                </a:cubicBezTo>
                <a:cubicBezTo>
                  <a:pt x="691187" y="215956"/>
                  <a:pt x="693088" y="219784"/>
                  <a:pt x="694413" y="223760"/>
                </a:cubicBezTo>
                <a:cubicBezTo>
                  <a:pt x="693088" y="252915"/>
                  <a:pt x="692764" y="282132"/>
                  <a:pt x="690437" y="311224"/>
                </a:cubicBezTo>
                <a:cubicBezTo>
                  <a:pt x="690103" y="315401"/>
                  <a:pt x="688618" y="319558"/>
                  <a:pt x="686462" y="323151"/>
                </a:cubicBezTo>
                <a:cubicBezTo>
                  <a:pt x="684533" y="326365"/>
                  <a:pt x="681161" y="328452"/>
                  <a:pt x="678510" y="331103"/>
                </a:cubicBezTo>
                <a:cubicBezTo>
                  <a:pt x="675860" y="339054"/>
                  <a:pt x="672592" y="346825"/>
                  <a:pt x="670559" y="354956"/>
                </a:cubicBezTo>
                <a:cubicBezTo>
                  <a:pt x="665567" y="374925"/>
                  <a:pt x="668311" y="365675"/>
                  <a:pt x="662608" y="382786"/>
                </a:cubicBezTo>
                <a:cubicBezTo>
                  <a:pt x="665356" y="396528"/>
                  <a:pt x="670460" y="408801"/>
                  <a:pt x="662608" y="422543"/>
                </a:cubicBezTo>
                <a:cubicBezTo>
                  <a:pt x="660237" y="426692"/>
                  <a:pt x="654657" y="427844"/>
                  <a:pt x="650681" y="430494"/>
                </a:cubicBezTo>
                <a:cubicBezTo>
                  <a:pt x="649356" y="434470"/>
                  <a:pt x="649323" y="439149"/>
                  <a:pt x="646705" y="442421"/>
                </a:cubicBezTo>
                <a:cubicBezTo>
                  <a:pt x="643720" y="446152"/>
                  <a:pt x="637310" y="446320"/>
                  <a:pt x="634778" y="450372"/>
                </a:cubicBezTo>
                <a:cubicBezTo>
                  <a:pt x="603228" y="500853"/>
                  <a:pt x="646393" y="456982"/>
                  <a:pt x="614900" y="482177"/>
                </a:cubicBezTo>
                <a:cubicBezTo>
                  <a:pt x="611973" y="484519"/>
                  <a:pt x="610302" y="488453"/>
                  <a:pt x="606949" y="490129"/>
                </a:cubicBezTo>
                <a:cubicBezTo>
                  <a:pt x="599452" y="493877"/>
                  <a:pt x="591046" y="495430"/>
                  <a:pt x="583095" y="498080"/>
                </a:cubicBezTo>
                <a:lnTo>
                  <a:pt x="571168" y="502056"/>
                </a:lnTo>
                <a:cubicBezTo>
                  <a:pt x="568517" y="504706"/>
                  <a:pt x="563951" y="506331"/>
                  <a:pt x="563216" y="510007"/>
                </a:cubicBezTo>
                <a:cubicBezTo>
                  <a:pt x="562394" y="514116"/>
                  <a:pt x="563782" y="519498"/>
                  <a:pt x="567192" y="521934"/>
                </a:cubicBezTo>
                <a:cubicBezTo>
                  <a:pt x="574012" y="526806"/>
                  <a:pt x="583095" y="527235"/>
                  <a:pt x="591046" y="529885"/>
                </a:cubicBezTo>
                <a:cubicBezTo>
                  <a:pt x="607504" y="535371"/>
                  <a:pt x="599488" y="531538"/>
                  <a:pt x="614900" y="541812"/>
                </a:cubicBezTo>
                <a:cubicBezTo>
                  <a:pt x="613575" y="545788"/>
                  <a:pt x="611517" y="549590"/>
                  <a:pt x="610924" y="553739"/>
                </a:cubicBezTo>
                <a:cubicBezTo>
                  <a:pt x="608854" y="568229"/>
                  <a:pt x="611079" y="583428"/>
                  <a:pt x="606949" y="597471"/>
                </a:cubicBezTo>
                <a:cubicBezTo>
                  <a:pt x="602986" y="610944"/>
                  <a:pt x="588943" y="623428"/>
                  <a:pt x="579119" y="633252"/>
                </a:cubicBezTo>
                <a:cubicBezTo>
                  <a:pt x="577794" y="638553"/>
                  <a:pt x="576120" y="643779"/>
                  <a:pt x="575143" y="649155"/>
                </a:cubicBezTo>
                <a:cubicBezTo>
                  <a:pt x="573467" y="658374"/>
                  <a:pt x="573275" y="667853"/>
                  <a:pt x="571168" y="676984"/>
                </a:cubicBezTo>
                <a:cubicBezTo>
                  <a:pt x="569283" y="685151"/>
                  <a:pt x="565866" y="692887"/>
                  <a:pt x="563216" y="700838"/>
                </a:cubicBezTo>
                <a:lnTo>
                  <a:pt x="555265" y="724692"/>
                </a:lnTo>
                <a:cubicBezTo>
                  <a:pt x="553940" y="728668"/>
                  <a:pt x="553615" y="733132"/>
                  <a:pt x="551290" y="736619"/>
                </a:cubicBezTo>
                <a:lnTo>
                  <a:pt x="543338" y="748546"/>
                </a:lnTo>
                <a:cubicBezTo>
                  <a:pt x="542013" y="752522"/>
                  <a:pt x="542635" y="757855"/>
                  <a:pt x="539363" y="760473"/>
                </a:cubicBezTo>
                <a:cubicBezTo>
                  <a:pt x="535096" y="763887"/>
                  <a:pt x="528694" y="762879"/>
                  <a:pt x="523460" y="764449"/>
                </a:cubicBezTo>
                <a:cubicBezTo>
                  <a:pt x="483772" y="776355"/>
                  <a:pt x="515667" y="770105"/>
                  <a:pt x="471776" y="776376"/>
                </a:cubicBezTo>
                <a:cubicBezTo>
                  <a:pt x="437992" y="787637"/>
                  <a:pt x="479186" y="771931"/>
                  <a:pt x="451898" y="788303"/>
                </a:cubicBezTo>
                <a:cubicBezTo>
                  <a:pt x="448305" y="790459"/>
                  <a:pt x="443947" y="790953"/>
                  <a:pt x="439971" y="792278"/>
                </a:cubicBezTo>
                <a:cubicBezTo>
                  <a:pt x="437203" y="796431"/>
                  <a:pt x="426947" y="809549"/>
                  <a:pt x="428044" y="816132"/>
                </a:cubicBezTo>
                <a:cubicBezTo>
                  <a:pt x="428830" y="820845"/>
                  <a:pt x="432265" y="825074"/>
                  <a:pt x="435996" y="828059"/>
                </a:cubicBezTo>
                <a:cubicBezTo>
                  <a:pt x="439268" y="830677"/>
                  <a:pt x="443947" y="830710"/>
                  <a:pt x="447923" y="832035"/>
                </a:cubicBezTo>
                <a:cubicBezTo>
                  <a:pt x="457199" y="859865"/>
                  <a:pt x="447923" y="853239"/>
                  <a:pt x="467801" y="859864"/>
                </a:cubicBezTo>
                <a:cubicBezTo>
                  <a:pt x="483704" y="858539"/>
                  <a:pt x="499691" y="857998"/>
                  <a:pt x="515509" y="855889"/>
                </a:cubicBezTo>
                <a:cubicBezTo>
                  <a:pt x="524325" y="854714"/>
                  <a:pt x="532664" y="849322"/>
                  <a:pt x="539363" y="843962"/>
                </a:cubicBezTo>
                <a:cubicBezTo>
                  <a:pt x="542290" y="841620"/>
                  <a:pt x="544387" y="838352"/>
                  <a:pt x="547314" y="836010"/>
                </a:cubicBezTo>
                <a:cubicBezTo>
                  <a:pt x="551045" y="833025"/>
                  <a:pt x="555265" y="830709"/>
                  <a:pt x="559241" y="828059"/>
                </a:cubicBezTo>
                <a:cubicBezTo>
                  <a:pt x="588500" y="830497"/>
                  <a:pt x="601965" y="829795"/>
                  <a:pt x="626827" y="836010"/>
                </a:cubicBezTo>
                <a:cubicBezTo>
                  <a:pt x="630893" y="837026"/>
                  <a:pt x="634778" y="838661"/>
                  <a:pt x="638754" y="839986"/>
                </a:cubicBezTo>
                <a:cubicBezTo>
                  <a:pt x="652592" y="860744"/>
                  <a:pt x="653975" y="857411"/>
                  <a:pt x="642730" y="895645"/>
                </a:cubicBezTo>
                <a:cubicBezTo>
                  <a:pt x="640034" y="904813"/>
                  <a:pt x="626827" y="919499"/>
                  <a:pt x="626827" y="919499"/>
                </a:cubicBezTo>
                <a:cubicBezTo>
                  <a:pt x="625502" y="928776"/>
                  <a:pt x="628604" y="939932"/>
                  <a:pt x="622851" y="947329"/>
                </a:cubicBezTo>
                <a:cubicBezTo>
                  <a:pt x="617705" y="953945"/>
                  <a:pt x="606948" y="952630"/>
                  <a:pt x="598997" y="955280"/>
                </a:cubicBezTo>
                <a:lnTo>
                  <a:pt x="587070" y="959256"/>
                </a:lnTo>
                <a:lnTo>
                  <a:pt x="575143" y="963231"/>
                </a:lnTo>
                <a:cubicBezTo>
                  <a:pt x="572493" y="965882"/>
                  <a:pt x="569121" y="967969"/>
                  <a:pt x="567192" y="971183"/>
                </a:cubicBezTo>
                <a:cubicBezTo>
                  <a:pt x="562254" y="979413"/>
                  <a:pt x="564914" y="989005"/>
                  <a:pt x="555265" y="995036"/>
                </a:cubicBezTo>
                <a:cubicBezTo>
                  <a:pt x="548158" y="999478"/>
                  <a:pt x="539362" y="1000338"/>
                  <a:pt x="531411" y="1002988"/>
                </a:cubicBezTo>
                <a:lnTo>
                  <a:pt x="519484" y="1006963"/>
                </a:lnTo>
                <a:cubicBezTo>
                  <a:pt x="503581" y="1005638"/>
                  <a:pt x="487594" y="1005097"/>
                  <a:pt x="471776" y="1002988"/>
                </a:cubicBezTo>
                <a:cubicBezTo>
                  <a:pt x="467622" y="1002434"/>
                  <a:pt x="463260" y="1001448"/>
                  <a:pt x="459850" y="999012"/>
                </a:cubicBezTo>
                <a:cubicBezTo>
                  <a:pt x="446974" y="989815"/>
                  <a:pt x="441594" y="981201"/>
                  <a:pt x="435996" y="967207"/>
                </a:cubicBezTo>
                <a:cubicBezTo>
                  <a:pt x="432883" y="959425"/>
                  <a:pt x="432693" y="950327"/>
                  <a:pt x="428044" y="943353"/>
                </a:cubicBezTo>
                <a:cubicBezTo>
                  <a:pt x="422743" y="935402"/>
                  <a:pt x="421208" y="922521"/>
                  <a:pt x="412142" y="919499"/>
                </a:cubicBezTo>
                <a:lnTo>
                  <a:pt x="400215" y="915523"/>
                </a:lnTo>
                <a:cubicBezTo>
                  <a:pt x="390938" y="916848"/>
                  <a:pt x="381574" y="917661"/>
                  <a:pt x="372385" y="919499"/>
                </a:cubicBezTo>
                <a:cubicBezTo>
                  <a:pt x="368276" y="920321"/>
                  <a:pt x="362894" y="920065"/>
                  <a:pt x="360458" y="923475"/>
                </a:cubicBezTo>
                <a:cubicBezTo>
                  <a:pt x="355586" y="930295"/>
                  <a:pt x="355157" y="939378"/>
                  <a:pt x="352507" y="947329"/>
                </a:cubicBezTo>
                <a:cubicBezTo>
                  <a:pt x="351182" y="951305"/>
                  <a:pt x="350856" y="955769"/>
                  <a:pt x="348531" y="959256"/>
                </a:cubicBezTo>
                <a:cubicBezTo>
                  <a:pt x="345881" y="963232"/>
                  <a:pt x="344311" y="968198"/>
                  <a:pt x="340580" y="971183"/>
                </a:cubicBezTo>
                <a:cubicBezTo>
                  <a:pt x="337308" y="973801"/>
                  <a:pt x="332629" y="973833"/>
                  <a:pt x="328653" y="975158"/>
                </a:cubicBezTo>
                <a:cubicBezTo>
                  <a:pt x="326645" y="987208"/>
                  <a:pt x="324953" y="1017473"/>
                  <a:pt x="308775" y="1022866"/>
                </a:cubicBezTo>
                <a:lnTo>
                  <a:pt x="296848" y="1026842"/>
                </a:lnTo>
                <a:cubicBezTo>
                  <a:pt x="292872" y="1024191"/>
                  <a:pt x="289070" y="1021261"/>
                  <a:pt x="284921" y="1018890"/>
                </a:cubicBezTo>
                <a:cubicBezTo>
                  <a:pt x="279775" y="1015950"/>
                  <a:pt x="273571" y="1014733"/>
                  <a:pt x="269018" y="1010939"/>
                </a:cubicBezTo>
                <a:cubicBezTo>
                  <a:pt x="265347" y="1007880"/>
                  <a:pt x="264446" y="1002391"/>
                  <a:pt x="261067" y="999012"/>
                </a:cubicBezTo>
                <a:cubicBezTo>
                  <a:pt x="257688" y="995633"/>
                  <a:pt x="253116" y="993711"/>
                  <a:pt x="249140" y="991061"/>
                </a:cubicBezTo>
                <a:cubicBezTo>
                  <a:pt x="248737" y="990457"/>
                  <a:pt x="237015" y="971183"/>
                  <a:pt x="233237" y="971183"/>
                </a:cubicBezTo>
                <a:cubicBezTo>
                  <a:pt x="228459" y="971183"/>
                  <a:pt x="225286" y="976484"/>
                  <a:pt x="221310" y="979134"/>
                </a:cubicBezTo>
                <a:cubicBezTo>
                  <a:pt x="218660" y="987085"/>
                  <a:pt x="218008" y="996014"/>
                  <a:pt x="213359" y="1002988"/>
                </a:cubicBezTo>
                <a:cubicBezTo>
                  <a:pt x="210709" y="1006964"/>
                  <a:pt x="208393" y="1011184"/>
                  <a:pt x="205408" y="1014915"/>
                </a:cubicBezTo>
                <a:cubicBezTo>
                  <a:pt x="200479" y="1021076"/>
                  <a:pt x="192415" y="1027374"/>
                  <a:pt x="185530" y="1030817"/>
                </a:cubicBezTo>
                <a:cubicBezTo>
                  <a:pt x="179826" y="1033669"/>
                  <a:pt x="162796" y="1037495"/>
                  <a:pt x="157700" y="1038769"/>
                </a:cubicBezTo>
                <a:lnTo>
                  <a:pt x="90114" y="1034793"/>
                </a:lnTo>
                <a:cubicBezTo>
                  <a:pt x="79356" y="1031519"/>
                  <a:pt x="66260" y="1010939"/>
                  <a:pt x="66260" y="1010939"/>
                </a:cubicBezTo>
                <a:cubicBezTo>
                  <a:pt x="69493" y="1001240"/>
                  <a:pt x="70481" y="994791"/>
                  <a:pt x="78187" y="987085"/>
                </a:cubicBezTo>
                <a:cubicBezTo>
                  <a:pt x="81566" y="983706"/>
                  <a:pt x="86138" y="981784"/>
                  <a:pt x="90114" y="979134"/>
                </a:cubicBezTo>
                <a:cubicBezTo>
                  <a:pt x="92764" y="975158"/>
                  <a:pt x="94469" y="970353"/>
                  <a:pt x="98065" y="967207"/>
                </a:cubicBezTo>
                <a:cubicBezTo>
                  <a:pt x="105257" y="960914"/>
                  <a:pt x="112648" y="953621"/>
                  <a:pt x="121919" y="951304"/>
                </a:cubicBezTo>
                <a:cubicBezTo>
                  <a:pt x="141888" y="946313"/>
                  <a:pt x="132638" y="949057"/>
                  <a:pt x="149749" y="943353"/>
                </a:cubicBezTo>
                <a:cubicBezTo>
                  <a:pt x="153725" y="939377"/>
                  <a:pt x="158557" y="936104"/>
                  <a:pt x="161676" y="931426"/>
                </a:cubicBezTo>
                <a:cubicBezTo>
                  <a:pt x="169685" y="919411"/>
                  <a:pt x="164497" y="898039"/>
                  <a:pt x="161676" y="887694"/>
                </a:cubicBezTo>
                <a:cubicBezTo>
                  <a:pt x="160419" y="883084"/>
                  <a:pt x="156375" y="879743"/>
                  <a:pt x="153724" y="875767"/>
                </a:cubicBezTo>
                <a:cubicBezTo>
                  <a:pt x="152399" y="871791"/>
                  <a:pt x="152712" y="866803"/>
                  <a:pt x="149749" y="863840"/>
                </a:cubicBezTo>
                <a:cubicBezTo>
                  <a:pt x="146786" y="860877"/>
                  <a:pt x="141674" y="861515"/>
                  <a:pt x="137822" y="859864"/>
                </a:cubicBezTo>
                <a:cubicBezTo>
                  <a:pt x="103432" y="845126"/>
                  <a:pt x="137963" y="857261"/>
                  <a:pt x="109992" y="847937"/>
                </a:cubicBezTo>
                <a:cubicBezTo>
                  <a:pt x="92311" y="821415"/>
                  <a:pt x="91954" y="826509"/>
                  <a:pt x="109992" y="772400"/>
                </a:cubicBezTo>
                <a:cubicBezTo>
                  <a:pt x="111317" y="768424"/>
                  <a:pt x="110749" y="763156"/>
                  <a:pt x="113968" y="760473"/>
                </a:cubicBezTo>
                <a:cubicBezTo>
                  <a:pt x="119450" y="755904"/>
                  <a:pt x="127463" y="755714"/>
                  <a:pt x="133846" y="752522"/>
                </a:cubicBezTo>
                <a:cubicBezTo>
                  <a:pt x="164671" y="737109"/>
                  <a:pt x="127724" y="750585"/>
                  <a:pt x="157700" y="740595"/>
                </a:cubicBezTo>
                <a:cubicBezTo>
                  <a:pt x="191881" y="763381"/>
                  <a:pt x="148634" y="736062"/>
                  <a:pt x="181554" y="752522"/>
                </a:cubicBezTo>
                <a:cubicBezTo>
                  <a:pt x="185828" y="754659"/>
                  <a:pt x="189505" y="757823"/>
                  <a:pt x="193481" y="760473"/>
                </a:cubicBezTo>
                <a:cubicBezTo>
                  <a:pt x="204650" y="793986"/>
                  <a:pt x="192922" y="755451"/>
                  <a:pt x="201432" y="832035"/>
                </a:cubicBezTo>
                <a:cubicBezTo>
                  <a:pt x="201895" y="836200"/>
                  <a:pt x="202445" y="840999"/>
                  <a:pt x="205408" y="843962"/>
                </a:cubicBezTo>
                <a:cubicBezTo>
                  <a:pt x="207307" y="845861"/>
                  <a:pt x="233102" y="851879"/>
                  <a:pt x="233237" y="851913"/>
                </a:cubicBezTo>
                <a:cubicBezTo>
                  <a:pt x="246489" y="850588"/>
                  <a:pt x="259904" y="850391"/>
                  <a:pt x="272994" y="847937"/>
                </a:cubicBezTo>
                <a:cubicBezTo>
                  <a:pt x="281232" y="846392"/>
                  <a:pt x="288717" y="842019"/>
                  <a:pt x="296848" y="839986"/>
                </a:cubicBezTo>
                <a:cubicBezTo>
                  <a:pt x="302149" y="838661"/>
                  <a:pt x="307517" y="837580"/>
                  <a:pt x="312750" y="836010"/>
                </a:cubicBezTo>
                <a:cubicBezTo>
                  <a:pt x="320778" y="833602"/>
                  <a:pt x="328653" y="830709"/>
                  <a:pt x="336604" y="828059"/>
                </a:cubicBezTo>
                <a:lnTo>
                  <a:pt x="348531" y="824083"/>
                </a:lnTo>
                <a:cubicBezTo>
                  <a:pt x="344613" y="749637"/>
                  <a:pt x="368942" y="741011"/>
                  <a:pt x="328653" y="752522"/>
                </a:cubicBezTo>
                <a:cubicBezTo>
                  <a:pt x="324624" y="753673"/>
                  <a:pt x="320702" y="755172"/>
                  <a:pt x="316726" y="756497"/>
                </a:cubicBezTo>
                <a:cubicBezTo>
                  <a:pt x="313916" y="760712"/>
                  <a:pt x="306489" y="773543"/>
                  <a:pt x="300823" y="776376"/>
                </a:cubicBezTo>
                <a:cubicBezTo>
                  <a:pt x="293327" y="780124"/>
                  <a:pt x="276970" y="784327"/>
                  <a:pt x="276970" y="784327"/>
                </a:cubicBezTo>
                <a:cubicBezTo>
                  <a:pt x="265043" y="781677"/>
                  <a:pt x="252117" y="781840"/>
                  <a:pt x="241189" y="776376"/>
                </a:cubicBezTo>
                <a:cubicBezTo>
                  <a:pt x="237441" y="774502"/>
                  <a:pt x="237213" y="768640"/>
                  <a:pt x="237213" y="764449"/>
                </a:cubicBezTo>
                <a:cubicBezTo>
                  <a:pt x="237213" y="753764"/>
                  <a:pt x="238378" y="742951"/>
                  <a:pt x="241189" y="732643"/>
                </a:cubicBezTo>
                <a:cubicBezTo>
                  <a:pt x="242446" y="728033"/>
                  <a:pt x="247003" y="724990"/>
                  <a:pt x="249140" y="720716"/>
                </a:cubicBezTo>
                <a:cubicBezTo>
                  <a:pt x="251014" y="716968"/>
                  <a:pt x="251242" y="712537"/>
                  <a:pt x="253116" y="708789"/>
                </a:cubicBezTo>
                <a:cubicBezTo>
                  <a:pt x="268530" y="677962"/>
                  <a:pt x="255049" y="714916"/>
                  <a:pt x="265043" y="684936"/>
                </a:cubicBezTo>
                <a:cubicBezTo>
                  <a:pt x="263718" y="667708"/>
                  <a:pt x="265519" y="649947"/>
                  <a:pt x="261067" y="633252"/>
                </a:cubicBezTo>
                <a:cubicBezTo>
                  <a:pt x="259836" y="628635"/>
                  <a:pt x="252871" y="628286"/>
                  <a:pt x="249140" y="625301"/>
                </a:cubicBezTo>
                <a:cubicBezTo>
                  <a:pt x="233547" y="612826"/>
                  <a:pt x="249976" y="620277"/>
                  <a:pt x="229262" y="613374"/>
                </a:cubicBezTo>
                <a:cubicBezTo>
                  <a:pt x="216010" y="616024"/>
                  <a:pt x="202159" y="616580"/>
                  <a:pt x="189505" y="621325"/>
                </a:cubicBezTo>
                <a:cubicBezTo>
                  <a:pt x="159773" y="632474"/>
                  <a:pt x="168315" y="643404"/>
                  <a:pt x="141797" y="661082"/>
                </a:cubicBezTo>
                <a:lnTo>
                  <a:pt x="117943" y="676984"/>
                </a:lnTo>
                <a:cubicBezTo>
                  <a:pt x="119268" y="645179"/>
                  <a:pt x="119567" y="613315"/>
                  <a:pt x="121919" y="581569"/>
                </a:cubicBezTo>
                <a:cubicBezTo>
                  <a:pt x="122905" y="568255"/>
                  <a:pt x="126666" y="570665"/>
                  <a:pt x="133846" y="561690"/>
                </a:cubicBezTo>
                <a:cubicBezTo>
                  <a:pt x="136831" y="557959"/>
                  <a:pt x="138812" y="553494"/>
                  <a:pt x="141797" y="549763"/>
                </a:cubicBezTo>
                <a:cubicBezTo>
                  <a:pt x="148270" y="541672"/>
                  <a:pt x="152822" y="539763"/>
                  <a:pt x="161676" y="533861"/>
                </a:cubicBezTo>
                <a:cubicBezTo>
                  <a:pt x="163001" y="529885"/>
                  <a:pt x="163033" y="525206"/>
                  <a:pt x="165651" y="521934"/>
                </a:cubicBezTo>
                <a:cubicBezTo>
                  <a:pt x="177624" y="506967"/>
                  <a:pt x="209988" y="511036"/>
                  <a:pt x="221310" y="510007"/>
                </a:cubicBezTo>
                <a:cubicBezTo>
                  <a:pt x="225286" y="507357"/>
                  <a:pt x="229506" y="505041"/>
                  <a:pt x="233237" y="502056"/>
                </a:cubicBezTo>
                <a:cubicBezTo>
                  <a:pt x="236164" y="499714"/>
                  <a:pt x="239873" y="490594"/>
                  <a:pt x="241189" y="494104"/>
                </a:cubicBezTo>
                <a:cubicBezTo>
                  <a:pt x="246017" y="506980"/>
                  <a:pt x="235611" y="533059"/>
                  <a:pt x="253116" y="541812"/>
                </a:cubicBezTo>
                <a:cubicBezTo>
                  <a:pt x="258003" y="544256"/>
                  <a:pt x="263717" y="544463"/>
                  <a:pt x="269018" y="545788"/>
                </a:cubicBezTo>
                <a:cubicBezTo>
                  <a:pt x="272994" y="548438"/>
                  <a:pt x="276579" y="551798"/>
                  <a:pt x="280945" y="553739"/>
                </a:cubicBezTo>
                <a:cubicBezTo>
                  <a:pt x="288604" y="557143"/>
                  <a:pt x="304799" y="561690"/>
                  <a:pt x="304799" y="561690"/>
                </a:cubicBezTo>
                <a:cubicBezTo>
                  <a:pt x="307106" y="561229"/>
                  <a:pt x="331686" y="560136"/>
                  <a:pt x="332629" y="549763"/>
                </a:cubicBezTo>
                <a:cubicBezTo>
                  <a:pt x="333093" y="544655"/>
                  <a:pt x="328700" y="498127"/>
                  <a:pt x="320702" y="490129"/>
                </a:cubicBezTo>
                <a:cubicBezTo>
                  <a:pt x="318051" y="487478"/>
                  <a:pt x="315092" y="485104"/>
                  <a:pt x="312750" y="482177"/>
                </a:cubicBezTo>
                <a:cubicBezTo>
                  <a:pt x="309765" y="478446"/>
                  <a:pt x="306936" y="474524"/>
                  <a:pt x="304799" y="470250"/>
                </a:cubicBezTo>
                <a:cubicBezTo>
                  <a:pt x="302925" y="466502"/>
                  <a:pt x="303786" y="461286"/>
                  <a:pt x="300823" y="458323"/>
                </a:cubicBezTo>
                <a:cubicBezTo>
                  <a:pt x="297860" y="455360"/>
                  <a:pt x="292872" y="455673"/>
                  <a:pt x="288896" y="454348"/>
                </a:cubicBezTo>
                <a:cubicBezTo>
                  <a:pt x="286246" y="451697"/>
                  <a:pt x="284298" y="448072"/>
                  <a:pt x="280945" y="446396"/>
                </a:cubicBezTo>
                <a:cubicBezTo>
                  <a:pt x="276058" y="443952"/>
                  <a:pt x="269240" y="445919"/>
                  <a:pt x="265043" y="442421"/>
                </a:cubicBezTo>
                <a:cubicBezTo>
                  <a:pt x="260506" y="438640"/>
                  <a:pt x="255225" y="420919"/>
                  <a:pt x="253116" y="414591"/>
                </a:cubicBezTo>
                <a:cubicBezTo>
                  <a:pt x="260381" y="385531"/>
                  <a:pt x="267731" y="370972"/>
                  <a:pt x="257091" y="339054"/>
                </a:cubicBezTo>
                <a:cubicBezTo>
                  <a:pt x="255766" y="335078"/>
                  <a:pt x="249140" y="336403"/>
                  <a:pt x="245164" y="335078"/>
                </a:cubicBezTo>
                <a:cubicBezTo>
                  <a:pt x="241188" y="336403"/>
                  <a:pt x="236985" y="337180"/>
                  <a:pt x="233237" y="339054"/>
                </a:cubicBezTo>
                <a:cubicBezTo>
                  <a:pt x="227420" y="341962"/>
                  <a:pt x="209014" y="356227"/>
                  <a:pt x="205408" y="358932"/>
                </a:cubicBezTo>
                <a:lnTo>
                  <a:pt x="197456" y="382786"/>
                </a:lnTo>
                <a:lnTo>
                  <a:pt x="193481" y="394713"/>
                </a:lnTo>
                <a:cubicBezTo>
                  <a:pt x="192156" y="407965"/>
                  <a:pt x="191530" y="421306"/>
                  <a:pt x="189505" y="434469"/>
                </a:cubicBezTo>
                <a:cubicBezTo>
                  <a:pt x="188371" y="441838"/>
                  <a:pt x="184891" y="450691"/>
                  <a:pt x="177578" y="454348"/>
                </a:cubicBezTo>
                <a:cubicBezTo>
                  <a:pt x="152219" y="467028"/>
                  <a:pt x="126265" y="464261"/>
                  <a:pt x="98065" y="466275"/>
                </a:cubicBezTo>
                <a:cubicBezTo>
                  <a:pt x="89231" y="469219"/>
                  <a:pt x="73232" y="477404"/>
                  <a:pt x="66260" y="462299"/>
                </a:cubicBezTo>
                <a:cubicBezTo>
                  <a:pt x="60126" y="449009"/>
                  <a:pt x="66305" y="432641"/>
                  <a:pt x="62284" y="418567"/>
                </a:cubicBezTo>
                <a:cubicBezTo>
                  <a:pt x="60739" y="413161"/>
                  <a:pt x="54016" y="410909"/>
                  <a:pt x="50357" y="406640"/>
                </a:cubicBezTo>
                <a:cubicBezTo>
                  <a:pt x="46045" y="401609"/>
                  <a:pt x="42863" y="395662"/>
                  <a:pt x="38430" y="390737"/>
                </a:cubicBezTo>
                <a:cubicBezTo>
                  <a:pt x="29654" y="380986"/>
                  <a:pt x="5300" y="372184"/>
                  <a:pt x="2650" y="366883"/>
                </a:cubicBezTo>
                <a:close/>
              </a:path>
            </a:pathLst>
          </a:custGeom>
          <a:solidFill>
            <a:srgbClr val="00FFCC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solidFill>
                <a:schemeClr val="tx1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5" name="Rectangle 5"/>
          <p:cNvSpPr>
            <a:spLocks noChangeArrowheads="1"/>
          </p:cNvSpPr>
          <p:nvPr/>
        </p:nvSpPr>
        <p:spPr bwMode="auto">
          <a:xfrm rot="18342759">
            <a:off x="4858812" y="5716446"/>
            <a:ext cx="397933" cy="57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050" dirty="0" err="1">
                <a:latin typeface="Ramabhadra" pitchFamily="2" charset="0"/>
                <a:cs typeface="Ramabhadra" pitchFamily="2" charset="0"/>
              </a:rPr>
              <a:t>మె</a:t>
            </a:r>
            <a:r>
              <a:rPr lang="en-IN" sz="105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IN" sz="1050" dirty="0" err="1">
                <a:latin typeface="Ramabhadra" pitchFamily="2" charset="0"/>
                <a:cs typeface="Ramabhadra" pitchFamily="2" charset="0"/>
              </a:rPr>
              <a:t>క్సి</a:t>
            </a:r>
            <a:r>
              <a:rPr lang="en-IN" sz="105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IN" sz="1050" dirty="0" err="1">
                <a:latin typeface="Ramabhadra" pitchFamily="2" charset="0"/>
                <a:cs typeface="Ramabhadra" pitchFamily="2" charset="0"/>
              </a:rPr>
              <a:t>కో</a:t>
            </a:r>
            <a:endParaRPr lang="en-US" sz="105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2" name="Rectangle 5"/>
          <p:cNvSpPr>
            <a:spLocks noChangeArrowheads="1"/>
          </p:cNvSpPr>
          <p:nvPr/>
        </p:nvSpPr>
        <p:spPr bwMode="auto">
          <a:xfrm>
            <a:off x="6286500" y="5619752"/>
            <a:ext cx="122020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IN" sz="1600">
                <a:latin typeface="Ramabhadra" pitchFamily="2" charset="0"/>
                <a:cs typeface="Ramabhadra" pitchFamily="2" charset="0"/>
              </a:rPr>
              <a:t>బహమా దీవులు</a:t>
            </a:r>
            <a:endParaRPr lang="en-US" sz="16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4" name="Rectangle 5"/>
          <p:cNvSpPr>
            <a:spLocks noChangeArrowheads="1"/>
          </p:cNvSpPr>
          <p:nvPr/>
        </p:nvSpPr>
        <p:spPr bwMode="auto">
          <a:xfrm>
            <a:off x="5497098" y="5060955"/>
            <a:ext cx="6671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/>
            <a:r>
              <a:rPr lang="en-IN" sz="1200">
                <a:latin typeface="Ramabhadra" pitchFamily="2" charset="0"/>
                <a:cs typeface="Ramabhadra" pitchFamily="2" charset="0"/>
              </a:rPr>
              <a:t>వాషింగ్టన్</a:t>
            </a:r>
            <a:endParaRPr lang="en-US" sz="1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5" name="Oval 114"/>
          <p:cNvSpPr/>
          <p:nvPr/>
        </p:nvSpPr>
        <p:spPr>
          <a:xfrm>
            <a:off x="6296031" y="4476757"/>
            <a:ext cx="61913" cy="95249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16" name="Rectangle 5"/>
          <p:cNvSpPr>
            <a:spLocks noChangeArrowheads="1"/>
          </p:cNvSpPr>
          <p:nvPr/>
        </p:nvSpPr>
        <p:spPr bwMode="auto">
          <a:xfrm>
            <a:off x="6107774" y="4095755"/>
            <a:ext cx="55656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/>
            <a:r>
              <a:rPr lang="en-IN" sz="1200">
                <a:latin typeface="Ramabhadra" pitchFamily="2" charset="0"/>
                <a:cs typeface="Ramabhadra" pitchFamily="2" charset="0"/>
              </a:rPr>
              <a:t>ఒట్టావా</a:t>
            </a:r>
            <a:endParaRPr lang="en-US" sz="1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7" name="Rectangle 1"/>
          <p:cNvSpPr>
            <a:spLocks noChangeArrowheads="1"/>
          </p:cNvSpPr>
          <p:nvPr/>
        </p:nvSpPr>
        <p:spPr bwMode="auto">
          <a:xfrm>
            <a:off x="3357563" y="6096000"/>
            <a:ext cx="78581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100">
                <a:latin typeface="Ramabhadra" pitchFamily="2" charset="0"/>
                <a:cs typeface="Ramabhadra" pitchFamily="2" charset="0"/>
              </a:rPr>
              <a:t>గ్వాటిమాల</a:t>
            </a:r>
          </a:p>
        </p:txBody>
      </p:sp>
      <p:cxnSp>
        <p:nvCxnSpPr>
          <p:cNvPr id="119" name="Straight Arrow Connector 118"/>
          <p:cNvCxnSpPr>
            <a:stCxn id="23" idx="9"/>
          </p:cNvCxnSpPr>
          <p:nvPr/>
        </p:nvCxnSpPr>
        <p:spPr>
          <a:xfrm flipH="1">
            <a:off x="4143375" y="6345767"/>
            <a:ext cx="1417638" cy="35984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"/>
          <p:cNvSpPr>
            <a:spLocks noChangeArrowheads="1"/>
          </p:cNvSpPr>
          <p:nvPr/>
        </p:nvSpPr>
        <p:spPr bwMode="auto">
          <a:xfrm>
            <a:off x="5857881" y="6286506"/>
            <a:ext cx="7143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/>
            <a:r>
              <a:rPr lang="en-US" sz="1400">
                <a:latin typeface="Ramabhadra" pitchFamily="2" charset="0"/>
                <a:cs typeface="Ramabhadra" pitchFamily="2" charset="0"/>
              </a:rPr>
              <a:t>జమైకా</a:t>
            </a:r>
          </a:p>
        </p:txBody>
      </p:sp>
      <p:sp>
        <p:nvSpPr>
          <p:cNvPr id="16" name="Rectangle 5"/>
          <p:cNvSpPr>
            <a:spLocks noChangeArrowheads="1"/>
          </p:cNvSpPr>
          <p:nvPr/>
        </p:nvSpPr>
        <p:spPr bwMode="auto">
          <a:xfrm>
            <a:off x="5940431" y="5858938"/>
            <a:ext cx="59503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IN" sz="1400">
                <a:latin typeface="Ramabhadra" pitchFamily="2" charset="0"/>
                <a:cs typeface="Ramabhadra" pitchFamily="2" charset="0"/>
              </a:rPr>
              <a:t>క్యూబా</a:t>
            </a:r>
            <a:endParaRPr lang="en-US" sz="1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3" name="Rectangle 5"/>
          <p:cNvSpPr>
            <a:spLocks noChangeArrowheads="1"/>
          </p:cNvSpPr>
          <p:nvPr/>
        </p:nvSpPr>
        <p:spPr bwMode="auto">
          <a:xfrm rot="242890">
            <a:off x="6552535" y="4781696"/>
            <a:ext cx="76174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IN" sz="1200">
                <a:latin typeface="Ramabhadra" pitchFamily="2" charset="0"/>
                <a:cs typeface="Ramabhadra" pitchFamily="2" charset="0"/>
              </a:rPr>
              <a:t>న్యూయార్క్</a:t>
            </a:r>
            <a:endParaRPr lang="en-US" sz="12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4" name="Oval 133"/>
          <p:cNvSpPr/>
          <p:nvPr/>
        </p:nvSpPr>
        <p:spPr>
          <a:xfrm>
            <a:off x="6546856" y="4737106"/>
            <a:ext cx="73025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/>
          </a:p>
        </p:txBody>
      </p:sp>
      <p:sp>
        <p:nvSpPr>
          <p:cNvPr id="135" name="Rectangle 5"/>
          <p:cNvSpPr>
            <a:spLocks noChangeArrowheads="1"/>
          </p:cNvSpPr>
          <p:nvPr/>
        </p:nvSpPr>
        <p:spPr bwMode="auto">
          <a:xfrm>
            <a:off x="2857500" y="4809073"/>
            <a:ext cx="12144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IN" sz="1400">
                <a:latin typeface="Ramabhadra" pitchFamily="2" charset="0"/>
                <a:cs typeface="Ramabhadra" pitchFamily="2" charset="0"/>
              </a:rPr>
              <a:t>శాన్ ఫ్రాన్సిస్ కో</a:t>
            </a:r>
            <a:endParaRPr lang="en-US" sz="1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3954468" y="4889506"/>
            <a:ext cx="73025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/>
          </a:p>
        </p:txBody>
      </p:sp>
      <p:sp>
        <p:nvSpPr>
          <p:cNvPr id="138" name="Oval 137"/>
          <p:cNvSpPr/>
          <p:nvPr/>
        </p:nvSpPr>
        <p:spPr>
          <a:xfrm>
            <a:off x="6259518" y="5168906"/>
            <a:ext cx="71437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/>
          </a:p>
        </p:txBody>
      </p:sp>
      <p:sp>
        <p:nvSpPr>
          <p:cNvPr id="141" name="Rectangle 5"/>
          <p:cNvSpPr>
            <a:spLocks noChangeArrowheads="1"/>
          </p:cNvSpPr>
          <p:nvPr/>
        </p:nvSpPr>
        <p:spPr bwMode="auto">
          <a:xfrm>
            <a:off x="3246444" y="5143506"/>
            <a:ext cx="96837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/>
            <a:r>
              <a:rPr lang="en-IN" sz="1400">
                <a:latin typeface="Ramabhadra" pitchFamily="2" charset="0"/>
                <a:cs typeface="Ramabhadra" pitchFamily="2" charset="0"/>
              </a:rPr>
              <a:t>లాస్ ఏజిల్స్</a:t>
            </a:r>
            <a:endParaRPr lang="en-US" sz="14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4098925" y="5240871"/>
            <a:ext cx="71438" cy="71967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1200"/>
          </a:p>
        </p:txBody>
      </p:sp>
      <p:sp>
        <p:nvSpPr>
          <p:cNvPr id="143" name="Rectangle 1"/>
          <p:cNvSpPr>
            <a:spLocks noChangeArrowheads="1"/>
          </p:cNvSpPr>
          <p:nvPr/>
        </p:nvSpPr>
        <p:spPr bwMode="auto">
          <a:xfrm rot="408858">
            <a:off x="4819600" y="4152474"/>
            <a:ext cx="12907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en-US" sz="1400">
                <a:latin typeface="Ramabhadra" pitchFamily="2" charset="0"/>
                <a:ea typeface="Calibri" pitchFamily="34" charset="0"/>
                <a:cs typeface="Ramabhadra" pitchFamily="2" charset="0"/>
              </a:rPr>
              <a:t>సుపీరియర్ సరస్సు</a:t>
            </a:r>
          </a:p>
        </p:txBody>
      </p:sp>
      <p:sp>
        <p:nvSpPr>
          <p:cNvPr id="144" name="Rectangle 1"/>
          <p:cNvSpPr>
            <a:spLocks noChangeArrowheads="1"/>
          </p:cNvSpPr>
          <p:nvPr/>
        </p:nvSpPr>
        <p:spPr bwMode="auto">
          <a:xfrm>
            <a:off x="1285881" y="5619752"/>
            <a:ext cx="1285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600">
                <a:latin typeface="Ramabhadra" pitchFamily="2" charset="0"/>
                <a:ea typeface="Calibri" pitchFamily="34" charset="0"/>
                <a:cs typeface="Ramabhadra" pitchFamily="2" charset="0"/>
              </a:rPr>
              <a:t>హవాయి దీవులు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7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8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3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3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3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3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3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3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1" dur="2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06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07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0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0" fill="hold">
                      <p:stCondLst>
                        <p:cond delay="indefinite"/>
                      </p:stCondLst>
                      <p:childTnLst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4" dur="3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19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20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2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22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3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8" fill="hold">
                      <p:stCondLst>
                        <p:cond delay="indefinite"/>
                      </p:stCondLst>
                      <p:childTnLst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32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33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3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3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1925" decel="100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1" dur="1925" decel="100000"/>
                                        <p:tgtEl>
                                          <p:spTgt spid="13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4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43" dur="1925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4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45" dur="1925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4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151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152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153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5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1925" decel="100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0" dur="1925" decel="100000"/>
                                        <p:tgtEl>
                                          <p:spTgt spid="13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6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62" dur="1925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6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64" dur="1925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6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6" fill="hold">
                      <p:stCondLst>
                        <p:cond delay="indefinite"/>
                      </p:stCondLst>
                      <p:childTnLst>
                        <p:par>
                          <p:cTn id="167" fill="hold">
                            <p:stCondLst>
                              <p:cond delay="0"/>
                            </p:stCondLst>
                            <p:childTnLst>
                              <p:par>
                                <p:cTn id="16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1925" decel="100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1" dur="1925" decel="100000"/>
                                        <p:tgtEl>
                                          <p:spTgt spid="13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7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73" dur="1925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7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75" dur="1925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7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7" fill="hold">
                      <p:stCondLst>
                        <p:cond delay="indefinite"/>
                      </p:stCondLst>
                      <p:childTnLst>
                        <p:par>
                          <p:cTn id="178" fill="hold">
                            <p:stCondLst>
                              <p:cond delay="0"/>
                            </p:stCondLst>
                            <p:childTnLst>
                              <p:par>
                                <p:cTn id="179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1925" decel="1000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2" dur="1925" decel="100000"/>
                                        <p:tgtEl>
                                          <p:spTgt spid="14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8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84" dur="1925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8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86" dur="1925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8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925" decel="100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3" dur="1925" decel="100000"/>
                                        <p:tgtEl>
                                          <p:spTgt spid="14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9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95" dur="1925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9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97" dur="1925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9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9" fill="hold">
                      <p:stCondLst>
                        <p:cond delay="indefinite"/>
                      </p:stCondLst>
                      <p:childTnLst>
                        <p:par>
                          <p:cTn id="200" fill="hold">
                            <p:stCondLst>
                              <p:cond delay="0"/>
                            </p:stCondLst>
                            <p:childTnLst>
                              <p:par>
                                <p:cTn id="20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3" dur="1925" decel="100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4" dur="1925" decel="100000"/>
                                        <p:tgtEl>
                                          <p:spTgt spid="13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0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06" dur="1925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0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08" dur="1925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0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0" fill="hold">
                      <p:stCondLst>
                        <p:cond delay="indefinite"/>
                      </p:stCondLst>
                      <p:childTnLst>
                        <p:par>
                          <p:cTn id="211" fill="hold">
                            <p:stCondLst>
                              <p:cond delay="0"/>
                            </p:stCondLst>
                            <p:childTnLst>
                              <p:par>
                                <p:cTn id="21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1925" decel="100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5" dur="1925" decel="100000"/>
                                        <p:tgtEl>
                                          <p:spTgt spid="13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1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17" dur="1925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19" dur="1925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2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1" fill="hold">
                      <p:stCondLst>
                        <p:cond delay="indefinite"/>
                      </p:stCondLst>
                      <p:childTnLst>
                        <p:par>
                          <p:cTn id="222" fill="hold">
                            <p:stCondLst>
                              <p:cond delay="0"/>
                            </p:stCondLst>
                            <p:childTnLst>
                              <p:par>
                                <p:cTn id="2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5" dur="3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6" fill="hold">
                      <p:stCondLst>
                        <p:cond delay="indefinite"/>
                      </p:stCondLst>
                      <p:childTnLst>
                        <p:par>
                          <p:cTn id="227" fill="hold">
                            <p:stCondLst>
                              <p:cond delay="0"/>
                            </p:stCondLst>
                            <p:childTnLst>
                              <p:par>
                                <p:cTn id="2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0" dur="3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1" fill="hold">
                      <p:stCondLst>
                        <p:cond delay="indefinite"/>
                      </p:stCondLst>
                      <p:childTnLst>
                        <p:par>
                          <p:cTn id="232" fill="hold">
                            <p:stCondLst>
                              <p:cond delay="0"/>
                            </p:stCondLst>
                            <p:childTnLst>
                              <p:par>
                                <p:cTn id="2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5" dur="3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6" fill="hold">
                      <p:stCondLst>
                        <p:cond delay="indefinite"/>
                      </p:stCondLst>
                      <p:childTnLst>
                        <p:par>
                          <p:cTn id="237" fill="hold">
                            <p:stCondLst>
                              <p:cond delay="0"/>
                            </p:stCondLst>
                            <p:childTnLst>
                              <p:par>
                                <p:cTn id="2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0" dur="3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1" fill="hold">
                      <p:stCondLst>
                        <p:cond delay="indefinite"/>
                      </p:stCondLst>
                      <p:childTnLst>
                        <p:par>
                          <p:cTn id="242" fill="hold">
                            <p:stCondLst>
                              <p:cond delay="0"/>
                            </p:stCondLst>
                            <p:childTnLst>
                              <p:par>
                                <p:cTn id="2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5" dur="3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6" fill="hold">
                      <p:stCondLst>
                        <p:cond delay="indefinite"/>
                      </p:stCondLst>
                      <p:childTnLst>
                        <p:par>
                          <p:cTn id="247" fill="hold">
                            <p:stCondLst>
                              <p:cond delay="0"/>
                            </p:stCondLst>
                            <p:childTnLst>
                              <p:par>
                                <p:cTn id="24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0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1" dur="5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2" fill="hold">
                      <p:stCondLst>
                        <p:cond delay="indefinite"/>
                      </p:stCondLst>
                      <p:childTnLst>
                        <p:par>
                          <p:cTn id="253" fill="hold">
                            <p:stCondLst>
                              <p:cond delay="0"/>
                            </p:stCondLst>
                            <p:childTnLst>
                              <p:par>
                                <p:cTn id="25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6" dur="3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7" fill="hold">
                      <p:stCondLst>
                        <p:cond delay="indefinite"/>
                      </p:stCondLst>
                      <p:childTnLst>
                        <p:par>
                          <p:cTn id="258" fill="hold">
                            <p:stCondLst>
                              <p:cond delay="0"/>
                            </p:stCondLst>
                            <p:childTnLst>
                              <p:par>
                                <p:cTn id="25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1" dur="5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2" dur="5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3" dur="5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4" dur="5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5" fill="hold">
                      <p:stCondLst>
                        <p:cond delay="indefinite"/>
                      </p:stCondLst>
                      <p:childTnLst>
                        <p:par>
                          <p:cTn id="266" fill="hold">
                            <p:stCondLst>
                              <p:cond delay="0"/>
                            </p:stCondLst>
                            <p:childTnLst>
                              <p:par>
                                <p:cTn id="26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9" dur="5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5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1" dur="5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2" dur="5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3" fill="hold">
                      <p:stCondLst>
                        <p:cond delay="indefinite"/>
                      </p:stCondLst>
                      <p:childTnLst>
                        <p:par>
                          <p:cTn id="274" fill="hold">
                            <p:stCondLst>
                              <p:cond delay="0"/>
                            </p:stCondLst>
                            <p:childTnLst>
                              <p:par>
                                <p:cTn id="27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7" dur="5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8" dur="5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9" dur="5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0" dur="5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1" fill="hold">
                      <p:stCondLst>
                        <p:cond delay="indefinite"/>
                      </p:stCondLst>
                      <p:childTnLst>
                        <p:par>
                          <p:cTn id="282" fill="hold">
                            <p:stCondLst>
                              <p:cond delay="0"/>
                            </p:stCondLst>
                            <p:childTnLst>
                              <p:par>
                                <p:cTn id="28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5" dur="5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6" dur="5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7" dur="5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8" dur="5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9" fill="hold">
                      <p:stCondLst>
                        <p:cond delay="indefinite"/>
                      </p:stCondLst>
                      <p:childTnLst>
                        <p:par>
                          <p:cTn id="290" fill="hold">
                            <p:stCondLst>
                              <p:cond delay="0"/>
                            </p:stCondLst>
                            <p:childTnLst>
                              <p:par>
                                <p:cTn id="29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3" dur="5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4" dur="5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5" dur="5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6" dur="5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7" fill="hold">
                      <p:stCondLst>
                        <p:cond delay="indefinite"/>
                      </p:stCondLst>
                      <p:childTnLst>
                        <p:par>
                          <p:cTn id="298" fill="hold">
                            <p:stCondLst>
                              <p:cond delay="0"/>
                            </p:stCondLst>
                            <p:childTnLst>
                              <p:par>
                                <p:cTn id="29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1" dur="5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2" dur="5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3" dur="5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4" dur="5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5" fill="hold">
                      <p:stCondLst>
                        <p:cond delay="indefinite"/>
                      </p:stCondLst>
                      <p:childTnLst>
                        <p:par>
                          <p:cTn id="306" fill="hold">
                            <p:stCondLst>
                              <p:cond delay="0"/>
                            </p:stCondLst>
                            <p:childTnLst>
                              <p:par>
                                <p:cTn id="30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9" dur="5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0" dur="5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1" dur="5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2" dur="5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3" fill="hold">
                      <p:stCondLst>
                        <p:cond delay="indefinite"/>
                      </p:stCondLst>
                      <p:childTnLst>
                        <p:par>
                          <p:cTn id="314" fill="hold">
                            <p:stCondLst>
                              <p:cond delay="0"/>
                            </p:stCondLst>
                            <p:childTnLst>
                              <p:par>
                                <p:cTn id="31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7" dur="5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8" dur="5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9" dur="5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0" dur="5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1" fill="hold">
                      <p:stCondLst>
                        <p:cond delay="indefinite"/>
                      </p:stCondLst>
                      <p:childTnLst>
                        <p:par>
                          <p:cTn id="322" fill="hold">
                            <p:stCondLst>
                              <p:cond delay="0"/>
                            </p:stCondLst>
                            <p:childTnLst>
                              <p:par>
                                <p:cTn id="32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5" dur="5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6" dur="5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7" dur="5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8" dur="5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9" fill="hold">
                      <p:stCondLst>
                        <p:cond delay="indefinite"/>
                      </p:stCondLst>
                      <p:childTnLst>
                        <p:par>
                          <p:cTn id="330" fill="hold">
                            <p:stCondLst>
                              <p:cond delay="0"/>
                            </p:stCondLst>
                            <p:childTnLst>
                              <p:par>
                                <p:cTn id="33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3" dur="5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4" dur="5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5" dur="5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6" dur="5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7" fill="hold">
                      <p:stCondLst>
                        <p:cond delay="indefinite"/>
                      </p:stCondLst>
                      <p:childTnLst>
                        <p:par>
                          <p:cTn id="338" fill="hold">
                            <p:stCondLst>
                              <p:cond delay="0"/>
                            </p:stCondLst>
                            <p:childTnLst>
                              <p:par>
                                <p:cTn id="33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1" dur="5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2" dur="5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5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4" dur="5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5" fill="hold">
                      <p:stCondLst>
                        <p:cond delay="indefinite"/>
                      </p:stCondLst>
                      <p:childTnLst>
                        <p:par>
                          <p:cTn id="346" fill="hold">
                            <p:stCondLst>
                              <p:cond delay="0"/>
                            </p:stCondLst>
                            <p:childTnLst>
                              <p:par>
                                <p:cTn id="34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9" dur="5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0" dur="5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1" dur="5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2" dur="5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3" fill="hold">
                      <p:stCondLst>
                        <p:cond delay="indefinite"/>
                      </p:stCondLst>
                      <p:childTnLst>
                        <p:par>
                          <p:cTn id="354" fill="hold">
                            <p:stCondLst>
                              <p:cond delay="0"/>
                            </p:stCondLst>
                            <p:childTnLst>
                              <p:par>
                                <p:cTn id="35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7" dur="5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8" dur="5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5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0" dur="5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1" fill="hold">
                      <p:stCondLst>
                        <p:cond delay="indefinite"/>
                      </p:stCondLst>
                      <p:childTnLst>
                        <p:par>
                          <p:cTn id="362" fill="hold">
                            <p:stCondLst>
                              <p:cond delay="0"/>
                            </p:stCondLst>
                            <p:childTnLst>
                              <p:par>
                                <p:cTn id="36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5" dur="5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6" dur="5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7" dur="5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8" dur="5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9" fill="hold">
                      <p:stCondLst>
                        <p:cond delay="indefinite"/>
                      </p:stCondLst>
                      <p:childTnLst>
                        <p:par>
                          <p:cTn id="370" fill="hold">
                            <p:stCondLst>
                              <p:cond delay="0"/>
                            </p:stCondLst>
                            <p:childTnLst>
                              <p:par>
                                <p:cTn id="37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3" dur="5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4" dur="5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5" dur="5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6" dur="5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7" fill="hold">
                      <p:stCondLst>
                        <p:cond delay="indefinite"/>
                      </p:stCondLst>
                      <p:childTnLst>
                        <p:par>
                          <p:cTn id="378" fill="hold">
                            <p:stCondLst>
                              <p:cond delay="0"/>
                            </p:stCondLst>
                            <p:childTnLst>
                              <p:par>
                                <p:cTn id="37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1" dur="5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2" dur="5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3" dur="5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4" dur="5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5" fill="hold">
                      <p:stCondLst>
                        <p:cond delay="indefinite"/>
                      </p:stCondLst>
                      <p:childTnLst>
                        <p:par>
                          <p:cTn id="386" fill="hold">
                            <p:stCondLst>
                              <p:cond delay="0"/>
                            </p:stCondLst>
                            <p:childTnLst>
                              <p:par>
                                <p:cTn id="38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9" dur="5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0" dur="5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1" dur="5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2" dur="5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3" fill="hold">
                      <p:stCondLst>
                        <p:cond delay="indefinite"/>
                      </p:stCondLst>
                      <p:childTnLst>
                        <p:par>
                          <p:cTn id="394" fill="hold">
                            <p:stCondLst>
                              <p:cond delay="0"/>
                            </p:stCondLst>
                            <p:childTnLst>
                              <p:par>
                                <p:cTn id="39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7" dur="5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8" dur="5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9" dur="5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0" dur="5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1" fill="hold">
                      <p:stCondLst>
                        <p:cond delay="indefinite"/>
                      </p:stCondLst>
                      <p:childTnLst>
                        <p:par>
                          <p:cTn id="402" fill="hold">
                            <p:stCondLst>
                              <p:cond delay="0"/>
                            </p:stCondLst>
                            <p:childTnLst>
                              <p:par>
                                <p:cTn id="40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5" dur="5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6" dur="5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7" dur="5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8" dur="5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9" fill="hold">
                      <p:stCondLst>
                        <p:cond delay="indefinite"/>
                      </p:stCondLst>
                      <p:childTnLst>
                        <p:par>
                          <p:cTn id="410" fill="hold">
                            <p:stCondLst>
                              <p:cond delay="0"/>
                            </p:stCondLst>
                            <p:childTnLst>
                              <p:par>
                                <p:cTn id="41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3" dur="5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4" dur="5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5" dur="5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6" dur="5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7" fill="hold">
                      <p:stCondLst>
                        <p:cond delay="indefinite"/>
                      </p:stCondLst>
                      <p:childTnLst>
                        <p:par>
                          <p:cTn id="418" fill="hold">
                            <p:stCondLst>
                              <p:cond delay="0"/>
                            </p:stCondLst>
                            <p:childTnLst>
                              <p:par>
                                <p:cTn id="41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1" dur="5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2" dur="5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3" dur="5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4" dur="5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5" fill="hold">
                      <p:stCondLst>
                        <p:cond delay="indefinite"/>
                      </p:stCondLst>
                      <p:childTnLst>
                        <p:par>
                          <p:cTn id="426" fill="hold">
                            <p:stCondLst>
                              <p:cond delay="0"/>
                            </p:stCondLst>
                            <p:childTnLst>
                              <p:par>
                                <p:cTn id="42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9" dur="5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0" dur="5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1" dur="5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2" dur="5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3" fill="hold">
                      <p:stCondLst>
                        <p:cond delay="indefinite"/>
                      </p:stCondLst>
                      <p:childTnLst>
                        <p:par>
                          <p:cTn id="434" fill="hold">
                            <p:stCondLst>
                              <p:cond delay="0"/>
                            </p:stCondLst>
                            <p:childTnLst>
                              <p:par>
                                <p:cTn id="43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7" dur="5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8" dur="5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9" dur="5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0" dur="5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1" fill="hold">
                      <p:stCondLst>
                        <p:cond delay="indefinite"/>
                      </p:stCondLst>
                      <p:childTnLst>
                        <p:par>
                          <p:cTn id="442" fill="hold">
                            <p:stCondLst>
                              <p:cond delay="0"/>
                            </p:stCondLst>
                            <p:childTnLst>
                              <p:par>
                                <p:cTn id="44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5" dur="5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6" dur="5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7" dur="5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8" dur="5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9" fill="hold">
                      <p:stCondLst>
                        <p:cond delay="indefinite"/>
                      </p:stCondLst>
                      <p:childTnLst>
                        <p:par>
                          <p:cTn id="450" fill="hold">
                            <p:stCondLst>
                              <p:cond delay="0"/>
                            </p:stCondLst>
                            <p:childTnLst>
                              <p:par>
                                <p:cTn id="45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3" dur="5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4" dur="5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5" dur="50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6" dur="50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7" fill="hold">
                      <p:stCondLst>
                        <p:cond delay="indefinite"/>
                      </p:stCondLst>
                      <p:childTnLst>
                        <p:par>
                          <p:cTn id="458" fill="hold">
                            <p:stCondLst>
                              <p:cond delay="0"/>
                            </p:stCondLst>
                            <p:childTnLst>
                              <p:par>
                                <p:cTn id="45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1" dur="5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2" dur="5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3" dur="5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4" dur="5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5" fill="hold">
                      <p:stCondLst>
                        <p:cond delay="indefinite"/>
                      </p:stCondLst>
                      <p:childTnLst>
                        <p:par>
                          <p:cTn id="466" fill="hold">
                            <p:stCondLst>
                              <p:cond delay="0"/>
                            </p:stCondLst>
                            <p:childTnLst>
                              <p:par>
                                <p:cTn id="46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9" dur="5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0" dur="5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1" dur="5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2" dur="5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3" fill="hold">
                      <p:stCondLst>
                        <p:cond delay="indefinite"/>
                      </p:stCondLst>
                      <p:childTnLst>
                        <p:par>
                          <p:cTn id="474" fill="hold">
                            <p:stCondLst>
                              <p:cond delay="0"/>
                            </p:stCondLst>
                            <p:childTnLst>
                              <p:par>
                                <p:cTn id="47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7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8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9" dur="5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0" dur="5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1" fill="hold">
                      <p:stCondLst>
                        <p:cond delay="indefinite"/>
                      </p:stCondLst>
                      <p:childTnLst>
                        <p:par>
                          <p:cTn id="482" fill="hold">
                            <p:stCondLst>
                              <p:cond delay="0"/>
                            </p:stCondLst>
                            <p:childTnLst>
                              <p:par>
                                <p:cTn id="483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85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86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87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8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9" fill="hold">
                      <p:stCondLst>
                        <p:cond delay="indefinite"/>
                      </p:stCondLst>
                      <p:childTnLst>
                        <p:par>
                          <p:cTn id="490" fill="hold">
                            <p:stCondLst>
                              <p:cond delay="0"/>
                            </p:stCondLst>
                            <p:childTnLst>
                              <p:par>
                                <p:cTn id="49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4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5" fill="hold">
                      <p:stCondLst>
                        <p:cond delay="indefinite"/>
                      </p:stCondLst>
                      <p:childTnLst>
                        <p:par>
                          <p:cTn id="496" fill="hold">
                            <p:stCondLst>
                              <p:cond delay="0"/>
                            </p:stCondLst>
                            <p:childTnLst>
                              <p:par>
                                <p:cTn id="497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99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00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0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02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3" fill="hold">
                      <p:stCondLst>
                        <p:cond delay="indefinite"/>
                      </p:stCondLst>
                      <p:childTnLst>
                        <p:par>
                          <p:cTn id="504" fill="hold">
                            <p:stCondLst>
                              <p:cond delay="0"/>
                            </p:stCondLst>
                            <p:childTnLst>
                              <p:par>
                                <p:cTn id="50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7" dur="3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8" fill="hold">
                      <p:stCondLst>
                        <p:cond delay="indefinite"/>
                      </p:stCondLst>
                      <p:childTnLst>
                        <p:par>
                          <p:cTn id="509" fill="hold">
                            <p:stCondLst>
                              <p:cond delay="0"/>
                            </p:stCondLst>
                            <p:childTnLst>
                              <p:par>
                                <p:cTn id="510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12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13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1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1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6" fill="hold">
                      <p:stCondLst>
                        <p:cond delay="indefinite"/>
                      </p:stCondLst>
                      <p:childTnLst>
                        <p:par>
                          <p:cTn id="517" fill="hold">
                            <p:stCondLst>
                              <p:cond delay="0"/>
                            </p:stCondLst>
                            <p:childTnLst>
                              <p:par>
                                <p:cTn id="51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0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1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2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3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4" fill="hold">
                      <p:stCondLst>
                        <p:cond delay="indefinite"/>
                      </p:stCondLst>
                      <p:childTnLst>
                        <p:par>
                          <p:cTn id="525" fill="hold">
                            <p:stCondLst>
                              <p:cond delay="0"/>
                            </p:stCondLst>
                            <p:childTnLst>
                              <p:par>
                                <p:cTn id="526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28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29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3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31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2" fill="hold">
                      <p:stCondLst>
                        <p:cond delay="indefinite"/>
                      </p:stCondLst>
                      <p:childTnLst>
                        <p:par>
                          <p:cTn id="533" fill="hold">
                            <p:stCondLst>
                              <p:cond delay="0"/>
                            </p:stCondLst>
                            <p:childTnLst>
                              <p:par>
                                <p:cTn id="5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6" dur="5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7" fill="hold">
                      <p:stCondLst>
                        <p:cond delay="indefinite"/>
                      </p:stCondLst>
                      <p:childTnLst>
                        <p:par>
                          <p:cTn id="538" fill="hold">
                            <p:stCondLst>
                              <p:cond delay="0"/>
                            </p:stCondLst>
                            <p:childTnLst>
                              <p:par>
                                <p:cTn id="539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41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42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43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4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5" fill="hold">
                      <p:stCondLst>
                        <p:cond delay="indefinite"/>
                      </p:stCondLst>
                      <p:childTnLst>
                        <p:par>
                          <p:cTn id="546" fill="hold">
                            <p:stCondLst>
                              <p:cond delay="0"/>
                            </p:stCondLst>
                            <p:childTnLst>
                              <p:par>
                                <p:cTn id="54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9" dur="5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0" fill="hold">
                      <p:stCondLst>
                        <p:cond delay="indefinite"/>
                      </p:stCondLst>
                      <p:childTnLst>
                        <p:par>
                          <p:cTn id="551" fill="hold">
                            <p:stCondLst>
                              <p:cond delay="0"/>
                            </p:stCondLst>
                            <p:childTnLst>
                              <p:par>
                                <p:cTn id="552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54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55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5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57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8" fill="hold">
                      <p:stCondLst>
                        <p:cond delay="indefinite"/>
                      </p:stCondLst>
                      <p:childTnLst>
                        <p:par>
                          <p:cTn id="559" fill="hold">
                            <p:stCondLst>
                              <p:cond delay="0"/>
                            </p:stCondLst>
                            <p:childTnLst>
                              <p:par>
                                <p:cTn id="56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2" dur="5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3" fill="hold">
                      <p:stCondLst>
                        <p:cond delay="indefinite"/>
                      </p:stCondLst>
                      <p:childTnLst>
                        <p:par>
                          <p:cTn id="564" fill="hold">
                            <p:stCondLst>
                              <p:cond delay="0"/>
                            </p:stCondLst>
                            <p:childTnLst>
                              <p:par>
                                <p:cTn id="565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67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68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6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7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1" fill="hold">
                      <p:stCondLst>
                        <p:cond delay="indefinite"/>
                      </p:stCondLst>
                      <p:childTnLst>
                        <p:par>
                          <p:cTn id="572" fill="hold">
                            <p:stCondLst>
                              <p:cond delay="0"/>
                            </p:stCondLst>
                            <p:childTnLst>
                              <p:par>
                                <p:cTn id="573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75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76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77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78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9" fill="hold">
                      <p:stCondLst>
                        <p:cond delay="indefinite"/>
                      </p:stCondLst>
                      <p:childTnLst>
                        <p:par>
                          <p:cTn id="580" fill="hold">
                            <p:stCondLst>
                              <p:cond delay="0"/>
                            </p:stCondLst>
                            <p:childTnLst>
                              <p:par>
                                <p:cTn id="581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83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84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85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86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7" fill="hold">
                      <p:stCondLst>
                        <p:cond delay="indefinite"/>
                      </p:stCondLst>
                      <p:childTnLst>
                        <p:par>
                          <p:cTn id="588" fill="hold">
                            <p:stCondLst>
                              <p:cond delay="0"/>
                            </p:stCondLst>
                            <p:childTnLst>
                              <p:par>
                                <p:cTn id="589" presetID="56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591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592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593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594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5" fill="hold">
                      <p:stCondLst>
                        <p:cond delay="indefinite"/>
                      </p:stCondLst>
                      <p:childTnLst>
                        <p:par>
                          <p:cTn id="596" fill="hold">
                            <p:stCondLst>
                              <p:cond delay="0"/>
                            </p:stCondLst>
                            <p:childTnLst>
                              <p:par>
                                <p:cTn id="59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9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0" fill="hold">
                      <p:stCondLst>
                        <p:cond delay="indefinite"/>
                      </p:stCondLst>
                      <p:childTnLst>
                        <p:par>
                          <p:cTn id="601" fill="hold">
                            <p:stCondLst>
                              <p:cond delay="0"/>
                            </p:stCondLst>
                            <p:childTnLst>
                              <p:par>
                                <p:cTn id="60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4" dur="2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5" fill="hold">
                      <p:stCondLst>
                        <p:cond delay="indefinite"/>
                      </p:stCondLst>
                      <p:childTnLst>
                        <p:par>
                          <p:cTn id="606" fill="hold">
                            <p:stCondLst>
                              <p:cond delay="0"/>
                            </p:stCondLst>
                            <p:childTnLst>
                              <p:par>
                                <p:cTn id="60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9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0" fill="hold">
                      <p:stCondLst>
                        <p:cond delay="indefinite"/>
                      </p:stCondLst>
                      <p:childTnLst>
                        <p:par>
                          <p:cTn id="611" fill="hold">
                            <p:stCondLst>
                              <p:cond delay="0"/>
                            </p:stCondLst>
                            <p:childTnLst>
                              <p:par>
                                <p:cTn id="61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4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5" fill="hold">
                      <p:stCondLst>
                        <p:cond delay="indefinite"/>
                      </p:stCondLst>
                      <p:childTnLst>
                        <p:par>
                          <p:cTn id="616" fill="hold">
                            <p:stCondLst>
                              <p:cond delay="0"/>
                            </p:stCondLst>
                            <p:childTnLst>
                              <p:par>
                                <p:cTn id="61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9" dur="2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0" fill="hold">
                      <p:stCondLst>
                        <p:cond delay="indefinite"/>
                      </p:stCondLst>
                      <p:childTnLst>
                        <p:par>
                          <p:cTn id="621" fill="hold">
                            <p:stCondLst>
                              <p:cond delay="0"/>
                            </p:stCondLst>
                            <p:childTnLst>
                              <p:par>
                                <p:cTn id="6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4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5" fill="hold">
                      <p:stCondLst>
                        <p:cond delay="indefinite"/>
                      </p:stCondLst>
                      <p:childTnLst>
                        <p:par>
                          <p:cTn id="626" fill="hold">
                            <p:stCondLst>
                              <p:cond delay="0"/>
                            </p:stCondLst>
                            <p:childTnLst>
                              <p:par>
                                <p:cTn id="6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9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0" fill="hold">
                      <p:stCondLst>
                        <p:cond delay="indefinite"/>
                      </p:stCondLst>
                      <p:childTnLst>
                        <p:par>
                          <p:cTn id="631" fill="hold">
                            <p:stCondLst>
                              <p:cond delay="0"/>
                            </p:stCondLst>
                            <p:childTnLst>
                              <p:par>
                                <p:cTn id="6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4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5" fill="hold">
                      <p:stCondLst>
                        <p:cond delay="indefinite"/>
                      </p:stCondLst>
                      <p:childTnLst>
                        <p:par>
                          <p:cTn id="636" fill="hold">
                            <p:stCondLst>
                              <p:cond delay="0"/>
                            </p:stCondLst>
                            <p:childTnLst>
                              <p:par>
                                <p:cTn id="6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0" fill="hold">
                      <p:stCondLst>
                        <p:cond delay="indefinite"/>
                      </p:stCondLst>
                      <p:childTnLst>
                        <p:par>
                          <p:cTn id="641" fill="hold">
                            <p:stCondLst>
                              <p:cond delay="0"/>
                            </p:stCondLst>
                            <p:childTnLst>
                              <p:par>
                                <p:cTn id="6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4" dur="2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5" fill="hold">
                      <p:stCondLst>
                        <p:cond delay="indefinite"/>
                      </p:stCondLst>
                      <p:childTnLst>
                        <p:par>
                          <p:cTn id="646" fill="hold">
                            <p:stCondLst>
                              <p:cond delay="0"/>
                            </p:stCondLst>
                            <p:childTnLst>
                              <p:par>
                                <p:cTn id="647" presetID="56" presetClass="entr" presetSubtype="0" fill="hold" grpId="1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649" dur="5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650" dur="5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651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652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3" fill="hold">
                      <p:stCondLst>
                        <p:cond delay="indefinite"/>
                      </p:stCondLst>
                      <p:childTnLst>
                        <p:par>
                          <p:cTn id="654" fill="hold">
                            <p:stCondLst>
                              <p:cond delay="0"/>
                            </p:stCondLst>
                            <p:childTnLst>
                              <p:par>
                                <p:cTn id="65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7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8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  <p:bldP spid="9" grpId="0"/>
      <p:bldP spid="9" grpId="1"/>
      <p:bldP spid="11" grpId="0" animBg="1"/>
      <p:bldP spid="15" grpId="0"/>
      <p:bldP spid="27" grpId="0"/>
      <p:bldP spid="34" grpId="0"/>
      <p:bldP spid="64" grpId="0"/>
      <p:bldP spid="65" grpId="0"/>
      <p:bldP spid="67" grpId="0"/>
      <p:bldP spid="68" grpId="0"/>
      <p:bldP spid="69" grpId="0"/>
      <p:bldP spid="70" grpId="0"/>
      <p:bldP spid="71" grpId="0"/>
      <p:bldP spid="72" grpId="0"/>
      <p:bldP spid="73" grpId="0"/>
      <p:bldP spid="5" grpId="0"/>
      <p:bldP spid="77" grpId="0"/>
      <p:bldP spid="78" grpId="0" animBg="1"/>
      <p:bldP spid="79" grpId="0"/>
      <p:bldP spid="82" grpId="0"/>
      <p:bldP spid="25" grpId="0"/>
      <p:bldP spid="112" grpId="0"/>
      <p:bldP spid="114" grpId="0"/>
      <p:bldP spid="115" grpId="0" animBg="1"/>
      <p:bldP spid="116" grpId="0"/>
      <p:bldP spid="117" grpId="0"/>
      <p:bldP spid="120" grpId="0"/>
      <p:bldP spid="16" grpId="0"/>
      <p:bldP spid="133" grpId="0"/>
      <p:bldP spid="134" grpId="0" animBg="1"/>
      <p:bldP spid="135" grpId="0"/>
      <p:bldP spid="136" grpId="0" animBg="1"/>
      <p:bldP spid="138" grpId="0" animBg="1"/>
      <p:bldP spid="142" grpId="0" animBg="1"/>
      <p:bldP spid="143" grpId="0"/>
      <p:bldP spid="144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27"/>
          <p:cNvSpPr/>
          <p:nvPr/>
        </p:nvSpPr>
        <p:spPr>
          <a:xfrm>
            <a:off x="3198813" y="366188"/>
            <a:ext cx="1066800" cy="869949"/>
          </a:xfrm>
          <a:custGeom>
            <a:avLst/>
            <a:gdLst>
              <a:gd name="connsiteX0" fmla="*/ 109679 w 1067119"/>
              <a:gd name="connsiteY0" fmla="*/ 26708 h 872395"/>
              <a:gd name="connsiteX1" fmla="*/ 93822 w 1067119"/>
              <a:gd name="connsiteY1" fmla="*/ 53135 h 872395"/>
              <a:gd name="connsiteX2" fmla="*/ 77965 w 1067119"/>
              <a:gd name="connsiteY2" fmla="*/ 79563 h 872395"/>
              <a:gd name="connsiteX3" fmla="*/ 62109 w 1067119"/>
              <a:gd name="connsiteY3" fmla="*/ 111276 h 872395"/>
              <a:gd name="connsiteX4" fmla="*/ 46252 w 1067119"/>
              <a:gd name="connsiteY4" fmla="*/ 121848 h 872395"/>
              <a:gd name="connsiteX5" fmla="*/ 40967 w 1067119"/>
              <a:gd name="connsiteY5" fmla="*/ 137704 h 872395"/>
              <a:gd name="connsiteX6" fmla="*/ 19824 w 1067119"/>
              <a:gd name="connsiteY6" fmla="*/ 164132 h 872395"/>
              <a:gd name="connsiteX7" fmla="*/ 14539 w 1067119"/>
              <a:gd name="connsiteY7" fmla="*/ 179989 h 872395"/>
              <a:gd name="connsiteX8" fmla="*/ 3968 w 1067119"/>
              <a:gd name="connsiteY8" fmla="*/ 195845 h 872395"/>
              <a:gd name="connsiteX9" fmla="*/ 35681 w 1067119"/>
              <a:gd name="connsiteY9" fmla="*/ 206416 h 872395"/>
              <a:gd name="connsiteX10" fmla="*/ 62109 w 1067119"/>
              <a:gd name="connsiteY10" fmla="*/ 312127 h 872395"/>
              <a:gd name="connsiteX11" fmla="*/ 77965 w 1067119"/>
              <a:gd name="connsiteY11" fmla="*/ 364983 h 872395"/>
              <a:gd name="connsiteX12" fmla="*/ 88537 w 1067119"/>
              <a:gd name="connsiteY12" fmla="*/ 375554 h 872395"/>
              <a:gd name="connsiteX13" fmla="*/ 157249 w 1067119"/>
              <a:gd name="connsiteY13" fmla="*/ 386125 h 872395"/>
              <a:gd name="connsiteX14" fmla="*/ 178391 w 1067119"/>
              <a:gd name="connsiteY14" fmla="*/ 391411 h 872395"/>
              <a:gd name="connsiteX15" fmla="*/ 210104 w 1067119"/>
              <a:gd name="connsiteY15" fmla="*/ 401982 h 872395"/>
              <a:gd name="connsiteX16" fmla="*/ 252389 w 1067119"/>
              <a:gd name="connsiteY16" fmla="*/ 428409 h 872395"/>
              <a:gd name="connsiteX17" fmla="*/ 268245 w 1067119"/>
              <a:gd name="connsiteY17" fmla="*/ 433695 h 872395"/>
              <a:gd name="connsiteX18" fmla="*/ 315815 w 1067119"/>
              <a:gd name="connsiteY18" fmla="*/ 470694 h 872395"/>
              <a:gd name="connsiteX19" fmla="*/ 331672 w 1067119"/>
              <a:gd name="connsiteY19" fmla="*/ 481265 h 872395"/>
              <a:gd name="connsiteX20" fmla="*/ 400384 w 1067119"/>
              <a:gd name="connsiteY20" fmla="*/ 465408 h 872395"/>
              <a:gd name="connsiteX21" fmla="*/ 421526 w 1067119"/>
              <a:gd name="connsiteY21" fmla="*/ 460123 h 872395"/>
              <a:gd name="connsiteX22" fmla="*/ 463811 w 1067119"/>
              <a:gd name="connsiteY22" fmla="*/ 465408 h 872395"/>
              <a:gd name="connsiteX23" fmla="*/ 469096 w 1067119"/>
              <a:gd name="connsiteY23" fmla="*/ 481265 h 872395"/>
              <a:gd name="connsiteX24" fmla="*/ 463811 w 1067119"/>
              <a:gd name="connsiteY24" fmla="*/ 512978 h 872395"/>
              <a:gd name="connsiteX25" fmla="*/ 447954 w 1067119"/>
              <a:gd name="connsiteY25" fmla="*/ 544691 h 872395"/>
              <a:gd name="connsiteX26" fmla="*/ 437383 w 1067119"/>
              <a:gd name="connsiteY26" fmla="*/ 555263 h 872395"/>
              <a:gd name="connsiteX27" fmla="*/ 421526 w 1067119"/>
              <a:gd name="connsiteY27" fmla="*/ 560548 h 872395"/>
              <a:gd name="connsiteX28" fmla="*/ 432097 w 1067119"/>
              <a:gd name="connsiteY28" fmla="*/ 592261 h 872395"/>
              <a:gd name="connsiteX29" fmla="*/ 463811 w 1067119"/>
              <a:gd name="connsiteY29" fmla="*/ 634546 h 872395"/>
              <a:gd name="connsiteX30" fmla="*/ 469096 w 1067119"/>
              <a:gd name="connsiteY30" fmla="*/ 650402 h 872395"/>
              <a:gd name="connsiteX31" fmla="*/ 479667 w 1067119"/>
              <a:gd name="connsiteY31" fmla="*/ 687401 h 872395"/>
              <a:gd name="connsiteX32" fmla="*/ 474382 w 1067119"/>
              <a:gd name="connsiteY32" fmla="*/ 734971 h 872395"/>
              <a:gd name="connsiteX33" fmla="*/ 458525 w 1067119"/>
              <a:gd name="connsiteY33" fmla="*/ 740257 h 872395"/>
              <a:gd name="connsiteX34" fmla="*/ 453239 w 1067119"/>
              <a:gd name="connsiteY34" fmla="*/ 756113 h 872395"/>
              <a:gd name="connsiteX35" fmla="*/ 474382 w 1067119"/>
              <a:gd name="connsiteY35" fmla="*/ 777256 h 872395"/>
              <a:gd name="connsiteX36" fmla="*/ 484953 w 1067119"/>
              <a:gd name="connsiteY36" fmla="*/ 793112 h 872395"/>
              <a:gd name="connsiteX37" fmla="*/ 500809 w 1067119"/>
              <a:gd name="connsiteY37" fmla="*/ 824826 h 872395"/>
              <a:gd name="connsiteX38" fmla="*/ 506095 w 1067119"/>
              <a:gd name="connsiteY38" fmla="*/ 840682 h 872395"/>
              <a:gd name="connsiteX39" fmla="*/ 532523 w 1067119"/>
              <a:gd name="connsiteY39" fmla="*/ 867110 h 872395"/>
              <a:gd name="connsiteX40" fmla="*/ 558950 w 1067119"/>
              <a:gd name="connsiteY40" fmla="*/ 872395 h 872395"/>
              <a:gd name="connsiteX41" fmla="*/ 643519 w 1067119"/>
              <a:gd name="connsiteY41" fmla="*/ 867110 h 872395"/>
              <a:gd name="connsiteX42" fmla="*/ 675233 w 1067119"/>
              <a:gd name="connsiteY42" fmla="*/ 856539 h 872395"/>
              <a:gd name="connsiteX43" fmla="*/ 706946 w 1067119"/>
              <a:gd name="connsiteY43" fmla="*/ 835397 h 872395"/>
              <a:gd name="connsiteX44" fmla="*/ 733374 w 1067119"/>
              <a:gd name="connsiteY44" fmla="*/ 808969 h 872395"/>
              <a:gd name="connsiteX45" fmla="*/ 765087 w 1067119"/>
              <a:gd name="connsiteY45" fmla="*/ 793112 h 872395"/>
              <a:gd name="connsiteX46" fmla="*/ 786229 w 1067119"/>
              <a:gd name="connsiteY46" fmla="*/ 761399 h 872395"/>
              <a:gd name="connsiteX47" fmla="*/ 754516 w 1067119"/>
              <a:gd name="connsiteY47" fmla="*/ 750828 h 872395"/>
              <a:gd name="connsiteX48" fmla="*/ 738659 w 1067119"/>
              <a:gd name="connsiteY48" fmla="*/ 745542 h 872395"/>
              <a:gd name="connsiteX49" fmla="*/ 717517 w 1067119"/>
              <a:gd name="connsiteY49" fmla="*/ 740257 h 872395"/>
              <a:gd name="connsiteX50" fmla="*/ 706946 w 1067119"/>
              <a:gd name="connsiteY50" fmla="*/ 724400 h 872395"/>
              <a:gd name="connsiteX51" fmla="*/ 712231 w 1067119"/>
              <a:gd name="connsiteY51" fmla="*/ 708543 h 872395"/>
              <a:gd name="connsiteX52" fmla="*/ 685804 w 1067119"/>
              <a:gd name="connsiteY52" fmla="*/ 671545 h 872395"/>
              <a:gd name="connsiteX53" fmla="*/ 691089 w 1067119"/>
              <a:gd name="connsiteY53" fmla="*/ 629260 h 872395"/>
              <a:gd name="connsiteX54" fmla="*/ 722802 w 1067119"/>
              <a:gd name="connsiteY54" fmla="*/ 618689 h 872395"/>
              <a:gd name="connsiteX55" fmla="*/ 780943 w 1067119"/>
              <a:gd name="connsiteY55" fmla="*/ 634546 h 872395"/>
              <a:gd name="connsiteX56" fmla="*/ 796800 w 1067119"/>
              <a:gd name="connsiteY56" fmla="*/ 639831 h 872395"/>
              <a:gd name="connsiteX57" fmla="*/ 849656 w 1067119"/>
              <a:gd name="connsiteY57" fmla="*/ 634546 h 872395"/>
              <a:gd name="connsiteX58" fmla="*/ 865512 w 1067119"/>
              <a:gd name="connsiteY58" fmla="*/ 629260 h 872395"/>
              <a:gd name="connsiteX59" fmla="*/ 886654 w 1067119"/>
              <a:gd name="connsiteY59" fmla="*/ 623975 h 872395"/>
              <a:gd name="connsiteX60" fmla="*/ 918368 w 1067119"/>
              <a:gd name="connsiteY60" fmla="*/ 613404 h 872395"/>
              <a:gd name="connsiteX61" fmla="*/ 960652 w 1067119"/>
              <a:gd name="connsiteY61" fmla="*/ 592261 h 872395"/>
              <a:gd name="connsiteX62" fmla="*/ 960652 w 1067119"/>
              <a:gd name="connsiteY62" fmla="*/ 592261 h 872395"/>
              <a:gd name="connsiteX63" fmla="*/ 976509 w 1067119"/>
              <a:gd name="connsiteY63" fmla="*/ 581690 h 872395"/>
              <a:gd name="connsiteX64" fmla="*/ 987080 w 1067119"/>
              <a:gd name="connsiteY64" fmla="*/ 565834 h 872395"/>
              <a:gd name="connsiteX65" fmla="*/ 997651 w 1067119"/>
              <a:gd name="connsiteY65" fmla="*/ 523549 h 872395"/>
              <a:gd name="connsiteX66" fmla="*/ 981794 w 1067119"/>
              <a:gd name="connsiteY66" fmla="*/ 518264 h 872395"/>
              <a:gd name="connsiteX67" fmla="*/ 955367 w 1067119"/>
              <a:gd name="connsiteY67" fmla="*/ 491836 h 872395"/>
              <a:gd name="connsiteX68" fmla="*/ 960652 w 1067119"/>
              <a:gd name="connsiteY68" fmla="*/ 460123 h 872395"/>
              <a:gd name="connsiteX69" fmla="*/ 987080 w 1067119"/>
              <a:gd name="connsiteY69" fmla="*/ 412553 h 872395"/>
              <a:gd name="connsiteX70" fmla="*/ 1002937 w 1067119"/>
              <a:gd name="connsiteY70" fmla="*/ 407267 h 872395"/>
              <a:gd name="connsiteX71" fmla="*/ 1013508 w 1067119"/>
              <a:gd name="connsiteY71" fmla="*/ 391411 h 872395"/>
              <a:gd name="connsiteX72" fmla="*/ 1002937 w 1067119"/>
              <a:gd name="connsiteY72" fmla="*/ 380839 h 872395"/>
              <a:gd name="connsiteX73" fmla="*/ 997651 w 1067119"/>
              <a:gd name="connsiteY73" fmla="*/ 359697 h 872395"/>
              <a:gd name="connsiteX74" fmla="*/ 992365 w 1067119"/>
              <a:gd name="connsiteY74" fmla="*/ 343841 h 872395"/>
              <a:gd name="connsiteX75" fmla="*/ 1008222 w 1067119"/>
              <a:gd name="connsiteY75" fmla="*/ 338555 h 872395"/>
              <a:gd name="connsiteX76" fmla="*/ 1050507 w 1067119"/>
              <a:gd name="connsiteY76" fmla="*/ 327984 h 872395"/>
              <a:gd name="connsiteX77" fmla="*/ 1061078 w 1067119"/>
              <a:gd name="connsiteY77" fmla="*/ 312127 h 872395"/>
              <a:gd name="connsiteX78" fmla="*/ 981794 w 1067119"/>
              <a:gd name="connsiteY78" fmla="*/ 269843 h 872395"/>
              <a:gd name="connsiteX79" fmla="*/ 976509 w 1067119"/>
              <a:gd name="connsiteY79" fmla="*/ 248701 h 872395"/>
              <a:gd name="connsiteX80" fmla="*/ 992365 w 1067119"/>
              <a:gd name="connsiteY80" fmla="*/ 216987 h 872395"/>
              <a:gd name="connsiteX81" fmla="*/ 960652 w 1067119"/>
              <a:gd name="connsiteY81" fmla="*/ 195845 h 872395"/>
              <a:gd name="connsiteX82" fmla="*/ 907797 w 1067119"/>
              <a:gd name="connsiteY82" fmla="*/ 179989 h 872395"/>
              <a:gd name="connsiteX83" fmla="*/ 870798 w 1067119"/>
              <a:gd name="connsiteY83" fmla="*/ 174703 h 872395"/>
              <a:gd name="connsiteX84" fmla="*/ 839085 w 1067119"/>
              <a:gd name="connsiteY84" fmla="*/ 148275 h 872395"/>
              <a:gd name="connsiteX85" fmla="*/ 854941 w 1067119"/>
              <a:gd name="connsiteY85" fmla="*/ 137704 h 872395"/>
              <a:gd name="connsiteX86" fmla="*/ 860227 w 1067119"/>
              <a:gd name="connsiteY86" fmla="*/ 121848 h 872395"/>
              <a:gd name="connsiteX87" fmla="*/ 849656 w 1067119"/>
              <a:gd name="connsiteY87" fmla="*/ 111276 h 872395"/>
              <a:gd name="connsiteX88" fmla="*/ 817942 w 1067119"/>
              <a:gd name="connsiteY88" fmla="*/ 95420 h 872395"/>
              <a:gd name="connsiteX89" fmla="*/ 786229 w 1067119"/>
              <a:gd name="connsiteY89" fmla="*/ 100705 h 872395"/>
              <a:gd name="connsiteX90" fmla="*/ 770372 w 1067119"/>
              <a:gd name="connsiteY90" fmla="*/ 111276 h 872395"/>
              <a:gd name="connsiteX91" fmla="*/ 749230 w 1067119"/>
              <a:gd name="connsiteY91" fmla="*/ 121848 h 872395"/>
              <a:gd name="connsiteX92" fmla="*/ 696375 w 1067119"/>
              <a:gd name="connsiteY92" fmla="*/ 137704 h 872395"/>
              <a:gd name="connsiteX93" fmla="*/ 617091 w 1067119"/>
              <a:gd name="connsiteY93" fmla="*/ 132419 h 872395"/>
              <a:gd name="connsiteX94" fmla="*/ 580093 w 1067119"/>
              <a:gd name="connsiteY94" fmla="*/ 121848 h 872395"/>
              <a:gd name="connsiteX95" fmla="*/ 564236 w 1067119"/>
              <a:gd name="connsiteY95" fmla="*/ 111276 h 872395"/>
              <a:gd name="connsiteX96" fmla="*/ 532523 w 1067119"/>
              <a:gd name="connsiteY96" fmla="*/ 100705 h 872395"/>
              <a:gd name="connsiteX97" fmla="*/ 442668 w 1067119"/>
              <a:gd name="connsiteY97" fmla="*/ 105991 h 872395"/>
              <a:gd name="connsiteX98" fmla="*/ 426812 w 1067119"/>
              <a:gd name="connsiteY98" fmla="*/ 100705 h 872395"/>
              <a:gd name="connsiteX99" fmla="*/ 405670 w 1067119"/>
              <a:gd name="connsiteY99" fmla="*/ 79563 h 872395"/>
              <a:gd name="connsiteX100" fmla="*/ 379242 w 1067119"/>
              <a:gd name="connsiteY100" fmla="*/ 63706 h 872395"/>
              <a:gd name="connsiteX101" fmla="*/ 342243 w 1067119"/>
              <a:gd name="connsiteY101" fmla="*/ 47850 h 872395"/>
              <a:gd name="connsiteX102" fmla="*/ 210104 w 1067119"/>
              <a:gd name="connsiteY102" fmla="*/ 58421 h 872395"/>
              <a:gd name="connsiteX103" fmla="*/ 173105 w 1067119"/>
              <a:gd name="connsiteY103" fmla="*/ 68992 h 872395"/>
              <a:gd name="connsiteX104" fmla="*/ 173105 w 1067119"/>
              <a:gd name="connsiteY104" fmla="*/ 158846 h 872395"/>
              <a:gd name="connsiteX105" fmla="*/ 183676 w 1067119"/>
              <a:gd name="connsiteY105" fmla="*/ 190560 h 872395"/>
              <a:gd name="connsiteX106" fmla="*/ 178391 w 1067119"/>
              <a:gd name="connsiteY106" fmla="*/ 227559 h 872395"/>
              <a:gd name="connsiteX107" fmla="*/ 146678 w 1067119"/>
              <a:gd name="connsiteY107" fmla="*/ 238130 h 872395"/>
              <a:gd name="connsiteX108" fmla="*/ 109679 w 1067119"/>
              <a:gd name="connsiteY108" fmla="*/ 232844 h 872395"/>
              <a:gd name="connsiteX109" fmla="*/ 93822 w 1067119"/>
              <a:gd name="connsiteY109" fmla="*/ 201131 h 872395"/>
              <a:gd name="connsiteX110" fmla="*/ 99108 w 1067119"/>
              <a:gd name="connsiteY110" fmla="*/ 185274 h 872395"/>
              <a:gd name="connsiteX111" fmla="*/ 120250 w 1067119"/>
              <a:gd name="connsiteY111" fmla="*/ 148275 h 872395"/>
              <a:gd name="connsiteX112" fmla="*/ 114964 w 1067119"/>
              <a:gd name="connsiteY112" fmla="*/ 58421 h 872395"/>
              <a:gd name="connsiteX113" fmla="*/ 109679 w 1067119"/>
              <a:gd name="connsiteY113" fmla="*/ 26708 h 872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1067119" h="872395">
                <a:moveTo>
                  <a:pt x="109679" y="26708"/>
                </a:moveTo>
                <a:cubicBezTo>
                  <a:pt x="106155" y="25827"/>
                  <a:pt x="98416" y="43946"/>
                  <a:pt x="93822" y="53135"/>
                </a:cubicBezTo>
                <a:cubicBezTo>
                  <a:pt x="80099" y="80582"/>
                  <a:pt x="98615" y="58915"/>
                  <a:pt x="77965" y="79563"/>
                </a:cubicBezTo>
                <a:cubicBezTo>
                  <a:pt x="73666" y="92461"/>
                  <a:pt x="72356" y="101029"/>
                  <a:pt x="62109" y="111276"/>
                </a:cubicBezTo>
                <a:cubicBezTo>
                  <a:pt x="57617" y="115768"/>
                  <a:pt x="51538" y="118324"/>
                  <a:pt x="46252" y="121848"/>
                </a:cubicBezTo>
                <a:cubicBezTo>
                  <a:pt x="44490" y="127133"/>
                  <a:pt x="43458" y="132721"/>
                  <a:pt x="40967" y="137704"/>
                </a:cubicBezTo>
                <a:cubicBezTo>
                  <a:pt x="34299" y="151041"/>
                  <a:pt x="29658" y="154299"/>
                  <a:pt x="19824" y="164132"/>
                </a:cubicBezTo>
                <a:cubicBezTo>
                  <a:pt x="18062" y="169418"/>
                  <a:pt x="17031" y="175006"/>
                  <a:pt x="14539" y="179989"/>
                </a:cubicBezTo>
                <a:cubicBezTo>
                  <a:pt x="11698" y="185671"/>
                  <a:pt x="0" y="190885"/>
                  <a:pt x="3968" y="195845"/>
                </a:cubicBezTo>
                <a:cubicBezTo>
                  <a:pt x="10929" y="204546"/>
                  <a:pt x="35681" y="206416"/>
                  <a:pt x="35681" y="206416"/>
                </a:cubicBezTo>
                <a:cubicBezTo>
                  <a:pt x="46835" y="312383"/>
                  <a:pt x="14319" y="296199"/>
                  <a:pt x="62109" y="312127"/>
                </a:cubicBezTo>
                <a:cubicBezTo>
                  <a:pt x="88000" y="350965"/>
                  <a:pt x="55288" y="296954"/>
                  <a:pt x="77965" y="364983"/>
                </a:cubicBezTo>
                <a:cubicBezTo>
                  <a:pt x="79541" y="369711"/>
                  <a:pt x="84264" y="372990"/>
                  <a:pt x="88537" y="375554"/>
                </a:cubicBezTo>
                <a:cubicBezTo>
                  <a:pt x="103775" y="384696"/>
                  <a:pt x="154202" y="385820"/>
                  <a:pt x="157249" y="386125"/>
                </a:cubicBezTo>
                <a:cubicBezTo>
                  <a:pt x="164296" y="387887"/>
                  <a:pt x="171433" y="389324"/>
                  <a:pt x="178391" y="391411"/>
                </a:cubicBezTo>
                <a:cubicBezTo>
                  <a:pt x="189064" y="394613"/>
                  <a:pt x="210104" y="401982"/>
                  <a:pt x="210104" y="401982"/>
                </a:cubicBezTo>
                <a:cubicBezTo>
                  <a:pt x="226857" y="427110"/>
                  <a:pt x="214648" y="415828"/>
                  <a:pt x="252389" y="428409"/>
                </a:cubicBezTo>
                <a:lnTo>
                  <a:pt x="268245" y="433695"/>
                </a:lnTo>
                <a:cubicBezTo>
                  <a:pt x="293085" y="458535"/>
                  <a:pt x="277883" y="445406"/>
                  <a:pt x="315815" y="470694"/>
                </a:cubicBezTo>
                <a:lnTo>
                  <a:pt x="331672" y="481265"/>
                </a:lnTo>
                <a:cubicBezTo>
                  <a:pt x="372351" y="473129"/>
                  <a:pt x="349376" y="478160"/>
                  <a:pt x="400384" y="465408"/>
                </a:cubicBezTo>
                <a:lnTo>
                  <a:pt x="421526" y="460123"/>
                </a:lnTo>
                <a:cubicBezTo>
                  <a:pt x="435621" y="461885"/>
                  <a:pt x="450831" y="459639"/>
                  <a:pt x="463811" y="465408"/>
                </a:cubicBezTo>
                <a:cubicBezTo>
                  <a:pt x="468902" y="467671"/>
                  <a:pt x="469096" y="475693"/>
                  <a:pt x="469096" y="481265"/>
                </a:cubicBezTo>
                <a:cubicBezTo>
                  <a:pt x="469096" y="491982"/>
                  <a:pt x="466136" y="502516"/>
                  <a:pt x="463811" y="512978"/>
                </a:cubicBezTo>
                <a:cubicBezTo>
                  <a:pt x="460805" y="526505"/>
                  <a:pt x="456726" y="533726"/>
                  <a:pt x="447954" y="544691"/>
                </a:cubicBezTo>
                <a:cubicBezTo>
                  <a:pt x="444841" y="548582"/>
                  <a:pt x="441656" y="552699"/>
                  <a:pt x="437383" y="555263"/>
                </a:cubicBezTo>
                <a:cubicBezTo>
                  <a:pt x="432605" y="558130"/>
                  <a:pt x="426812" y="558786"/>
                  <a:pt x="421526" y="560548"/>
                </a:cubicBezTo>
                <a:cubicBezTo>
                  <a:pt x="425050" y="571119"/>
                  <a:pt x="425916" y="582990"/>
                  <a:pt x="432097" y="592261"/>
                </a:cubicBezTo>
                <a:cubicBezTo>
                  <a:pt x="456003" y="628122"/>
                  <a:pt x="444255" y="614992"/>
                  <a:pt x="463811" y="634546"/>
                </a:cubicBezTo>
                <a:cubicBezTo>
                  <a:pt x="465573" y="639831"/>
                  <a:pt x="467565" y="645045"/>
                  <a:pt x="469096" y="650402"/>
                </a:cubicBezTo>
                <a:cubicBezTo>
                  <a:pt x="482369" y="696859"/>
                  <a:pt x="466996" y="649385"/>
                  <a:pt x="479667" y="687401"/>
                </a:cubicBezTo>
                <a:cubicBezTo>
                  <a:pt x="477905" y="703258"/>
                  <a:pt x="480307" y="720158"/>
                  <a:pt x="474382" y="734971"/>
                </a:cubicBezTo>
                <a:cubicBezTo>
                  <a:pt x="472313" y="740144"/>
                  <a:pt x="462465" y="736317"/>
                  <a:pt x="458525" y="740257"/>
                </a:cubicBezTo>
                <a:cubicBezTo>
                  <a:pt x="454585" y="744196"/>
                  <a:pt x="455001" y="750828"/>
                  <a:pt x="453239" y="756113"/>
                </a:cubicBezTo>
                <a:cubicBezTo>
                  <a:pt x="464772" y="790709"/>
                  <a:pt x="448755" y="756754"/>
                  <a:pt x="474382" y="777256"/>
                </a:cubicBezTo>
                <a:cubicBezTo>
                  <a:pt x="479342" y="781224"/>
                  <a:pt x="481429" y="787827"/>
                  <a:pt x="484953" y="793112"/>
                </a:cubicBezTo>
                <a:cubicBezTo>
                  <a:pt x="498234" y="832959"/>
                  <a:pt x="480321" y="783852"/>
                  <a:pt x="500809" y="824826"/>
                </a:cubicBezTo>
                <a:cubicBezTo>
                  <a:pt x="503301" y="829809"/>
                  <a:pt x="503603" y="835699"/>
                  <a:pt x="506095" y="840682"/>
                </a:cubicBezTo>
                <a:cubicBezTo>
                  <a:pt x="512059" y="852609"/>
                  <a:pt x="519511" y="862231"/>
                  <a:pt x="532523" y="867110"/>
                </a:cubicBezTo>
                <a:cubicBezTo>
                  <a:pt x="540934" y="870264"/>
                  <a:pt x="550141" y="870633"/>
                  <a:pt x="558950" y="872395"/>
                </a:cubicBezTo>
                <a:cubicBezTo>
                  <a:pt x="587140" y="870633"/>
                  <a:pt x="615533" y="870926"/>
                  <a:pt x="643519" y="867110"/>
                </a:cubicBezTo>
                <a:cubicBezTo>
                  <a:pt x="654560" y="865604"/>
                  <a:pt x="675233" y="856539"/>
                  <a:pt x="675233" y="856539"/>
                </a:cubicBezTo>
                <a:cubicBezTo>
                  <a:pt x="685804" y="849492"/>
                  <a:pt x="697962" y="844381"/>
                  <a:pt x="706946" y="835397"/>
                </a:cubicBezTo>
                <a:cubicBezTo>
                  <a:pt x="715755" y="826588"/>
                  <a:pt x="721555" y="812909"/>
                  <a:pt x="733374" y="808969"/>
                </a:cubicBezTo>
                <a:cubicBezTo>
                  <a:pt x="755256" y="801674"/>
                  <a:pt x="744594" y="806773"/>
                  <a:pt x="765087" y="793112"/>
                </a:cubicBezTo>
                <a:cubicBezTo>
                  <a:pt x="772134" y="782541"/>
                  <a:pt x="798282" y="765417"/>
                  <a:pt x="786229" y="761399"/>
                </a:cubicBezTo>
                <a:lnTo>
                  <a:pt x="754516" y="750828"/>
                </a:lnTo>
                <a:cubicBezTo>
                  <a:pt x="749230" y="749066"/>
                  <a:pt x="744064" y="746893"/>
                  <a:pt x="738659" y="745542"/>
                </a:cubicBezTo>
                <a:lnTo>
                  <a:pt x="717517" y="740257"/>
                </a:lnTo>
                <a:cubicBezTo>
                  <a:pt x="713993" y="734971"/>
                  <a:pt x="707990" y="730666"/>
                  <a:pt x="706946" y="724400"/>
                </a:cubicBezTo>
                <a:cubicBezTo>
                  <a:pt x="706030" y="718904"/>
                  <a:pt x="712846" y="714080"/>
                  <a:pt x="712231" y="708543"/>
                </a:cubicBezTo>
                <a:cubicBezTo>
                  <a:pt x="708436" y="674390"/>
                  <a:pt x="707962" y="678931"/>
                  <a:pt x="685804" y="671545"/>
                </a:cubicBezTo>
                <a:cubicBezTo>
                  <a:pt x="687566" y="657450"/>
                  <a:pt x="682943" y="640897"/>
                  <a:pt x="691089" y="629260"/>
                </a:cubicBezTo>
                <a:cubicBezTo>
                  <a:pt x="697479" y="620131"/>
                  <a:pt x="722802" y="618689"/>
                  <a:pt x="722802" y="618689"/>
                </a:cubicBezTo>
                <a:cubicBezTo>
                  <a:pt x="760160" y="626161"/>
                  <a:pt x="740703" y="621133"/>
                  <a:pt x="780943" y="634546"/>
                </a:cubicBezTo>
                <a:lnTo>
                  <a:pt x="796800" y="639831"/>
                </a:lnTo>
                <a:cubicBezTo>
                  <a:pt x="814419" y="638069"/>
                  <a:pt x="832155" y="637238"/>
                  <a:pt x="849656" y="634546"/>
                </a:cubicBezTo>
                <a:cubicBezTo>
                  <a:pt x="855163" y="633699"/>
                  <a:pt x="860155" y="630791"/>
                  <a:pt x="865512" y="629260"/>
                </a:cubicBezTo>
                <a:cubicBezTo>
                  <a:pt x="872497" y="627264"/>
                  <a:pt x="879696" y="626062"/>
                  <a:pt x="886654" y="623975"/>
                </a:cubicBezTo>
                <a:cubicBezTo>
                  <a:pt x="897327" y="620773"/>
                  <a:pt x="918368" y="613404"/>
                  <a:pt x="918368" y="613404"/>
                </a:cubicBezTo>
                <a:cubicBezTo>
                  <a:pt x="936818" y="594952"/>
                  <a:pt x="924211" y="604408"/>
                  <a:pt x="960652" y="592261"/>
                </a:cubicBezTo>
                <a:lnTo>
                  <a:pt x="960652" y="592261"/>
                </a:lnTo>
                <a:lnTo>
                  <a:pt x="976509" y="581690"/>
                </a:lnTo>
                <a:cubicBezTo>
                  <a:pt x="980033" y="576405"/>
                  <a:pt x="983013" y="570714"/>
                  <a:pt x="987080" y="565834"/>
                </a:cubicBezTo>
                <a:cubicBezTo>
                  <a:pt x="1000362" y="549896"/>
                  <a:pt x="1015132" y="549770"/>
                  <a:pt x="997651" y="523549"/>
                </a:cubicBezTo>
                <a:cubicBezTo>
                  <a:pt x="994560" y="518913"/>
                  <a:pt x="987080" y="520026"/>
                  <a:pt x="981794" y="518264"/>
                </a:cubicBezTo>
                <a:cubicBezTo>
                  <a:pt x="973337" y="512626"/>
                  <a:pt x="956777" y="504522"/>
                  <a:pt x="955367" y="491836"/>
                </a:cubicBezTo>
                <a:cubicBezTo>
                  <a:pt x="954183" y="481185"/>
                  <a:pt x="958053" y="470520"/>
                  <a:pt x="960652" y="460123"/>
                </a:cubicBezTo>
                <a:cubicBezTo>
                  <a:pt x="966168" y="438057"/>
                  <a:pt x="968320" y="425060"/>
                  <a:pt x="987080" y="412553"/>
                </a:cubicBezTo>
                <a:cubicBezTo>
                  <a:pt x="991716" y="409462"/>
                  <a:pt x="997651" y="409029"/>
                  <a:pt x="1002937" y="407267"/>
                </a:cubicBezTo>
                <a:cubicBezTo>
                  <a:pt x="1006461" y="401982"/>
                  <a:pt x="1013508" y="397763"/>
                  <a:pt x="1013508" y="391411"/>
                </a:cubicBezTo>
                <a:cubicBezTo>
                  <a:pt x="1013508" y="386428"/>
                  <a:pt x="1005166" y="385296"/>
                  <a:pt x="1002937" y="380839"/>
                </a:cubicBezTo>
                <a:cubicBezTo>
                  <a:pt x="999688" y="374342"/>
                  <a:pt x="999647" y="366682"/>
                  <a:pt x="997651" y="359697"/>
                </a:cubicBezTo>
                <a:cubicBezTo>
                  <a:pt x="996120" y="354340"/>
                  <a:pt x="994127" y="349126"/>
                  <a:pt x="992365" y="343841"/>
                </a:cubicBezTo>
                <a:cubicBezTo>
                  <a:pt x="997651" y="342079"/>
                  <a:pt x="1002817" y="339906"/>
                  <a:pt x="1008222" y="338555"/>
                </a:cubicBezTo>
                <a:lnTo>
                  <a:pt x="1050507" y="327984"/>
                </a:lnTo>
                <a:cubicBezTo>
                  <a:pt x="1054031" y="322698"/>
                  <a:pt x="1060446" y="318448"/>
                  <a:pt x="1061078" y="312127"/>
                </a:cubicBezTo>
                <a:cubicBezTo>
                  <a:pt x="1067119" y="251707"/>
                  <a:pt x="1038792" y="273914"/>
                  <a:pt x="981794" y="269843"/>
                </a:cubicBezTo>
                <a:cubicBezTo>
                  <a:pt x="980032" y="262796"/>
                  <a:pt x="976509" y="255965"/>
                  <a:pt x="976509" y="248701"/>
                </a:cubicBezTo>
                <a:cubicBezTo>
                  <a:pt x="976509" y="237758"/>
                  <a:pt x="987020" y="225005"/>
                  <a:pt x="992365" y="216987"/>
                </a:cubicBezTo>
                <a:cubicBezTo>
                  <a:pt x="981794" y="209940"/>
                  <a:pt x="972705" y="199863"/>
                  <a:pt x="960652" y="195845"/>
                </a:cubicBezTo>
                <a:cubicBezTo>
                  <a:pt x="944096" y="190326"/>
                  <a:pt x="925376" y="183185"/>
                  <a:pt x="907797" y="179989"/>
                </a:cubicBezTo>
                <a:cubicBezTo>
                  <a:pt x="895540" y="177760"/>
                  <a:pt x="883131" y="176465"/>
                  <a:pt x="870798" y="174703"/>
                </a:cubicBezTo>
                <a:cubicBezTo>
                  <a:pt x="866014" y="171514"/>
                  <a:pt x="839085" y="155059"/>
                  <a:pt x="839085" y="148275"/>
                </a:cubicBezTo>
                <a:cubicBezTo>
                  <a:pt x="839085" y="141923"/>
                  <a:pt x="849656" y="141228"/>
                  <a:pt x="854941" y="137704"/>
                </a:cubicBezTo>
                <a:cubicBezTo>
                  <a:pt x="856703" y="132419"/>
                  <a:pt x="861320" y="127311"/>
                  <a:pt x="860227" y="121848"/>
                </a:cubicBezTo>
                <a:cubicBezTo>
                  <a:pt x="859250" y="116961"/>
                  <a:pt x="853547" y="114389"/>
                  <a:pt x="849656" y="111276"/>
                </a:cubicBezTo>
                <a:cubicBezTo>
                  <a:pt x="835019" y="99566"/>
                  <a:pt x="834689" y="101002"/>
                  <a:pt x="817942" y="95420"/>
                </a:cubicBezTo>
                <a:cubicBezTo>
                  <a:pt x="807371" y="97182"/>
                  <a:pt x="796396" y="97316"/>
                  <a:pt x="786229" y="100705"/>
                </a:cubicBezTo>
                <a:cubicBezTo>
                  <a:pt x="780202" y="102714"/>
                  <a:pt x="775887" y="108124"/>
                  <a:pt x="770372" y="111276"/>
                </a:cubicBezTo>
                <a:cubicBezTo>
                  <a:pt x="763531" y="115185"/>
                  <a:pt x="756546" y="118922"/>
                  <a:pt x="749230" y="121848"/>
                </a:cubicBezTo>
                <a:cubicBezTo>
                  <a:pt x="727783" y="130427"/>
                  <a:pt x="717142" y="132513"/>
                  <a:pt x="696375" y="137704"/>
                </a:cubicBezTo>
                <a:cubicBezTo>
                  <a:pt x="669947" y="135942"/>
                  <a:pt x="643432" y="135192"/>
                  <a:pt x="617091" y="132419"/>
                </a:cubicBezTo>
                <a:cubicBezTo>
                  <a:pt x="607396" y="131398"/>
                  <a:pt x="589917" y="125122"/>
                  <a:pt x="580093" y="121848"/>
                </a:cubicBezTo>
                <a:cubicBezTo>
                  <a:pt x="574807" y="118324"/>
                  <a:pt x="570041" y="113856"/>
                  <a:pt x="564236" y="111276"/>
                </a:cubicBezTo>
                <a:cubicBezTo>
                  <a:pt x="554054" y="106750"/>
                  <a:pt x="532523" y="100705"/>
                  <a:pt x="532523" y="100705"/>
                </a:cubicBezTo>
                <a:cubicBezTo>
                  <a:pt x="502571" y="102467"/>
                  <a:pt x="472671" y="105991"/>
                  <a:pt x="442668" y="105991"/>
                </a:cubicBezTo>
                <a:cubicBezTo>
                  <a:pt x="437097" y="105991"/>
                  <a:pt x="430752" y="104645"/>
                  <a:pt x="426812" y="100705"/>
                </a:cubicBezTo>
                <a:cubicBezTo>
                  <a:pt x="398623" y="72516"/>
                  <a:pt x="447953" y="93659"/>
                  <a:pt x="405670" y="79563"/>
                </a:cubicBezTo>
                <a:cubicBezTo>
                  <a:pt x="388090" y="61984"/>
                  <a:pt x="403256" y="73998"/>
                  <a:pt x="379242" y="63706"/>
                </a:cubicBezTo>
                <a:cubicBezTo>
                  <a:pt x="333541" y="44119"/>
                  <a:pt x="379418" y="60240"/>
                  <a:pt x="342243" y="47850"/>
                </a:cubicBezTo>
                <a:cubicBezTo>
                  <a:pt x="296994" y="50511"/>
                  <a:pt x="254329" y="51050"/>
                  <a:pt x="210104" y="58421"/>
                </a:cubicBezTo>
                <a:cubicBezTo>
                  <a:pt x="196825" y="60634"/>
                  <a:pt x="185677" y="64801"/>
                  <a:pt x="173105" y="68992"/>
                </a:cubicBezTo>
                <a:cubicBezTo>
                  <a:pt x="167053" y="111358"/>
                  <a:pt x="164112" y="110879"/>
                  <a:pt x="173105" y="158846"/>
                </a:cubicBezTo>
                <a:cubicBezTo>
                  <a:pt x="175158" y="169798"/>
                  <a:pt x="183676" y="190560"/>
                  <a:pt x="183676" y="190560"/>
                </a:cubicBezTo>
                <a:cubicBezTo>
                  <a:pt x="181914" y="202893"/>
                  <a:pt x="186039" y="217725"/>
                  <a:pt x="178391" y="227559"/>
                </a:cubicBezTo>
                <a:cubicBezTo>
                  <a:pt x="171550" y="236355"/>
                  <a:pt x="146678" y="238130"/>
                  <a:pt x="146678" y="238130"/>
                </a:cubicBezTo>
                <a:cubicBezTo>
                  <a:pt x="134345" y="236368"/>
                  <a:pt x="121063" y="237904"/>
                  <a:pt x="109679" y="232844"/>
                </a:cubicBezTo>
                <a:cubicBezTo>
                  <a:pt x="101661" y="229281"/>
                  <a:pt x="96167" y="208166"/>
                  <a:pt x="93822" y="201131"/>
                </a:cubicBezTo>
                <a:cubicBezTo>
                  <a:pt x="95584" y="195845"/>
                  <a:pt x="96913" y="190395"/>
                  <a:pt x="99108" y="185274"/>
                </a:cubicBezTo>
                <a:cubicBezTo>
                  <a:pt x="107155" y="166497"/>
                  <a:pt x="109634" y="164200"/>
                  <a:pt x="120250" y="148275"/>
                </a:cubicBezTo>
                <a:cubicBezTo>
                  <a:pt x="118488" y="118324"/>
                  <a:pt x="117949" y="88275"/>
                  <a:pt x="114964" y="58421"/>
                </a:cubicBezTo>
                <a:cubicBezTo>
                  <a:pt x="109122" y="0"/>
                  <a:pt x="113203" y="27589"/>
                  <a:pt x="109679" y="26708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4152900" y="660403"/>
            <a:ext cx="382588" cy="556684"/>
          </a:xfrm>
          <a:custGeom>
            <a:avLst/>
            <a:gdLst>
              <a:gd name="connsiteX0" fmla="*/ 350234 w 381947"/>
              <a:gd name="connsiteY0" fmla="*/ 184994 h 554982"/>
              <a:gd name="connsiteX1" fmla="*/ 344948 w 381947"/>
              <a:gd name="connsiteY1" fmla="*/ 211422 h 554982"/>
              <a:gd name="connsiteX2" fmla="*/ 339663 w 381947"/>
              <a:gd name="connsiteY2" fmla="*/ 227278 h 554982"/>
              <a:gd name="connsiteX3" fmla="*/ 318521 w 381947"/>
              <a:gd name="connsiteY3" fmla="*/ 237849 h 554982"/>
              <a:gd name="connsiteX4" fmla="*/ 292093 w 381947"/>
              <a:gd name="connsiteY4" fmla="*/ 253706 h 554982"/>
              <a:gd name="connsiteX5" fmla="*/ 281522 w 381947"/>
              <a:gd name="connsiteY5" fmla="*/ 285419 h 554982"/>
              <a:gd name="connsiteX6" fmla="*/ 276236 w 381947"/>
              <a:gd name="connsiteY6" fmla="*/ 301276 h 554982"/>
              <a:gd name="connsiteX7" fmla="*/ 265665 w 381947"/>
              <a:gd name="connsiteY7" fmla="*/ 317133 h 554982"/>
              <a:gd name="connsiteX8" fmla="*/ 270951 w 381947"/>
              <a:gd name="connsiteY8" fmla="*/ 359417 h 554982"/>
              <a:gd name="connsiteX9" fmla="*/ 302664 w 381947"/>
              <a:gd name="connsiteY9" fmla="*/ 380559 h 554982"/>
              <a:gd name="connsiteX10" fmla="*/ 318521 w 381947"/>
              <a:gd name="connsiteY10" fmla="*/ 391130 h 554982"/>
              <a:gd name="connsiteX11" fmla="*/ 329092 w 381947"/>
              <a:gd name="connsiteY11" fmla="*/ 406987 h 554982"/>
              <a:gd name="connsiteX12" fmla="*/ 334377 w 381947"/>
              <a:gd name="connsiteY12" fmla="*/ 433415 h 554982"/>
              <a:gd name="connsiteX13" fmla="*/ 366091 w 381947"/>
              <a:gd name="connsiteY13" fmla="*/ 454557 h 554982"/>
              <a:gd name="connsiteX14" fmla="*/ 376662 w 381947"/>
              <a:gd name="connsiteY14" fmla="*/ 486270 h 554982"/>
              <a:gd name="connsiteX15" fmla="*/ 381947 w 381947"/>
              <a:gd name="connsiteY15" fmla="*/ 502127 h 554982"/>
              <a:gd name="connsiteX16" fmla="*/ 366091 w 381947"/>
              <a:gd name="connsiteY16" fmla="*/ 512698 h 554982"/>
              <a:gd name="connsiteX17" fmla="*/ 323806 w 381947"/>
              <a:gd name="connsiteY17" fmla="*/ 523269 h 554982"/>
              <a:gd name="connsiteX18" fmla="*/ 276236 w 381947"/>
              <a:gd name="connsiteY18" fmla="*/ 533840 h 554982"/>
              <a:gd name="connsiteX19" fmla="*/ 228666 w 381947"/>
              <a:gd name="connsiteY19" fmla="*/ 549697 h 554982"/>
              <a:gd name="connsiteX20" fmla="*/ 212810 w 381947"/>
              <a:gd name="connsiteY20" fmla="*/ 554982 h 554982"/>
              <a:gd name="connsiteX21" fmla="*/ 154669 w 381947"/>
              <a:gd name="connsiteY21" fmla="*/ 549697 h 554982"/>
              <a:gd name="connsiteX22" fmla="*/ 138812 w 381947"/>
              <a:gd name="connsiteY22" fmla="*/ 544411 h 554982"/>
              <a:gd name="connsiteX23" fmla="*/ 128241 w 381947"/>
              <a:gd name="connsiteY23" fmla="*/ 528555 h 554982"/>
              <a:gd name="connsiteX24" fmla="*/ 117670 w 381947"/>
              <a:gd name="connsiteY24" fmla="*/ 517983 h 554982"/>
              <a:gd name="connsiteX25" fmla="*/ 112384 w 381947"/>
              <a:gd name="connsiteY25" fmla="*/ 480985 h 554982"/>
              <a:gd name="connsiteX26" fmla="*/ 107099 w 381947"/>
              <a:gd name="connsiteY26" fmla="*/ 459842 h 554982"/>
              <a:gd name="connsiteX27" fmla="*/ 112384 w 381947"/>
              <a:gd name="connsiteY27" fmla="*/ 391130 h 554982"/>
              <a:gd name="connsiteX28" fmla="*/ 128241 w 381947"/>
              <a:gd name="connsiteY28" fmla="*/ 343560 h 554982"/>
              <a:gd name="connsiteX29" fmla="*/ 133526 w 381947"/>
              <a:gd name="connsiteY29" fmla="*/ 327704 h 554982"/>
              <a:gd name="connsiteX30" fmla="*/ 128241 w 381947"/>
              <a:gd name="connsiteY30" fmla="*/ 311847 h 554982"/>
              <a:gd name="connsiteX31" fmla="*/ 117670 w 381947"/>
              <a:gd name="connsiteY31" fmla="*/ 295990 h 554982"/>
              <a:gd name="connsiteX32" fmla="*/ 112384 w 381947"/>
              <a:gd name="connsiteY32" fmla="*/ 258992 h 554982"/>
              <a:gd name="connsiteX33" fmla="*/ 101813 w 381947"/>
              <a:gd name="connsiteY33" fmla="*/ 248420 h 554982"/>
              <a:gd name="connsiteX34" fmla="*/ 59529 w 381947"/>
              <a:gd name="connsiteY34" fmla="*/ 232564 h 554982"/>
              <a:gd name="connsiteX35" fmla="*/ 43672 w 381947"/>
              <a:gd name="connsiteY35" fmla="*/ 221993 h 554982"/>
              <a:gd name="connsiteX36" fmla="*/ 27815 w 381947"/>
              <a:gd name="connsiteY36" fmla="*/ 216707 h 554982"/>
              <a:gd name="connsiteX37" fmla="*/ 17244 w 381947"/>
              <a:gd name="connsiteY37" fmla="*/ 200851 h 554982"/>
              <a:gd name="connsiteX38" fmla="*/ 17244 w 381947"/>
              <a:gd name="connsiteY38" fmla="*/ 121567 h 554982"/>
              <a:gd name="connsiteX39" fmla="*/ 48958 w 381947"/>
              <a:gd name="connsiteY39" fmla="*/ 110996 h 554982"/>
              <a:gd name="connsiteX40" fmla="*/ 59529 w 381947"/>
              <a:gd name="connsiteY40" fmla="*/ 95140 h 554982"/>
              <a:gd name="connsiteX41" fmla="*/ 43672 w 381947"/>
              <a:gd name="connsiteY41" fmla="*/ 63426 h 554982"/>
              <a:gd name="connsiteX42" fmla="*/ 64814 w 381947"/>
              <a:gd name="connsiteY42" fmla="*/ 36998 h 554982"/>
              <a:gd name="connsiteX43" fmla="*/ 96528 w 381947"/>
              <a:gd name="connsiteY43" fmla="*/ 26427 h 554982"/>
              <a:gd name="connsiteX44" fmla="*/ 128241 w 381947"/>
              <a:gd name="connsiteY44" fmla="*/ 0 h 554982"/>
              <a:gd name="connsiteX45" fmla="*/ 144097 w 381947"/>
              <a:gd name="connsiteY45" fmla="*/ 10571 h 554982"/>
              <a:gd name="connsiteX46" fmla="*/ 170525 w 381947"/>
              <a:gd name="connsiteY46" fmla="*/ 31713 h 554982"/>
              <a:gd name="connsiteX47" fmla="*/ 202238 w 381947"/>
              <a:gd name="connsiteY47" fmla="*/ 52855 h 554982"/>
              <a:gd name="connsiteX48" fmla="*/ 218095 w 381947"/>
              <a:gd name="connsiteY48" fmla="*/ 84568 h 554982"/>
              <a:gd name="connsiteX49" fmla="*/ 223381 w 381947"/>
              <a:gd name="connsiteY49" fmla="*/ 126853 h 554982"/>
              <a:gd name="connsiteX50" fmla="*/ 286807 w 381947"/>
              <a:gd name="connsiteY50" fmla="*/ 132138 h 554982"/>
              <a:gd name="connsiteX51" fmla="*/ 313235 w 381947"/>
              <a:gd name="connsiteY51" fmla="*/ 153281 h 554982"/>
              <a:gd name="connsiteX52" fmla="*/ 350234 w 381947"/>
              <a:gd name="connsiteY52" fmla="*/ 184994 h 554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381947" h="554982">
                <a:moveTo>
                  <a:pt x="350234" y="184994"/>
                </a:moveTo>
                <a:cubicBezTo>
                  <a:pt x="355519" y="194684"/>
                  <a:pt x="347127" y="202706"/>
                  <a:pt x="344948" y="211422"/>
                </a:cubicBezTo>
                <a:cubicBezTo>
                  <a:pt x="343597" y="216827"/>
                  <a:pt x="343602" y="223339"/>
                  <a:pt x="339663" y="227278"/>
                </a:cubicBezTo>
                <a:cubicBezTo>
                  <a:pt x="334092" y="232849"/>
                  <a:pt x="325077" y="233479"/>
                  <a:pt x="318521" y="237849"/>
                </a:cubicBezTo>
                <a:cubicBezTo>
                  <a:pt x="289498" y="257197"/>
                  <a:pt x="328900" y="241436"/>
                  <a:pt x="292093" y="253706"/>
                </a:cubicBezTo>
                <a:lnTo>
                  <a:pt x="281522" y="285419"/>
                </a:lnTo>
                <a:cubicBezTo>
                  <a:pt x="279760" y="290705"/>
                  <a:pt x="279327" y="296640"/>
                  <a:pt x="276236" y="301276"/>
                </a:cubicBezTo>
                <a:lnTo>
                  <a:pt x="265665" y="317133"/>
                </a:lnTo>
                <a:cubicBezTo>
                  <a:pt x="267427" y="331228"/>
                  <a:pt x="263794" y="347148"/>
                  <a:pt x="270951" y="359417"/>
                </a:cubicBezTo>
                <a:cubicBezTo>
                  <a:pt x="277353" y="370391"/>
                  <a:pt x="292093" y="373512"/>
                  <a:pt x="302664" y="380559"/>
                </a:cubicBezTo>
                <a:lnTo>
                  <a:pt x="318521" y="391130"/>
                </a:lnTo>
                <a:cubicBezTo>
                  <a:pt x="322045" y="396416"/>
                  <a:pt x="326862" y="401039"/>
                  <a:pt x="329092" y="406987"/>
                </a:cubicBezTo>
                <a:cubicBezTo>
                  <a:pt x="332246" y="415399"/>
                  <a:pt x="328861" y="426324"/>
                  <a:pt x="334377" y="433415"/>
                </a:cubicBezTo>
                <a:cubicBezTo>
                  <a:pt x="342177" y="443444"/>
                  <a:pt x="366091" y="454557"/>
                  <a:pt x="366091" y="454557"/>
                </a:cubicBezTo>
                <a:lnTo>
                  <a:pt x="376662" y="486270"/>
                </a:lnTo>
                <a:lnTo>
                  <a:pt x="381947" y="502127"/>
                </a:lnTo>
                <a:cubicBezTo>
                  <a:pt x="376662" y="505651"/>
                  <a:pt x="372061" y="510527"/>
                  <a:pt x="366091" y="512698"/>
                </a:cubicBezTo>
                <a:cubicBezTo>
                  <a:pt x="352437" y="517663"/>
                  <a:pt x="338053" y="520419"/>
                  <a:pt x="323806" y="523269"/>
                </a:cubicBezTo>
                <a:cubicBezTo>
                  <a:pt x="308728" y="526285"/>
                  <a:pt x="291157" y="529364"/>
                  <a:pt x="276236" y="533840"/>
                </a:cubicBezTo>
                <a:cubicBezTo>
                  <a:pt x="276203" y="533850"/>
                  <a:pt x="236611" y="547049"/>
                  <a:pt x="228666" y="549697"/>
                </a:cubicBezTo>
                <a:lnTo>
                  <a:pt x="212810" y="554982"/>
                </a:lnTo>
                <a:cubicBezTo>
                  <a:pt x="193430" y="553220"/>
                  <a:pt x="173934" y="552449"/>
                  <a:pt x="154669" y="549697"/>
                </a:cubicBezTo>
                <a:cubicBezTo>
                  <a:pt x="149153" y="548909"/>
                  <a:pt x="143163" y="547892"/>
                  <a:pt x="138812" y="544411"/>
                </a:cubicBezTo>
                <a:cubicBezTo>
                  <a:pt x="133852" y="540443"/>
                  <a:pt x="132209" y="533515"/>
                  <a:pt x="128241" y="528555"/>
                </a:cubicBezTo>
                <a:cubicBezTo>
                  <a:pt x="125128" y="524664"/>
                  <a:pt x="121194" y="521507"/>
                  <a:pt x="117670" y="517983"/>
                </a:cubicBezTo>
                <a:cubicBezTo>
                  <a:pt x="115908" y="505650"/>
                  <a:pt x="114613" y="493242"/>
                  <a:pt x="112384" y="480985"/>
                </a:cubicBezTo>
                <a:cubicBezTo>
                  <a:pt x="111084" y="473838"/>
                  <a:pt x="107099" y="467107"/>
                  <a:pt x="107099" y="459842"/>
                </a:cubicBezTo>
                <a:cubicBezTo>
                  <a:pt x="107099" y="436870"/>
                  <a:pt x="108801" y="413821"/>
                  <a:pt x="112384" y="391130"/>
                </a:cubicBezTo>
                <a:cubicBezTo>
                  <a:pt x="112385" y="391124"/>
                  <a:pt x="125597" y="351491"/>
                  <a:pt x="128241" y="343560"/>
                </a:cubicBezTo>
                <a:lnTo>
                  <a:pt x="133526" y="327704"/>
                </a:lnTo>
                <a:cubicBezTo>
                  <a:pt x="131764" y="322418"/>
                  <a:pt x="130733" y="316830"/>
                  <a:pt x="128241" y="311847"/>
                </a:cubicBezTo>
                <a:cubicBezTo>
                  <a:pt x="125400" y="306165"/>
                  <a:pt x="119495" y="302075"/>
                  <a:pt x="117670" y="295990"/>
                </a:cubicBezTo>
                <a:cubicBezTo>
                  <a:pt x="114090" y="284058"/>
                  <a:pt x="116324" y="270811"/>
                  <a:pt x="112384" y="258992"/>
                </a:cubicBezTo>
                <a:cubicBezTo>
                  <a:pt x="110808" y="254264"/>
                  <a:pt x="106140" y="250893"/>
                  <a:pt x="101813" y="248420"/>
                </a:cubicBezTo>
                <a:cubicBezTo>
                  <a:pt x="92965" y="243364"/>
                  <a:pt x="71026" y="236396"/>
                  <a:pt x="59529" y="232564"/>
                </a:cubicBezTo>
                <a:cubicBezTo>
                  <a:pt x="54243" y="229040"/>
                  <a:pt x="49354" y="224834"/>
                  <a:pt x="43672" y="221993"/>
                </a:cubicBezTo>
                <a:cubicBezTo>
                  <a:pt x="38689" y="219501"/>
                  <a:pt x="32166" y="220188"/>
                  <a:pt x="27815" y="216707"/>
                </a:cubicBezTo>
                <a:cubicBezTo>
                  <a:pt x="22855" y="212739"/>
                  <a:pt x="20768" y="206136"/>
                  <a:pt x="17244" y="200851"/>
                </a:cubicBezTo>
                <a:cubicBezTo>
                  <a:pt x="8270" y="173925"/>
                  <a:pt x="0" y="156054"/>
                  <a:pt x="17244" y="121567"/>
                </a:cubicBezTo>
                <a:cubicBezTo>
                  <a:pt x="22227" y="111600"/>
                  <a:pt x="48958" y="110996"/>
                  <a:pt x="48958" y="110996"/>
                </a:cubicBezTo>
                <a:cubicBezTo>
                  <a:pt x="52482" y="105711"/>
                  <a:pt x="58485" y="101406"/>
                  <a:pt x="59529" y="95140"/>
                </a:cubicBezTo>
                <a:cubicBezTo>
                  <a:pt x="60988" y="86387"/>
                  <a:pt x="47353" y="68948"/>
                  <a:pt x="43672" y="63426"/>
                </a:cubicBezTo>
                <a:cubicBezTo>
                  <a:pt x="49404" y="46233"/>
                  <a:pt x="46105" y="45313"/>
                  <a:pt x="64814" y="36998"/>
                </a:cubicBezTo>
                <a:cubicBezTo>
                  <a:pt x="74997" y="32472"/>
                  <a:pt x="96528" y="26427"/>
                  <a:pt x="96528" y="26427"/>
                </a:cubicBezTo>
                <a:cubicBezTo>
                  <a:pt x="99559" y="23396"/>
                  <a:pt x="120882" y="0"/>
                  <a:pt x="128241" y="0"/>
                </a:cubicBezTo>
                <a:cubicBezTo>
                  <a:pt x="134593" y="0"/>
                  <a:pt x="138812" y="7047"/>
                  <a:pt x="144097" y="10571"/>
                </a:cubicBezTo>
                <a:cubicBezTo>
                  <a:pt x="167742" y="46034"/>
                  <a:pt x="139888" y="11287"/>
                  <a:pt x="170525" y="31713"/>
                </a:cubicBezTo>
                <a:cubicBezTo>
                  <a:pt x="210113" y="58106"/>
                  <a:pt x="164540" y="40290"/>
                  <a:pt x="202238" y="52855"/>
                </a:cubicBezTo>
                <a:cubicBezTo>
                  <a:pt x="210703" y="65552"/>
                  <a:pt x="215359" y="69522"/>
                  <a:pt x="218095" y="84568"/>
                </a:cubicBezTo>
                <a:cubicBezTo>
                  <a:pt x="220636" y="98544"/>
                  <a:pt x="211702" y="118768"/>
                  <a:pt x="223381" y="126853"/>
                </a:cubicBezTo>
                <a:cubicBezTo>
                  <a:pt x="240824" y="138929"/>
                  <a:pt x="265665" y="130376"/>
                  <a:pt x="286807" y="132138"/>
                </a:cubicBezTo>
                <a:cubicBezTo>
                  <a:pt x="297213" y="139075"/>
                  <a:pt x="305702" y="143236"/>
                  <a:pt x="313235" y="153281"/>
                </a:cubicBezTo>
                <a:cubicBezTo>
                  <a:pt x="341226" y="190604"/>
                  <a:pt x="344949" y="175304"/>
                  <a:pt x="350234" y="184994"/>
                </a:cubicBezTo>
                <a:close/>
              </a:path>
            </a:pathLst>
          </a:cu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6" name="Freeform 35"/>
          <p:cNvSpPr/>
          <p:nvPr/>
        </p:nvSpPr>
        <p:spPr>
          <a:xfrm>
            <a:off x="4410075" y="827623"/>
            <a:ext cx="350838" cy="351367"/>
          </a:xfrm>
          <a:custGeom>
            <a:avLst/>
            <a:gdLst>
              <a:gd name="connsiteX0" fmla="*/ 331176 w 351437"/>
              <a:gd name="connsiteY0" fmla="*/ 38756 h 350603"/>
              <a:gd name="connsiteX1" fmla="*/ 310033 w 351437"/>
              <a:gd name="connsiteY1" fmla="*/ 65184 h 350603"/>
              <a:gd name="connsiteX2" fmla="*/ 299462 w 351437"/>
              <a:gd name="connsiteY2" fmla="*/ 81040 h 350603"/>
              <a:gd name="connsiteX3" fmla="*/ 315319 w 351437"/>
              <a:gd name="connsiteY3" fmla="*/ 197323 h 350603"/>
              <a:gd name="connsiteX4" fmla="*/ 320604 w 351437"/>
              <a:gd name="connsiteY4" fmla="*/ 250178 h 350603"/>
              <a:gd name="connsiteX5" fmla="*/ 304748 w 351437"/>
              <a:gd name="connsiteY5" fmla="*/ 260749 h 350603"/>
              <a:gd name="connsiteX6" fmla="*/ 294177 w 351437"/>
              <a:gd name="connsiteY6" fmla="*/ 276606 h 350603"/>
              <a:gd name="connsiteX7" fmla="*/ 220179 w 351437"/>
              <a:gd name="connsiteY7" fmla="*/ 308319 h 350603"/>
              <a:gd name="connsiteX8" fmla="*/ 183180 w 351437"/>
              <a:gd name="connsiteY8" fmla="*/ 324176 h 350603"/>
              <a:gd name="connsiteX9" fmla="*/ 167324 w 351437"/>
              <a:gd name="connsiteY9" fmla="*/ 334747 h 350603"/>
              <a:gd name="connsiteX10" fmla="*/ 156752 w 351437"/>
              <a:gd name="connsiteY10" fmla="*/ 345318 h 350603"/>
              <a:gd name="connsiteX11" fmla="*/ 140896 w 351437"/>
              <a:gd name="connsiteY11" fmla="*/ 350603 h 350603"/>
              <a:gd name="connsiteX12" fmla="*/ 135610 w 351437"/>
              <a:gd name="connsiteY12" fmla="*/ 334747 h 350603"/>
              <a:gd name="connsiteX13" fmla="*/ 119754 w 351437"/>
              <a:gd name="connsiteY13" fmla="*/ 329461 h 350603"/>
              <a:gd name="connsiteX14" fmla="*/ 103897 w 351437"/>
              <a:gd name="connsiteY14" fmla="*/ 318890 h 350603"/>
              <a:gd name="connsiteX15" fmla="*/ 93326 w 351437"/>
              <a:gd name="connsiteY15" fmla="*/ 287177 h 350603"/>
              <a:gd name="connsiteX16" fmla="*/ 88040 w 351437"/>
              <a:gd name="connsiteY16" fmla="*/ 271320 h 350603"/>
              <a:gd name="connsiteX17" fmla="*/ 77469 w 351437"/>
              <a:gd name="connsiteY17" fmla="*/ 255464 h 350603"/>
              <a:gd name="connsiteX18" fmla="*/ 72184 w 351437"/>
              <a:gd name="connsiteY18" fmla="*/ 239607 h 350603"/>
              <a:gd name="connsiteX19" fmla="*/ 24614 w 351437"/>
              <a:gd name="connsiteY19" fmla="*/ 213179 h 350603"/>
              <a:gd name="connsiteX20" fmla="*/ 8757 w 351437"/>
              <a:gd name="connsiteY20" fmla="*/ 202608 h 350603"/>
              <a:gd name="connsiteX21" fmla="*/ 8757 w 351437"/>
              <a:gd name="connsiteY21" fmla="*/ 144467 h 350603"/>
              <a:gd name="connsiteX22" fmla="*/ 19328 w 351437"/>
              <a:gd name="connsiteY22" fmla="*/ 112754 h 350603"/>
              <a:gd name="connsiteX23" fmla="*/ 35185 w 351437"/>
              <a:gd name="connsiteY23" fmla="*/ 102183 h 350603"/>
              <a:gd name="connsiteX24" fmla="*/ 45756 w 351437"/>
              <a:gd name="connsiteY24" fmla="*/ 86326 h 350603"/>
              <a:gd name="connsiteX25" fmla="*/ 72184 w 351437"/>
              <a:gd name="connsiteY25" fmla="*/ 65184 h 350603"/>
              <a:gd name="connsiteX26" fmla="*/ 188466 w 351437"/>
              <a:gd name="connsiteY26" fmla="*/ 38756 h 350603"/>
              <a:gd name="connsiteX27" fmla="*/ 331176 w 351437"/>
              <a:gd name="connsiteY27" fmla="*/ 38756 h 350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51437" h="350603">
                <a:moveTo>
                  <a:pt x="331176" y="38756"/>
                </a:moveTo>
                <a:cubicBezTo>
                  <a:pt x="351437" y="43161"/>
                  <a:pt x="316802" y="56159"/>
                  <a:pt x="310033" y="65184"/>
                </a:cubicBezTo>
                <a:cubicBezTo>
                  <a:pt x="306222" y="70266"/>
                  <a:pt x="299750" y="74694"/>
                  <a:pt x="299462" y="81040"/>
                </a:cubicBezTo>
                <a:cubicBezTo>
                  <a:pt x="295278" y="173103"/>
                  <a:pt x="288012" y="156361"/>
                  <a:pt x="315319" y="197323"/>
                </a:cubicBezTo>
                <a:cubicBezTo>
                  <a:pt x="321380" y="215507"/>
                  <a:pt x="333030" y="231539"/>
                  <a:pt x="320604" y="250178"/>
                </a:cubicBezTo>
                <a:cubicBezTo>
                  <a:pt x="317080" y="255463"/>
                  <a:pt x="310033" y="257225"/>
                  <a:pt x="304748" y="260749"/>
                </a:cubicBezTo>
                <a:cubicBezTo>
                  <a:pt x="301224" y="266035"/>
                  <a:pt x="296408" y="270658"/>
                  <a:pt x="294177" y="276606"/>
                </a:cubicBezTo>
                <a:cubicBezTo>
                  <a:pt x="275565" y="326238"/>
                  <a:pt x="320403" y="300610"/>
                  <a:pt x="220179" y="308319"/>
                </a:cubicBezTo>
                <a:cubicBezTo>
                  <a:pt x="202390" y="314249"/>
                  <a:pt x="201466" y="313726"/>
                  <a:pt x="183180" y="324176"/>
                </a:cubicBezTo>
                <a:cubicBezTo>
                  <a:pt x="177665" y="327328"/>
                  <a:pt x="172284" y="330779"/>
                  <a:pt x="167324" y="334747"/>
                </a:cubicBezTo>
                <a:cubicBezTo>
                  <a:pt x="163433" y="337860"/>
                  <a:pt x="161025" y="342754"/>
                  <a:pt x="156752" y="345318"/>
                </a:cubicBezTo>
                <a:cubicBezTo>
                  <a:pt x="151975" y="348184"/>
                  <a:pt x="146181" y="348841"/>
                  <a:pt x="140896" y="350603"/>
                </a:cubicBezTo>
                <a:cubicBezTo>
                  <a:pt x="139134" y="345318"/>
                  <a:pt x="139550" y="338687"/>
                  <a:pt x="135610" y="334747"/>
                </a:cubicBezTo>
                <a:cubicBezTo>
                  <a:pt x="131670" y="330807"/>
                  <a:pt x="124737" y="331953"/>
                  <a:pt x="119754" y="329461"/>
                </a:cubicBezTo>
                <a:cubicBezTo>
                  <a:pt x="114072" y="326620"/>
                  <a:pt x="109183" y="322414"/>
                  <a:pt x="103897" y="318890"/>
                </a:cubicBezTo>
                <a:lnTo>
                  <a:pt x="93326" y="287177"/>
                </a:lnTo>
                <a:cubicBezTo>
                  <a:pt x="91564" y="281891"/>
                  <a:pt x="91131" y="275956"/>
                  <a:pt x="88040" y="271320"/>
                </a:cubicBezTo>
                <a:lnTo>
                  <a:pt x="77469" y="255464"/>
                </a:lnTo>
                <a:cubicBezTo>
                  <a:pt x="75707" y="250178"/>
                  <a:pt x="76124" y="243547"/>
                  <a:pt x="72184" y="239607"/>
                </a:cubicBezTo>
                <a:cubicBezTo>
                  <a:pt x="38858" y="206281"/>
                  <a:pt x="51197" y="226471"/>
                  <a:pt x="24614" y="213179"/>
                </a:cubicBezTo>
                <a:cubicBezTo>
                  <a:pt x="18932" y="210338"/>
                  <a:pt x="14043" y="206132"/>
                  <a:pt x="8757" y="202608"/>
                </a:cubicBezTo>
                <a:cubicBezTo>
                  <a:pt x="0" y="176334"/>
                  <a:pt x="182" y="184483"/>
                  <a:pt x="8757" y="144467"/>
                </a:cubicBezTo>
                <a:cubicBezTo>
                  <a:pt x="11092" y="133572"/>
                  <a:pt x="10057" y="118935"/>
                  <a:pt x="19328" y="112754"/>
                </a:cubicBezTo>
                <a:lnTo>
                  <a:pt x="35185" y="102183"/>
                </a:lnTo>
                <a:cubicBezTo>
                  <a:pt x="38709" y="96897"/>
                  <a:pt x="40796" y="90294"/>
                  <a:pt x="45756" y="86326"/>
                </a:cubicBezTo>
                <a:cubicBezTo>
                  <a:pt x="82230" y="57146"/>
                  <a:pt x="41888" y="110627"/>
                  <a:pt x="72184" y="65184"/>
                </a:cubicBezTo>
                <a:cubicBezTo>
                  <a:pt x="93912" y="0"/>
                  <a:pt x="71626" y="32915"/>
                  <a:pt x="188466" y="38756"/>
                </a:cubicBezTo>
                <a:cubicBezTo>
                  <a:pt x="241093" y="56301"/>
                  <a:pt x="310915" y="34351"/>
                  <a:pt x="331176" y="38756"/>
                </a:cubicBezTo>
                <a:close/>
              </a:path>
            </a:pathLst>
          </a:cu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7" name="Title 1"/>
          <p:cNvSpPr txBox="1">
            <a:spLocks/>
          </p:cNvSpPr>
          <p:nvPr/>
        </p:nvSpPr>
        <p:spPr>
          <a:xfrm>
            <a:off x="3429004" y="546100"/>
            <a:ext cx="785813" cy="4064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400" dirty="0" err="1">
                <a:latin typeface="Ramabhadra" pitchFamily="2" charset="0"/>
                <a:ea typeface="+mj-ea"/>
                <a:cs typeface="Ramabhadra" pitchFamily="2" charset="0"/>
              </a:rPr>
              <a:t>వెనిజులా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4703763" y="855138"/>
            <a:ext cx="258762" cy="319617"/>
          </a:xfrm>
          <a:custGeom>
            <a:avLst/>
            <a:gdLst>
              <a:gd name="connsiteX0" fmla="*/ 36999 w 258993"/>
              <a:gd name="connsiteY0" fmla="*/ 0 h 318037"/>
              <a:gd name="connsiteX1" fmla="*/ 31713 w 258993"/>
              <a:gd name="connsiteY1" fmla="*/ 26428 h 318037"/>
              <a:gd name="connsiteX2" fmla="*/ 15856 w 258993"/>
              <a:gd name="connsiteY2" fmla="*/ 36999 h 318037"/>
              <a:gd name="connsiteX3" fmla="*/ 5285 w 258993"/>
              <a:gd name="connsiteY3" fmla="*/ 68712 h 318037"/>
              <a:gd name="connsiteX4" fmla="*/ 0 w 258993"/>
              <a:gd name="connsiteY4" fmla="*/ 84569 h 318037"/>
              <a:gd name="connsiteX5" fmla="*/ 15856 w 258993"/>
              <a:gd name="connsiteY5" fmla="*/ 158566 h 318037"/>
              <a:gd name="connsiteX6" fmla="*/ 36999 w 258993"/>
              <a:gd name="connsiteY6" fmla="*/ 179709 h 318037"/>
              <a:gd name="connsiteX7" fmla="*/ 21142 w 258993"/>
              <a:gd name="connsiteY7" fmla="*/ 216707 h 318037"/>
              <a:gd name="connsiteX8" fmla="*/ 10571 w 258993"/>
              <a:gd name="connsiteY8" fmla="*/ 258992 h 318037"/>
              <a:gd name="connsiteX9" fmla="*/ 5285 w 258993"/>
              <a:gd name="connsiteY9" fmla="*/ 274849 h 318037"/>
              <a:gd name="connsiteX10" fmla="*/ 10571 w 258993"/>
              <a:gd name="connsiteY10" fmla="*/ 290705 h 318037"/>
              <a:gd name="connsiteX11" fmla="*/ 110996 w 258993"/>
              <a:gd name="connsiteY11" fmla="*/ 295991 h 318037"/>
              <a:gd name="connsiteX12" fmla="*/ 132138 w 258993"/>
              <a:gd name="connsiteY12" fmla="*/ 264277 h 318037"/>
              <a:gd name="connsiteX13" fmla="*/ 147995 w 258993"/>
              <a:gd name="connsiteY13" fmla="*/ 258992 h 318037"/>
              <a:gd name="connsiteX14" fmla="*/ 158566 w 258993"/>
              <a:gd name="connsiteY14" fmla="*/ 243135 h 318037"/>
              <a:gd name="connsiteX15" fmla="*/ 163852 w 258993"/>
              <a:gd name="connsiteY15" fmla="*/ 216707 h 318037"/>
              <a:gd name="connsiteX16" fmla="*/ 179708 w 258993"/>
              <a:gd name="connsiteY16" fmla="*/ 200851 h 318037"/>
              <a:gd name="connsiteX17" fmla="*/ 200851 w 258993"/>
              <a:gd name="connsiteY17" fmla="*/ 169138 h 318037"/>
              <a:gd name="connsiteX18" fmla="*/ 221993 w 258993"/>
              <a:gd name="connsiteY18" fmla="*/ 142710 h 318037"/>
              <a:gd name="connsiteX19" fmla="*/ 227278 w 258993"/>
              <a:gd name="connsiteY19" fmla="*/ 126853 h 318037"/>
              <a:gd name="connsiteX20" fmla="*/ 227278 w 258993"/>
              <a:gd name="connsiteY20" fmla="*/ 116282 h 318037"/>
              <a:gd name="connsiteX21" fmla="*/ 221993 w 258993"/>
              <a:gd name="connsiteY21" fmla="*/ 100425 h 318037"/>
              <a:gd name="connsiteX22" fmla="*/ 200851 w 258993"/>
              <a:gd name="connsiteY22" fmla="*/ 68712 h 318037"/>
              <a:gd name="connsiteX23" fmla="*/ 153281 w 258993"/>
              <a:gd name="connsiteY23" fmla="*/ 58141 h 318037"/>
              <a:gd name="connsiteX24" fmla="*/ 132138 w 258993"/>
              <a:gd name="connsiteY24" fmla="*/ 52855 h 318037"/>
              <a:gd name="connsiteX25" fmla="*/ 121567 w 258993"/>
              <a:gd name="connsiteY25" fmla="*/ 36999 h 318037"/>
              <a:gd name="connsiteX26" fmla="*/ 52855 w 258993"/>
              <a:gd name="connsiteY26" fmla="*/ 15857 h 318037"/>
              <a:gd name="connsiteX27" fmla="*/ 36999 w 258993"/>
              <a:gd name="connsiteY27" fmla="*/ 0 h 318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58993" h="318037">
                <a:moveTo>
                  <a:pt x="36999" y="0"/>
                </a:moveTo>
                <a:cubicBezTo>
                  <a:pt x="35237" y="8809"/>
                  <a:pt x="36170" y="18628"/>
                  <a:pt x="31713" y="26428"/>
                </a:cubicBezTo>
                <a:cubicBezTo>
                  <a:pt x="28561" y="31943"/>
                  <a:pt x="19223" y="31612"/>
                  <a:pt x="15856" y="36999"/>
                </a:cubicBezTo>
                <a:cubicBezTo>
                  <a:pt x="9950" y="46448"/>
                  <a:pt x="8809" y="58141"/>
                  <a:pt x="5285" y="68712"/>
                </a:cubicBezTo>
                <a:lnTo>
                  <a:pt x="0" y="84569"/>
                </a:lnTo>
                <a:cubicBezTo>
                  <a:pt x="1181" y="94022"/>
                  <a:pt x="5096" y="147806"/>
                  <a:pt x="15856" y="158566"/>
                </a:cubicBezTo>
                <a:lnTo>
                  <a:pt x="36999" y="179709"/>
                </a:lnTo>
                <a:cubicBezTo>
                  <a:pt x="25997" y="223711"/>
                  <a:pt x="39393" y="180206"/>
                  <a:pt x="21142" y="216707"/>
                </a:cubicBezTo>
                <a:cubicBezTo>
                  <a:pt x="15099" y="228792"/>
                  <a:pt x="13588" y="246924"/>
                  <a:pt x="10571" y="258992"/>
                </a:cubicBezTo>
                <a:cubicBezTo>
                  <a:pt x="9220" y="264397"/>
                  <a:pt x="7047" y="269563"/>
                  <a:pt x="5285" y="274849"/>
                </a:cubicBezTo>
                <a:cubicBezTo>
                  <a:pt x="7047" y="280134"/>
                  <a:pt x="7091" y="286355"/>
                  <a:pt x="10571" y="290705"/>
                </a:cubicBezTo>
                <a:cubicBezTo>
                  <a:pt x="32437" y="318037"/>
                  <a:pt x="97859" y="296812"/>
                  <a:pt x="110996" y="295991"/>
                </a:cubicBezTo>
                <a:cubicBezTo>
                  <a:pt x="116537" y="279368"/>
                  <a:pt x="115171" y="275588"/>
                  <a:pt x="132138" y="264277"/>
                </a:cubicBezTo>
                <a:cubicBezTo>
                  <a:pt x="136774" y="261186"/>
                  <a:pt x="142709" y="260754"/>
                  <a:pt x="147995" y="258992"/>
                </a:cubicBezTo>
                <a:cubicBezTo>
                  <a:pt x="151519" y="253706"/>
                  <a:pt x="156335" y="249083"/>
                  <a:pt x="158566" y="243135"/>
                </a:cubicBezTo>
                <a:cubicBezTo>
                  <a:pt x="161720" y="234723"/>
                  <a:pt x="159834" y="224742"/>
                  <a:pt x="163852" y="216707"/>
                </a:cubicBezTo>
                <a:cubicBezTo>
                  <a:pt x="167195" y="210022"/>
                  <a:pt x="175119" y="206751"/>
                  <a:pt x="179708" y="200851"/>
                </a:cubicBezTo>
                <a:cubicBezTo>
                  <a:pt x="187508" y="190822"/>
                  <a:pt x="191868" y="178122"/>
                  <a:pt x="200851" y="169138"/>
                </a:cubicBezTo>
                <a:cubicBezTo>
                  <a:pt x="215914" y="154074"/>
                  <a:pt x="208658" y="162712"/>
                  <a:pt x="221993" y="142710"/>
                </a:cubicBezTo>
                <a:cubicBezTo>
                  <a:pt x="223755" y="137424"/>
                  <a:pt x="223338" y="130793"/>
                  <a:pt x="227278" y="126853"/>
                </a:cubicBezTo>
                <a:cubicBezTo>
                  <a:pt x="237849" y="116282"/>
                  <a:pt x="258993" y="126854"/>
                  <a:pt x="227278" y="116282"/>
                </a:cubicBezTo>
                <a:cubicBezTo>
                  <a:pt x="225516" y="110996"/>
                  <a:pt x="224699" y="105295"/>
                  <a:pt x="221993" y="100425"/>
                </a:cubicBezTo>
                <a:cubicBezTo>
                  <a:pt x="215823" y="89319"/>
                  <a:pt x="213177" y="71793"/>
                  <a:pt x="200851" y="68712"/>
                </a:cubicBezTo>
                <a:cubicBezTo>
                  <a:pt x="149250" y="55814"/>
                  <a:pt x="213719" y="71573"/>
                  <a:pt x="153281" y="58141"/>
                </a:cubicBezTo>
                <a:cubicBezTo>
                  <a:pt x="146189" y="56565"/>
                  <a:pt x="139186" y="54617"/>
                  <a:pt x="132138" y="52855"/>
                </a:cubicBezTo>
                <a:cubicBezTo>
                  <a:pt x="128614" y="47570"/>
                  <a:pt x="126059" y="41491"/>
                  <a:pt x="121567" y="36999"/>
                </a:cubicBezTo>
                <a:cubicBezTo>
                  <a:pt x="103900" y="19332"/>
                  <a:pt x="75270" y="19059"/>
                  <a:pt x="52855" y="15857"/>
                </a:cubicBezTo>
                <a:lnTo>
                  <a:pt x="36999" y="0"/>
                </a:lnTo>
                <a:close/>
              </a:path>
            </a:pathLst>
          </a:custGeom>
          <a:solidFill>
            <a:srgbClr val="00B0F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3143250" y="903823"/>
            <a:ext cx="3109913" cy="3246967"/>
          </a:xfrm>
          <a:custGeom>
            <a:avLst/>
            <a:gdLst>
              <a:gd name="connsiteX0" fmla="*/ 1803776 w 3109883"/>
              <a:gd name="connsiteY0" fmla="*/ 69628 h 3246244"/>
              <a:gd name="connsiteX1" fmla="*/ 1814347 w 3109883"/>
              <a:gd name="connsiteY1" fmla="*/ 96056 h 3246244"/>
              <a:gd name="connsiteX2" fmla="*/ 1824918 w 3109883"/>
              <a:gd name="connsiteY2" fmla="*/ 127769 h 3246244"/>
              <a:gd name="connsiteX3" fmla="*/ 1851346 w 3109883"/>
              <a:gd name="connsiteY3" fmla="*/ 175339 h 3246244"/>
              <a:gd name="connsiteX4" fmla="*/ 1856631 w 3109883"/>
              <a:gd name="connsiteY4" fmla="*/ 238766 h 3246244"/>
              <a:gd name="connsiteX5" fmla="*/ 1867203 w 3109883"/>
              <a:gd name="connsiteY5" fmla="*/ 249337 h 3246244"/>
              <a:gd name="connsiteX6" fmla="*/ 1893630 w 3109883"/>
              <a:gd name="connsiteY6" fmla="*/ 275764 h 3246244"/>
              <a:gd name="connsiteX7" fmla="*/ 1898916 w 3109883"/>
              <a:gd name="connsiteY7" fmla="*/ 291621 h 3246244"/>
              <a:gd name="connsiteX8" fmla="*/ 1893630 w 3109883"/>
              <a:gd name="connsiteY8" fmla="*/ 333905 h 3246244"/>
              <a:gd name="connsiteX9" fmla="*/ 1888345 w 3109883"/>
              <a:gd name="connsiteY9" fmla="*/ 355048 h 3246244"/>
              <a:gd name="connsiteX10" fmla="*/ 1872488 w 3109883"/>
              <a:gd name="connsiteY10" fmla="*/ 386761 h 3246244"/>
              <a:gd name="connsiteX11" fmla="*/ 1840775 w 3109883"/>
              <a:gd name="connsiteY11" fmla="*/ 407903 h 3246244"/>
              <a:gd name="connsiteX12" fmla="*/ 1824918 w 3109883"/>
              <a:gd name="connsiteY12" fmla="*/ 418474 h 3246244"/>
              <a:gd name="connsiteX13" fmla="*/ 1803776 w 3109883"/>
              <a:gd name="connsiteY13" fmla="*/ 450188 h 3246244"/>
              <a:gd name="connsiteX14" fmla="*/ 1777348 w 3109883"/>
              <a:gd name="connsiteY14" fmla="*/ 481901 h 3246244"/>
              <a:gd name="connsiteX15" fmla="*/ 1761492 w 3109883"/>
              <a:gd name="connsiteY15" fmla="*/ 487186 h 3246244"/>
              <a:gd name="connsiteX16" fmla="*/ 1766777 w 3109883"/>
              <a:gd name="connsiteY16" fmla="*/ 503043 h 3246244"/>
              <a:gd name="connsiteX17" fmla="*/ 1803776 w 3109883"/>
              <a:gd name="connsiteY17" fmla="*/ 492472 h 3246244"/>
              <a:gd name="connsiteX18" fmla="*/ 1809062 w 3109883"/>
              <a:gd name="connsiteY18" fmla="*/ 476615 h 3246244"/>
              <a:gd name="connsiteX19" fmla="*/ 1819633 w 3109883"/>
              <a:gd name="connsiteY19" fmla="*/ 460759 h 3246244"/>
              <a:gd name="connsiteX20" fmla="*/ 1851346 w 3109883"/>
              <a:gd name="connsiteY20" fmla="*/ 434331 h 3246244"/>
              <a:gd name="connsiteX21" fmla="*/ 1867203 w 3109883"/>
              <a:gd name="connsiteY21" fmla="*/ 429045 h 3246244"/>
              <a:gd name="connsiteX22" fmla="*/ 1877774 w 3109883"/>
              <a:gd name="connsiteY22" fmla="*/ 413189 h 3246244"/>
              <a:gd name="connsiteX23" fmla="*/ 1893630 w 3109883"/>
              <a:gd name="connsiteY23" fmla="*/ 407903 h 3246244"/>
              <a:gd name="connsiteX24" fmla="*/ 1930629 w 3109883"/>
              <a:gd name="connsiteY24" fmla="*/ 392047 h 3246244"/>
              <a:gd name="connsiteX25" fmla="*/ 2025769 w 3109883"/>
              <a:gd name="connsiteY25" fmla="*/ 402618 h 3246244"/>
              <a:gd name="connsiteX26" fmla="*/ 2057482 w 3109883"/>
              <a:gd name="connsiteY26" fmla="*/ 413189 h 3246244"/>
              <a:gd name="connsiteX27" fmla="*/ 2073339 w 3109883"/>
              <a:gd name="connsiteY27" fmla="*/ 423760 h 3246244"/>
              <a:gd name="connsiteX28" fmla="*/ 2083910 w 3109883"/>
              <a:gd name="connsiteY28" fmla="*/ 439616 h 3246244"/>
              <a:gd name="connsiteX29" fmla="*/ 2052197 w 3109883"/>
              <a:gd name="connsiteY29" fmla="*/ 450188 h 3246244"/>
              <a:gd name="connsiteX30" fmla="*/ 2036340 w 3109883"/>
              <a:gd name="connsiteY30" fmla="*/ 481901 h 3246244"/>
              <a:gd name="connsiteX31" fmla="*/ 1988770 w 3109883"/>
              <a:gd name="connsiteY31" fmla="*/ 508329 h 3246244"/>
              <a:gd name="connsiteX32" fmla="*/ 1957057 w 3109883"/>
              <a:gd name="connsiteY32" fmla="*/ 534756 h 3246244"/>
              <a:gd name="connsiteX33" fmla="*/ 1925344 w 3109883"/>
              <a:gd name="connsiteY33" fmla="*/ 545327 h 3246244"/>
              <a:gd name="connsiteX34" fmla="*/ 1909487 w 3109883"/>
              <a:gd name="connsiteY34" fmla="*/ 550613 h 3246244"/>
              <a:gd name="connsiteX35" fmla="*/ 1893630 w 3109883"/>
              <a:gd name="connsiteY35" fmla="*/ 555899 h 3246244"/>
              <a:gd name="connsiteX36" fmla="*/ 2004627 w 3109883"/>
              <a:gd name="connsiteY36" fmla="*/ 555899 h 3246244"/>
              <a:gd name="connsiteX37" fmla="*/ 2020484 w 3109883"/>
              <a:gd name="connsiteY37" fmla="*/ 550613 h 3246244"/>
              <a:gd name="connsiteX38" fmla="*/ 2036340 w 3109883"/>
              <a:gd name="connsiteY38" fmla="*/ 540042 h 3246244"/>
              <a:gd name="connsiteX39" fmla="*/ 2046911 w 3109883"/>
              <a:gd name="connsiteY39" fmla="*/ 524185 h 3246244"/>
              <a:gd name="connsiteX40" fmla="*/ 2062768 w 3109883"/>
              <a:gd name="connsiteY40" fmla="*/ 492472 h 3246244"/>
              <a:gd name="connsiteX41" fmla="*/ 2078625 w 3109883"/>
              <a:gd name="connsiteY41" fmla="*/ 466044 h 3246244"/>
              <a:gd name="connsiteX42" fmla="*/ 2110338 w 3109883"/>
              <a:gd name="connsiteY42" fmla="*/ 455473 h 3246244"/>
              <a:gd name="connsiteX43" fmla="*/ 2157908 w 3109883"/>
              <a:gd name="connsiteY43" fmla="*/ 466044 h 3246244"/>
              <a:gd name="connsiteX44" fmla="*/ 2168479 w 3109883"/>
              <a:gd name="connsiteY44" fmla="*/ 481901 h 3246244"/>
              <a:gd name="connsiteX45" fmla="*/ 2200192 w 3109883"/>
              <a:gd name="connsiteY45" fmla="*/ 492472 h 3246244"/>
              <a:gd name="connsiteX46" fmla="*/ 2237191 w 3109883"/>
              <a:gd name="connsiteY46" fmla="*/ 503043 h 3246244"/>
              <a:gd name="connsiteX47" fmla="*/ 2263619 w 3109883"/>
              <a:gd name="connsiteY47" fmla="*/ 529471 h 3246244"/>
              <a:gd name="connsiteX48" fmla="*/ 2295332 w 3109883"/>
              <a:gd name="connsiteY48" fmla="*/ 518900 h 3246244"/>
              <a:gd name="connsiteX49" fmla="*/ 2300618 w 3109883"/>
              <a:gd name="connsiteY49" fmla="*/ 534756 h 3246244"/>
              <a:gd name="connsiteX50" fmla="*/ 2316474 w 3109883"/>
              <a:gd name="connsiteY50" fmla="*/ 545327 h 3246244"/>
              <a:gd name="connsiteX51" fmla="*/ 2342902 w 3109883"/>
              <a:gd name="connsiteY51" fmla="*/ 566470 h 3246244"/>
              <a:gd name="connsiteX52" fmla="*/ 2353473 w 3109883"/>
              <a:gd name="connsiteY52" fmla="*/ 582326 h 3246244"/>
              <a:gd name="connsiteX53" fmla="*/ 2369330 w 3109883"/>
              <a:gd name="connsiteY53" fmla="*/ 614040 h 3246244"/>
              <a:gd name="connsiteX54" fmla="*/ 2385186 w 3109883"/>
              <a:gd name="connsiteY54" fmla="*/ 624611 h 3246244"/>
              <a:gd name="connsiteX55" fmla="*/ 2395757 w 3109883"/>
              <a:gd name="connsiteY55" fmla="*/ 603469 h 3246244"/>
              <a:gd name="connsiteX56" fmla="*/ 2443327 w 3109883"/>
              <a:gd name="connsiteY56" fmla="*/ 608754 h 3246244"/>
              <a:gd name="connsiteX57" fmla="*/ 2490897 w 3109883"/>
              <a:gd name="connsiteY57" fmla="*/ 624611 h 3246244"/>
              <a:gd name="connsiteX58" fmla="*/ 2512040 w 3109883"/>
              <a:gd name="connsiteY58" fmla="*/ 629896 h 3246244"/>
              <a:gd name="connsiteX59" fmla="*/ 2723462 w 3109883"/>
              <a:gd name="connsiteY59" fmla="*/ 635182 h 3246244"/>
              <a:gd name="connsiteX60" fmla="*/ 2760460 w 3109883"/>
              <a:gd name="connsiteY60" fmla="*/ 661610 h 3246244"/>
              <a:gd name="connsiteX61" fmla="*/ 2771031 w 3109883"/>
              <a:gd name="connsiteY61" fmla="*/ 677466 h 3246244"/>
              <a:gd name="connsiteX62" fmla="*/ 2776317 w 3109883"/>
              <a:gd name="connsiteY62" fmla="*/ 693323 h 3246244"/>
              <a:gd name="connsiteX63" fmla="*/ 2808030 w 3109883"/>
              <a:gd name="connsiteY63" fmla="*/ 714465 h 3246244"/>
              <a:gd name="connsiteX64" fmla="*/ 2823887 w 3109883"/>
              <a:gd name="connsiteY64" fmla="*/ 725036 h 3246244"/>
              <a:gd name="connsiteX65" fmla="*/ 2834458 w 3109883"/>
              <a:gd name="connsiteY65" fmla="*/ 740893 h 3246244"/>
              <a:gd name="connsiteX66" fmla="*/ 2866171 w 3109883"/>
              <a:gd name="connsiteY66" fmla="*/ 751464 h 3246244"/>
              <a:gd name="connsiteX67" fmla="*/ 2882028 w 3109883"/>
              <a:gd name="connsiteY67" fmla="*/ 762035 h 3246244"/>
              <a:gd name="connsiteX68" fmla="*/ 2903170 w 3109883"/>
              <a:gd name="connsiteY68" fmla="*/ 788463 h 3246244"/>
              <a:gd name="connsiteX69" fmla="*/ 2919027 w 3109883"/>
              <a:gd name="connsiteY69" fmla="*/ 820176 h 3246244"/>
              <a:gd name="connsiteX70" fmla="*/ 2945455 w 3109883"/>
              <a:gd name="connsiteY70" fmla="*/ 825462 h 3246244"/>
              <a:gd name="connsiteX71" fmla="*/ 3024738 w 3109883"/>
              <a:gd name="connsiteY71" fmla="*/ 836033 h 3246244"/>
              <a:gd name="connsiteX72" fmla="*/ 3061737 w 3109883"/>
              <a:gd name="connsiteY72" fmla="*/ 851889 h 3246244"/>
              <a:gd name="connsiteX73" fmla="*/ 3098736 w 3109883"/>
              <a:gd name="connsiteY73" fmla="*/ 862460 h 3246244"/>
              <a:gd name="connsiteX74" fmla="*/ 3098736 w 3109883"/>
              <a:gd name="connsiteY74" fmla="*/ 920601 h 3246244"/>
              <a:gd name="connsiteX75" fmla="*/ 3093450 w 3109883"/>
              <a:gd name="connsiteY75" fmla="*/ 1126738 h 3246244"/>
              <a:gd name="connsiteX76" fmla="*/ 3082879 w 3109883"/>
              <a:gd name="connsiteY76" fmla="*/ 1158451 h 3246244"/>
              <a:gd name="connsiteX77" fmla="*/ 3077593 w 3109883"/>
              <a:gd name="connsiteY77" fmla="*/ 1174308 h 3246244"/>
              <a:gd name="connsiteX78" fmla="*/ 3067022 w 3109883"/>
              <a:gd name="connsiteY78" fmla="*/ 1190164 h 3246244"/>
              <a:gd name="connsiteX79" fmla="*/ 3056451 w 3109883"/>
              <a:gd name="connsiteY79" fmla="*/ 1200736 h 3246244"/>
              <a:gd name="connsiteX80" fmla="*/ 3019452 w 3109883"/>
              <a:gd name="connsiteY80" fmla="*/ 1227163 h 3246244"/>
              <a:gd name="connsiteX81" fmla="*/ 2987739 w 3109883"/>
              <a:gd name="connsiteY81" fmla="*/ 1274733 h 3246244"/>
              <a:gd name="connsiteX82" fmla="*/ 2977168 w 3109883"/>
              <a:gd name="connsiteY82" fmla="*/ 1290590 h 3246244"/>
              <a:gd name="connsiteX83" fmla="*/ 2971882 w 3109883"/>
              <a:gd name="connsiteY83" fmla="*/ 1306447 h 3246244"/>
              <a:gd name="connsiteX84" fmla="*/ 2956026 w 3109883"/>
              <a:gd name="connsiteY84" fmla="*/ 1311732 h 3246244"/>
              <a:gd name="connsiteX85" fmla="*/ 2940169 w 3109883"/>
              <a:gd name="connsiteY85" fmla="*/ 1322303 h 3246244"/>
              <a:gd name="connsiteX86" fmla="*/ 2924312 w 3109883"/>
              <a:gd name="connsiteY86" fmla="*/ 1327589 h 3246244"/>
              <a:gd name="connsiteX87" fmla="*/ 2892599 w 3109883"/>
              <a:gd name="connsiteY87" fmla="*/ 1348731 h 3246244"/>
              <a:gd name="connsiteX88" fmla="*/ 2866171 w 3109883"/>
              <a:gd name="connsiteY88" fmla="*/ 1396301 h 3246244"/>
              <a:gd name="connsiteX89" fmla="*/ 2850315 w 3109883"/>
              <a:gd name="connsiteY89" fmla="*/ 1406872 h 3246244"/>
              <a:gd name="connsiteX90" fmla="*/ 2834458 w 3109883"/>
              <a:gd name="connsiteY90" fmla="*/ 1438585 h 3246244"/>
              <a:gd name="connsiteX91" fmla="*/ 2829173 w 3109883"/>
              <a:gd name="connsiteY91" fmla="*/ 1454442 h 3246244"/>
              <a:gd name="connsiteX92" fmla="*/ 2813316 w 3109883"/>
              <a:gd name="connsiteY92" fmla="*/ 1459727 h 3246244"/>
              <a:gd name="connsiteX93" fmla="*/ 2760460 w 3109883"/>
              <a:gd name="connsiteY93" fmla="*/ 1465013 h 3246244"/>
              <a:gd name="connsiteX94" fmla="*/ 2765746 w 3109883"/>
              <a:gd name="connsiteY94" fmla="*/ 1517869 h 3246244"/>
              <a:gd name="connsiteX95" fmla="*/ 2760460 w 3109883"/>
              <a:gd name="connsiteY95" fmla="*/ 1554867 h 3246244"/>
              <a:gd name="connsiteX96" fmla="*/ 2776317 w 3109883"/>
              <a:gd name="connsiteY96" fmla="*/ 1623579 h 3246244"/>
              <a:gd name="connsiteX97" fmla="*/ 2781603 w 3109883"/>
              <a:gd name="connsiteY97" fmla="*/ 1650007 h 3246244"/>
              <a:gd name="connsiteX98" fmla="*/ 2786888 w 3109883"/>
              <a:gd name="connsiteY98" fmla="*/ 1687006 h 3246244"/>
              <a:gd name="connsiteX99" fmla="*/ 2792174 w 3109883"/>
              <a:gd name="connsiteY99" fmla="*/ 1708148 h 3246244"/>
              <a:gd name="connsiteX100" fmla="*/ 2786888 w 3109883"/>
              <a:gd name="connsiteY100" fmla="*/ 1734576 h 3246244"/>
              <a:gd name="connsiteX101" fmla="*/ 2781603 w 3109883"/>
              <a:gd name="connsiteY101" fmla="*/ 1771575 h 3246244"/>
              <a:gd name="connsiteX102" fmla="*/ 2765746 w 3109883"/>
              <a:gd name="connsiteY102" fmla="*/ 1803288 h 3246244"/>
              <a:gd name="connsiteX103" fmla="*/ 2755175 w 3109883"/>
              <a:gd name="connsiteY103" fmla="*/ 1835001 h 3246244"/>
              <a:gd name="connsiteX104" fmla="*/ 2749889 w 3109883"/>
              <a:gd name="connsiteY104" fmla="*/ 1850858 h 3246244"/>
              <a:gd name="connsiteX105" fmla="*/ 2739318 w 3109883"/>
              <a:gd name="connsiteY105" fmla="*/ 1872000 h 3246244"/>
              <a:gd name="connsiteX106" fmla="*/ 2728747 w 3109883"/>
              <a:gd name="connsiteY106" fmla="*/ 1967140 h 3246244"/>
              <a:gd name="connsiteX107" fmla="*/ 2718176 w 3109883"/>
              <a:gd name="connsiteY107" fmla="*/ 1982997 h 3246244"/>
              <a:gd name="connsiteX108" fmla="*/ 2691748 w 3109883"/>
              <a:gd name="connsiteY108" fmla="*/ 2030567 h 3246244"/>
              <a:gd name="connsiteX109" fmla="*/ 2686463 w 3109883"/>
              <a:gd name="connsiteY109" fmla="*/ 2046423 h 3246244"/>
              <a:gd name="connsiteX110" fmla="*/ 2681177 w 3109883"/>
              <a:gd name="connsiteY110" fmla="*/ 2067566 h 3246244"/>
              <a:gd name="connsiteX111" fmla="*/ 2665320 w 3109883"/>
              <a:gd name="connsiteY111" fmla="*/ 2072851 h 3246244"/>
              <a:gd name="connsiteX112" fmla="*/ 2649464 w 3109883"/>
              <a:gd name="connsiteY112" fmla="*/ 2083422 h 3246244"/>
              <a:gd name="connsiteX113" fmla="*/ 2644178 w 3109883"/>
              <a:gd name="connsiteY113" fmla="*/ 2104564 h 3246244"/>
              <a:gd name="connsiteX114" fmla="*/ 2633607 w 3109883"/>
              <a:gd name="connsiteY114" fmla="*/ 2136278 h 3246244"/>
              <a:gd name="connsiteX115" fmla="*/ 2623036 w 3109883"/>
              <a:gd name="connsiteY115" fmla="*/ 2173277 h 3246244"/>
              <a:gd name="connsiteX116" fmla="*/ 2612465 w 3109883"/>
              <a:gd name="connsiteY116" fmla="*/ 2189133 h 3246244"/>
              <a:gd name="connsiteX117" fmla="*/ 2601894 w 3109883"/>
              <a:gd name="connsiteY117" fmla="*/ 2226132 h 3246244"/>
              <a:gd name="connsiteX118" fmla="*/ 2586037 w 3109883"/>
              <a:gd name="connsiteY118" fmla="*/ 2231418 h 3246244"/>
              <a:gd name="connsiteX119" fmla="*/ 2570181 w 3109883"/>
              <a:gd name="connsiteY119" fmla="*/ 2241989 h 3246244"/>
              <a:gd name="connsiteX120" fmla="*/ 2538467 w 3109883"/>
              <a:gd name="connsiteY120" fmla="*/ 2252560 h 3246244"/>
              <a:gd name="connsiteX121" fmla="*/ 2506754 w 3109883"/>
              <a:gd name="connsiteY121" fmla="*/ 2263131 h 3246244"/>
              <a:gd name="connsiteX122" fmla="*/ 2490897 w 3109883"/>
              <a:gd name="connsiteY122" fmla="*/ 2268416 h 3246244"/>
              <a:gd name="connsiteX123" fmla="*/ 2475041 w 3109883"/>
              <a:gd name="connsiteY123" fmla="*/ 2278988 h 3246244"/>
              <a:gd name="connsiteX124" fmla="*/ 2432756 w 3109883"/>
              <a:gd name="connsiteY124" fmla="*/ 2289559 h 3246244"/>
              <a:gd name="connsiteX125" fmla="*/ 2416900 w 3109883"/>
              <a:gd name="connsiteY125" fmla="*/ 2294844 h 3246244"/>
              <a:gd name="connsiteX126" fmla="*/ 2353473 w 3109883"/>
              <a:gd name="connsiteY126" fmla="*/ 2300130 h 3246244"/>
              <a:gd name="connsiteX127" fmla="*/ 2321760 w 3109883"/>
              <a:gd name="connsiteY127" fmla="*/ 2321272 h 3246244"/>
              <a:gd name="connsiteX128" fmla="*/ 2305903 w 3109883"/>
              <a:gd name="connsiteY128" fmla="*/ 2326558 h 3246244"/>
              <a:gd name="connsiteX129" fmla="*/ 2253048 w 3109883"/>
              <a:gd name="connsiteY129" fmla="*/ 2337129 h 3246244"/>
              <a:gd name="connsiteX130" fmla="*/ 2194907 w 3109883"/>
              <a:gd name="connsiteY130" fmla="*/ 2331843 h 3246244"/>
              <a:gd name="connsiteX131" fmla="*/ 2179050 w 3109883"/>
              <a:gd name="connsiteY131" fmla="*/ 2326558 h 3246244"/>
              <a:gd name="connsiteX132" fmla="*/ 2157908 w 3109883"/>
              <a:gd name="connsiteY132" fmla="*/ 2374127 h 3246244"/>
              <a:gd name="connsiteX133" fmla="*/ 2142051 w 3109883"/>
              <a:gd name="connsiteY133" fmla="*/ 2379413 h 3246244"/>
              <a:gd name="connsiteX134" fmla="*/ 2115623 w 3109883"/>
              <a:gd name="connsiteY134" fmla="*/ 2405841 h 3246244"/>
              <a:gd name="connsiteX135" fmla="*/ 2105052 w 3109883"/>
              <a:gd name="connsiteY135" fmla="*/ 2421697 h 3246244"/>
              <a:gd name="connsiteX136" fmla="*/ 2094481 w 3109883"/>
              <a:gd name="connsiteY136" fmla="*/ 2432269 h 3246244"/>
              <a:gd name="connsiteX137" fmla="*/ 2083910 w 3109883"/>
              <a:gd name="connsiteY137" fmla="*/ 2448125 h 3246244"/>
              <a:gd name="connsiteX138" fmla="*/ 2068053 w 3109883"/>
              <a:gd name="connsiteY138" fmla="*/ 2458696 h 3246244"/>
              <a:gd name="connsiteX139" fmla="*/ 2052197 w 3109883"/>
              <a:gd name="connsiteY139" fmla="*/ 2474553 h 3246244"/>
              <a:gd name="connsiteX140" fmla="*/ 2020484 w 3109883"/>
              <a:gd name="connsiteY140" fmla="*/ 2490410 h 3246244"/>
              <a:gd name="connsiteX141" fmla="*/ 2009912 w 3109883"/>
              <a:gd name="connsiteY141" fmla="*/ 2500981 h 3246244"/>
              <a:gd name="connsiteX142" fmla="*/ 1994056 w 3109883"/>
              <a:gd name="connsiteY142" fmla="*/ 2580264 h 3246244"/>
              <a:gd name="connsiteX143" fmla="*/ 2004627 w 3109883"/>
              <a:gd name="connsiteY143" fmla="*/ 2617263 h 3246244"/>
              <a:gd name="connsiteX144" fmla="*/ 2009912 w 3109883"/>
              <a:gd name="connsiteY144" fmla="*/ 2638405 h 3246244"/>
              <a:gd name="connsiteX145" fmla="*/ 1988770 w 3109883"/>
              <a:gd name="connsiteY145" fmla="*/ 2775829 h 3246244"/>
              <a:gd name="connsiteX146" fmla="*/ 1972914 w 3109883"/>
              <a:gd name="connsiteY146" fmla="*/ 2781115 h 3246244"/>
              <a:gd name="connsiteX147" fmla="*/ 1962342 w 3109883"/>
              <a:gd name="connsiteY147" fmla="*/ 2796971 h 3246244"/>
              <a:gd name="connsiteX148" fmla="*/ 1946486 w 3109883"/>
              <a:gd name="connsiteY148" fmla="*/ 2807542 h 3246244"/>
              <a:gd name="connsiteX149" fmla="*/ 1930629 w 3109883"/>
              <a:gd name="connsiteY149" fmla="*/ 2860398 h 3246244"/>
              <a:gd name="connsiteX150" fmla="*/ 1920058 w 3109883"/>
              <a:gd name="connsiteY150" fmla="*/ 2881540 h 3246244"/>
              <a:gd name="connsiteX151" fmla="*/ 1904201 w 3109883"/>
              <a:gd name="connsiteY151" fmla="*/ 2907968 h 3246244"/>
              <a:gd name="connsiteX152" fmla="*/ 1877774 w 3109883"/>
              <a:gd name="connsiteY152" fmla="*/ 2955538 h 3246244"/>
              <a:gd name="connsiteX153" fmla="*/ 1861917 w 3109883"/>
              <a:gd name="connsiteY153" fmla="*/ 2966109 h 3246244"/>
              <a:gd name="connsiteX154" fmla="*/ 1856631 w 3109883"/>
              <a:gd name="connsiteY154" fmla="*/ 2981966 h 3246244"/>
              <a:gd name="connsiteX155" fmla="*/ 1824918 w 3109883"/>
              <a:gd name="connsiteY155" fmla="*/ 3008393 h 3246244"/>
              <a:gd name="connsiteX156" fmla="*/ 1814347 w 3109883"/>
              <a:gd name="connsiteY156" fmla="*/ 3024250 h 3246244"/>
              <a:gd name="connsiteX157" fmla="*/ 1798490 w 3109883"/>
              <a:gd name="connsiteY157" fmla="*/ 3034821 h 3246244"/>
              <a:gd name="connsiteX158" fmla="*/ 1777348 w 3109883"/>
              <a:gd name="connsiteY158" fmla="*/ 3066534 h 3246244"/>
              <a:gd name="connsiteX159" fmla="*/ 1756206 w 3109883"/>
              <a:gd name="connsiteY159" fmla="*/ 3098248 h 3246244"/>
              <a:gd name="connsiteX160" fmla="*/ 1735064 w 3109883"/>
              <a:gd name="connsiteY160" fmla="*/ 3129961 h 3246244"/>
              <a:gd name="connsiteX161" fmla="*/ 1708636 w 3109883"/>
              <a:gd name="connsiteY161" fmla="*/ 3177531 h 3246244"/>
              <a:gd name="connsiteX162" fmla="*/ 1698065 w 3109883"/>
              <a:gd name="connsiteY162" fmla="*/ 3193388 h 3246244"/>
              <a:gd name="connsiteX163" fmla="*/ 1682208 w 3109883"/>
              <a:gd name="connsiteY163" fmla="*/ 3203959 h 3246244"/>
              <a:gd name="connsiteX164" fmla="*/ 1655781 w 3109883"/>
              <a:gd name="connsiteY164" fmla="*/ 3246243 h 3246244"/>
              <a:gd name="connsiteX165" fmla="*/ 1629353 w 3109883"/>
              <a:gd name="connsiteY165" fmla="*/ 3209244 h 3246244"/>
              <a:gd name="connsiteX166" fmla="*/ 1624067 w 3109883"/>
              <a:gd name="connsiteY166" fmla="*/ 3193388 h 3246244"/>
              <a:gd name="connsiteX167" fmla="*/ 1629353 w 3109883"/>
              <a:gd name="connsiteY167" fmla="*/ 3172245 h 3246244"/>
              <a:gd name="connsiteX168" fmla="*/ 1639924 w 3109883"/>
              <a:gd name="connsiteY168" fmla="*/ 3156389 h 3246244"/>
              <a:gd name="connsiteX169" fmla="*/ 1645210 w 3109883"/>
              <a:gd name="connsiteY169" fmla="*/ 3140532 h 3246244"/>
              <a:gd name="connsiteX170" fmla="*/ 1618782 w 3109883"/>
              <a:gd name="connsiteY170" fmla="*/ 3098248 h 3246244"/>
              <a:gd name="connsiteX171" fmla="*/ 1602925 w 3109883"/>
              <a:gd name="connsiteY171" fmla="*/ 3092962 h 3246244"/>
              <a:gd name="connsiteX172" fmla="*/ 1587068 w 3109883"/>
              <a:gd name="connsiteY172" fmla="*/ 3077105 h 3246244"/>
              <a:gd name="connsiteX173" fmla="*/ 1571212 w 3109883"/>
              <a:gd name="connsiteY173" fmla="*/ 3066534 h 3246244"/>
              <a:gd name="connsiteX174" fmla="*/ 1550070 w 3109883"/>
              <a:gd name="connsiteY174" fmla="*/ 3040107 h 3246244"/>
              <a:gd name="connsiteX175" fmla="*/ 1544784 w 3109883"/>
              <a:gd name="connsiteY175" fmla="*/ 3024250 h 3246244"/>
              <a:gd name="connsiteX176" fmla="*/ 1513071 w 3109883"/>
              <a:gd name="connsiteY176" fmla="*/ 3013679 h 3246244"/>
              <a:gd name="connsiteX177" fmla="*/ 1497214 w 3109883"/>
              <a:gd name="connsiteY177" fmla="*/ 3008393 h 3246244"/>
              <a:gd name="connsiteX178" fmla="*/ 1497214 w 3109883"/>
              <a:gd name="connsiteY178" fmla="*/ 3008393 h 3246244"/>
              <a:gd name="connsiteX179" fmla="*/ 1465501 w 3109883"/>
              <a:gd name="connsiteY179" fmla="*/ 2987251 h 3246244"/>
              <a:gd name="connsiteX180" fmla="*/ 1412645 w 3109883"/>
              <a:gd name="connsiteY180" fmla="*/ 2987251 h 3246244"/>
              <a:gd name="connsiteX181" fmla="*/ 1402074 w 3109883"/>
              <a:gd name="connsiteY181" fmla="*/ 2971395 h 3246244"/>
              <a:gd name="connsiteX182" fmla="*/ 1396789 w 3109883"/>
              <a:gd name="connsiteY182" fmla="*/ 2955538 h 3246244"/>
              <a:gd name="connsiteX183" fmla="*/ 1343933 w 3109883"/>
              <a:gd name="connsiteY183" fmla="*/ 2929110 h 3246244"/>
              <a:gd name="connsiteX184" fmla="*/ 1306934 w 3109883"/>
              <a:gd name="connsiteY184" fmla="*/ 2918539 h 3246244"/>
              <a:gd name="connsiteX185" fmla="*/ 1301649 w 3109883"/>
              <a:gd name="connsiteY185" fmla="*/ 2902682 h 3246244"/>
              <a:gd name="connsiteX186" fmla="*/ 1312220 w 3109883"/>
              <a:gd name="connsiteY186" fmla="*/ 2865684 h 3246244"/>
              <a:gd name="connsiteX187" fmla="*/ 1338648 w 3109883"/>
              <a:gd name="connsiteY187" fmla="*/ 2860398 h 3246244"/>
              <a:gd name="connsiteX188" fmla="*/ 1359790 w 3109883"/>
              <a:gd name="connsiteY188" fmla="*/ 2855112 h 3246244"/>
              <a:gd name="connsiteX189" fmla="*/ 1396789 w 3109883"/>
              <a:gd name="connsiteY189" fmla="*/ 2807542 h 3246244"/>
              <a:gd name="connsiteX190" fmla="*/ 1407360 w 3109883"/>
              <a:gd name="connsiteY190" fmla="*/ 2791686 h 3246244"/>
              <a:gd name="connsiteX191" fmla="*/ 1439073 w 3109883"/>
              <a:gd name="connsiteY191" fmla="*/ 2770544 h 3246244"/>
              <a:gd name="connsiteX192" fmla="*/ 1454930 w 3109883"/>
              <a:gd name="connsiteY192" fmla="*/ 2759973 h 3246244"/>
              <a:gd name="connsiteX193" fmla="*/ 1481357 w 3109883"/>
              <a:gd name="connsiteY193" fmla="*/ 2738830 h 3246244"/>
              <a:gd name="connsiteX194" fmla="*/ 1507785 w 3109883"/>
              <a:gd name="connsiteY194" fmla="*/ 2717688 h 3246244"/>
              <a:gd name="connsiteX195" fmla="*/ 1518356 w 3109883"/>
              <a:gd name="connsiteY195" fmla="*/ 2701832 h 3246244"/>
              <a:gd name="connsiteX196" fmla="*/ 1539499 w 3109883"/>
              <a:gd name="connsiteY196" fmla="*/ 2675404 h 3246244"/>
              <a:gd name="connsiteX197" fmla="*/ 1560641 w 3109883"/>
              <a:gd name="connsiteY197" fmla="*/ 2643690 h 3246244"/>
              <a:gd name="connsiteX198" fmla="*/ 1571212 w 3109883"/>
              <a:gd name="connsiteY198" fmla="*/ 2627834 h 3246244"/>
              <a:gd name="connsiteX199" fmla="*/ 1602925 w 3109883"/>
              <a:gd name="connsiteY199" fmla="*/ 2611977 h 3246244"/>
              <a:gd name="connsiteX200" fmla="*/ 1618782 w 3109883"/>
              <a:gd name="connsiteY200" fmla="*/ 2601406 h 3246244"/>
              <a:gd name="connsiteX201" fmla="*/ 1618782 w 3109883"/>
              <a:gd name="connsiteY201" fmla="*/ 2516837 h 3246244"/>
              <a:gd name="connsiteX202" fmla="*/ 1571212 w 3109883"/>
              <a:gd name="connsiteY202" fmla="*/ 2500981 h 3246244"/>
              <a:gd name="connsiteX203" fmla="*/ 1555355 w 3109883"/>
              <a:gd name="connsiteY203" fmla="*/ 2495695 h 3246244"/>
              <a:gd name="connsiteX204" fmla="*/ 1560641 w 3109883"/>
              <a:gd name="connsiteY204" fmla="*/ 2469267 h 3246244"/>
              <a:gd name="connsiteX205" fmla="*/ 1449644 w 3109883"/>
              <a:gd name="connsiteY205" fmla="*/ 2347700 h 3246244"/>
              <a:gd name="connsiteX206" fmla="*/ 1439073 w 3109883"/>
              <a:gd name="connsiteY206" fmla="*/ 2273702 h 3246244"/>
              <a:gd name="connsiteX207" fmla="*/ 1433788 w 3109883"/>
              <a:gd name="connsiteY207" fmla="*/ 2252560 h 3246244"/>
              <a:gd name="connsiteX208" fmla="*/ 1423216 w 3109883"/>
              <a:gd name="connsiteY208" fmla="*/ 2241989 h 3246244"/>
              <a:gd name="connsiteX209" fmla="*/ 1417931 w 3109883"/>
              <a:gd name="connsiteY209" fmla="*/ 2220847 h 3246244"/>
              <a:gd name="connsiteX210" fmla="*/ 1412645 w 3109883"/>
              <a:gd name="connsiteY210" fmla="*/ 2204990 h 3246244"/>
              <a:gd name="connsiteX211" fmla="*/ 1391503 w 3109883"/>
              <a:gd name="connsiteY211" fmla="*/ 2199704 h 3246244"/>
              <a:gd name="connsiteX212" fmla="*/ 1301649 w 3109883"/>
              <a:gd name="connsiteY212" fmla="*/ 2194419 h 3246244"/>
              <a:gd name="connsiteX213" fmla="*/ 1291078 w 3109883"/>
              <a:gd name="connsiteY213" fmla="*/ 2162705 h 3246244"/>
              <a:gd name="connsiteX214" fmla="*/ 1285792 w 3109883"/>
              <a:gd name="connsiteY214" fmla="*/ 2146849 h 3246244"/>
              <a:gd name="connsiteX215" fmla="*/ 1280507 w 3109883"/>
              <a:gd name="connsiteY215" fmla="*/ 2120421 h 3246244"/>
              <a:gd name="connsiteX216" fmla="*/ 1269936 w 3109883"/>
              <a:gd name="connsiteY216" fmla="*/ 2104564 h 3246244"/>
              <a:gd name="connsiteX217" fmla="*/ 1264650 w 3109883"/>
              <a:gd name="connsiteY217" fmla="*/ 2088708 h 3246244"/>
              <a:gd name="connsiteX218" fmla="*/ 1248793 w 3109883"/>
              <a:gd name="connsiteY218" fmla="*/ 2078137 h 3246244"/>
              <a:gd name="connsiteX219" fmla="*/ 1264650 w 3109883"/>
              <a:gd name="connsiteY219" fmla="*/ 2067566 h 3246244"/>
              <a:gd name="connsiteX220" fmla="*/ 1280507 w 3109883"/>
              <a:gd name="connsiteY220" fmla="*/ 2062280 h 3246244"/>
              <a:gd name="connsiteX221" fmla="*/ 1269936 w 3109883"/>
              <a:gd name="connsiteY221" fmla="*/ 1951284 h 3246244"/>
              <a:gd name="connsiteX222" fmla="*/ 1285792 w 3109883"/>
              <a:gd name="connsiteY222" fmla="*/ 1893142 h 3246244"/>
              <a:gd name="connsiteX223" fmla="*/ 1301649 w 3109883"/>
              <a:gd name="connsiteY223" fmla="*/ 1861429 h 3246244"/>
              <a:gd name="connsiteX224" fmla="*/ 1285792 w 3109883"/>
              <a:gd name="connsiteY224" fmla="*/ 1856144 h 3246244"/>
              <a:gd name="connsiteX225" fmla="*/ 1259364 w 3109883"/>
              <a:gd name="connsiteY225" fmla="*/ 1835001 h 3246244"/>
              <a:gd name="connsiteX226" fmla="*/ 1243508 w 3109883"/>
              <a:gd name="connsiteY226" fmla="*/ 1824430 h 3246244"/>
              <a:gd name="connsiteX227" fmla="*/ 1238222 w 3109883"/>
              <a:gd name="connsiteY227" fmla="*/ 1808574 h 3246244"/>
              <a:gd name="connsiteX228" fmla="*/ 1232937 w 3109883"/>
              <a:gd name="connsiteY228" fmla="*/ 1755718 h 3246244"/>
              <a:gd name="connsiteX229" fmla="*/ 1217080 w 3109883"/>
              <a:gd name="connsiteY229" fmla="*/ 1750433 h 3246244"/>
              <a:gd name="connsiteX230" fmla="*/ 1169510 w 3109883"/>
              <a:gd name="connsiteY230" fmla="*/ 1729290 h 3246244"/>
              <a:gd name="connsiteX231" fmla="*/ 1137797 w 3109883"/>
              <a:gd name="connsiteY231" fmla="*/ 1718719 h 3246244"/>
              <a:gd name="connsiteX232" fmla="*/ 1121940 w 3109883"/>
              <a:gd name="connsiteY232" fmla="*/ 1713434 h 3246244"/>
              <a:gd name="connsiteX233" fmla="*/ 1100798 w 3109883"/>
              <a:gd name="connsiteY233" fmla="*/ 1708148 h 3246244"/>
              <a:gd name="connsiteX234" fmla="*/ 1090227 w 3109883"/>
              <a:gd name="connsiteY234" fmla="*/ 1692292 h 3246244"/>
              <a:gd name="connsiteX235" fmla="*/ 1079656 w 3109883"/>
              <a:gd name="connsiteY235" fmla="*/ 1581295 h 3246244"/>
              <a:gd name="connsiteX236" fmla="*/ 1069085 w 3109883"/>
              <a:gd name="connsiteY236" fmla="*/ 1549582 h 3246244"/>
              <a:gd name="connsiteX237" fmla="*/ 1063799 w 3109883"/>
              <a:gd name="connsiteY237" fmla="*/ 1533725 h 3246244"/>
              <a:gd name="connsiteX238" fmla="*/ 1042657 w 3109883"/>
              <a:gd name="connsiteY238" fmla="*/ 1523154 h 3246244"/>
              <a:gd name="connsiteX239" fmla="*/ 1032086 w 3109883"/>
              <a:gd name="connsiteY239" fmla="*/ 1507297 h 3246244"/>
              <a:gd name="connsiteX240" fmla="*/ 1016229 w 3109883"/>
              <a:gd name="connsiteY240" fmla="*/ 1502012 h 3246244"/>
              <a:gd name="connsiteX241" fmla="*/ 1000373 w 3109883"/>
              <a:gd name="connsiteY241" fmla="*/ 1491441 h 3246244"/>
              <a:gd name="connsiteX242" fmla="*/ 973945 w 3109883"/>
              <a:gd name="connsiteY242" fmla="*/ 1475584 h 3246244"/>
              <a:gd name="connsiteX243" fmla="*/ 942231 w 3109883"/>
              <a:gd name="connsiteY243" fmla="*/ 1454442 h 3246244"/>
              <a:gd name="connsiteX244" fmla="*/ 894662 w 3109883"/>
              <a:gd name="connsiteY244" fmla="*/ 1438585 h 3246244"/>
              <a:gd name="connsiteX245" fmla="*/ 878805 w 3109883"/>
              <a:gd name="connsiteY245" fmla="*/ 1433300 h 3246244"/>
              <a:gd name="connsiteX246" fmla="*/ 841806 w 3109883"/>
              <a:gd name="connsiteY246" fmla="*/ 1422729 h 3246244"/>
              <a:gd name="connsiteX247" fmla="*/ 810093 w 3109883"/>
              <a:gd name="connsiteY247" fmla="*/ 1401586 h 3246244"/>
              <a:gd name="connsiteX248" fmla="*/ 762523 w 3109883"/>
              <a:gd name="connsiteY248" fmla="*/ 1385730 h 3246244"/>
              <a:gd name="connsiteX249" fmla="*/ 746666 w 3109883"/>
              <a:gd name="connsiteY249" fmla="*/ 1380444 h 3246244"/>
              <a:gd name="connsiteX250" fmla="*/ 730810 w 3109883"/>
              <a:gd name="connsiteY250" fmla="*/ 1369873 h 3246244"/>
              <a:gd name="connsiteX251" fmla="*/ 720238 w 3109883"/>
              <a:gd name="connsiteY251" fmla="*/ 1359302 h 3246244"/>
              <a:gd name="connsiteX252" fmla="*/ 704382 w 3109883"/>
              <a:gd name="connsiteY252" fmla="*/ 1354016 h 3246244"/>
              <a:gd name="connsiteX253" fmla="*/ 693811 w 3109883"/>
              <a:gd name="connsiteY253" fmla="*/ 1322303 h 3246244"/>
              <a:gd name="connsiteX254" fmla="*/ 672668 w 3109883"/>
              <a:gd name="connsiteY254" fmla="*/ 1200736 h 3246244"/>
              <a:gd name="connsiteX255" fmla="*/ 603956 w 3109883"/>
              <a:gd name="connsiteY255" fmla="*/ 1216592 h 3246244"/>
              <a:gd name="connsiteX256" fmla="*/ 588100 w 3109883"/>
              <a:gd name="connsiteY256" fmla="*/ 1221878 h 3246244"/>
              <a:gd name="connsiteX257" fmla="*/ 572243 w 3109883"/>
              <a:gd name="connsiteY257" fmla="*/ 1232449 h 3246244"/>
              <a:gd name="connsiteX258" fmla="*/ 529959 w 3109883"/>
              <a:gd name="connsiteY258" fmla="*/ 1243020 h 3246244"/>
              <a:gd name="connsiteX259" fmla="*/ 514102 w 3109883"/>
              <a:gd name="connsiteY259" fmla="*/ 1248305 h 3246244"/>
              <a:gd name="connsiteX260" fmla="*/ 487674 w 3109883"/>
              <a:gd name="connsiteY260" fmla="*/ 1269448 h 3246244"/>
              <a:gd name="connsiteX261" fmla="*/ 466532 w 3109883"/>
              <a:gd name="connsiteY261" fmla="*/ 1274733 h 3246244"/>
              <a:gd name="connsiteX262" fmla="*/ 276252 w 3109883"/>
              <a:gd name="connsiteY262" fmla="*/ 1163737 h 3246244"/>
              <a:gd name="connsiteX263" fmla="*/ 260396 w 3109883"/>
              <a:gd name="connsiteY263" fmla="*/ 1153166 h 3246244"/>
              <a:gd name="connsiteX264" fmla="*/ 191684 w 3109883"/>
              <a:gd name="connsiteY264" fmla="*/ 1169022 h 3246244"/>
              <a:gd name="connsiteX265" fmla="*/ 181112 w 3109883"/>
              <a:gd name="connsiteY265" fmla="*/ 1179593 h 3246244"/>
              <a:gd name="connsiteX266" fmla="*/ 149399 w 3109883"/>
              <a:gd name="connsiteY266" fmla="*/ 1190164 h 3246244"/>
              <a:gd name="connsiteX267" fmla="*/ 128257 w 3109883"/>
              <a:gd name="connsiteY267" fmla="*/ 1169022 h 3246244"/>
              <a:gd name="connsiteX268" fmla="*/ 96544 w 3109883"/>
              <a:gd name="connsiteY268" fmla="*/ 1153166 h 3246244"/>
              <a:gd name="connsiteX269" fmla="*/ 85973 w 3109883"/>
              <a:gd name="connsiteY269" fmla="*/ 1137309 h 3246244"/>
              <a:gd name="connsiteX270" fmla="*/ 80687 w 3109883"/>
              <a:gd name="connsiteY270" fmla="*/ 1105596 h 3246244"/>
              <a:gd name="connsiteX271" fmla="*/ 59545 w 3109883"/>
              <a:gd name="connsiteY271" fmla="*/ 1100310 h 3246244"/>
              <a:gd name="connsiteX272" fmla="*/ 27831 w 3109883"/>
              <a:gd name="connsiteY272" fmla="*/ 1089739 h 3246244"/>
              <a:gd name="connsiteX273" fmla="*/ 11975 w 3109883"/>
              <a:gd name="connsiteY273" fmla="*/ 1036884 h 3246244"/>
              <a:gd name="connsiteX274" fmla="*/ 6689 w 3109883"/>
              <a:gd name="connsiteY274" fmla="*/ 1021027 h 3246244"/>
              <a:gd name="connsiteX275" fmla="*/ 1404 w 3109883"/>
              <a:gd name="connsiteY275" fmla="*/ 999885 h 3246244"/>
              <a:gd name="connsiteX276" fmla="*/ 6689 w 3109883"/>
              <a:gd name="connsiteY276" fmla="*/ 962886 h 3246244"/>
              <a:gd name="connsiteX277" fmla="*/ 54259 w 3109883"/>
              <a:gd name="connsiteY277" fmla="*/ 936458 h 3246244"/>
              <a:gd name="connsiteX278" fmla="*/ 70116 w 3109883"/>
              <a:gd name="connsiteY278" fmla="*/ 925887 h 3246244"/>
              <a:gd name="connsiteX279" fmla="*/ 75401 w 3109883"/>
              <a:gd name="connsiteY279" fmla="*/ 910030 h 3246244"/>
              <a:gd name="connsiteX280" fmla="*/ 80687 w 3109883"/>
              <a:gd name="connsiteY280" fmla="*/ 873032 h 3246244"/>
              <a:gd name="connsiteX281" fmla="*/ 91258 w 3109883"/>
              <a:gd name="connsiteY281" fmla="*/ 862460 h 3246244"/>
              <a:gd name="connsiteX282" fmla="*/ 122971 w 3109883"/>
              <a:gd name="connsiteY282" fmla="*/ 846604 h 3246244"/>
              <a:gd name="connsiteX283" fmla="*/ 165256 w 3109883"/>
              <a:gd name="connsiteY283" fmla="*/ 809605 h 3246244"/>
              <a:gd name="connsiteX284" fmla="*/ 181112 w 3109883"/>
              <a:gd name="connsiteY284" fmla="*/ 799034 h 3246244"/>
              <a:gd name="connsiteX285" fmla="*/ 212826 w 3109883"/>
              <a:gd name="connsiteY285" fmla="*/ 788463 h 3246244"/>
              <a:gd name="connsiteX286" fmla="*/ 228682 w 3109883"/>
              <a:gd name="connsiteY286" fmla="*/ 777892 h 3246244"/>
              <a:gd name="connsiteX287" fmla="*/ 260396 w 3109883"/>
              <a:gd name="connsiteY287" fmla="*/ 767321 h 3246244"/>
              <a:gd name="connsiteX288" fmla="*/ 276252 w 3109883"/>
              <a:gd name="connsiteY288" fmla="*/ 762035 h 3246244"/>
              <a:gd name="connsiteX289" fmla="*/ 292109 w 3109883"/>
              <a:gd name="connsiteY289" fmla="*/ 756749 h 3246244"/>
              <a:gd name="connsiteX290" fmla="*/ 307966 w 3109883"/>
              <a:gd name="connsiteY290" fmla="*/ 751464 h 3246244"/>
              <a:gd name="connsiteX291" fmla="*/ 323822 w 3109883"/>
              <a:gd name="connsiteY291" fmla="*/ 740893 h 3246244"/>
              <a:gd name="connsiteX292" fmla="*/ 329108 w 3109883"/>
              <a:gd name="connsiteY292" fmla="*/ 725036 h 3246244"/>
              <a:gd name="connsiteX293" fmla="*/ 344964 w 3109883"/>
              <a:gd name="connsiteY293" fmla="*/ 709179 h 3246244"/>
              <a:gd name="connsiteX294" fmla="*/ 350250 w 3109883"/>
              <a:gd name="connsiteY294" fmla="*/ 682752 h 3246244"/>
              <a:gd name="connsiteX295" fmla="*/ 355536 w 3109883"/>
              <a:gd name="connsiteY295" fmla="*/ 666895 h 3246244"/>
              <a:gd name="connsiteX296" fmla="*/ 360821 w 3109883"/>
              <a:gd name="connsiteY296" fmla="*/ 635182 h 3246244"/>
              <a:gd name="connsiteX297" fmla="*/ 366107 w 3109883"/>
              <a:gd name="connsiteY297" fmla="*/ 619325 h 3246244"/>
              <a:gd name="connsiteX298" fmla="*/ 376678 w 3109883"/>
              <a:gd name="connsiteY298" fmla="*/ 577041 h 3246244"/>
              <a:gd name="connsiteX299" fmla="*/ 381963 w 3109883"/>
              <a:gd name="connsiteY299" fmla="*/ 555899 h 3246244"/>
              <a:gd name="connsiteX300" fmla="*/ 387249 w 3109883"/>
              <a:gd name="connsiteY300" fmla="*/ 540042 h 3246244"/>
              <a:gd name="connsiteX301" fmla="*/ 381963 w 3109883"/>
              <a:gd name="connsiteY301" fmla="*/ 476615 h 3246244"/>
              <a:gd name="connsiteX302" fmla="*/ 350250 w 3109883"/>
              <a:gd name="connsiteY302" fmla="*/ 455473 h 3246244"/>
              <a:gd name="connsiteX303" fmla="*/ 339679 w 3109883"/>
              <a:gd name="connsiteY303" fmla="*/ 439616 h 3246244"/>
              <a:gd name="connsiteX304" fmla="*/ 334393 w 3109883"/>
              <a:gd name="connsiteY304" fmla="*/ 423760 h 3246244"/>
              <a:gd name="connsiteX305" fmla="*/ 313251 w 3109883"/>
              <a:gd name="connsiteY305" fmla="*/ 392047 h 3246244"/>
              <a:gd name="connsiteX306" fmla="*/ 323822 w 3109883"/>
              <a:gd name="connsiteY306" fmla="*/ 381475 h 3246244"/>
              <a:gd name="connsiteX307" fmla="*/ 355536 w 3109883"/>
              <a:gd name="connsiteY307" fmla="*/ 370904 h 3246244"/>
              <a:gd name="connsiteX308" fmla="*/ 366107 w 3109883"/>
              <a:gd name="connsiteY308" fmla="*/ 355048 h 3246244"/>
              <a:gd name="connsiteX309" fmla="*/ 334393 w 3109883"/>
              <a:gd name="connsiteY309" fmla="*/ 339191 h 3246244"/>
              <a:gd name="connsiteX310" fmla="*/ 329108 w 3109883"/>
              <a:gd name="connsiteY310" fmla="*/ 323334 h 3246244"/>
              <a:gd name="connsiteX311" fmla="*/ 318537 w 3109883"/>
              <a:gd name="connsiteY311" fmla="*/ 307478 h 3246244"/>
              <a:gd name="connsiteX312" fmla="*/ 323822 w 3109883"/>
              <a:gd name="connsiteY312" fmla="*/ 291621 h 3246244"/>
              <a:gd name="connsiteX313" fmla="*/ 360821 w 3109883"/>
              <a:gd name="connsiteY313" fmla="*/ 275764 h 3246244"/>
              <a:gd name="connsiteX314" fmla="*/ 545815 w 3109883"/>
              <a:gd name="connsiteY314" fmla="*/ 281050 h 3246244"/>
              <a:gd name="connsiteX315" fmla="*/ 561672 w 3109883"/>
              <a:gd name="connsiteY315" fmla="*/ 328620 h 3246244"/>
              <a:gd name="connsiteX316" fmla="*/ 577529 w 3109883"/>
              <a:gd name="connsiteY316" fmla="*/ 339191 h 3246244"/>
              <a:gd name="connsiteX317" fmla="*/ 593385 w 3109883"/>
              <a:gd name="connsiteY317" fmla="*/ 355048 h 3246244"/>
              <a:gd name="connsiteX318" fmla="*/ 614527 w 3109883"/>
              <a:gd name="connsiteY318" fmla="*/ 360333 h 3246244"/>
              <a:gd name="connsiteX319" fmla="*/ 709667 w 3109883"/>
              <a:gd name="connsiteY319" fmla="*/ 349762 h 3246244"/>
              <a:gd name="connsiteX320" fmla="*/ 725524 w 3109883"/>
              <a:gd name="connsiteY320" fmla="*/ 339191 h 3246244"/>
              <a:gd name="connsiteX321" fmla="*/ 736095 w 3109883"/>
              <a:gd name="connsiteY321" fmla="*/ 323334 h 3246244"/>
              <a:gd name="connsiteX322" fmla="*/ 767808 w 3109883"/>
              <a:gd name="connsiteY322" fmla="*/ 302192 h 3246244"/>
              <a:gd name="connsiteX323" fmla="*/ 788951 w 3109883"/>
              <a:gd name="connsiteY323" fmla="*/ 275764 h 3246244"/>
              <a:gd name="connsiteX324" fmla="*/ 815378 w 3109883"/>
              <a:gd name="connsiteY324" fmla="*/ 249337 h 3246244"/>
              <a:gd name="connsiteX325" fmla="*/ 847092 w 3109883"/>
              <a:gd name="connsiteY325" fmla="*/ 238766 h 3246244"/>
              <a:gd name="connsiteX326" fmla="*/ 836520 w 3109883"/>
              <a:gd name="connsiteY326" fmla="*/ 228195 h 3246244"/>
              <a:gd name="connsiteX327" fmla="*/ 820664 w 3109883"/>
              <a:gd name="connsiteY327" fmla="*/ 222909 h 3246244"/>
              <a:gd name="connsiteX328" fmla="*/ 804807 w 3109883"/>
              <a:gd name="connsiteY328" fmla="*/ 212338 h 3246244"/>
              <a:gd name="connsiteX329" fmla="*/ 799522 w 3109883"/>
              <a:gd name="connsiteY329" fmla="*/ 196481 h 3246244"/>
              <a:gd name="connsiteX330" fmla="*/ 778379 w 3109883"/>
              <a:gd name="connsiteY330" fmla="*/ 170053 h 3246244"/>
              <a:gd name="connsiteX331" fmla="*/ 767808 w 3109883"/>
              <a:gd name="connsiteY331" fmla="*/ 154197 h 3246244"/>
              <a:gd name="connsiteX332" fmla="*/ 767808 w 3109883"/>
              <a:gd name="connsiteY332" fmla="*/ 117198 h 3246244"/>
              <a:gd name="connsiteX333" fmla="*/ 746666 w 3109883"/>
              <a:gd name="connsiteY333" fmla="*/ 111912 h 3246244"/>
              <a:gd name="connsiteX334" fmla="*/ 931660 w 3109883"/>
              <a:gd name="connsiteY334" fmla="*/ 90770 h 3246244"/>
              <a:gd name="connsiteX335" fmla="*/ 963374 w 3109883"/>
              <a:gd name="connsiteY335" fmla="*/ 80199 h 3246244"/>
              <a:gd name="connsiteX336" fmla="*/ 995087 w 3109883"/>
              <a:gd name="connsiteY336" fmla="*/ 69628 h 3246244"/>
              <a:gd name="connsiteX337" fmla="*/ 1026800 w 3109883"/>
              <a:gd name="connsiteY337" fmla="*/ 48486 h 3246244"/>
              <a:gd name="connsiteX338" fmla="*/ 1042657 w 3109883"/>
              <a:gd name="connsiteY338" fmla="*/ 37915 h 3246244"/>
              <a:gd name="connsiteX339" fmla="*/ 1058514 w 3109883"/>
              <a:gd name="connsiteY339" fmla="*/ 27344 h 3246244"/>
              <a:gd name="connsiteX340" fmla="*/ 1084941 w 3109883"/>
              <a:gd name="connsiteY340" fmla="*/ 916 h 3246244"/>
              <a:gd name="connsiteX341" fmla="*/ 1100798 w 3109883"/>
              <a:gd name="connsiteY341" fmla="*/ 6201 h 3246244"/>
              <a:gd name="connsiteX342" fmla="*/ 1111369 w 3109883"/>
              <a:gd name="connsiteY342" fmla="*/ 16773 h 3246244"/>
              <a:gd name="connsiteX343" fmla="*/ 1116655 w 3109883"/>
              <a:gd name="connsiteY343" fmla="*/ 37915 h 3246244"/>
              <a:gd name="connsiteX344" fmla="*/ 1127226 w 3109883"/>
              <a:gd name="connsiteY344" fmla="*/ 69628 h 3246244"/>
              <a:gd name="connsiteX345" fmla="*/ 1132511 w 3109883"/>
              <a:gd name="connsiteY345" fmla="*/ 85485 h 3246244"/>
              <a:gd name="connsiteX346" fmla="*/ 1137797 w 3109883"/>
              <a:gd name="connsiteY346" fmla="*/ 101341 h 3246244"/>
              <a:gd name="connsiteX347" fmla="*/ 1121940 w 3109883"/>
              <a:gd name="connsiteY347" fmla="*/ 159482 h 3246244"/>
              <a:gd name="connsiteX348" fmla="*/ 1116655 w 3109883"/>
              <a:gd name="connsiteY348" fmla="*/ 175339 h 3246244"/>
              <a:gd name="connsiteX349" fmla="*/ 1111369 w 3109883"/>
              <a:gd name="connsiteY349" fmla="*/ 191196 h 3246244"/>
              <a:gd name="connsiteX350" fmla="*/ 1121940 w 3109883"/>
              <a:gd name="connsiteY350" fmla="*/ 275764 h 3246244"/>
              <a:gd name="connsiteX351" fmla="*/ 1132511 w 3109883"/>
              <a:gd name="connsiteY351" fmla="*/ 307478 h 3246244"/>
              <a:gd name="connsiteX352" fmla="*/ 1143082 w 3109883"/>
              <a:gd name="connsiteY352" fmla="*/ 323334 h 3246244"/>
              <a:gd name="connsiteX353" fmla="*/ 1185367 w 3109883"/>
              <a:gd name="connsiteY353" fmla="*/ 333905 h 3246244"/>
              <a:gd name="connsiteX354" fmla="*/ 1259364 w 3109883"/>
              <a:gd name="connsiteY354" fmla="*/ 323334 h 3246244"/>
              <a:gd name="connsiteX355" fmla="*/ 1269936 w 3109883"/>
              <a:gd name="connsiteY355" fmla="*/ 312763 h 3246244"/>
              <a:gd name="connsiteX356" fmla="*/ 1280507 w 3109883"/>
              <a:gd name="connsiteY356" fmla="*/ 296907 h 3246244"/>
              <a:gd name="connsiteX357" fmla="*/ 1359790 w 3109883"/>
              <a:gd name="connsiteY357" fmla="*/ 281050 h 3246244"/>
              <a:gd name="connsiteX358" fmla="*/ 1417931 w 3109883"/>
              <a:gd name="connsiteY358" fmla="*/ 275764 h 3246244"/>
              <a:gd name="connsiteX359" fmla="*/ 1449644 w 3109883"/>
              <a:gd name="connsiteY359" fmla="*/ 259908 h 3246244"/>
              <a:gd name="connsiteX360" fmla="*/ 1544784 w 3109883"/>
              <a:gd name="connsiteY360" fmla="*/ 249337 h 3246244"/>
              <a:gd name="connsiteX361" fmla="*/ 1560641 w 3109883"/>
              <a:gd name="connsiteY361" fmla="*/ 244051 h 3246244"/>
              <a:gd name="connsiteX362" fmla="*/ 1592354 w 3109883"/>
              <a:gd name="connsiteY362" fmla="*/ 265193 h 3246244"/>
              <a:gd name="connsiteX363" fmla="*/ 1608211 w 3109883"/>
              <a:gd name="connsiteY363" fmla="*/ 259908 h 3246244"/>
              <a:gd name="connsiteX364" fmla="*/ 1671637 w 3109883"/>
              <a:gd name="connsiteY364" fmla="*/ 249337 h 3246244"/>
              <a:gd name="connsiteX365" fmla="*/ 1713922 w 3109883"/>
              <a:gd name="connsiteY365" fmla="*/ 217623 h 3246244"/>
              <a:gd name="connsiteX366" fmla="*/ 1729778 w 3109883"/>
              <a:gd name="connsiteY366" fmla="*/ 185910 h 3246244"/>
              <a:gd name="connsiteX367" fmla="*/ 1745635 w 3109883"/>
              <a:gd name="connsiteY367" fmla="*/ 154197 h 3246244"/>
              <a:gd name="connsiteX368" fmla="*/ 1761492 w 3109883"/>
              <a:gd name="connsiteY368" fmla="*/ 143626 h 3246244"/>
              <a:gd name="connsiteX369" fmla="*/ 1787919 w 3109883"/>
              <a:gd name="connsiteY369" fmla="*/ 69628 h 3246244"/>
              <a:gd name="connsiteX370" fmla="*/ 1803776 w 3109883"/>
              <a:gd name="connsiteY370" fmla="*/ 69628 h 324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</a:cxnLst>
            <a:rect l="l" t="t" r="r" b="b"/>
            <a:pathLst>
              <a:path w="3109883" h="3246244">
                <a:moveTo>
                  <a:pt x="1803776" y="69628"/>
                </a:moveTo>
                <a:cubicBezTo>
                  <a:pt x="1808181" y="74033"/>
                  <a:pt x="1811105" y="87139"/>
                  <a:pt x="1814347" y="96056"/>
                </a:cubicBezTo>
                <a:cubicBezTo>
                  <a:pt x="1818155" y="106528"/>
                  <a:pt x="1818737" y="118498"/>
                  <a:pt x="1824918" y="127769"/>
                </a:cubicBezTo>
                <a:cubicBezTo>
                  <a:pt x="1849151" y="164118"/>
                  <a:pt x="1842042" y="147429"/>
                  <a:pt x="1851346" y="175339"/>
                </a:cubicBezTo>
                <a:cubicBezTo>
                  <a:pt x="1853108" y="196481"/>
                  <a:pt x="1852186" y="218021"/>
                  <a:pt x="1856631" y="238766"/>
                </a:cubicBezTo>
                <a:cubicBezTo>
                  <a:pt x="1857675" y="243639"/>
                  <a:pt x="1864090" y="245446"/>
                  <a:pt x="1867203" y="249337"/>
                </a:cubicBezTo>
                <a:cubicBezTo>
                  <a:pt x="1887340" y="274507"/>
                  <a:pt x="1866446" y="257641"/>
                  <a:pt x="1893630" y="275764"/>
                </a:cubicBezTo>
                <a:cubicBezTo>
                  <a:pt x="1895392" y="281050"/>
                  <a:pt x="1898916" y="286049"/>
                  <a:pt x="1898916" y="291621"/>
                </a:cubicBezTo>
                <a:cubicBezTo>
                  <a:pt x="1898916" y="305825"/>
                  <a:pt x="1895965" y="319894"/>
                  <a:pt x="1893630" y="333905"/>
                </a:cubicBezTo>
                <a:cubicBezTo>
                  <a:pt x="1892436" y="341071"/>
                  <a:pt x="1890341" y="348063"/>
                  <a:pt x="1888345" y="355048"/>
                </a:cubicBezTo>
                <a:cubicBezTo>
                  <a:pt x="1885293" y="365729"/>
                  <a:pt x="1881311" y="379041"/>
                  <a:pt x="1872488" y="386761"/>
                </a:cubicBezTo>
                <a:cubicBezTo>
                  <a:pt x="1862927" y="395127"/>
                  <a:pt x="1851346" y="400856"/>
                  <a:pt x="1840775" y="407903"/>
                </a:cubicBezTo>
                <a:lnTo>
                  <a:pt x="1824918" y="418474"/>
                </a:lnTo>
                <a:lnTo>
                  <a:pt x="1803776" y="450188"/>
                </a:lnTo>
                <a:cubicBezTo>
                  <a:pt x="1795976" y="461888"/>
                  <a:pt x="1789556" y="473762"/>
                  <a:pt x="1777348" y="481901"/>
                </a:cubicBezTo>
                <a:cubicBezTo>
                  <a:pt x="1772712" y="484991"/>
                  <a:pt x="1766777" y="485424"/>
                  <a:pt x="1761492" y="487186"/>
                </a:cubicBezTo>
                <a:cubicBezTo>
                  <a:pt x="1763254" y="492472"/>
                  <a:pt x="1761604" y="500974"/>
                  <a:pt x="1766777" y="503043"/>
                </a:cubicBezTo>
                <a:cubicBezTo>
                  <a:pt x="1769795" y="504250"/>
                  <a:pt x="1799074" y="494039"/>
                  <a:pt x="1803776" y="492472"/>
                </a:cubicBezTo>
                <a:cubicBezTo>
                  <a:pt x="1805538" y="487186"/>
                  <a:pt x="1806570" y="481598"/>
                  <a:pt x="1809062" y="476615"/>
                </a:cubicBezTo>
                <a:cubicBezTo>
                  <a:pt x="1811903" y="470933"/>
                  <a:pt x="1815566" y="465639"/>
                  <a:pt x="1819633" y="460759"/>
                </a:cubicBezTo>
                <a:cubicBezTo>
                  <a:pt x="1827985" y="450737"/>
                  <a:pt x="1839465" y="440272"/>
                  <a:pt x="1851346" y="434331"/>
                </a:cubicBezTo>
                <a:cubicBezTo>
                  <a:pt x="1856329" y="431839"/>
                  <a:pt x="1861917" y="430807"/>
                  <a:pt x="1867203" y="429045"/>
                </a:cubicBezTo>
                <a:cubicBezTo>
                  <a:pt x="1870727" y="423760"/>
                  <a:pt x="1872814" y="417157"/>
                  <a:pt x="1877774" y="413189"/>
                </a:cubicBezTo>
                <a:cubicBezTo>
                  <a:pt x="1882124" y="409709"/>
                  <a:pt x="1888647" y="410395"/>
                  <a:pt x="1893630" y="407903"/>
                </a:cubicBezTo>
                <a:cubicBezTo>
                  <a:pt x="1930127" y="389654"/>
                  <a:pt x="1886634" y="403045"/>
                  <a:pt x="1930629" y="392047"/>
                </a:cubicBezTo>
                <a:cubicBezTo>
                  <a:pt x="1978276" y="395450"/>
                  <a:pt x="1990506" y="392039"/>
                  <a:pt x="2025769" y="402618"/>
                </a:cubicBezTo>
                <a:cubicBezTo>
                  <a:pt x="2036442" y="405820"/>
                  <a:pt x="2048211" y="407008"/>
                  <a:pt x="2057482" y="413189"/>
                </a:cubicBezTo>
                <a:lnTo>
                  <a:pt x="2073339" y="423760"/>
                </a:lnTo>
                <a:cubicBezTo>
                  <a:pt x="2076863" y="429045"/>
                  <a:pt x="2087878" y="434656"/>
                  <a:pt x="2083910" y="439616"/>
                </a:cubicBezTo>
                <a:cubicBezTo>
                  <a:pt x="2076949" y="448317"/>
                  <a:pt x="2052197" y="450188"/>
                  <a:pt x="2052197" y="450188"/>
                </a:cubicBezTo>
                <a:cubicBezTo>
                  <a:pt x="2048427" y="461498"/>
                  <a:pt x="2045982" y="473464"/>
                  <a:pt x="2036340" y="481901"/>
                </a:cubicBezTo>
                <a:cubicBezTo>
                  <a:pt x="2013972" y="501473"/>
                  <a:pt x="2010548" y="501069"/>
                  <a:pt x="1988770" y="508329"/>
                </a:cubicBezTo>
                <a:cubicBezTo>
                  <a:pt x="1978812" y="518287"/>
                  <a:pt x="1970304" y="528869"/>
                  <a:pt x="1957057" y="534756"/>
                </a:cubicBezTo>
                <a:cubicBezTo>
                  <a:pt x="1946875" y="539281"/>
                  <a:pt x="1935915" y="541803"/>
                  <a:pt x="1925344" y="545327"/>
                </a:cubicBezTo>
                <a:lnTo>
                  <a:pt x="1909487" y="550613"/>
                </a:lnTo>
                <a:lnTo>
                  <a:pt x="1893630" y="555899"/>
                </a:lnTo>
                <a:cubicBezTo>
                  <a:pt x="1937984" y="570682"/>
                  <a:pt x="1913250" y="564601"/>
                  <a:pt x="2004627" y="555899"/>
                </a:cubicBezTo>
                <a:cubicBezTo>
                  <a:pt x="2010174" y="555371"/>
                  <a:pt x="2015501" y="553105"/>
                  <a:pt x="2020484" y="550613"/>
                </a:cubicBezTo>
                <a:cubicBezTo>
                  <a:pt x="2026166" y="547772"/>
                  <a:pt x="2031055" y="543566"/>
                  <a:pt x="2036340" y="540042"/>
                </a:cubicBezTo>
                <a:cubicBezTo>
                  <a:pt x="2039864" y="534756"/>
                  <a:pt x="2044070" y="529867"/>
                  <a:pt x="2046911" y="524185"/>
                </a:cubicBezTo>
                <a:cubicBezTo>
                  <a:pt x="2068795" y="480419"/>
                  <a:pt x="2032472" y="537917"/>
                  <a:pt x="2062768" y="492472"/>
                </a:cubicBezTo>
                <a:cubicBezTo>
                  <a:pt x="2066385" y="481620"/>
                  <a:pt x="2067015" y="471849"/>
                  <a:pt x="2078625" y="466044"/>
                </a:cubicBezTo>
                <a:cubicBezTo>
                  <a:pt x="2088591" y="461061"/>
                  <a:pt x="2110338" y="455473"/>
                  <a:pt x="2110338" y="455473"/>
                </a:cubicBezTo>
                <a:cubicBezTo>
                  <a:pt x="2110658" y="455526"/>
                  <a:pt x="2151062" y="460567"/>
                  <a:pt x="2157908" y="466044"/>
                </a:cubicBezTo>
                <a:cubicBezTo>
                  <a:pt x="2162869" y="470012"/>
                  <a:pt x="2163092" y="478534"/>
                  <a:pt x="2168479" y="481901"/>
                </a:cubicBezTo>
                <a:cubicBezTo>
                  <a:pt x="2177928" y="487807"/>
                  <a:pt x="2189621" y="488948"/>
                  <a:pt x="2200192" y="492472"/>
                </a:cubicBezTo>
                <a:cubicBezTo>
                  <a:pt x="2222944" y="500056"/>
                  <a:pt x="2210639" y="496406"/>
                  <a:pt x="2237191" y="503043"/>
                </a:cubicBezTo>
                <a:cubicBezTo>
                  <a:pt x="2241890" y="510091"/>
                  <a:pt x="2251872" y="529471"/>
                  <a:pt x="2263619" y="529471"/>
                </a:cubicBezTo>
                <a:cubicBezTo>
                  <a:pt x="2274762" y="529471"/>
                  <a:pt x="2295332" y="518900"/>
                  <a:pt x="2295332" y="518900"/>
                </a:cubicBezTo>
                <a:cubicBezTo>
                  <a:pt x="2297094" y="524185"/>
                  <a:pt x="2297138" y="530406"/>
                  <a:pt x="2300618" y="534756"/>
                </a:cubicBezTo>
                <a:cubicBezTo>
                  <a:pt x="2304586" y="539716"/>
                  <a:pt x="2311514" y="541359"/>
                  <a:pt x="2316474" y="545327"/>
                </a:cubicBezTo>
                <a:cubicBezTo>
                  <a:pt x="2354123" y="575448"/>
                  <a:pt x="2294107" y="533941"/>
                  <a:pt x="2342902" y="566470"/>
                </a:cubicBezTo>
                <a:cubicBezTo>
                  <a:pt x="2346426" y="571755"/>
                  <a:pt x="2350632" y="576644"/>
                  <a:pt x="2353473" y="582326"/>
                </a:cubicBezTo>
                <a:cubicBezTo>
                  <a:pt x="2362071" y="599521"/>
                  <a:pt x="2354183" y="598892"/>
                  <a:pt x="2369330" y="614040"/>
                </a:cubicBezTo>
                <a:cubicBezTo>
                  <a:pt x="2373822" y="618532"/>
                  <a:pt x="2379901" y="621087"/>
                  <a:pt x="2385186" y="624611"/>
                </a:cubicBezTo>
                <a:cubicBezTo>
                  <a:pt x="2388710" y="617564"/>
                  <a:pt x="2388155" y="605542"/>
                  <a:pt x="2395757" y="603469"/>
                </a:cubicBezTo>
                <a:cubicBezTo>
                  <a:pt x="2411149" y="599271"/>
                  <a:pt x="2427683" y="605625"/>
                  <a:pt x="2443327" y="608754"/>
                </a:cubicBezTo>
                <a:cubicBezTo>
                  <a:pt x="2469833" y="614055"/>
                  <a:pt x="2469716" y="619317"/>
                  <a:pt x="2490897" y="624611"/>
                </a:cubicBezTo>
                <a:cubicBezTo>
                  <a:pt x="2497945" y="626373"/>
                  <a:pt x="2504783" y="629566"/>
                  <a:pt x="2512040" y="629896"/>
                </a:cubicBezTo>
                <a:cubicBezTo>
                  <a:pt x="2582463" y="633097"/>
                  <a:pt x="2652988" y="633420"/>
                  <a:pt x="2723462" y="635182"/>
                </a:cubicBezTo>
                <a:cubicBezTo>
                  <a:pt x="2771033" y="651039"/>
                  <a:pt x="2746365" y="633420"/>
                  <a:pt x="2760460" y="661610"/>
                </a:cubicBezTo>
                <a:cubicBezTo>
                  <a:pt x="2763301" y="667292"/>
                  <a:pt x="2768190" y="671784"/>
                  <a:pt x="2771031" y="677466"/>
                </a:cubicBezTo>
                <a:cubicBezTo>
                  <a:pt x="2773523" y="682449"/>
                  <a:pt x="2772377" y="689383"/>
                  <a:pt x="2776317" y="693323"/>
                </a:cubicBezTo>
                <a:cubicBezTo>
                  <a:pt x="2785301" y="702307"/>
                  <a:pt x="2797459" y="707418"/>
                  <a:pt x="2808030" y="714465"/>
                </a:cubicBezTo>
                <a:lnTo>
                  <a:pt x="2823887" y="725036"/>
                </a:lnTo>
                <a:cubicBezTo>
                  <a:pt x="2827411" y="730322"/>
                  <a:pt x="2829071" y="737526"/>
                  <a:pt x="2834458" y="740893"/>
                </a:cubicBezTo>
                <a:cubicBezTo>
                  <a:pt x="2843907" y="746799"/>
                  <a:pt x="2856900" y="745283"/>
                  <a:pt x="2866171" y="751464"/>
                </a:cubicBezTo>
                <a:lnTo>
                  <a:pt x="2882028" y="762035"/>
                </a:lnTo>
                <a:cubicBezTo>
                  <a:pt x="2895314" y="801891"/>
                  <a:pt x="2875847" y="754310"/>
                  <a:pt x="2903170" y="788463"/>
                </a:cubicBezTo>
                <a:cubicBezTo>
                  <a:pt x="2912879" y="800599"/>
                  <a:pt x="2902613" y="810796"/>
                  <a:pt x="2919027" y="820176"/>
                </a:cubicBezTo>
                <a:cubicBezTo>
                  <a:pt x="2926827" y="824633"/>
                  <a:pt x="2936685" y="823513"/>
                  <a:pt x="2945455" y="825462"/>
                </a:cubicBezTo>
                <a:cubicBezTo>
                  <a:pt x="2993937" y="836236"/>
                  <a:pt x="2936698" y="828029"/>
                  <a:pt x="3024738" y="836033"/>
                </a:cubicBezTo>
                <a:cubicBezTo>
                  <a:pt x="3068733" y="847031"/>
                  <a:pt x="3025240" y="833640"/>
                  <a:pt x="3061737" y="851889"/>
                </a:cubicBezTo>
                <a:cubicBezTo>
                  <a:pt x="3069325" y="855683"/>
                  <a:pt x="3091955" y="860765"/>
                  <a:pt x="3098736" y="862460"/>
                </a:cubicBezTo>
                <a:cubicBezTo>
                  <a:pt x="3109883" y="895906"/>
                  <a:pt x="3101217" y="862302"/>
                  <a:pt x="3098736" y="920601"/>
                </a:cubicBezTo>
                <a:cubicBezTo>
                  <a:pt x="3095814" y="989274"/>
                  <a:pt x="3098022" y="1058155"/>
                  <a:pt x="3093450" y="1126738"/>
                </a:cubicBezTo>
                <a:cubicBezTo>
                  <a:pt x="3092709" y="1137856"/>
                  <a:pt x="3086403" y="1147880"/>
                  <a:pt x="3082879" y="1158451"/>
                </a:cubicBezTo>
                <a:cubicBezTo>
                  <a:pt x="3081117" y="1163737"/>
                  <a:pt x="3080684" y="1169672"/>
                  <a:pt x="3077593" y="1174308"/>
                </a:cubicBezTo>
                <a:cubicBezTo>
                  <a:pt x="3074069" y="1179593"/>
                  <a:pt x="3070990" y="1185204"/>
                  <a:pt x="3067022" y="1190164"/>
                </a:cubicBezTo>
                <a:cubicBezTo>
                  <a:pt x="3063909" y="1194055"/>
                  <a:pt x="3060279" y="1197546"/>
                  <a:pt x="3056451" y="1200736"/>
                </a:cubicBezTo>
                <a:cubicBezTo>
                  <a:pt x="3043342" y="1211660"/>
                  <a:pt x="3033181" y="1218011"/>
                  <a:pt x="3019452" y="1227163"/>
                </a:cubicBezTo>
                <a:lnTo>
                  <a:pt x="2987739" y="1274733"/>
                </a:lnTo>
                <a:cubicBezTo>
                  <a:pt x="2984215" y="1280019"/>
                  <a:pt x="2979177" y="1284564"/>
                  <a:pt x="2977168" y="1290590"/>
                </a:cubicBezTo>
                <a:cubicBezTo>
                  <a:pt x="2975406" y="1295876"/>
                  <a:pt x="2975822" y="1302507"/>
                  <a:pt x="2971882" y="1306447"/>
                </a:cubicBezTo>
                <a:cubicBezTo>
                  <a:pt x="2967943" y="1310386"/>
                  <a:pt x="2961311" y="1309970"/>
                  <a:pt x="2956026" y="1311732"/>
                </a:cubicBezTo>
                <a:cubicBezTo>
                  <a:pt x="2950740" y="1315256"/>
                  <a:pt x="2945851" y="1319462"/>
                  <a:pt x="2940169" y="1322303"/>
                </a:cubicBezTo>
                <a:cubicBezTo>
                  <a:pt x="2935186" y="1324795"/>
                  <a:pt x="2929182" y="1324883"/>
                  <a:pt x="2924312" y="1327589"/>
                </a:cubicBezTo>
                <a:cubicBezTo>
                  <a:pt x="2913206" y="1333759"/>
                  <a:pt x="2892599" y="1348731"/>
                  <a:pt x="2892599" y="1348731"/>
                </a:cubicBezTo>
                <a:cubicBezTo>
                  <a:pt x="2887091" y="1365256"/>
                  <a:pt x="2881752" y="1385913"/>
                  <a:pt x="2866171" y="1396301"/>
                </a:cubicBezTo>
                <a:lnTo>
                  <a:pt x="2850315" y="1406872"/>
                </a:lnTo>
                <a:cubicBezTo>
                  <a:pt x="2837026" y="1446737"/>
                  <a:pt x="2854954" y="1397592"/>
                  <a:pt x="2834458" y="1438585"/>
                </a:cubicBezTo>
                <a:cubicBezTo>
                  <a:pt x="2831966" y="1443568"/>
                  <a:pt x="2833113" y="1450502"/>
                  <a:pt x="2829173" y="1454442"/>
                </a:cubicBezTo>
                <a:cubicBezTo>
                  <a:pt x="2825233" y="1458382"/>
                  <a:pt x="2818823" y="1458880"/>
                  <a:pt x="2813316" y="1459727"/>
                </a:cubicBezTo>
                <a:cubicBezTo>
                  <a:pt x="2795815" y="1462419"/>
                  <a:pt x="2778079" y="1463251"/>
                  <a:pt x="2760460" y="1465013"/>
                </a:cubicBezTo>
                <a:cubicBezTo>
                  <a:pt x="2762222" y="1482632"/>
                  <a:pt x="2765746" y="1500162"/>
                  <a:pt x="2765746" y="1517869"/>
                </a:cubicBezTo>
                <a:cubicBezTo>
                  <a:pt x="2765746" y="1530327"/>
                  <a:pt x="2760460" y="1542409"/>
                  <a:pt x="2760460" y="1554867"/>
                </a:cubicBezTo>
                <a:cubicBezTo>
                  <a:pt x="2760460" y="1601031"/>
                  <a:pt x="2767944" y="1581716"/>
                  <a:pt x="2776317" y="1623579"/>
                </a:cubicBezTo>
                <a:cubicBezTo>
                  <a:pt x="2778079" y="1632388"/>
                  <a:pt x="2780126" y="1641145"/>
                  <a:pt x="2781603" y="1650007"/>
                </a:cubicBezTo>
                <a:cubicBezTo>
                  <a:pt x="2783651" y="1662296"/>
                  <a:pt x="2784659" y="1674749"/>
                  <a:pt x="2786888" y="1687006"/>
                </a:cubicBezTo>
                <a:cubicBezTo>
                  <a:pt x="2788187" y="1694153"/>
                  <a:pt x="2790412" y="1701101"/>
                  <a:pt x="2792174" y="1708148"/>
                </a:cubicBezTo>
                <a:cubicBezTo>
                  <a:pt x="2790412" y="1716957"/>
                  <a:pt x="2788365" y="1725714"/>
                  <a:pt x="2786888" y="1734576"/>
                </a:cubicBezTo>
                <a:cubicBezTo>
                  <a:pt x="2784840" y="1746865"/>
                  <a:pt x="2784046" y="1759359"/>
                  <a:pt x="2781603" y="1771575"/>
                </a:cubicBezTo>
                <a:cubicBezTo>
                  <a:pt x="2776346" y="1797860"/>
                  <a:pt x="2777084" y="1777777"/>
                  <a:pt x="2765746" y="1803288"/>
                </a:cubicBezTo>
                <a:cubicBezTo>
                  <a:pt x="2761220" y="1813470"/>
                  <a:pt x="2758699" y="1824430"/>
                  <a:pt x="2755175" y="1835001"/>
                </a:cubicBezTo>
                <a:cubicBezTo>
                  <a:pt x="2753413" y="1840287"/>
                  <a:pt x="2752381" y="1845875"/>
                  <a:pt x="2749889" y="1850858"/>
                </a:cubicBezTo>
                <a:lnTo>
                  <a:pt x="2739318" y="1872000"/>
                </a:lnTo>
                <a:cubicBezTo>
                  <a:pt x="2738657" y="1881921"/>
                  <a:pt x="2741359" y="1941916"/>
                  <a:pt x="2728747" y="1967140"/>
                </a:cubicBezTo>
                <a:cubicBezTo>
                  <a:pt x="2725906" y="1972822"/>
                  <a:pt x="2720756" y="1977192"/>
                  <a:pt x="2718176" y="1982997"/>
                </a:cubicBezTo>
                <a:cubicBezTo>
                  <a:pt x="2697481" y="2029562"/>
                  <a:pt x="2720690" y="2001625"/>
                  <a:pt x="2691748" y="2030567"/>
                </a:cubicBezTo>
                <a:cubicBezTo>
                  <a:pt x="2689986" y="2035852"/>
                  <a:pt x="2687994" y="2041066"/>
                  <a:pt x="2686463" y="2046423"/>
                </a:cubicBezTo>
                <a:cubicBezTo>
                  <a:pt x="2684467" y="2053408"/>
                  <a:pt x="2685715" y="2061893"/>
                  <a:pt x="2681177" y="2067566"/>
                </a:cubicBezTo>
                <a:cubicBezTo>
                  <a:pt x="2677696" y="2071917"/>
                  <a:pt x="2670606" y="2071089"/>
                  <a:pt x="2665320" y="2072851"/>
                </a:cubicBezTo>
                <a:cubicBezTo>
                  <a:pt x="2660035" y="2076375"/>
                  <a:pt x="2652988" y="2078137"/>
                  <a:pt x="2649464" y="2083422"/>
                </a:cubicBezTo>
                <a:cubicBezTo>
                  <a:pt x="2645435" y="2089466"/>
                  <a:pt x="2646265" y="2097606"/>
                  <a:pt x="2644178" y="2104564"/>
                </a:cubicBezTo>
                <a:cubicBezTo>
                  <a:pt x="2640976" y="2115237"/>
                  <a:pt x="2636309" y="2125468"/>
                  <a:pt x="2633607" y="2136278"/>
                </a:cubicBezTo>
                <a:cubicBezTo>
                  <a:pt x="2631913" y="2143056"/>
                  <a:pt x="2626829" y="2165691"/>
                  <a:pt x="2623036" y="2173277"/>
                </a:cubicBezTo>
                <a:cubicBezTo>
                  <a:pt x="2620195" y="2178959"/>
                  <a:pt x="2615989" y="2183848"/>
                  <a:pt x="2612465" y="2189133"/>
                </a:cubicBezTo>
                <a:cubicBezTo>
                  <a:pt x="2612420" y="2189313"/>
                  <a:pt x="2604420" y="2223606"/>
                  <a:pt x="2601894" y="2226132"/>
                </a:cubicBezTo>
                <a:cubicBezTo>
                  <a:pt x="2597954" y="2230072"/>
                  <a:pt x="2591020" y="2228926"/>
                  <a:pt x="2586037" y="2231418"/>
                </a:cubicBezTo>
                <a:cubicBezTo>
                  <a:pt x="2580355" y="2234259"/>
                  <a:pt x="2575986" y="2239409"/>
                  <a:pt x="2570181" y="2241989"/>
                </a:cubicBezTo>
                <a:cubicBezTo>
                  <a:pt x="2559998" y="2246515"/>
                  <a:pt x="2549038" y="2249036"/>
                  <a:pt x="2538467" y="2252560"/>
                </a:cubicBezTo>
                <a:lnTo>
                  <a:pt x="2506754" y="2263131"/>
                </a:lnTo>
                <a:lnTo>
                  <a:pt x="2490897" y="2268416"/>
                </a:lnTo>
                <a:cubicBezTo>
                  <a:pt x="2485612" y="2271940"/>
                  <a:pt x="2481011" y="2276817"/>
                  <a:pt x="2475041" y="2278988"/>
                </a:cubicBezTo>
                <a:cubicBezTo>
                  <a:pt x="2461387" y="2283953"/>
                  <a:pt x="2446539" y="2284965"/>
                  <a:pt x="2432756" y="2289559"/>
                </a:cubicBezTo>
                <a:cubicBezTo>
                  <a:pt x="2427471" y="2291321"/>
                  <a:pt x="2422422" y="2294108"/>
                  <a:pt x="2416900" y="2294844"/>
                </a:cubicBezTo>
                <a:cubicBezTo>
                  <a:pt x="2395870" y="2297648"/>
                  <a:pt x="2374615" y="2298368"/>
                  <a:pt x="2353473" y="2300130"/>
                </a:cubicBezTo>
                <a:cubicBezTo>
                  <a:pt x="2315772" y="2312696"/>
                  <a:pt x="2361349" y="2294878"/>
                  <a:pt x="2321760" y="2321272"/>
                </a:cubicBezTo>
                <a:cubicBezTo>
                  <a:pt x="2317124" y="2324363"/>
                  <a:pt x="2311260" y="2325027"/>
                  <a:pt x="2305903" y="2326558"/>
                </a:cubicBezTo>
                <a:cubicBezTo>
                  <a:pt x="2283833" y="2332864"/>
                  <a:pt x="2277957" y="2332977"/>
                  <a:pt x="2253048" y="2337129"/>
                </a:cubicBezTo>
                <a:cubicBezTo>
                  <a:pt x="2233668" y="2335367"/>
                  <a:pt x="2214172" y="2334595"/>
                  <a:pt x="2194907" y="2331843"/>
                </a:cubicBezTo>
                <a:cubicBezTo>
                  <a:pt x="2189391" y="2331055"/>
                  <a:pt x="2182990" y="2322618"/>
                  <a:pt x="2179050" y="2326558"/>
                </a:cubicBezTo>
                <a:cubicBezTo>
                  <a:pt x="2143520" y="2362088"/>
                  <a:pt x="2187744" y="2350259"/>
                  <a:pt x="2157908" y="2374127"/>
                </a:cubicBezTo>
                <a:cubicBezTo>
                  <a:pt x="2153557" y="2377608"/>
                  <a:pt x="2147337" y="2377651"/>
                  <a:pt x="2142051" y="2379413"/>
                </a:cubicBezTo>
                <a:cubicBezTo>
                  <a:pt x="2113864" y="2421694"/>
                  <a:pt x="2150858" y="2370608"/>
                  <a:pt x="2115623" y="2405841"/>
                </a:cubicBezTo>
                <a:cubicBezTo>
                  <a:pt x="2111131" y="2410333"/>
                  <a:pt x="2109020" y="2416737"/>
                  <a:pt x="2105052" y="2421697"/>
                </a:cubicBezTo>
                <a:cubicBezTo>
                  <a:pt x="2101939" y="2425588"/>
                  <a:pt x="2097594" y="2428378"/>
                  <a:pt x="2094481" y="2432269"/>
                </a:cubicBezTo>
                <a:cubicBezTo>
                  <a:pt x="2090513" y="2437229"/>
                  <a:pt x="2088402" y="2443633"/>
                  <a:pt x="2083910" y="2448125"/>
                </a:cubicBezTo>
                <a:cubicBezTo>
                  <a:pt x="2079418" y="2452617"/>
                  <a:pt x="2072933" y="2454629"/>
                  <a:pt x="2068053" y="2458696"/>
                </a:cubicBezTo>
                <a:cubicBezTo>
                  <a:pt x="2062311" y="2463481"/>
                  <a:pt x="2057939" y="2469768"/>
                  <a:pt x="2052197" y="2474553"/>
                </a:cubicBezTo>
                <a:cubicBezTo>
                  <a:pt x="2038537" y="2485936"/>
                  <a:pt x="2036374" y="2485113"/>
                  <a:pt x="2020484" y="2490410"/>
                </a:cubicBezTo>
                <a:cubicBezTo>
                  <a:pt x="2016960" y="2493934"/>
                  <a:pt x="2013025" y="2497090"/>
                  <a:pt x="2009912" y="2500981"/>
                </a:cubicBezTo>
                <a:cubicBezTo>
                  <a:pt x="1988092" y="2528254"/>
                  <a:pt x="1998133" y="2531331"/>
                  <a:pt x="1994056" y="2580264"/>
                </a:cubicBezTo>
                <a:cubicBezTo>
                  <a:pt x="2010577" y="2646355"/>
                  <a:pt x="1989462" y="2564184"/>
                  <a:pt x="2004627" y="2617263"/>
                </a:cubicBezTo>
                <a:cubicBezTo>
                  <a:pt x="2006623" y="2624248"/>
                  <a:pt x="2008150" y="2631358"/>
                  <a:pt x="2009912" y="2638405"/>
                </a:cubicBezTo>
                <a:cubicBezTo>
                  <a:pt x="2007908" y="2684491"/>
                  <a:pt x="2032644" y="2746579"/>
                  <a:pt x="1988770" y="2775829"/>
                </a:cubicBezTo>
                <a:cubicBezTo>
                  <a:pt x="1984134" y="2778919"/>
                  <a:pt x="1978199" y="2779353"/>
                  <a:pt x="1972914" y="2781115"/>
                </a:cubicBezTo>
                <a:cubicBezTo>
                  <a:pt x="1969390" y="2786400"/>
                  <a:pt x="1966834" y="2792479"/>
                  <a:pt x="1962342" y="2796971"/>
                </a:cubicBezTo>
                <a:cubicBezTo>
                  <a:pt x="1957850" y="2801463"/>
                  <a:pt x="1949853" y="2802155"/>
                  <a:pt x="1946486" y="2807542"/>
                </a:cubicBezTo>
                <a:cubicBezTo>
                  <a:pt x="1935193" y="2825612"/>
                  <a:pt x="1937591" y="2841833"/>
                  <a:pt x="1930629" y="2860398"/>
                </a:cubicBezTo>
                <a:cubicBezTo>
                  <a:pt x="1927862" y="2867775"/>
                  <a:pt x="1923162" y="2874298"/>
                  <a:pt x="1920058" y="2881540"/>
                </a:cubicBezTo>
                <a:cubicBezTo>
                  <a:pt x="1909766" y="2905556"/>
                  <a:pt x="1921782" y="2890389"/>
                  <a:pt x="1904201" y="2907968"/>
                </a:cubicBezTo>
                <a:cubicBezTo>
                  <a:pt x="1898694" y="2924492"/>
                  <a:pt x="1893353" y="2945152"/>
                  <a:pt x="1877774" y="2955538"/>
                </a:cubicBezTo>
                <a:lnTo>
                  <a:pt x="1861917" y="2966109"/>
                </a:lnTo>
                <a:cubicBezTo>
                  <a:pt x="1860155" y="2971395"/>
                  <a:pt x="1859722" y="2977330"/>
                  <a:pt x="1856631" y="2981966"/>
                </a:cubicBezTo>
                <a:cubicBezTo>
                  <a:pt x="1848492" y="2994175"/>
                  <a:pt x="1836619" y="3000593"/>
                  <a:pt x="1824918" y="3008393"/>
                </a:cubicBezTo>
                <a:cubicBezTo>
                  <a:pt x="1821394" y="3013679"/>
                  <a:pt x="1818839" y="3019758"/>
                  <a:pt x="1814347" y="3024250"/>
                </a:cubicBezTo>
                <a:cubicBezTo>
                  <a:pt x="1809855" y="3028742"/>
                  <a:pt x="1802673" y="3030040"/>
                  <a:pt x="1798490" y="3034821"/>
                </a:cubicBezTo>
                <a:cubicBezTo>
                  <a:pt x="1790124" y="3044382"/>
                  <a:pt x="1784395" y="3055963"/>
                  <a:pt x="1777348" y="3066534"/>
                </a:cubicBezTo>
                <a:lnTo>
                  <a:pt x="1756206" y="3098248"/>
                </a:lnTo>
                <a:lnTo>
                  <a:pt x="1735064" y="3129961"/>
                </a:lnTo>
                <a:cubicBezTo>
                  <a:pt x="1725760" y="3157871"/>
                  <a:pt x="1732869" y="3141181"/>
                  <a:pt x="1708636" y="3177531"/>
                </a:cubicBezTo>
                <a:cubicBezTo>
                  <a:pt x="1705112" y="3182817"/>
                  <a:pt x="1703351" y="3189864"/>
                  <a:pt x="1698065" y="3193388"/>
                </a:cubicBezTo>
                <a:lnTo>
                  <a:pt x="1682208" y="3203959"/>
                </a:lnTo>
                <a:cubicBezTo>
                  <a:pt x="1669628" y="3241698"/>
                  <a:pt x="1680908" y="3229491"/>
                  <a:pt x="1655781" y="3246243"/>
                </a:cubicBezTo>
                <a:cubicBezTo>
                  <a:pt x="1629352" y="3237435"/>
                  <a:pt x="1641687" y="3246244"/>
                  <a:pt x="1629353" y="3209244"/>
                </a:cubicBezTo>
                <a:lnTo>
                  <a:pt x="1624067" y="3193388"/>
                </a:lnTo>
                <a:cubicBezTo>
                  <a:pt x="1625829" y="3186340"/>
                  <a:pt x="1626491" y="3178922"/>
                  <a:pt x="1629353" y="3172245"/>
                </a:cubicBezTo>
                <a:cubicBezTo>
                  <a:pt x="1631855" y="3166406"/>
                  <a:pt x="1637083" y="3162071"/>
                  <a:pt x="1639924" y="3156389"/>
                </a:cubicBezTo>
                <a:cubicBezTo>
                  <a:pt x="1642416" y="3151406"/>
                  <a:pt x="1643448" y="3145818"/>
                  <a:pt x="1645210" y="3140532"/>
                </a:cubicBezTo>
                <a:cubicBezTo>
                  <a:pt x="1635568" y="3111609"/>
                  <a:pt x="1642234" y="3109974"/>
                  <a:pt x="1618782" y="3098248"/>
                </a:cubicBezTo>
                <a:cubicBezTo>
                  <a:pt x="1613799" y="3095756"/>
                  <a:pt x="1608211" y="3094724"/>
                  <a:pt x="1602925" y="3092962"/>
                </a:cubicBezTo>
                <a:cubicBezTo>
                  <a:pt x="1597639" y="3087676"/>
                  <a:pt x="1592810" y="3081890"/>
                  <a:pt x="1587068" y="3077105"/>
                </a:cubicBezTo>
                <a:cubicBezTo>
                  <a:pt x="1582188" y="3073038"/>
                  <a:pt x="1575180" y="3071494"/>
                  <a:pt x="1571212" y="3066534"/>
                </a:cubicBezTo>
                <a:cubicBezTo>
                  <a:pt x="1542035" y="3030063"/>
                  <a:pt x="1595511" y="3070402"/>
                  <a:pt x="1550070" y="3040107"/>
                </a:cubicBezTo>
                <a:cubicBezTo>
                  <a:pt x="1548308" y="3034821"/>
                  <a:pt x="1549318" y="3027488"/>
                  <a:pt x="1544784" y="3024250"/>
                </a:cubicBezTo>
                <a:cubicBezTo>
                  <a:pt x="1535717" y="3017773"/>
                  <a:pt x="1523642" y="3017203"/>
                  <a:pt x="1513071" y="3013679"/>
                </a:cubicBezTo>
                <a:lnTo>
                  <a:pt x="1497214" y="3008393"/>
                </a:lnTo>
                <a:lnTo>
                  <a:pt x="1497214" y="3008393"/>
                </a:lnTo>
                <a:lnTo>
                  <a:pt x="1465501" y="2987251"/>
                </a:lnTo>
                <a:cubicBezTo>
                  <a:pt x="1445673" y="2992208"/>
                  <a:pt x="1434246" y="2998051"/>
                  <a:pt x="1412645" y="2987251"/>
                </a:cubicBezTo>
                <a:cubicBezTo>
                  <a:pt x="1406963" y="2984410"/>
                  <a:pt x="1405598" y="2976680"/>
                  <a:pt x="1402074" y="2971395"/>
                </a:cubicBezTo>
                <a:cubicBezTo>
                  <a:pt x="1400312" y="2966109"/>
                  <a:pt x="1400729" y="2959478"/>
                  <a:pt x="1396789" y="2955538"/>
                </a:cubicBezTo>
                <a:cubicBezTo>
                  <a:pt x="1373727" y="2932476"/>
                  <a:pt x="1368998" y="2936271"/>
                  <a:pt x="1343933" y="2929110"/>
                </a:cubicBezTo>
                <a:cubicBezTo>
                  <a:pt x="1290864" y="2913947"/>
                  <a:pt x="1373020" y="2935061"/>
                  <a:pt x="1306934" y="2918539"/>
                </a:cubicBezTo>
                <a:cubicBezTo>
                  <a:pt x="1305172" y="2913253"/>
                  <a:pt x="1301095" y="2908226"/>
                  <a:pt x="1301649" y="2902682"/>
                </a:cubicBezTo>
                <a:cubicBezTo>
                  <a:pt x="1302925" y="2889919"/>
                  <a:pt x="1303774" y="2875337"/>
                  <a:pt x="1312220" y="2865684"/>
                </a:cubicBezTo>
                <a:cubicBezTo>
                  <a:pt x="1318136" y="2858923"/>
                  <a:pt x="1329878" y="2862347"/>
                  <a:pt x="1338648" y="2860398"/>
                </a:cubicBezTo>
                <a:cubicBezTo>
                  <a:pt x="1345739" y="2858822"/>
                  <a:pt x="1352743" y="2856874"/>
                  <a:pt x="1359790" y="2855112"/>
                </a:cubicBezTo>
                <a:cubicBezTo>
                  <a:pt x="1384632" y="2830272"/>
                  <a:pt x="1371499" y="2845477"/>
                  <a:pt x="1396789" y="2807542"/>
                </a:cubicBezTo>
                <a:cubicBezTo>
                  <a:pt x="1400313" y="2802257"/>
                  <a:pt x="1402075" y="2795210"/>
                  <a:pt x="1407360" y="2791686"/>
                </a:cubicBezTo>
                <a:lnTo>
                  <a:pt x="1439073" y="2770544"/>
                </a:lnTo>
                <a:cubicBezTo>
                  <a:pt x="1444359" y="2767020"/>
                  <a:pt x="1450438" y="2764465"/>
                  <a:pt x="1454930" y="2759973"/>
                </a:cubicBezTo>
                <a:cubicBezTo>
                  <a:pt x="1480445" y="2734455"/>
                  <a:pt x="1448031" y="2765491"/>
                  <a:pt x="1481357" y="2738830"/>
                </a:cubicBezTo>
                <a:cubicBezTo>
                  <a:pt x="1519014" y="2708705"/>
                  <a:pt x="1458984" y="2750223"/>
                  <a:pt x="1507785" y="2717688"/>
                </a:cubicBezTo>
                <a:cubicBezTo>
                  <a:pt x="1511309" y="2712403"/>
                  <a:pt x="1514388" y="2706792"/>
                  <a:pt x="1518356" y="2701832"/>
                </a:cubicBezTo>
                <a:cubicBezTo>
                  <a:pt x="1548490" y="2664164"/>
                  <a:pt x="1506951" y="2724220"/>
                  <a:pt x="1539499" y="2675404"/>
                </a:cubicBezTo>
                <a:cubicBezTo>
                  <a:pt x="1548786" y="2647538"/>
                  <a:pt x="1538645" y="2670084"/>
                  <a:pt x="1560641" y="2643690"/>
                </a:cubicBezTo>
                <a:cubicBezTo>
                  <a:pt x="1564708" y="2638810"/>
                  <a:pt x="1566720" y="2632326"/>
                  <a:pt x="1571212" y="2627834"/>
                </a:cubicBezTo>
                <a:cubicBezTo>
                  <a:pt x="1586359" y="2612687"/>
                  <a:pt x="1585730" y="2620575"/>
                  <a:pt x="1602925" y="2611977"/>
                </a:cubicBezTo>
                <a:cubicBezTo>
                  <a:pt x="1608607" y="2609136"/>
                  <a:pt x="1613496" y="2604930"/>
                  <a:pt x="1618782" y="2601406"/>
                </a:cubicBezTo>
                <a:cubicBezTo>
                  <a:pt x="1628882" y="2571107"/>
                  <a:pt x="1641460" y="2550854"/>
                  <a:pt x="1618782" y="2516837"/>
                </a:cubicBezTo>
                <a:cubicBezTo>
                  <a:pt x="1618781" y="2516836"/>
                  <a:pt x="1579141" y="2503624"/>
                  <a:pt x="1571212" y="2500981"/>
                </a:cubicBezTo>
                <a:lnTo>
                  <a:pt x="1555355" y="2495695"/>
                </a:lnTo>
                <a:cubicBezTo>
                  <a:pt x="1557117" y="2486886"/>
                  <a:pt x="1560641" y="2478251"/>
                  <a:pt x="1560641" y="2469267"/>
                </a:cubicBezTo>
                <a:cubicBezTo>
                  <a:pt x="1560641" y="2318085"/>
                  <a:pt x="1587844" y="2354609"/>
                  <a:pt x="1449644" y="2347700"/>
                </a:cubicBezTo>
                <a:cubicBezTo>
                  <a:pt x="1436917" y="2309513"/>
                  <a:pt x="1449366" y="2350902"/>
                  <a:pt x="1439073" y="2273702"/>
                </a:cubicBezTo>
                <a:cubicBezTo>
                  <a:pt x="1438113" y="2266502"/>
                  <a:pt x="1437037" y="2259057"/>
                  <a:pt x="1433788" y="2252560"/>
                </a:cubicBezTo>
                <a:cubicBezTo>
                  <a:pt x="1431559" y="2248103"/>
                  <a:pt x="1426740" y="2245513"/>
                  <a:pt x="1423216" y="2241989"/>
                </a:cubicBezTo>
                <a:cubicBezTo>
                  <a:pt x="1421454" y="2234942"/>
                  <a:pt x="1419927" y="2227832"/>
                  <a:pt x="1417931" y="2220847"/>
                </a:cubicBezTo>
                <a:cubicBezTo>
                  <a:pt x="1416400" y="2215490"/>
                  <a:pt x="1416996" y="2208471"/>
                  <a:pt x="1412645" y="2204990"/>
                </a:cubicBezTo>
                <a:cubicBezTo>
                  <a:pt x="1406973" y="2200452"/>
                  <a:pt x="1398735" y="2200393"/>
                  <a:pt x="1391503" y="2199704"/>
                </a:cubicBezTo>
                <a:cubicBezTo>
                  <a:pt x="1361635" y="2196859"/>
                  <a:pt x="1331600" y="2196181"/>
                  <a:pt x="1301649" y="2194419"/>
                </a:cubicBezTo>
                <a:lnTo>
                  <a:pt x="1291078" y="2162705"/>
                </a:lnTo>
                <a:cubicBezTo>
                  <a:pt x="1289316" y="2157420"/>
                  <a:pt x="1286885" y="2152312"/>
                  <a:pt x="1285792" y="2146849"/>
                </a:cubicBezTo>
                <a:cubicBezTo>
                  <a:pt x="1284030" y="2138040"/>
                  <a:pt x="1283661" y="2128833"/>
                  <a:pt x="1280507" y="2120421"/>
                </a:cubicBezTo>
                <a:cubicBezTo>
                  <a:pt x="1278277" y="2114473"/>
                  <a:pt x="1272777" y="2110246"/>
                  <a:pt x="1269936" y="2104564"/>
                </a:cubicBezTo>
                <a:cubicBezTo>
                  <a:pt x="1267444" y="2099581"/>
                  <a:pt x="1268131" y="2093058"/>
                  <a:pt x="1264650" y="2088708"/>
                </a:cubicBezTo>
                <a:cubicBezTo>
                  <a:pt x="1260681" y="2083748"/>
                  <a:pt x="1254079" y="2081661"/>
                  <a:pt x="1248793" y="2078137"/>
                </a:cubicBezTo>
                <a:cubicBezTo>
                  <a:pt x="1254079" y="2074613"/>
                  <a:pt x="1258968" y="2070407"/>
                  <a:pt x="1264650" y="2067566"/>
                </a:cubicBezTo>
                <a:cubicBezTo>
                  <a:pt x="1269633" y="2065074"/>
                  <a:pt x="1279924" y="2067821"/>
                  <a:pt x="1280507" y="2062280"/>
                </a:cubicBezTo>
                <a:cubicBezTo>
                  <a:pt x="1287220" y="1998504"/>
                  <a:pt x="1283106" y="1990795"/>
                  <a:pt x="1269936" y="1951284"/>
                </a:cubicBezTo>
                <a:cubicBezTo>
                  <a:pt x="1272772" y="1937100"/>
                  <a:pt x="1278128" y="1904638"/>
                  <a:pt x="1285792" y="1893142"/>
                </a:cubicBezTo>
                <a:cubicBezTo>
                  <a:pt x="1299454" y="1872650"/>
                  <a:pt x="1294354" y="1883312"/>
                  <a:pt x="1301649" y="1861429"/>
                </a:cubicBezTo>
                <a:cubicBezTo>
                  <a:pt x="1296363" y="1859667"/>
                  <a:pt x="1290775" y="1858636"/>
                  <a:pt x="1285792" y="1856144"/>
                </a:cubicBezTo>
                <a:cubicBezTo>
                  <a:pt x="1264106" y="1845301"/>
                  <a:pt x="1275749" y="1848109"/>
                  <a:pt x="1259364" y="1835001"/>
                </a:cubicBezTo>
                <a:cubicBezTo>
                  <a:pt x="1254404" y="1831033"/>
                  <a:pt x="1248793" y="1827954"/>
                  <a:pt x="1243508" y="1824430"/>
                </a:cubicBezTo>
                <a:cubicBezTo>
                  <a:pt x="1241746" y="1819145"/>
                  <a:pt x="1239069" y="1814081"/>
                  <a:pt x="1238222" y="1808574"/>
                </a:cubicBezTo>
                <a:cubicBezTo>
                  <a:pt x="1235530" y="1791073"/>
                  <a:pt x="1238988" y="1772358"/>
                  <a:pt x="1232937" y="1755718"/>
                </a:cubicBezTo>
                <a:cubicBezTo>
                  <a:pt x="1231033" y="1750482"/>
                  <a:pt x="1222366" y="1752195"/>
                  <a:pt x="1217080" y="1750433"/>
                </a:cubicBezTo>
                <a:cubicBezTo>
                  <a:pt x="1191953" y="1733682"/>
                  <a:pt x="1207247" y="1741869"/>
                  <a:pt x="1169510" y="1729290"/>
                </a:cubicBezTo>
                <a:lnTo>
                  <a:pt x="1137797" y="1718719"/>
                </a:lnTo>
                <a:cubicBezTo>
                  <a:pt x="1132511" y="1716957"/>
                  <a:pt x="1127345" y="1714785"/>
                  <a:pt x="1121940" y="1713434"/>
                </a:cubicBezTo>
                <a:lnTo>
                  <a:pt x="1100798" y="1708148"/>
                </a:lnTo>
                <a:cubicBezTo>
                  <a:pt x="1097274" y="1702863"/>
                  <a:pt x="1093068" y="1697974"/>
                  <a:pt x="1090227" y="1692292"/>
                </a:cubicBezTo>
                <a:cubicBezTo>
                  <a:pt x="1075815" y="1663470"/>
                  <a:pt x="1080011" y="1584136"/>
                  <a:pt x="1079656" y="1581295"/>
                </a:cubicBezTo>
                <a:cubicBezTo>
                  <a:pt x="1078274" y="1570238"/>
                  <a:pt x="1072609" y="1560153"/>
                  <a:pt x="1069085" y="1549582"/>
                </a:cubicBezTo>
                <a:cubicBezTo>
                  <a:pt x="1067323" y="1544296"/>
                  <a:pt x="1068782" y="1536217"/>
                  <a:pt x="1063799" y="1533725"/>
                </a:cubicBezTo>
                <a:lnTo>
                  <a:pt x="1042657" y="1523154"/>
                </a:lnTo>
                <a:cubicBezTo>
                  <a:pt x="1039133" y="1517868"/>
                  <a:pt x="1037047" y="1511265"/>
                  <a:pt x="1032086" y="1507297"/>
                </a:cubicBezTo>
                <a:cubicBezTo>
                  <a:pt x="1027735" y="1503817"/>
                  <a:pt x="1021212" y="1504504"/>
                  <a:pt x="1016229" y="1502012"/>
                </a:cubicBezTo>
                <a:cubicBezTo>
                  <a:pt x="1010547" y="1499171"/>
                  <a:pt x="1005333" y="1495409"/>
                  <a:pt x="1000373" y="1491441"/>
                </a:cubicBezTo>
                <a:cubicBezTo>
                  <a:pt x="957255" y="1456948"/>
                  <a:pt x="1026509" y="1504786"/>
                  <a:pt x="973945" y="1475584"/>
                </a:cubicBezTo>
                <a:cubicBezTo>
                  <a:pt x="962839" y="1469414"/>
                  <a:pt x="954284" y="1458460"/>
                  <a:pt x="942231" y="1454442"/>
                </a:cubicBezTo>
                <a:lnTo>
                  <a:pt x="894662" y="1438585"/>
                </a:lnTo>
                <a:cubicBezTo>
                  <a:pt x="889376" y="1436823"/>
                  <a:pt x="884210" y="1434651"/>
                  <a:pt x="878805" y="1433300"/>
                </a:cubicBezTo>
                <a:cubicBezTo>
                  <a:pt x="852258" y="1426663"/>
                  <a:pt x="864555" y="1430311"/>
                  <a:pt x="841806" y="1422729"/>
                </a:cubicBezTo>
                <a:cubicBezTo>
                  <a:pt x="831235" y="1415681"/>
                  <a:pt x="822146" y="1405604"/>
                  <a:pt x="810093" y="1401586"/>
                </a:cubicBezTo>
                <a:lnTo>
                  <a:pt x="762523" y="1385730"/>
                </a:lnTo>
                <a:cubicBezTo>
                  <a:pt x="757237" y="1383968"/>
                  <a:pt x="751302" y="1383535"/>
                  <a:pt x="746666" y="1380444"/>
                </a:cubicBezTo>
                <a:cubicBezTo>
                  <a:pt x="741381" y="1376920"/>
                  <a:pt x="735770" y="1373841"/>
                  <a:pt x="730810" y="1369873"/>
                </a:cubicBezTo>
                <a:cubicBezTo>
                  <a:pt x="726919" y="1366760"/>
                  <a:pt x="724511" y="1361866"/>
                  <a:pt x="720238" y="1359302"/>
                </a:cubicBezTo>
                <a:cubicBezTo>
                  <a:pt x="715461" y="1356436"/>
                  <a:pt x="709667" y="1355778"/>
                  <a:pt x="704382" y="1354016"/>
                </a:cubicBezTo>
                <a:cubicBezTo>
                  <a:pt x="700858" y="1343445"/>
                  <a:pt x="694317" y="1333434"/>
                  <a:pt x="693811" y="1322303"/>
                </a:cubicBezTo>
                <a:cubicBezTo>
                  <a:pt x="688272" y="1200455"/>
                  <a:pt x="725335" y="1218289"/>
                  <a:pt x="672668" y="1200736"/>
                </a:cubicBezTo>
                <a:cubicBezTo>
                  <a:pt x="624643" y="1207596"/>
                  <a:pt x="647485" y="1202082"/>
                  <a:pt x="603956" y="1216592"/>
                </a:cubicBezTo>
                <a:cubicBezTo>
                  <a:pt x="598671" y="1218354"/>
                  <a:pt x="592736" y="1218788"/>
                  <a:pt x="588100" y="1221878"/>
                </a:cubicBezTo>
                <a:cubicBezTo>
                  <a:pt x="582814" y="1225402"/>
                  <a:pt x="578213" y="1230278"/>
                  <a:pt x="572243" y="1232449"/>
                </a:cubicBezTo>
                <a:cubicBezTo>
                  <a:pt x="558589" y="1237414"/>
                  <a:pt x="543742" y="1238426"/>
                  <a:pt x="529959" y="1243020"/>
                </a:cubicBezTo>
                <a:lnTo>
                  <a:pt x="514102" y="1248305"/>
                </a:lnTo>
                <a:cubicBezTo>
                  <a:pt x="505576" y="1256831"/>
                  <a:pt x="499344" y="1264447"/>
                  <a:pt x="487674" y="1269448"/>
                </a:cubicBezTo>
                <a:cubicBezTo>
                  <a:pt x="480997" y="1272309"/>
                  <a:pt x="473579" y="1272971"/>
                  <a:pt x="466532" y="1274733"/>
                </a:cubicBezTo>
                <a:cubicBezTo>
                  <a:pt x="207506" y="1267333"/>
                  <a:pt x="306789" y="1331694"/>
                  <a:pt x="276252" y="1163737"/>
                </a:cubicBezTo>
                <a:cubicBezTo>
                  <a:pt x="275116" y="1157487"/>
                  <a:pt x="265681" y="1156690"/>
                  <a:pt x="260396" y="1153166"/>
                </a:cubicBezTo>
                <a:cubicBezTo>
                  <a:pt x="217456" y="1157460"/>
                  <a:pt x="216448" y="1149211"/>
                  <a:pt x="191684" y="1169022"/>
                </a:cubicBezTo>
                <a:cubicBezTo>
                  <a:pt x="187793" y="1172135"/>
                  <a:pt x="185569" y="1177364"/>
                  <a:pt x="181112" y="1179593"/>
                </a:cubicBezTo>
                <a:cubicBezTo>
                  <a:pt x="171146" y="1184576"/>
                  <a:pt x="149399" y="1190164"/>
                  <a:pt x="149399" y="1190164"/>
                </a:cubicBezTo>
                <a:cubicBezTo>
                  <a:pt x="114802" y="1178633"/>
                  <a:pt x="148758" y="1194649"/>
                  <a:pt x="128257" y="1169022"/>
                </a:cubicBezTo>
                <a:cubicBezTo>
                  <a:pt x="120806" y="1159707"/>
                  <a:pt x="106989" y="1156648"/>
                  <a:pt x="96544" y="1153166"/>
                </a:cubicBezTo>
                <a:cubicBezTo>
                  <a:pt x="93020" y="1147880"/>
                  <a:pt x="87982" y="1143336"/>
                  <a:pt x="85973" y="1137309"/>
                </a:cubicBezTo>
                <a:cubicBezTo>
                  <a:pt x="82584" y="1127142"/>
                  <a:pt x="86916" y="1114317"/>
                  <a:pt x="80687" y="1105596"/>
                </a:cubicBezTo>
                <a:cubicBezTo>
                  <a:pt x="76465" y="1099685"/>
                  <a:pt x="66503" y="1102397"/>
                  <a:pt x="59545" y="1100310"/>
                </a:cubicBezTo>
                <a:cubicBezTo>
                  <a:pt x="48872" y="1097108"/>
                  <a:pt x="27831" y="1089739"/>
                  <a:pt x="27831" y="1089739"/>
                </a:cubicBezTo>
                <a:cubicBezTo>
                  <a:pt x="8548" y="1060813"/>
                  <a:pt x="21693" y="1085472"/>
                  <a:pt x="11975" y="1036884"/>
                </a:cubicBezTo>
                <a:cubicBezTo>
                  <a:pt x="10882" y="1031421"/>
                  <a:pt x="8220" y="1026384"/>
                  <a:pt x="6689" y="1021027"/>
                </a:cubicBezTo>
                <a:cubicBezTo>
                  <a:pt x="4693" y="1014042"/>
                  <a:pt x="3166" y="1006932"/>
                  <a:pt x="1404" y="999885"/>
                </a:cubicBezTo>
                <a:cubicBezTo>
                  <a:pt x="3166" y="987552"/>
                  <a:pt x="0" y="973396"/>
                  <a:pt x="6689" y="962886"/>
                </a:cubicBezTo>
                <a:cubicBezTo>
                  <a:pt x="22241" y="938447"/>
                  <a:pt x="35470" y="945853"/>
                  <a:pt x="54259" y="936458"/>
                </a:cubicBezTo>
                <a:cubicBezTo>
                  <a:pt x="59941" y="933617"/>
                  <a:pt x="64830" y="929411"/>
                  <a:pt x="70116" y="925887"/>
                </a:cubicBezTo>
                <a:cubicBezTo>
                  <a:pt x="71878" y="920601"/>
                  <a:pt x="74308" y="915493"/>
                  <a:pt x="75401" y="910030"/>
                </a:cubicBezTo>
                <a:cubicBezTo>
                  <a:pt x="77844" y="897814"/>
                  <a:pt x="76747" y="884851"/>
                  <a:pt x="80687" y="873032"/>
                </a:cubicBezTo>
                <a:cubicBezTo>
                  <a:pt x="82263" y="868304"/>
                  <a:pt x="87367" y="865573"/>
                  <a:pt x="91258" y="862460"/>
                </a:cubicBezTo>
                <a:cubicBezTo>
                  <a:pt x="105894" y="850751"/>
                  <a:pt x="106225" y="852186"/>
                  <a:pt x="122971" y="846604"/>
                </a:cubicBezTo>
                <a:cubicBezTo>
                  <a:pt x="140590" y="820175"/>
                  <a:pt x="128256" y="834272"/>
                  <a:pt x="165256" y="809605"/>
                </a:cubicBezTo>
                <a:cubicBezTo>
                  <a:pt x="170541" y="806081"/>
                  <a:pt x="175086" y="801043"/>
                  <a:pt x="181112" y="799034"/>
                </a:cubicBezTo>
                <a:lnTo>
                  <a:pt x="212826" y="788463"/>
                </a:lnTo>
                <a:cubicBezTo>
                  <a:pt x="218111" y="784939"/>
                  <a:pt x="222877" y="780472"/>
                  <a:pt x="228682" y="777892"/>
                </a:cubicBezTo>
                <a:cubicBezTo>
                  <a:pt x="238865" y="773366"/>
                  <a:pt x="249825" y="770845"/>
                  <a:pt x="260396" y="767321"/>
                </a:cubicBezTo>
                <a:lnTo>
                  <a:pt x="276252" y="762035"/>
                </a:lnTo>
                <a:lnTo>
                  <a:pt x="292109" y="756749"/>
                </a:lnTo>
                <a:lnTo>
                  <a:pt x="307966" y="751464"/>
                </a:lnTo>
                <a:cubicBezTo>
                  <a:pt x="313251" y="747940"/>
                  <a:pt x="319854" y="745853"/>
                  <a:pt x="323822" y="740893"/>
                </a:cubicBezTo>
                <a:cubicBezTo>
                  <a:pt x="327303" y="736542"/>
                  <a:pt x="326017" y="729672"/>
                  <a:pt x="329108" y="725036"/>
                </a:cubicBezTo>
                <a:cubicBezTo>
                  <a:pt x="333254" y="718817"/>
                  <a:pt x="339679" y="714465"/>
                  <a:pt x="344964" y="709179"/>
                </a:cubicBezTo>
                <a:cubicBezTo>
                  <a:pt x="346726" y="700370"/>
                  <a:pt x="348071" y="691467"/>
                  <a:pt x="350250" y="682752"/>
                </a:cubicBezTo>
                <a:cubicBezTo>
                  <a:pt x="351601" y="677347"/>
                  <a:pt x="354327" y="672334"/>
                  <a:pt x="355536" y="666895"/>
                </a:cubicBezTo>
                <a:cubicBezTo>
                  <a:pt x="357861" y="656433"/>
                  <a:pt x="358496" y="645644"/>
                  <a:pt x="360821" y="635182"/>
                </a:cubicBezTo>
                <a:cubicBezTo>
                  <a:pt x="362030" y="629743"/>
                  <a:pt x="364641" y="624700"/>
                  <a:pt x="366107" y="619325"/>
                </a:cubicBezTo>
                <a:cubicBezTo>
                  <a:pt x="369930" y="605308"/>
                  <a:pt x="373154" y="591136"/>
                  <a:pt x="376678" y="577041"/>
                </a:cubicBezTo>
                <a:cubicBezTo>
                  <a:pt x="378440" y="569994"/>
                  <a:pt x="379666" y="562790"/>
                  <a:pt x="381963" y="555899"/>
                </a:cubicBezTo>
                <a:lnTo>
                  <a:pt x="387249" y="540042"/>
                </a:lnTo>
                <a:cubicBezTo>
                  <a:pt x="385487" y="518900"/>
                  <a:pt x="390467" y="496052"/>
                  <a:pt x="381963" y="476615"/>
                </a:cubicBezTo>
                <a:cubicBezTo>
                  <a:pt x="376871" y="464975"/>
                  <a:pt x="350250" y="455473"/>
                  <a:pt x="350250" y="455473"/>
                </a:cubicBezTo>
                <a:cubicBezTo>
                  <a:pt x="346726" y="450187"/>
                  <a:pt x="342520" y="445298"/>
                  <a:pt x="339679" y="439616"/>
                </a:cubicBezTo>
                <a:cubicBezTo>
                  <a:pt x="337187" y="434633"/>
                  <a:pt x="337099" y="428630"/>
                  <a:pt x="334393" y="423760"/>
                </a:cubicBezTo>
                <a:cubicBezTo>
                  <a:pt x="328223" y="412654"/>
                  <a:pt x="313251" y="392047"/>
                  <a:pt x="313251" y="392047"/>
                </a:cubicBezTo>
                <a:cubicBezTo>
                  <a:pt x="316775" y="388523"/>
                  <a:pt x="319365" y="383704"/>
                  <a:pt x="323822" y="381475"/>
                </a:cubicBezTo>
                <a:cubicBezTo>
                  <a:pt x="333789" y="376492"/>
                  <a:pt x="355536" y="370904"/>
                  <a:pt x="355536" y="370904"/>
                </a:cubicBezTo>
                <a:cubicBezTo>
                  <a:pt x="359060" y="365619"/>
                  <a:pt x="367353" y="361277"/>
                  <a:pt x="366107" y="355048"/>
                </a:cubicBezTo>
                <a:cubicBezTo>
                  <a:pt x="364643" y="347730"/>
                  <a:pt x="339587" y="340922"/>
                  <a:pt x="334393" y="339191"/>
                </a:cubicBezTo>
                <a:cubicBezTo>
                  <a:pt x="332631" y="333905"/>
                  <a:pt x="331600" y="328317"/>
                  <a:pt x="329108" y="323334"/>
                </a:cubicBezTo>
                <a:cubicBezTo>
                  <a:pt x="326267" y="317652"/>
                  <a:pt x="319581" y="313744"/>
                  <a:pt x="318537" y="307478"/>
                </a:cubicBezTo>
                <a:cubicBezTo>
                  <a:pt x="317621" y="301982"/>
                  <a:pt x="320342" y="295972"/>
                  <a:pt x="323822" y="291621"/>
                </a:cubicBezTo>
                <a:cubicBezTo>
                  <a:pt x="332947" y="280215"/>
                  <a:pt x="348127" y="278938"/>
                  <a:pt x="360821" y="275764"/>
                </a:cubicBezTo>
                <a:cubicBezTo>
                  <a:pt x="422486" y="277526"/>
                  <a:pt x="485200" y="269582"/>
                  <a:pt x="545815" y="281050"/>
                </a:cubicBezTo>
                <a:cubicBezTo>
                  <a:pt x="571642" y="285936"/>
                  <a:pt x="546115" y="318249"/>
                  <a:pt x="561672" y="328620"/>
                </a:cubicBezTo>
                <a:cubicBezTo>
                  <a:pt x="566958" y="332144"/>
                  <a:pt x="572649" y="335124"/>
                  <a:pt x="577529" y="339191"/>
                </a:cubicBezTo>
                <a:cubicBezTo>
                  <a:pt x="583271" y="343976"/>
                  <a:pt x="586895" y="351339"/>
                  <a:pt x="593385" y="355048"/>
                </a:cubicBezTo>
                <a:cubicBezTo>
                  <a:pt x="599692" y="358652"/>
                  <a:pt x="607480" y="358571"/>
                  <a:pt x="614527" y="360333"/>
                </a:cubicBezTo>
                <a:cubicBezTo>
                  <a:pt x="618962" y="360016"/>
                  <a:pt x="687098" y="359435"/>
                  <a:pt x="709667" y="349762"/>
                </a:cubicBezTo>
                <a:cubicBezTo>
                  <a:pt x="715506" y="347260"/>
                  <a:pt x="720238" y="342715"/>
                  <a:pt x="725524" y="339191"/>
                </a:cubicBezTo>
                <a:cubicBezTo>
                  <a:pt x="729048" y="333905"/>
                  <a:pt x="731314" y="327517"/>
                  <a:pt x="736095" y="323334"/>
                </a:cubicBezTo>
                <a:cubicBezTo>
                  <a:pt x="745656" y="314968"/>
                  <a:pt x="767808" y="302192"/>
                  <a:pt x="767808" y="302192"/>
                </a:cubicBezTo>
                <a:cubicBezTo>
                  <a:pt x="800342" y="253393"/>
                  <a:pt x="758825" y="313420"/>
                  <a:pt x="788951" y="275764"/>
                </a:cubicBezTo>
                <a:cubicBezTo>
                  <a:pt x="801587" y="259970"/>
                  <a:pt x="795695" y="258085"/>
                  <a:pt x="815378" y="249337"/>
                </a:cubicBezTo>
                <a:cubicBezTo>
                  <a:pt x="825561" y="244811"/>
                  <a:pt x="847092" y="238766"/>
                  <a:pt x="847092" y="238766"/>
                </a:cubicBezTo>
                <a:cubicBezTo>
                  <a:pt x="843568" y="235242"/>
                  <a:pt x="840793" y="230759"/>
                  <a:pt x="836520" y="228195"/>
                </a:cubicBezTo>
                <a:cubicBezTo>
                  <a:pt x="831743" y="225329"/>
                  <a:pt x="825647" y="225401"/>
                  <a:pt x="820664" y="222909"/>
                </a:cubicBezTo>
                <a:cubicBezTo>
                  <a:pt x="814982" y="220068"/>
                  <a:pt x="810093" y="215862"/>
                  <a:pt x="804807" y="212338"/>
                </a:cubicBezTo>
                <a:cubicBezTo>
                  <a:pt x="803045" y="207052"/>
                  <a:pt x="802014" y="201464"/>
                  <a:pt x="799522" y="196481"/>
                </a:cubicBezTo>
                <a:cubicBezTo>
                  <a:pt x="788679" y="174795"/>
                  <a:pt x="791487" y="186438"/>
                  <a:pt x="778379" y="170053"/>
                </a:cubicBezTo>
                <a:cubicBezTo>
                  <a:pt x="774411" y="165093"/>
                  <a:pt x="771332" y="159482"/>
                  <a:pt x="767808" y="154197"/>
                </a:cubicBezTo>
                <a:cubicBezTo>
                  <a:pt x="769914" y="145774"/>
                  <a:pt x="778867" y="126045"/>
                  <a:pt x="767808" y="117198"/>
                </a:cubicBezTo>
                <a:cubicBezTo>
                  <a:pt x="762136" y="112660"/>
                  <a:pt x="753713" y="113674"/>
                  <a:pt x="746666" y="111912"/>
                </a:cubicBezTo>
                <a:cubicBezTo>
                  <a:pt x="803622" y="54960"/>
                  <a:pt x="745906" y="105435"/>
                  <a:pt x="931660" y="90770"/>
                </a:cubicBezTo>
                <a:cubicBezTo>
                  <a:pt x="942769" y="89893"/>
                  <a:pt x="952803" y="83723"/>
                  <a:pt x="963374" y="80199"/>
                </a:cubicBezTo>
                <a:cubicBezTo>
                  <a:pt x="963378" y="80198"/>
                  <a:pt x="995084" y="69630"/>
                  <a:pt x="995087" y="69628"/>
                </a:cubicBezTo>
                <a:lnTo>
                  <a:pt x="1026800" y="48486"/>
                </a:lnTo>
                <a:lnTo>
                  <a:pt x="1042657" y="37915"/>
                </a:lnTo>
                <a:lnTo>
                  <a:pt x="1058514" y="27344"/>
                </a:lnTo>
                <a:cubicBezTo>
                  <a:pt x="1064680" y="18094"/>
                  <a:pt x="1071727" y="3118"/>
                  <a:pt x="1084941" y="916"/>
                </a:cubicBezTo>
                <a:cubicBezTo>
                  <a:pt x="1090437" y="0"/>
                  <a:pt x="1095512" y="4439"/>
                  <a:pt x="1100798" y="6201"/>
                </a:cubicBezTo>
                <a:cubicBezTo>
                  <a:pt x="1104322" y="9725"/>
                  <a:pt x="1109140" y="12316"/>
                  <a:pt x="1111369" y="16773"/>
                </a:cubicBezTo>
                <a:cubicBezTo>
                  <a:pt x="1114618" y="23270"/>
                  <a:pt x="1114568" y="30957"/>
                  <a:pt x="1116655" y="37915"/>
                </a:cubicBezTo>
                <a:cubicBezTo>
                  <a:pt x="1119857" y="48588"/>
                  <a:pt x="1123702" y="59057"/>
                  <a:pt x="1127226" y="69628"/>
                </a:cubicBezTo>
                <a:lnTo>
                  <a:pt x="1132511" y="85485"/>
                </a:lnTo>
                <a:lnTo>
                  <a:pt x="1137797" y="101341"/>
                </a:lnTo>
                <a:cubicBezTo>
                  <a:pt x="1130325" y="138699"/>
                  <a:pt x="1135353" y="119242"/>
                  <a:pt x="1121940" y="159482"/>
                </a:cubicBezTo>
                <a:lnTo>
                  <a:pt x="1116655" y="175339"/>
                </a:lnTo>
                <a:lnTo>
                  <a:pt x="1111369" y="191196"/>
                </a:lnTo>
                <a:cubicBezTo>
                  <a:pt x="1114914" y="233733"/>
                  <a:pt x="1112313" y="243671"/>
                  <a:pt x="1121940" y="275764"/>
                </a:cubicBezTo>
                <a:cubicBezTo>
                  <a:pt x="1125142" y="286437"/>
                  <a:pt x="1126330" y="298206"/>
                  <a:pt x="1132511" y="307478"/>
                </a:cubicBezTo>
                <a:cubicBezTo>
                  <a:pt x="1136035" y="312763"/>
                  <a:pt x="1137400" y="320493"/>
                  <a:pt x="1143082" y="323334"/>
                </a:cubicBezTo>
                <a:cubicBezTo>
                  <a:pt x="1156077" y="329831"/>
                  <a:pt x="1185367" y="333905"/>
                  <a:pt x="1185367" y="333905"/>
                </a:cubicBezTo>
                <a:cubicBezTo>
                  <a:pt x="1186278" y="333822"/>
                  <a:pt x="1243019" y="333141"/>
                  <a:pt x="1259364" y="323334"/>
                </a:cubicBezTo>
                <a:cubicBezTo>
                  <a:pt x="1263637" y="320770"/>
                  <a:pt x="1266823" y="316654"/>
                  <a:pt x="1269936" y="312763"/>
                </a:cubicBezTo>
                <a:cubicBezTo>
                  <a:pt x="1273904" y="307803"/>
                  <a:pt x="1275120" y="300274"/>
                  <a:pt x="1280507" y="296907"/>
                </a:cubicBezTo>
                <a:cubicBezTo>
                  <a:pt x="1300462" y="284436"/>
                  <a:pt x="1339652" y="283064"/>
                  <a:pt x="1359790" y="281050"/>
                </a:cubicBezTo>
                <a:lnTo>
                  <a:pt x="1417931" y="275764"/>
                </a:lnTo>
                <a:cubicBezTo>
                  <a:pt x="1484719" y="253504"/>
                  <a:pt x="1377956" y="290633"/>
                  <a:pt x="1449644" y="259908"/>
                </a:cubicBezTo>
                <a:cubicBezTo>
                  <a:pt x="1472212" y="250235"/>
                  <a:pt x="1540352" y="249654"/>
                  <a:pt x="1544784" y="249337"/>
                </a:cubicBezTo>
                <a:cubicBezTo>
                  <a:pt x="1550070" y="247575"/>
                  <a:pt x="1555355" y="242289"/>
                  <a:pt x="1560641" y="244051"/>
                </a:cubicBezTo>
                <a:cubicBezTo>
                  <a:pt x="1572694" y="248068"/>
                  <a:pt x="1592354" y="265193"/>
                  <a:pt x="1592354" y="265193"/>
                </a:cubicBezTo>
                <a:cubicBezTo>
                  <a:pt x="1597640" y="263431"/>
                  <a:pt x="1602715" y="260824"/>
                  <a:pt x="1608211" y="259908"/>
                </a:cubicBezTo>
                <a:cubicBezTo>
                  <a:pt x="1679019" y="248107"/>
                  <a:pt x="1634464" y="261727"/>
                  <a:pt x="1671637" y="249337"/>
                </a:cubicBezTo>
                <a:cubicBezTo>
                  <a:pt x="1707498" y="225431"/>
                  <a:pt x="1694368" y="237179"/>
                  <a:pt x="1713922" y="217623"/>
                </a:cubicBezTo>
                <a:cubicBezTo>
                  <a:pt x="1727205" y="177773"/>
                  <a:pt x="1709288" y="226890"/>
                  <a:pt x="1729778" y="185910"/>
                </a:cubicBezTo>
                <a:cubicBezTo>
                  <a:pt x="1738375" y="168716"/>
                  <a:pt x="1730489" y="169343"/>
                  <a:pt x="1745635" y="154197"/>
                </a:cubicBezTo>
                <a:cubicBezTo>
                  <a:pt x="1750127" y="149705"/>
                  <a:pt x="1756206" y="147150"/>
                  <a:pt x="1761492" y="143626"/>
                </a:cubicBezTo>
                <a:cubicBezTo>
                  <a:pt x="1789695" y="101321"/>
                  <a:pt x="1781973" y="123147"/>
                  <a:pt x="1787919" y="69628"/>
                </a:cubicBezTo>
                <a:cubicBezTo>
                  <a:pt x="1788114" y="67877"/>
                  <a:pt x="1799371" y="65223"/>
                  <a:pt x="1803776" y="69628"/>
                </a:cubicBezTo>
                <a:close/>
              </a:path>
            </a:pathLst>
          </a:custGeom>
          <a:solidFill>
            <a:srgbClr val="00FF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4356100" y="1845736"/>
            <a:ext cx="1079500" cy="43391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dirty="0" err="1">
                <a:latin typeface="Ramabhadra" pitchFamily="2" charset="0"/>
                <a:ea typeface="+mj-ea"/>
                <a:cs typeface="Ramabhadra" pitchFamily="2" charset="0"/>
              </a:rPr>
              <a:t>బ్రెజిల్</a:t>
            </a:r>
            <a:endParaRPr lang="en-IN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4378325" y="3820587"/>
            <a:ext cx="412750" cy="459316"/>
          </a:xfrm>
          <a:custGeom>
            <a:avLst/>
            <a:gdLst>
              <a:gd name="connsiteX0" fmla="*/ 410182 w 411944"/>
              <a:gd name="connsiteY0" fmla="*/ 324460 h 460358"/>
              <a:gd name="connsiteX1" fmla="*/ 383754 w 411944"/>
              <a:gd name="connsiteY1" fmla="*/ 350887 h 460358"/>
              <a:gd name="connsiteX2" fmla="*/ 378468 w 411944"/>
              <a:gd name="connsiteY2" fmla="*/ 366744 h 460358"/>
              <a:gd name="connsiteX3" fmla="*/ 367897 w 411944"/>
              <a:gd name="connsiteY3" fmla="*/ 382601 h 460358"/>
              <a:gd name="connsiteX4" fmla="*/ 346755 w 411944"/>
              <a:gd name="connsiteY4" fmla="*/ 430171 h 460358"/>
              <a:gd name="connsiteX5" fmla="*/ 315042 w 411944"/>
              <a:gd name="connsiteY5" fmla="*/ 451313 h 460358"/>
              <a:gd name="connsiteX6" fmla="*/ 193474 w 411944"/>
              <a:gd name="connsiteY6" fmla="*/ 440742 h 460358"/>
              <a:gd name="connsiteX7" fmla="*/ 161761 w 411944"/>
              <a:gd name="connsiteY7" fmla="*/ 430171 h 460358"/>
              <a:gd name="connsiteX8" fmla="*/ 124762 w 411944"/>
              <a:gd name="connsiteY8" fmla="*/ 419599 h 460358"/>
              <a:gd name="connsiteX9" fmla="*/ 108905 w 411944"/>
              <a:gd name="connsiteY9" fmla="*/ 409028 h 460358"/>
              <a:gd name="connsiteX10" fmla="*/ 93049 w 411944"/>
              <a:gd name="connsiteY10" fmla="*/ 403743 h 460358"/>
              <a:gd name="connsiteX11" fmla="*/ 24336 w 411944"/>
              <a:gd name="connsiteY11" fmla="*/ 393172 h 460358"/>
              <a:gd name="connsiteX12" fmla="*/ 19051 w 411944"/>
              <a:gd name="connsiteY12" fmla="*/ 377315 h 460358"/>
              <a:gd name="connsiteX13" fmla="*/ 3194 w 411944"/>
              <a:gd name="connsiteY13" fmla="*/ 366744 h 460358"/>
              <a:gd name="connsiteX14" fmla="*/ 8480 w 411944"/>
              <a:gd name="connsiteY14" fmla="*/ 261033 h 460358"/>
              <a:gd name="connsiteX15" fmla="*/ 19051 w 411944"/>
              <a:gd name="connsiteY15" fmla="*/ 229320 h 460358"/>
              <a:gd name="connsiteX16" fmla="*/ 29622 w 411944"/>
              <a:gd name="connsiteY16" fmla="*/ 165893 h 460358"/>
              <a:gd name="connsiteX17" fmla="*/ 40193 w 411944"/>
              <a:gd name="connsiteY17" fmla="*/ 128894 h 460358"/>
              <a:gd name="connsiteX18" fmla="*/ 50764 w 411944"/>
              <a:gd name="connsiteY18" fmla="*/ 97181 h 460358"/>
              <a:gd name="connsiteX19" fmla="*/ 56050 w 411944"/>
              <a:gd name="connsiteY19" fmla="*/ 81324 h 460358"/>
              <a:gd name="connsiteX20" fmla="*/ 56050 w 411944"/>
              <a:gd name="connsiteY20" fmla="*/ 17898 h 460358"/>
              <a:gd name="connsiteX21" fmla="*/ 87763 w 411944"/>
              <a:gd name="connsiteY21" fmla="*/ 7327 h 460358"/>
              <a:gd name="connsiteX22" fmla="*/ 103620 w 411944"/>
              <a:gd name="connsiteY22" fmla="*/ 2041 h 460358"/>
              <a:gd name="connsiteX23" fmla="*/ 156475 w 411944"/>
              <a:gd name="connsiteY23" fmla="*/ 7327 h 460358"/>
              <a:gd name="connsiteX24" fmla="*/ 161761 w 411944"/>
              <a:gd name="connsiteY24" fmla="*/ 28469 h 460358"/>
              <a:gd name="connsiteX25" fmla="*/ 182903 w 411944"/>
              <a:gd name="connsiteY25" fmla="*/ 60182 h 460358"/>
              <a:gd name="connsiteX26" fmla="*/ 188188 w 411944"/>
              <a:gd name="connsiteY26" fmla="*/ 76039 h 460358"/>
              <a:gd name="connsiteX27" fmla="*/ 214616 w 411944"/>
              <a:gd name="connsiteY27" fmla="*/ 54897 h 460358"/>
              <a:gd name="connsiteX28" fmla="*/ 230473 w 411944"/>
              <a:gd name="connsiteY28" fmla="*/ 49611 h 460358"/>
              <a:gd name="connsiteX29" fmla="*/ 241044 w 411944"/>
              <a:gd name="connsiteY29" fmla="*/ 81324 h 460358"/>
              <a:gd name="connsiteX30" fmla="*/ 256901 w 411944"/>
              <a:gd name="connsiteY30" fmla="*/ 91895 h 460358"/>
              <a:gd name="connsiteX31" fmla="*/ 299185 w 411944"/>
              <a:gd name="connsiteY31" fmla="*/ 102466 h 460358"/>
              <a:gd name="connsiteX32" fmla="*/ 315042 w 411944"/>
              <a:gd name="connsiteY32" fmla="*/ 107752 h 460358"/>
              <a:gd name="connsiteX33" fmla="*/ 336184 w 411944"/>
              <a:gd name="connsiteY33" fmla="*/ 139465 h 460358"/>
              <a:gd name="connsiteX34" fmla="*/ 362612 w 411944"/>
              <a:gd name="connsiteY34" fmla="*/ 160607 h 460358"/>
              <a:gd name="connsiteX35" fmla="*/ 383754 w 411944"/>
              <a:gd name="connsiteY35" fmla="*/ 187035 h 460358"/>
              <a:gd name="connsiteX36" fmla="*/ 404896 w 411944"/>
              <a:gd name="connsiteY36" fmla="*/ 218749 h 460358"/>
              <a:gd name="connsiteX37" fmla="*/ 399610 w 411944"/>
              <a:gd name="connsiteY37" fmla="*/ 282175 h 460358"/>
              <a:gd name="connsiteX38" fmla="*/ 394325 w 411944"/>
              <a:gd name="connsiteY38" fmla="*/ 303317 h 460358"/>
              <a:gd name="connsiteX39" fmla="*/ 410182 w 411944"/>
              <a:gd name="connsiteY39" fmla="*/ 324460 h 460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11944" h="460358">
                <a:moveTo>
                  <a:pt x="410182" y="324460"/>
                </a:moveTo>
                <a:cubicBezTo>
                  <a:pt x="408420" y="332388"/>
                  <a:pt x="391229" y="340921"/>
                  <a:pt x="383754" y="350887"/>
                </a:cubicBezTo>
                <a:cubicBezTo>
                  <a:pt x="380411" y="355344"/>
                  <a:pt x="380960" y="361761"/>
                  <a:pt x="378468" y="366744"/>
                </a:cubicBezTo>
                <a:cubicBezTo>
                  <a:pt x="375627" y="372426"/>
                  <a:pt x="371421" y="377315"/>
                  <a:pt x="367897" y="382601"/>
                </a:cubicBezTo>
                <a:cubicBezTo>
                  <a:pt x="363960" y="394412"/>
                  <a:pt x="358579" y="419824"/>
                  <a:pt x="346755" y="430171"/>
                </a:cubicBezTo>
                <a:cubicBezTo>
                  <a:pt x="337194" y="438537"/>
                  <a:pt x="315042" y="451313"/>
                  <a:pt x="315042" y="451313"/>
                </a:cubicBezTo>
                <a:cubicBezTo>
                  <a:pt x="249287" y="434873"/>
                  <a:pt x="356949" y="460358"/>
                  <a:pt x="193474" y="440742"/>
                </a:cubicBezTo>
                <a:cubicBezTo>
                  <a:pt x="182411" y="439414"/>
                  <a:pt x="172571" y="432874"/>
                  <a:pt x="161761" y="430171"/>
                </a:cubicBezTo>
                <a:cubicBezTo>
                  <a:pt x="154986" y="428477"/>
                  <a:pt x="132345" y="423391"/>
                  <a:pt x="124762" y="419599"/>
                </a:cubicBezTo>
                <a:cubicBezTo>
                  <a:pt x="119080" y="416758"/>
                  <a:pt x="114587" y="411869"/>
                  <a:pt x="108905" y="409028"/>
                </a:cubicBezTo>
                <a:cubicBezTo>
                  <a:pt x="103922" y="406537"/>
                  <a:pt x="98406" y="405274"/>
                  <a:pt x="93049" y="403743"/>
                </a:cubicBezTo>
                <a:cubicBezTo>
                  <a:pt x="63915" y="395419"/>
                  <a:pt x="62683" y="397432"/>
                  <a:pt x="24336" y="393172"/>
                </a:cubicBezTo>
                <a:cubicBezTo>
                  <a:pt x="22574" y="387886"/>
                  <a:pt x="22531" y="381666"/>
                  <a:pt x="19051" y="377315"/>
                </a:cubicBezTo>
                <a:cubicBezTo>
                  <a:pt x="15083" y="372354"/>
                  <a:pt x="3769" y="373070"/>
                  <a:pt x="3194" y="366744"/>
                </a:cubicBezTo>
                <a:cubicBezTo>
                  <a:pt x="0" y="331608"/>
                  <a:pt x="4436" y="296081"/>
                  <a:pt x="8480" y="261033"/>
                </a:cubicBezTo>
                <a:cubicBezTo>
                  <a:pt x="9757" y="249964"/>
                  <a:pt x="19051" y="229320"/>
                  <a:pt x="19051" y="229320"/>
                </a:cubicBezTo>
                <a:cubicBezTo>
                  <a:pt x="22575" y="208178"/>
                  <a:pt x="22844" y="186227"/>
                  <a:pt x="29622" y="165893"/>
                </a:cubicBezTo>
                <a:cubicBezTo>
                  <a:pt x="47380" y="112621"/>
                  <a:pt x="20291" y="195237"/>
                  <a:pt x="40193" y="128894"/>
                </a:cubicBezTo>
                <a:cubicBezTo>
                  <a:pt x="43395" y="118221"/>
                  <a:pt x="47240" y="107752"/>
                  <a:pt x="50764" y="97181"/>
                </a:cubicBezTo>
                <a:lnTo>
                  <a:pt x="56050" y="81324"/>
                </a:lnTo>
                <a:cubicBezTo>
                  <a:pt x="54853" y="72944"/>
                  <a:pt x="44456" y="29492"/>
                  <a:pt x="56050" y="17898"/>
                </a:cubicBezTo>
                <a:cubicBezTo>
                  <a:pt x="63929" y="10019"/>
                  <a:pt x="77192" y="10851"/>
                  <a:pt x="87763" y="7327"/>
                </a:cubicBezTo>
                <a:lnTo>
                  <a:pt x="103620" y="2041"/>
                </a:lnTo>
                <a:cubicBezTo>
                  <a:pt x="121238" y="3803"/>
                  <a:pt x="140356" y="0"/>
                  <a:pt x="156475" y="7327"/>
                </a:cubicBezTo>
                <a:cubicBezTo>
                  <a:pt x="163088" y="10333"/>
                  <a:pt x="158512" y="21972"/>
                  <a:pt x="161761" y="28469"/>
                </a:cubicBezTo>
                <a:cubicBezTo>
                  <a:pt x="167443" y="39832"/>
                  <a:pt x="182903" y="60182"/>
                  <a:pt x="182903" y="60182"/>
                </a:cubicBezTo>
                <a:cubicBezTo>
                  <a:pt x="184665" y="65468"/>
                  <a:pt x="183205" y="73547"/>
                  <a:pt x="188188" y="76039"/>
                </a:cubicBezTo>
                <a:cubicBezTo>
                  <a:pt x="202495" y="83193"/>
                  <a:pt x="209592" y="58916"/>
                  <a:pt x="214616" y="54897"/>
                </a:cubicBezTo>
                <a:cubicBezTo>
                  <a:pt x="218967" y="51416"/>
                  <a:pt x="225187" y="51373"/>
                  <a:pt x="230473" y="49611"/>
                </a:cubicBezTo>
                <a:cubicBezTo>
                  <a:pt x="233997" y="60182"/>
                  <a:pt x="231773" y="75143"/>
                  <a:pt x="241044" y="81324"/>
                </a:cubicBezTo>
                <a:cubicBezTo>
                  <a:pt x="246330" y="84848"/>
                  <a:pt x="251219" y="89054"/>
                  <a:pt x="256901" y="91895"/>
                </a:cubicBezTo>
                <a:cubicBezTo>
                  <a:pt x="268988" y="97939"/>
                  <a:pt x="287115" y="99449"/>
                  <a:pt x="299185" y="102466"/>
                </a:cubicBezTo>
                <a:cubicBezTo>
                  <a:pt x="304590" y="103817"/>
                  <a:pt x="309756" y="105990"/>
                  <a:pt x="315042" y="107752"/>
                </a:cubicBezTo>
                <a:cubicBezTo>
                  <a:pt x="322089" y="118323"/>
                  <a:pt x="325613" y="132418"/>
                  <a:pt x="336184" y="139465"/>
                </a:cubicBezTo>
                <a:cubicBezTo>
                  <a:pt x="356186" y="152800"/>
                  <a:pt x="347548" y="145544"/>
                  <a:pt x="362612" y="160607"/>
                </a:cubicBezTo>
                <a:cubicBezTo>
                  <a:pt x="374514" y="196316"/>
                  <a:pt x="358007" y="157610"/>
                  <a:pt x="383754" y="187035"/>
                </a:cubicBezTo>
                <a:cubicBezTo>
                  <a:pt x="392120" y="196597"/>
                  <a:pt x="404896" y="218749"/>
                  <a:pt x="404896" y="218749"/>
                </a:cubicBezTo>
                <a:cubicBezTo>
                  <a:pt x="403134" y="239891"/>
                  <a:pt x="402241" y="261124"/>
                  <a:pt x="399610" y="282175"/>
                </a:cubicBezTo>
                <a:cubicBezTo>
                  <a:pt x="398709" y="289383"/>
                  <a:pt x="394983" y="296083"/>
                  <a:pt x="394325" y="303317"/>
                </a:cubicBezTo>
                <a:cubicBezTo>
                  <a:pt x="393209" y="315599"/>
                  <a:pt x="411944" y="316532"/>
                  <a:pt x="410182" y="324460"/>
                </a:cubicBezTo>
                <a:close/>
              </a:path>
            </a:pathLst>
          </a:custGeom>
          <a:solidFill>
            <a:srgbClr val="FFC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 rot="1190752">
            <a:off x="4332294" y="3975103"/>
            <a:ext cx="784225" cy="393700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050" dirty="0" err="1">
                <a:latin typeface="Ramabhadra" pitchFamily="2" charset="0"/>
                <a:ea typeface="+mj-ea"/>
                <a:cs typeface="Ramabhadra" pitchFamily="2" charset="0"/>
              </a:rPr>
              <a:t>ఉరుగ్వే</a:t>
            </a:r>
            <a:endParaRPr lang="en-IN" sz="105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15" name="Freeform 14"/>
          <p:cNvSpPr/>
          <p:nvPr/>
        </p:nvSpPr>
        <p:spPr>
          <a:xfrm>
            <a:off x="3192469" y="3081871"/>
            <a:ext cx="1570037" cy="3126317"/>
          </a:xfrm>
          <a:custGeom>
            <a:avLst/>
            <a:gdLst>
              <a:gd name="connsiteX0" fmla="*/ 1189248 w 1569808"/>
              <a:gd name="connsiteY0" fmla="*/ 1078430 h 3126612"/>
              <a:gd name="connsiteX1" fmla="*/ 1183963 w 1569808"/>
              <a:gd name="connsiteY1" fmla="*/ 1136571 h 3126612"/>
              <a:gd name="connsiteX2" fmla="*/ 1215676 w 1569808"/>
              <a:gd name="connsiteY2" fmla="*/ 1162999 h 3126612"/>
              <a:gd name="connsiteX3" fmla="*/ 1231533 w 1569808"/>
              <a:gd name="connsiteY3" fmla="*/ 1178856 h 3126612"/>
              <a:gd name="connsiteX4" fmla="*/ 1279103 w 1569808"/>
              <a:gd name="connsiteY4" fmla="*/ 1205283 h 3126612"/>
              <a:gd name="connsiteX5" fmla="*/ 1294959 w 1569808"/>
              <a:gd name="connsiteY5" fmla="*/ 1215854 h 3126612"/>
              <a:gd name="connsiteX6" fmla="*/ 1279103 w 1569808"/>
              <a:gd name="connsiteY6" fmla="*/ 1252853 h 3126612"/>
              <a:gd name="connsiteX7" fmla="*/ 1289674 w 1569808"/>
              <a:gd name="connsiteY7" fmla="*/ 1268710 h 3126612"/>
              <a:gd name="connsiteX8" fmla="*/ 1294959 w 1569808"/>
              <a:gd name="connsiteY8" fmla="*/ 1289852 h 3126612"/>
              <a:gd name="connsiteX9" fmla="*/ 1326673 w 1569808"/>
              <a:gd name="connsiteY9" fmla="*/ 1300423 h 3126612"/>
              <a:gd name="connsiteX10" fmla="*/ 1331958 w 1569808"/>
              <a:gd name="connsiteY10" fmla="*/ 1316280 h 3126612"/>
              <a:gd name="connsiteX11" fmla="*/ 1326673 w 1569808"/>
              <a:gd name="connsiteY11" fmla="*/ 1332137 h 3126612"/>
              <a:gd name="connsiteX12" fmla="*/ 1321387 w 1569808"/>
              <a:gd name="connsiteY12" fmla="*/ 1358564 h 3126612"/>
              <a:gd name="connsiteX13" fmla="*/ 1310816 w 1569808"/>
              <a:gd name="connsiteY13" fmla="*/ 1390278 h 3126612"/>
              <a:gd name="connsiteX14" fmla="*/ 1294959 w 1569808"/>
              <a:gd name="connsiteY14" fmla="*/ 1400849 h 3126612"/>
              <a:gd name="connsiteX15" fmla="*/ 1289674 w 1569808"/>
              <a:gd name="connsiteY15" fmla="*/ 1416705 h 3126612"/>
              <a:gd name="connsiteX16" fmla="*/ 1279103 w 1569808"/>
              <a:gd name="connsiteY16" fmla="*/ 1432562 h 3126612"/>
              <a:gd name="connsiteX17" fmla="*/ 1273817 w 1569808"/>
              <a:gd name="connsiteY17" fmla="*/ 1458990 h 3126612"/>
              <a:gd name="connsiteX18" fmla="*/ 1263246 w 1569808"/>
              <a:gd name="connsiteY18" fmla="*/ 1474846 h 3126612"/>
              <a:gd name="connsiteX19" fmla="*/ 1242104 w 1569808"/>
              <a:gd name="connsiteY19" fmla="*/ 1501274 h 3126612"/>
              <a:gd name="connsiteX20" fmla="*/ 1236818 w 1569808"/>
              <a:gd name="connsiteY20" fmla="*/ 1517131 h 3126612"/>
              <a:gd name="connsiteX21" fmla="*/ 1162820 w 1569808"/>
              <a:gd name="connsiteY21" fmla="*/ 1538273 h 3126612"/>
              <a:gd name="connsiteX22" fmla="*/ 1131107 w 1569808"/>
              <a:gd name="connsiteY22" fmla="*/ 1548844 h 3126612"/>
              <a:gd name="connsiteX23" fmla="*/ 1115251 w 1569808"/>
              <a:gd name="connsiteY23" fmla="*/ 1554130 h 3126612"/>
              <a:gd name="connsiteX24" fmla="*/ 1078252 w 1569808"/>
              <a:gd name="connsiteY24" fmla="*/ 1559415 h 3126612"/>
              <a:gd name="connsiteX25" fmla="*/ 1004254 w 1569808"/>
              <a:gd name="connsiteY25" fmla="*/ 1575272 h 3126612"/>
              <a:gd name="connsiteX26" fmla="*/ 877401 w 1569808"/>
              <a:gd name="connsiteY26" fmla="*/ 1580557 h 3126612"/>
              <a:gd name="connsiteX27" fmla="*/ 866830 w 1569808"/>
              <a:gd name="connsiteY27" fmla="*/ 1617556 h 3126612"/>
              <a:gd name="connsiteX28" fmla="*/ 872115 w 1569808"/>
              <a:gd name="connsiteY28" fmla="*/ 1670412 h 3126612"/>
              <a:gd name="connsiteX29" fmla="*/ 887972 w 1569808"/>
              <a:gd name="connsiteY29" fmla="*/ 1686268 h 3126612"/>
              <a:gd name="connsiteX30" fmla="*/ 872115 w 1569808"/>
              <a:gd name="connsiteY30" fmla="*/ 1765552 h 3126612"/>
              <a:gd name="connsiteX31" fmla="*/ 856259 w 1569808"/>
              <a:gd name="connsiteY31" fmla="*/ 1797265 h 3126612"/>
              <a:gd name="connsiteX32" fmla="*/ 840402 w 1569808"/>
              <a:gd name="connsiteY32" fmla="*/ 1807836 h 3126612"/>
              <a:gd name="connsiteX33" fmla="*/ 734691 w 1569808"/>
              <a:gd name="connsiteY33" fmla="*/ 1802550 h 3126612"/>
              <a:gd name="connsiteX34" fmla="*/ 687121 w 1569808"/>
              <a:gd name="connsiteY34" fmla="*/ 1781408 h 3126612"/>
              <a:gd name="connsiteX35" fmla="*/ 671264 w 1569808"/>
              <a:gd name="connsiteY35" fmla="*/ 1776123 h 3126612"/>
              <a:gd name="connsiteX36" fmla="*/ 655408 w 1569808"/>
              <a:gd name="connsiteY36" fmla="*/ 1781408 h 3126612"/>
              <a:gd name="connsiteX37" fmla="*/ 655408 w 1569808"/>
              <a:gd name="connsiteY37" fmla="*/ 1839549 h 3126612"/>
              <a:gd name="connsiteX38" fmla="*/ 660693 w 1569808"/>
              <a:gd name="connsiteY38" fmla="*/ 1855406 h 3126612"/>
              <a:gd name="connsiteX39" fmla="*/ 676550 w 1569808"/>
              <a:gd name="connsiteY39" fmla="*/ 1860691 h 3126612"/>
              <a:gd name="connsiteX40" fmla="*/ 702978 w 1569808"/>
              <a:gd name="connsiteY40" fmla="*/ 1908261 h 3126612"/>
              <a:gd name="connsiteX41" fmla="*/ 729405 w 1569808"/>
              <a:gd name="connsiteY41" fmla="*/ 1934689 h 3126612"/>
              <a:gd name="connsiteX42" fmla="*/ 787546 w 1569808"/>
              <a:gd name="connsiteY42" fmla="*/ 1939975 h 3126612"/>
              <a:gd name="connsiteX43" fmla="*/ 782261 w 1569808"/>
              <a:gd name="connsiteY43" fmla="*/ 1971688 h 3126612"/>
              <a:gd name="connsiteX44" fmla="*/ 687121 w 1569808"/>
              <a:gd name="connsiteY44" fmla="*/ 1992830 h 3126612"/>
              <a:gd name="connsiteX45" fmla="*/ 692407 w 1569808"/>
              <a:gd name="connsiteY45" fmla="*/ 2008687 h 3126612"/>
              <a:gd name="connsiteX46" fmla="*/ 713549 w 1569808"/>
              <a:gd name="connsiteY46" fmla="*/ 2013972 h 3126612"/>
              <a:gd name="connsiteX47" fmla="*/ 702978 w 1569808"/>
              <a:gd name="connsiteY47" fmla="*/ 2029829 h 3126612"/>
              <a:gd name="connsiteX48" fmla="*/ 671264 w 1569808"/>
              <a:gd name="connsiteY48" fmla="*/ 2050971 h 3126612"/>
              <a:gd name="connsiteX49" fmla="*/ 655408 w 1569808"/>
              <a:gd name="connsiteY49" fmla="*/ 2061542 h 3126612"/>
              <a:gd name="connsiteX50" fmla="*/ 639551 w 1569808"/>
              <a:gd name="connsiteY50" fmla="*/ 2109112 h 3126612"/>
              <a:gd name="connsiteX51" fmla="*/ 634266 w 1569808"/>
              <a:gd name="connsiteY51" fmla="*/ 2124969 h 3126612"/>
              <a:gd name="connsiteX52" fmla="*/ 623694 w 1569808"/>
              <a:gd name="connsiteY52" fmla="*/ 2135540 h 3126612"/>
              <a:gd name="connsiteX53" fmla="*/ 613123 w 1569808"/>
              <a:gd name="connsiteY53" fmla="*/ 2167253 h 3126612"/>
              <a:gd name="connsiteX54" fmla="*/ 607838 w 1569808"/>
              <a:gd name="connsiteY54" fmla="*/ 2230680 h 3126612"/>
              <a:gd name="connsiteX55" fmla="*/ 586696 w 1569808"/>
              <a:gd name="connsiteY55" fmla="*/ 2235965 h 3126612"/>
              <a:gd name="connsiteX56" fmla="*/ 554982 w 1569808"/>
              <a:gd name="connsiteY56" fmla="*/ 2241251 h 3126612"/>
              <a:gd name="connsiteX57" fmla="*/ 507412 w 1569808"/>
              <a:gd name="connsiteY57" fmla="*/ 2267679 h 3126612"/>
              <a:gd name="connsiteX58" fmla="*/ 491556 w 1569808"/>
              <a:gd name="connsiteY58" fmla="*/ 2278250 h 3126612"/>
              <a:gd name="connsiteX59" fmla="*/ 480985 w 1569808"/>
              <a:gd name="connsiteY59" fmla="*/ 2294106 h 3126612"/>
              <a:gd name="connsiteX60" fmla="*/ 470414 w 1569808"/>
              <a:gd name="connsiteY60" fmla="*/ 2304678 h 3126612"/>
              <a:gd name="connsiteX61" fmla="*/ 465128 w 1569808"/>
              <a:gd name="connsiteY61" fmla="*/ 2320534 h 3126612"/>
              <a:gd name="connsiteX62" fmla="*/ 454557 w 1569808"/>
              <a:gd name="connsiteY62" fmla="*/ 2336391 h 3126612"/>
              <a:gd name="connsiteX63" fmla="*/ 465128 w 1569808"/>
              <a:gd name="connsiteY63" fmla="*/ 2378675 h 3126612"/>
              <a:gd name="connsiteX64" fmla="*/ 486270 w 1569808"/>
              <a:gd name="connsiteY64" fmla="*/ 2410389 h 3126612"/>
              <a:gd name="connsiteX65" fmla="*/ 502127 w 1569808"/>
              <a:gd name="connsiteY65" fmla="*/ 2420960 h 3126612"/>
              <a:gd name="connsiteX66" fmla="*/ 507412 w 1569808"/>
              <a:gd name="connsiteY66" fmla="*/ 2436816 h 3126612"/>
              <a:gd name="connsiteX67" fmla="*/ 523269 w 1569808"/>
              <a:gd name="connsiteY67" fmla="*/ 2442102 h 3126612"/>
              <a:gd name="connsiteX68" fmla="*/ 539126 w 1569808"/>
              <a:gd name="connsiteY68" fmla="*/ 2452673 h 3126612"/>
              <a:gd name="connsiteX69" fmla="*/ 613123 w 1569808"/>
              <a:gd name="connsiteY69" fmla="*/ 2463244 h 3126612"/>
              <a:gd name="connsiteX70" fmla="*/ 618409 w 1569808"/>
              <a:gd name="connsiteY70" fmla="*/ 2479101 h 3126612"/>
              <a:gd name="connsiteX71" fmla="*/ 613123 w 1569808"/>
              <a:gd name="connsiteY71" fmla="*/ 2500243 h 3126612"/>
              <a:gd name="connsiteX72" fmla="*/ 607838 w 1569808"/>
              <a:gd name="connsiteY72" fmla="*/ 2516100 h 3126612"/>
              <a:gd name="connsiteX73" fmla="*/ 591981 w 1569808"/>
              <a:gd name="connsiteY73" fmla="*/ 2537242 h 3126612"/>
              <a:gd name="connsiteX74" fmla="*/ 581410 w 1569808"/>
              <a:gd name="connsiteY74" fmla="*/ 2553098 h 3126612"/>
              <a:gd name="connsiteX75" fmla="*/ 576125 w 1569808"/>
              <a:gd name="connsiteY75" fmla="*/ 2568955 h 3126612"/>
              <a:gd name="connsiteX76" fmla="*/ 570839 w 1569808"/>
              <a:gd name="connsiteY76" fmla="*/ 2590097 h 3126612"/>
              <a:gd name="connsiteX77" fmla="*/ 554982 w 1569808"/>
              <a:gd name="connsiteY77" fmla="*/ 2595383 h 3126612"/>
              <a:gd name="connsiteX78" fmla="*/ 523269 w 1569808"/>
              <a:gd name="connsiteY78" fmla="*/ 2616525 h 3126612"/>
              <a:gd name="connsiteX79" fmla="*/ 507412 w 1569808"/>
              <a:gd name="connsiteY79" fmla="*/ 2627096 h 3126612"/>
              <a:gd name="connsiteX80" fmla="*/ 502127 w 1569808"/>
              <a:gd name="connsiteY80" fmla="*/ 2642953 h 3126612"/>
              <a:gd name="connsiteX81" fmla="*/ 480985 w 1569808"/>
              <a:gd name="connsiteY81" fmla="*/ 2674666 h 3126612"/>
              <a:gd name="connsiteX82" fmla="*/ 465128 w 1569808"/>
              <a:gd name="connsiteY82" fmla="*/ 2732807 h 3126612"/>
              <a:gd name="connsiteX83" fmla="*/ 459842 w 1569808"/>
              <a:gd name="connsiteY83" fmla="*/ 2780377 h 3126612"/>
              <a:gd name="connsiteX84" fmla="*/ 449271 w 1569808"/>
              <a:gd name="connsiteY84" fmla="*/ 2812090 h 3126612"/>
              <a:gd name="connsiteX85" fmla="*/ 385845 w 1569808"/>
              <a:gd name="connsiteY85" fmla="*/ 2822661 h 3126612"/>
              <a:gd name="connsiteX86" fmla="*/ 364703 w 1569808"/>
              <a:gd name="connsiteY86" fmla="*/ 2870231 h 3126612"/>
              <a:gd name="connsiteX87" fmla="*/ 348846 w 1569808"/>
              <a:gd name="connsiteY87" fmla="*/ 2875517 h 3126612"/>
              <a:gd name="connsiteX88" fmla="*/ 338275 w 1569808"/>
              <a:gd name="connsiteY88" fmla="*/ 2891374 h 3126612"/>
              <a:gd name="connsiteX89" fmla="*/ 343560 w 1569808"/>
              <a:gd name="connsiteY89" fmla="*/ 3023512 h 3126612"/>
              <a:gd name="connsiteX90" fmla="*/ 359417 w 1569808"/>
              <a:gd name="connsiteY90" fmla="*/ 3076368 h 3126612"/>
              <a:gd name="connsiteX91" fmla="*/ 375274 w 1569808"/>
              <a:gd name="connsiteY91" fmla="*/ 3086939 h 3126612"/>
              <a:gd name="connsiteX92" fmla="*/ 380559 w 1569808"/>
              <a:gd name="connsiteY92" fmla="*/ 3108081 h 3126612"/>
              <a:gd name="connsiteX93" fmla="*/ 343560 w 1569808"/>
              <a:gd name="connsiteY93" fmla="*/ 3113367 h 3126612"/>
              <a:gd name="connsiteX94" fmla="*/ 332989 w 1569808"/>
              <a:gd name="connsiteY94" fmla="*/ 3102795 h 3126612"/>
              <a:gd name="connsiteX95" fmla="*/ 317133 w 1569808"/>
              <a:gd name="connsiteY95" fmla="*/ 3092224 h 3126612"/>
              <a:gd name="connsiteX96" fmla="*/ 295990 w 1569808"/>
              <a:gd name="connsiteY96" fmla="*/ 3060511 h 3126612"/>
              <a:gd name="connsiteX97" fmla="*/ 147995 w 1569808"/>
              <a:gd name="connsiteY97" fmla="*/ 3055226 h 3126612"/>
              <a:gd name="connsiteX98" fmla="*/ 116282 w 1569808"/>
              <a:gd name="connsiteY98" fmla="*/ 3044654 h 3126612"/>
              <a:gd name="connsiteX99" fmla="*/ 100425 w 1569808"/>
              <a:gd name="connsiteY99" fmla="*/ 3039369 h 3126612"/>
              <a:gd name="connsiteX100" fmla="*/ 89854 w 1569808"/>
              <a:gd name="connsiteY100" fmla="*/ 3023512 h 3126612"/>
              <a:gd name="connsiteX101" fmla="*/ 84568 w 1569808"/>
              <a:gd name="connsiteY101" fmla="*/ 2986513 h 3126612"/>
              <a:gd name="connsiteX102" fmla="*/ 79283 w 1569808"/>
              <a:gd name="connsiteY102" fmla="*/ 2960086 h 3126612"/>
              <a:gd name="connsiteX103" fmla="*/ 68712 w 1569808"/>
              <a:gd name="connsiteY103" fmla="*/ 2928372 h 3126612"/>
              <a:gd name="connsiteX104" fmla="*/ 63426 w 1569808"/>
              <a:gd name="connsiteY104" fmla="*/ 2907230 h 3126612"/>
              <a:gd name="connsiteX105" fmla="*/ 47570 w 1569808"/>
              <a:gd name="connsiteY105" fmla="*/ 2901945 h 3126612"/>
              <a:gd name="connsiteX106" fmla="*/ 15856 w 1569808"/>
              <a:gd name="connsiteY106" fmla="*/ 2896659 h 3126612"/>
              <a:gd name="connsiteX107" fmla="*/ 5285 w 1569808"/>
              <a:gd name="connsiteY107" fmla="*/ 2864946 h 3126612"/>
              <a:gd name="connsiteX108" fmla="*/ 0 w 1569808"/>
              <a:gd name="connsiteY108" fmla="*/ 2849089 h 3126612"/>
              <a:gd name="connsiteX109" fmla="*/ 5285 w 1569808"/>
              <a:gd name="connsiteY109" fmla="*/ 2759235 h 3126612"/>
              <a:gd name="connsiteX110" fmla="*/ 10571 w 1569808"/>
              <a:gd name="connsiteY110" fmla="*/ 2743378 h 3126612"/>
              <a:gd name="connsiteX111" fmla="*/ 42284 w 1569808"/>
              <a:gd name="connsiteY111" fmla="*/ 2722236 h 3126612"/>
              <a:gd name="connsiteX112" fmla="*/ 58141 w 1569808"/>
              <a:gd name="connsiteY112" fmla="*/ 2711665 h 3126612"/>
              <a:gd name="connsiteX113" fmla="*/ 63426 w 1569808"/>
              <a:gd name="connsiteY113" fmla="*/ 2695808 h 3126612"/>
              <a:gd name="connsiteX114" fmla="*/ 73997 w 1569808"/>
              <a:gd name="connsiteY114" fmla="*/ 2616525 h 3126612"/>
              <a:gd name="connsiteX115" fmla="*/ 89854 w 1569808"/>
              <a:gd name="connsiteY115" fmla="*/ 2510814 h 3126612"/>
              <a:gd name="connsiteX116" fmla="*/ 110996 w 1569808"/>
              <a:gd name="connsiteY116" fmla="*/ 2479101 h 3126612"/>
              <a:gd name="connsiteX117" fmla="*/ 121567 w 1569808"/>
              <a:gd name="connsiteY117" fmla="*/ 2463244 h 3126612"/>
              <a:gd name="connsiteX118" fmla="*/ 126853 w 1569808"/>
              <a:gd name="connsiteY118" fmla="*/ 2420960 h 3126612"/>
              <a:gd name="connsiteX119" fmla="*/ 132138 w 1569808"/>
              <a:gd name="connsiteY119" fmla="*/ 2405103 h 3126612"/>
              <a:gd name="connsiteX120" fmla="*/ 137424 w 1569808"/>
              <a:gd name="connsiteY120" fmla="*/ 2346962 h 3126612"/>
              <a:gd name="connsiteX121" fmla="*/ 132138 w 1569808"/>
              <a:gd name="connsiteY121" fmla="*/ 2241251 h 3126612"/>
              <a:gd name="connsiteX122" fmla="*/ 126853 w 1569808"/>
              <a:gd name="connsiteY122" fmla="*/ 2225394 h 3126612"/>
              <a:gd name="connsiteX123" fmla="*/ 137424 w 1569808"/>
              <a:gd name="connsiteY123" fmla="*/ 2193681 h 3126612"/>
              <a:gd name="connsiteX124" fmla="*/ 132138 w 1569808"/>
              <a:gd name="connsiteY124" fmla="*/ 2172539 h 3126612"/>
              <a:gd name="connsiteX125" fmla="*/ 126853 w 1569808"/>
              <a:gd name="connsiteY125" fmla="*/ 2119683 h 3126612"/>
              <a:gd name="connsiteX126" fmla="*/ 116282 w 1569808"/>
              <a:gd name="connsiteY126" fmla="*/ 2087970 h 3126612"/>
              <a:gd name="connsiteX127" fmla="*/ 121567 w 1569808"/>
              <a:gd name="connsiteY127" fmla="*/ 1924118 h 3126612"/>
              <a:gd name="connsiteX128" fmla="*/ 126853 w 1569808"/>
              <a:gd name="connsiteY128" fmla="*/ 1696839 h 3126612"/>
              <a:gd name="connsiteX129" fmla="*/ 132138 w 1569808"/>
              <a:gd name="connsiteY129" fmla="*/ 1680983 h 3126612"/>
              <a:gd name="connsiteX130" fmla="*/ 147995 w 1569808"/>
              <a:gd name="connsiteY130" fmla="*/ 1628127 h 3126612"/>
              <a:gd name="connsiteX131" fmla="*/ 158566 w 1569808"/>
              <a:gd name="connsiteY131" fmla="*/ 1612271 h 3126612"/>
              <a:gd name="connsiteX132" fmla="*/ 169137 w 1569808"/>
              <a:gd name="connsiteY132" fmla="*/ 1580557 h 3126612"/>
              <a:gd name="connsiteX133" fmla="*/ 174423 w 1569808"/>
              <a:gd name="connsiteY133" fmla="*/ 1564701 h 3126612"/>
              <a:gd name="connsiteX134" fmla="*/ 179708 w 1569808"/>
              <a:gd name="connsiteY134" fmla="*/ 1548844 h 3126612"/>
              <a:gd name="connsiteX135" fmla="*/ 174423 w 1569808"/>
              <a:gd name="connsiteY135" fmla="*/ 1474846 h 3126612"/>
              <a:gd name="connsiteX136" fmla="*/ 174423 w 1569808"/>
              <a:gd name="connsiteY136" fmla="*/ 1353279 h 3126612"/>
              <a:gd name="connsiteX137" fmla="*/ 206136 w 1569808"/>
              <a:gd name="connsiteY137" fmla="*/ 1342708 h 3126612"/>
              <a:gd name="connsiteX138" fmla="*/ 221993 w 1569808"/>
              <a:gd name="connsiteY138" fmla="*/ 1332137 h 3126612"/>
              <a:gd name="connsiteX139" fmla="*/ 232564 w 1569808"/>
              <a:gd name="connsiteY139" fmla="*/ 1295138 h 3126612"/>
              <a:gd name="connsiteX140" fmla="*/ 237849 w 1569808"/>
              <a:gd name="connsiteY140" fmla="*/ 1205283 h 3126612"/>
              <a:gd name="connsiteX141" fmla="*/ 253706 w 1569808"/>
              <a:gd name="connsiteY141" fmla="*/ 1173570 h 3126612"/>
              <a:gd name="connsiteX142" fmla="*/ 258992 w 1569808"/>
              <a:gd name="connsiteY142" fmla="*/ 1157713 h 3126612"/>
              <a:gd name="connsiteX143" fmla="*/ 264277 w 1569808"/>
              <a:gd name="connsiteY143" fmla="*/ 1067859 h 3126612"/>
              <a:gd name="connsiteX144" fmla="*/ 269563 w 1569808"/>
              <a:gd name="connsiteY144" fmla="*/ 1052002 h 3126612"/>
              <a:gd name="connsiteX145" fmla="*/ 258992 w 1569808"/>
              <a:gd name="connsiteY145" fmla="*/ 1004432 h 3126612"/>
              <a:gd name="connsiteX146" fmla="*/ 248420 w 1569808"/>
              <a:gd name="connsiteY146" fmla="*/ 898721 h 3126612"/>
              <a:gd name="connsiteX147" fmla="*/ 232564 w 1569808"/>
              <a:gd name="connsiteY147" fmla="*/ 867008 h 3126612"/>
              <a:gd name="connsiteX148" fmla="*/ 227278 w 1569808"/>
              <a:gd name="connsiteY148" fmla="*/ 851152 h 3126612"/>
              <a:gd name="connsiteX149" fmla="*/ 232564 w 1569808"/>
              <a:gd name="connsiteY149" fmla="*/ 830009 h 3126612"/>
              <a:gd name="connsiteX150" fmla="*/ 248420 w 1569808"/>
              <a:gd name="connsiteY150" fmla="*/ 824724 h 3126612"/>
              <a:gd name="connsiteX151" fmla="*/ 258992 w 1569808"/>
              <a:gd name="connsiteY151" fmla="*/ 814153 h 3126612"/>
              <a:gd name="connsiteX152" fmla="*/ 264277 w 1569808"/>
              <a:gd name="connsiteY152" fmla="*/ 798296 h 3126612"/>
              <a:gd name="connsiteX153" fmla="*/ 280134 w 1569808"/>
              <a:gd name="connsiteY153" fmla="*/ 761297 h 3126612"/>
              <a:gd name="connsiteX154" fmla="*/ 274848 w 1569808"/>
              <a:gd name="connsiteY154" fmla="*/ 745441 h 3126612"/>
              <a:gd name="connsiteX155" fmla="*/ 280134 w 1569808"/>
              <a:gd name="connsiteY155" fmla="*/ 666157 h 3126612"/>
              <a:gd name="connsiteX156" fmla="*/ 285419 w 1569808"/>
              <a:gd name="connsiteY156" fmla="*/ 650301 h 3126612"/>
              <a:gd name="connsiteX157" fmla="*/ 290705 w 1569808"/>
              <a:gd name="connsiteY157" fmla="*/ 629158 h 3126612"/>
              <a:gd name="connsiteX158" fmla="*/ 306562 w 1569808"/>
              <a:gd name="connsiteY158" fmla="*/ 539304 h 3126612"/>
              <a:gd name="connsiteX159" fmla="*/ 317133 w 1569808"/>
              <a:gd name="connsiteY159" fmla="*/ 523448 h 3126612"/>
              <a:gd name="connsiteX160" fmla="*/ 332989 w 1569808"/>
              <a:gd name="connsiteY160" fmla="*/ 518162 h 3126612"/>
              <a:gd name="connsiteX161" fmla="*/ 348846 w 1569808"/>
              <a:gd name="connsiteY161" fmla="*/ 507591 h 3126612"/>
              <a:gd name="connsiteX162" fmla="*/ 348846 w 1569808"/>
              <a:gd name="connsiteY162" fmla="*/ 449450 h 3126612"/>
              <a:gd name="connsiteX163" fmla="*/ 364703 w 1569808"/>
              <a:gd name="connsiteY163" fmla="*/ 444164 h 3126612"/>
              <a:gd name="connsiteX164" fmla="*/ 380559 w 1569808"/>
              <a:gd name="connsiteY164" fmla="*/ 433593 h 3126612"/>
              <a:gd name="connsiteX165" fmla="*/ 380559 w 1569808"/>
              <a:gd name="connsiteY165" fmla="*/ 370167 h 3126612"/>
              <a:gd name="connsiteX166" fmla="*/ 369988 w 1569808"/>
              <a:gd name="connsiteY166" fmla="*/ 359595 h 3126612"/>
              <a:gd name="connsiteX167" fmla="*/ 375274 w 1569808"/>
              <a:gd name="connsiteY167" fmla="*/ 343739 h 3126612"/>
              <a:gd name="connsiteX168" fmla="*/ 396416 w 1569808"/>
              <a:gd name="connsiteY168" fmla="*/ 312026 h 3126612"/>
              <a:gd name="connsiteX169" fmla="*/ 391130 w 1569808"/>
              <a:gd name="connsiteY169" fmla="*/ 285598 h 3126612"/>
              <a:gd name="connsiteX170" fmla="*/ 391130 w 1569808"/>
              <a:gd name="connsiteY170" fmla="*/ 243313 h 3126612"/>
              <a:gd name="connsiteX171" fmla="*/ 422844 w 1569808"/>
              <a:gd name="connsiteY171" fmla="*/ 232742 h 3126612"/>
              <a:gd name="connsiteX172" fmla="*/ 438700 w 1569808"/>
              <a:gd name="connsiteY172" fmla="*/ 222171 h 3126612"/>
              <a:gd name="connsiteX173" fmla="*/ 470414 w 1569808"/>
              <a:gd name="connsiteY173" fmla="*/ 211600 h 3126612"/>
              <a:gd name="connsiteX174" fmla="*/ 480985 w 1569808"/>
              <a:gd name="connsiteY174" fmla="*/ 179887 h 3126612"/>
              <a:gd name="connsiteX175" fmla="*/ 486270 w 1569808"/>
              <a:gd name="connsiteY175" fmla="*/ 121746 h 3126612"/>
              <a:gd name="connsiteX176" fmla="*/ 507412 w 1569808"/>
              <a:gd name="connsiteY176" fmla="*/ 116460 h 3126612"/>
              <a:gd name="connsiteX177" fmla="*/ 512698 w 1569808"/>
              <a:gd name="connsiteY177" fmla="*/ 100604 h 3126612"/>
              <a:gd name="connsiteX178" fmla="*/ 512698 w 1569808"/>
              <a:gd name="connsiteY178" fmla="*/ 53034 h 3126612"/>
              <a:gd name="connsiteX179" fmla="*/ 544411 w 1569808"/>
              <a:gd name="connsiteY179" fmla="*/ 42463 h 3126612"/>
              <a:gd name="connsiteX180" fmla="*/ 560268 w 1569808"/>
              <a:gd name="connsiteY180" fmla="*/ 37177 h 3126612"/>
              <a:gd name="connsiteX181" fmla="*/ 570839 w 1569808"/>
              <a:gd name="connsiteY181" fmla="*/ 21320 h 3126612"/>
              <a:gd name="connsiteX182" fmla="*/ 639551 w 1569808"/>
              <a:gd name="connsiteY182" fmla="*/ 16035 h 3126612"/>
              <a:gd name="connsiteX183" fmla="*/ 671264 w 1569808"/>
              <a:gd name="connsiteY183" fmla="*/ 31891 h 3126612"/>
              <a:gd name="connsiteX184" fmla="*/ 702978 w 1569808"/>
              <a:gd name="connsiteY184" fmla="*/ 47748 h 3126612"/>
              <a:gd name="connsiteX185" fmla="*/ 713549 w 1569808"/>
              <a:gd name="connsiteY185" fmla="*/ 63605 h 3126612"/>
              <a:gd name="connsiteX186" fmla="*/ 718834 w 1569808"/>
              <a:gd name="connsiteY186" fmla="*/ 84747 h 3126612"/>
              <a:gd name="connsiteX187" fmla="*/ 750548 w 1569808"/>
              <a:gd name="connsiteY187" fmla="*/ 74176 h 3126612"/>
              <a:gd name="connsiteX188" fmla="*/ 787546 w 1569808"/>
              <a:gd name="connsiteY188" fmla="*/ 31891 h 3126612"/>
              <a:gd name="connsiteX189" fmla="*/ 803403 w 1569808"/>
              <a:gd name="connsiteY189" fmla="*/ 26606 h 3126612"/>
              <a:gd name="connsiteX190" fmla="*/ 850973 w 1569808"/>
              <a:gd name="connsiteY190" fmla="*/ 31891 h 3126612"/>
              <a:gd name="connsiteX191" fmla="*/ 866830 w 1569808"/>
              <a:gd name="connsiteY191" fmla="*/ 42463 h 3126612"/>
              <a:gd name="connsiteX192" fmla="*/ 882686 w 1569808"/>
              <a:gd name="connsiteY192" fmla="*/ 47748 h 3126612"/>
              <a:gd name="connsiteX193" fmla="*/ 903829 w 1569808"/>
              <a:gd name="connsiteY193" fmla="*/ 74176 h 3126612"/>
              <a:gd name="connsiteX194" fmla="*/ 914400 w 1569808"/>
              <a:gd name="connsiteY194" fmla="*/ 90032 h 3126612"/>
              <a:gd name="connsiteX195" fmla="*/ 924971 w 1569808"/>
              <a:gd name="connsiteY195" fmla="*/ 100604 h 3126612"/>
              <a:gd name="connsiteX196" fmla="*/ 951399 w 1569808"/>
              <a:gd name="connsiteY196" fmla="*/ 132317 h 3126612"/>
              <a:gd name="connsiteX197" fmla="*/ 983112 w 1569808"/>
              <a:gd name="connsiteY197" fmla="*/ 153459 h 3126612"/>
              <a:gd name="connsiteX198" fmla="*/ 1014825 w 1569808"/>
              <a:gd name="connsiteY198" fmla="*/ 174601 h 3126612"/>
              <a:gd name="connsiteX199" fmla="*/ 1030682 w 1569808"/>
              <a:gd name="connsiteY199" fmla="*/ 185172 h 3126612"/>
              <a:gd name="connsiteX200" fmla="*/ 1046538 w 1569808"/>
              <a:gd name="connsiteY200" fmla="*/ 195743 h 3126612"/>
              <a:gd name="connsiteX201" fmla="*/ 1094108 w 1569808"/>
              <a:gd name="connsiteY201" fmla="*/ 201029 h 3126612"/>
              <a:gd name="connsiteX202" fmla="*/ 1109965 w 1569808"/>
              <a:gd name="connsiteY202" fmla="*/ 216886 h 3126612"/>
              <a:gd name="connsiteX203" fmla="*/ 1115251 w 1569808"/>
              <a:gd name="connsiteY203" fmla="*/ 232742 h 3126612"/>
              <a:gd name="connsiteX204" fmla="*/ 1131107 w 1569808"/>
              <a:gd name="connsiteY204" fmla="*/ 243313 h 3126612"/>
              <a:gd name="connsiteX205" fmla="*/ 1141678 w 1569808"/>
              <a:gd name="connsiteY205" fmla="*/ 253885 h 3126612"/>
              <a:gd name="connsiteX206" fmla="*/ 1152249 w 1569808"/>
              <a:gd name="connsiteY206" fmla="*/ 269741 h 3126612"/>
              <a:gd name="connsiteX207" fmla="*/ 1183963 w 1569808"/>
              <a:gd name="connsiteY207" fmla="*/ 290883 h 3126612"/>
              <a:gd name="connsiteX208" fmla="*/ 1199819 w 1569808"/>
              <a:gd name="connsiteY208" fmla="*/ 301454 h 3126612"/>
              <a:gd name="connsiteX209" fmla="*/ 1210390 w 1569808"/>
              <a:gd name="connsiteY209" fmla="*/ 312026 h 3126612"/>
              <a:gd name="connsiteX210" fmla="*/ 1226247 w 1569808"/>
              <a:gd name="connsiteY210" fmla="*/ 317311 h 3126612"/>
              <a:gd name="connsiteX211" fmla="*/ 1242104 w 1569808"/>
              <a:gd name="connsiteY211" fmla="*/ 327882 h 3126612"/>
              <a:gd name="connsiteX212" fmla="*/ 1242104 w 1569808"/>
              <a:gd name="connsiteY212" fmla="*/ 359595 h 3126612"/>
              <a:gd name="connsiteX213" fmla="*/ 1226247 w 1569808"/>
              <a:gd name="connsiteY213" fmla="*/ 364881 h 3126612"/>
              <a:gd name="connsiteX214" fmla="*/ 1215676 w 1569808"/>
              <a:gd name="connsiteY214" fmla="*/ 380738 h 3126612"/>
              <a:gd name="connsiteX215" fmla="*/ 1210390 w 1569808"/>
              <a:gd name="connsiteY215" fmla="*/ 396594 h 3126612"/>
              <a:gd name="connsiteX216" fmla="*/ 1194534 w 1569808"/>
              <a:gd name="connsiteY216" fmla="*/ 412451 h 3126612"/>
              <a:gd name="connsiteX217" fmla="*/ 1168106 w 1569808"/>
              <a:gd name="connsiteY217" fmla="*/ 460021 h 3126612"/>
              <a:gd name="connsiteX218" fmla="*/ 1173392 w 1569808"/>
              <a:gd name="connsiteY218" fmla="*/ 475878 h 3126612"/>
              <a:gd name="connsiteX219" fmla="*/ 1427098 w 1569808"/>
              <a:gd name="connsiteY219" fmla="*/ 475878 h 3126612"/>
              <a:gd name="connsiteX220" fmla="*/ 1458811 w 1569808"/>
              <a:gd name="connsiteY220" fmla="*/ 460021 h 3126612"/>
              <a:gd name="connsiteX221" fmla="*/ 1479953 w 1569808"/>
              <a:gd name="connsiteY221" fmla="*/ 412451 h 3126612"/>
              <a:gd name="connsiteX222" fmla="*/ 1485239 w 1569808"/>
              <a:gd name="connsiteY222" fmla="*/ 396594 h 3126612"/>
              <a:gd name="connsiteX223" fmla="*/ 1490525 w 1569808"/>
              <a:gd name="connsiteY223" fmla="*/ 380738 h 3126612"/>
              <a:gd name="connsiteX224" fmla="*/ 1501096 w 1569808"/>
              <a:gd name="connsiteY224" fmla="*/ 343739 h 3126612"/>
              <a:gd name="connsiteX225" fmla="*/ 1516952 w 1569808"/>
              <a:gd name="connsiteY225" fmla="*/ 333168 h 3126612"/>
              <a:gd name="connsiteX226" fmla="*/ 1559237 w 1569808"/>
              <a:gd name="connsiteY226" fmla="*/ 349024 h 3126612"/>
              <a:gd name="connsiteX227" fmla="*/ 1564522 w 1569808"/>
              <a:gd name="connsiteY227" fmla="*/ 370167 h 3126612"/>
              <a:gd name="connsiteX228" fmla="*/ 1569808 w 1569808"/>
              <a:gd name="connsiteY228" fmla="*/ 386023 h 3126612"/>
              <a:gd name="connsiteX229" fmla="*/ 1564522 w 1569808"/>
              <a:gd name="connsiteY229" fmla="*/ 433593 h 3126612"/>
              <a:gd name="connsiteX230" fmla="*/ 1559237 w 1569808"/>
              <a:gd name="connsiteY230" fmla="*/ 449450 h 3126612"/>
              <a:gd name="connsiteX231" fmla="*/ 1511667 w 1569808"/>
              <a:gd name="connsiteY231" fmla="*/ 475878 h 3126612"/>
              <a:gd name="connsiteX232" fmla="*/ 1485239 w 1569808"/>
              <a:gd name="connsiteY232" fmla="*/ 507591 h 3126612"/>
              <a:gd name="connsiteX233" fmla="*/ 1469382 w 1569808"/>
              <a:gd name="connsiteY233" fmla="*/ 512876 h 3126612"/>
              <a:gd name="connsiteX234" fmla="*/ 1442955 w 1569808"/>
              <a:gd name="connsiteY234" fmla="*/ 528733 h 3126612"/>
              <a:gd name="connsiteX235" fmla="*/ 1421812 w 1569808"/>
              <a:gd name="connsiteY235" fmla="*/ 555161 h 3126612"/>
              <a:gd name="connsiteX236" fmla="*/ 1405956 w 1569808"/>
              <a:gd name="connsiteY236" fmla="*/ 565732 h 3126612"/>
              <a:gd name="connsiteX237" fmla="*/ 1400670 w 1569808"/>
              <a:gd name="connsiteY237" fmla="*/ 581589 h 3126612"/>
              <a:gd name="connsiteX238" fmla="*/ 1384814 w 1569808"/>
              <a:gd name="connsiteY238" fmla="*/ 592160 h 3126612"/>
              <a:gd name="connsiteX239" fmla="*/ 1374242 w 1569808"/>
              <a:gd name="connsiteY239" fmla="*/ 602731 h 3126612"/>
              <a:gd name="connsiteX240" fmla="*/ 1347815 w 1569808"/>
              <a:gd name="connsiteY240" fmla="*/ 634444 h 3126612"/>
              <a:gd name="connsiteX241" fmla="*/ 1342529 w 1569808"/>
              <a:gd name="connsiteY241" fmla="*/ 650301 h 3126612"/>
              <a:gd name="connsiteX242" fmla="*/ 1326673 w 1569808"/>
              <a:gd name="connsiteY242" fmla="*/ 660872 h 3126612"/>
              <a:gd name="connsiteX243" fmla="*/ 1316101 w 1569808"/>
              <a:gd name="connsiteY243" fmla="*/ 671443 h 3126612"/>
              <a:gd name="connsiteX244" fmla="*/ 1289674 w 1569808"/>
              <a:gd name="connsiteY244" fmla="*/ 692585 h 3126612"/>
              <a:gd name="connsiteX245" fmla="*/ 1257960 w 1569808"/>
              <a:gd name="connsiteY245" fmla="*/ 713727 h 3126612"/>
              <a:gd name="connsiteX246" fmla="*/ 1242104 w 1569808"/>
              <a:gd name="connsiteY246" fmla="*/ 724298 h 3126612"/>
              <a:gd name="connsiteX247" fmla="*/ 1226247 w 1569808"/>
              <a:gd name="connsiteY247" fmla="*/ 729584 h 3126612"/>
              <a:gd name="connsiteX248" fmla="*/ 1215676 w 1569808"/>
              <a:gd name="connsiteY248" fmla="*/ 745441 h 3126612"/>
              <a:gd name="connsiteX249" fmla="*/ 1205105 w 1569808"/>
              <a:gd name="connsiteY249" fmla="*/ 867008 h 3126612"/>
              <a:gd name="connsiteX250" fmla="*/ 1210390 w 1569808"/>
              <a:gd name="connsiteY250" fmla="*/ 909293 h 3126612"/>
              <a:gd name="connsiteX251" fmla="*/ 1215676 w 1569808"/>
              <a:gd name="connsiteY251" fmla="*/ 930435 h 3126612"/>
              <a:gd name="connsiteX252" fmla="*/ 1210390 w 1569808"/>
              <a:gd name="connsiteY252" fmla="*/ 993861 h 3126612"/>
              <a:gd name="connsiteX253" fmla="*/ 1199819 w 1569808"/>
              <a:gd name="connsiteY253" fmla="*/ 1025575 h 3126612"/>
              <a:gd name="connsiteX254" fmla="*/ 1189248 w 1569808"/>
              <a:gd name="connsiteY254" fmla="*/ 1057288 h 3126612"/>
              <a:gd name="connsiteX255" fmla="*/ 1183963 w 1569808"/>
              <a:gd name="connsiteY255" fmla="*/ 1073145 h 3126612"/>
              <a:gd name="connsiteX256" fmla="*/ 1178677 w 1569808"/>
              <a:gd name="connsiteY256" fmla="*/ 1099572 h 3126612"/>
              <a:gd name="connsiteX257" fmla="*/ 1189248 w 1569808"/>
              <a:gd name="connsiteY257" fmla="*/ 1078430 h 312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</a:cxnLst>
            <a:rect l="l" t="t" r="r" b="b"/>
            <a:pathLst>
              <a:path w="1569808" h="3126612">
                <a:moveTo>
                  <a:pt x="1189248" y="1078430"/>
                </a:moveTo>
                <a:cubicBezTo>
                  <a:pt x="1190129" y="1084597"/>
                  <a:pt x="1171713" y="1109009"/>
                  <a:pt x="1183963" y="1136571"/>
                </a:cubicBezTo>
                <a:cubicBezTo>
                  <a:pt x="1189414" y="1148836"/>
                  <a:pt x="1206260" y="1155152"/>
                  <a:pt x="1215676" y="1162999"/>
                </a:cubicBezTo>
                <a:cubicBezTo>
                  <a:pt x="1221419" y="1167784"/>
                  <a:pt x="1225633" y="1174267"/>
                  <a:pt x="1231533" y="1178856"/>
                </a:cubicBezTo>
                <a:cubicBezTo>
                  <a:pt x="1258795" y="1200060"/>
                  <a:pt x="1255178" y="1197309"/>
                  <a:pt x="1279103" y="1205283"/>
                </a:cubicBezTo>
                <a:cubicBezTo>
                  <a:pt x="1284388" y="1208807"/>
                  <a:pt x="1292950" y="1209828"/>
                  <a:pt x="1294959" y="1215854"/>
                </a:cubicBezTo>
                <a:cubicBezTo>
                  <a:pt x="1298752" y="1227233"/>
                  <a:pt x="1284419" y="1244879"/>
                  <a:pt x="1279103" y="1252853"/>
                </a:cubicBezTo>
                <a:cubicBezTo>
                  <a:pt x="1282627" y="1258139"/>
                  <a:pt x="1287172" y="1262871"/>
                  <a:pt x="1289674" y="1268710"/>
                </a:cubicBezTo>
                <a:cubicBezTo>
                  <a:pt x="1292535" y="1275387"/>
                  <a:pt x="1289444" y="1285125"/>
                  <a:pt x="1294959" y="1289852"/>
                </a:cubicBezTo>
                <a:cubicBezTo>
                  <a:pt x="1303420" y="1297104"/>
                  <a:pt x="1326673" y="1300423"/>
                  <a:pt x="1326673" y="1300423"/>
                </a:cubicBezTo>
                <a:cubicBezTo>
                  <a:pt x="1328435" y="1305709"/>
                  <a:pt x="1331958" y="1310708"/>
                  <a:pt x="1331958" y="1316280"/>
                </a:cubicBezTo>
                <a:cubicBezTo>
                  <a:pt x="1331958" y="1321852"/>
                  <a:pt x="1328024" y="1326732"/>
                  <a:pt x="1326673" y="1332137"/>
                </a:cubicBezTo>
                <a:cubicBezTo>
                  <a:pt x="1324494" y="1340852"/>
                  <a:pt x="1323751" y="1349897"/>
                  <a:pt x="1321387" y="1358564"/>
                </a:cubicBezTo>
                <a:cubicBezTo>
                  <a:pt x="1318455" y="1369314"/>
                  <a:pt x="1320088" y="1384097"/>
                  <a:pt x="1310816" y="1390278"/>
                </a:cubicBezTo>
                <a:lnTo>
                  <a:pt x="1294959" y="1400849"/>
                </a:lnTo>
                <a:cubicBezTo>
                  <a:pt x="1293197" y="1406134"/>
                  <a:pt x="1292165" y="1411722"/>
                  <a:pt x="1289674" y="1416705"/>
                </a:cubicBezTo>
                <a:cubicBezTo>
                  <a:pt x="1286833" y="1422387"/>
                  <a:pt x="1281334" y="1426614"/>
                  <a:pt x="1279103" y="1432562"/>
                </a:cubicBezTo>
                <a:cubicBezTo>
                  <a:pt x="1275949" y="1440974"/>
                  <a:pt x="1276972" y="1450578"/>
                  <a:pt x="1273817" y="1458990"/>
                </a:cubicBezTo>
                <a:cubicBezTo>
                  <a:pt x="1271587" y="1464938"/>
                  <a:pt x="1266087" y="1469164"/>
                  <a:pt x="1263246" y="1474846"/>
                </a:cubicBezTo>
                <a:cubicBezTo>
                  <a:pt x="1250480" y="1500377"/>
                  <a:pt x="1268833" y="1483454"/>
                  <a:pt x="1242104" y="1501274"/>
                </a:cubicBezTo>
                <a:cubicBezTo>
                  <a:pt x="1240342" y="1506560"/>
                  <a:pt x="1241352" y="1513893"/>
                  <a:pt x="1236818" y="1517131"/>
                </a:cubicBezTo>
                <a:cubicBezTo>
                  <a:pt x="1227910" y="1523494"/>
                  <a:pt x="1168209" y="1536477"/>
                  <a:pt x="1162820" y="1538273"/>
                </a:cubicBezTo>
                <a:lnTo>
                  <a:pt x="1131107" y="1548844"/>
                </a:lnTo>
                <a:cubicBezTo>
                  <a:pt x="1125822" y="1550606"/>
                  <a:pt x="1120766" y="1553342"/>
                  <a:pt x="1115251" y="1554130"/>
                </a:cubicBezTo>
                <a:cubicBezTo>
                  <a:pt x="1102918" y="1555892"/>
                  <a:pt x="1090509" y="1557186"/>
                  <a:pt x="1078252" y="1559415"/>
                </a:cubicBezTo>
                <a:cubicBezTo>
                  <a:pt x="1048302" y="1564860"/>
                  <a:pt x="1042905" y="1573662"/>
                  <a:pt x="1004254" y="1575272"/>
                </a:cubicBezTo>
                <a:lnTo>
                  <a:pt x="877401" y="1580557"/>
                </a:lnTo>
                <a:cubicBezTo>
                  <a:pt x="874908" y="1588036"/>
                  <a:pt x="866830" y="1610916"/>
                  <a:pt x="866830" y="1617556"/>
                </a:cubicBezTo>
                <a:cubicBezTo>
                  <a:pt x="866830" y="1635263"/>
                  <a:pt x="866908" y="1653488"/>
                  <a:pt x="872115" y="1670412"/>
                </a:cubicBezTo>
                <a:cubicBezTo>
                  <a:pt x="874313" y="1677556"/>
                  <a:pt x="882686" y="1680983"/>
                  <a:pt x="887972" y="1686268"/>
                </a:cubicBezTo>
                <a:cubicBezTo>
                  <a:pt x="881455" y="1744914"/>
                  <a:pt x="887731" y="1718702"/>
                  <a:pt x="872115" y="1765552"/>
                </a:cubicBezTo>
                <a:cubicBezTo>
                  <a:pt x="867816" y="1778448"/>
                  <a:pt x="866505" y="1787019"/>
                  <a:pt x="856259" y="1797265"/>
                </a:cubicBezTo>
                <a:cubicBezTo>
                  <a:pt x="851767" y="1801757"/>
                  <a:pt x="845688" y="1804312"/>
                  <a:pt x="840402" y="1807836"/>
                </a:cubicBezTo>
                <a:cubicBezTo>
                  <a:pt x="805165" y="1806074"/>
                  <a:pt x="769739" y="1806594"/>
                  <a:pt x="734691" y="1802550"/>
                </a:cubicBezTo>
                <a:cubicBezTo>
                  <a:pt x="699236" y="1798459"/>
                  <a:pt x="710947" y="1793320"/>
                  <a:pt x="687121" y="1781408"/>
                </a:cubicBezTo>
                <a:cubicBezTo>
                  <a:pt x="682138" y="1778916"/>
                  <a:pt x="676550" y="1777885"/>
                  <a:pt x="671264" y="1776123"/>
                </a:cubicBezTo>
                <a:cubicBezTo>
                  <a:pt x="665979" y="1777885"/>
                  <a:pt x="659347" y="1777469"/>
                  <a:pt x="655408" y="1781408"/>
                </a:cubicBezTo>
                <a:cubicBezTo>
                  <a:pt x="643523" y="1793293"/>
                  <a:pt x="654802" y="1836217"/>
                  <a:pt x="655408" y="1839549"/>
                </a:cubicBezTo>
                <a:cubicBezTo>
                  <a:pt x="656405" y="1845031"/>
                  <a:pt x="656753" y="1851466"/>
                  <a:pt x="660693" y="1855406"/>
                </a:cubicBezTo>
                <a:cubicBezTo>
                  <a:pt x="664633" y="1859346"/>
                  <a:pt x="671264" y="1858929"/>
                  <a:pt x="676550" y="1860691"/>
                </a:cubicBezTo>
                <a:cubicBezTo>
                  <a:pt x="685854" y="1888601"/>
                  <a:pt x="678745" y="1871911"/>
                  <a:pt x="702978" y="1908261"/>
                </a:cubicBezTo>
                <a:cubicBezTo>
                  <a:pt x="709634" y="1918245"/>
                  <a:pt x="715702" y="1931753"/>
                  <a:pt x="729405" y="1934689"/>
                </a:cubicBezTo>
                <a:cubicBezTo>
                  <a:pt x="748433" y="1938767"/>
                  <a:pt x="768166" y="1938213"/>
                  <a:pt x="787546" y="1939975"/>
                </a:cubicBezTo>
                <a:cubicBezTo>
                  <a:pt x="785784" y="1950546"/>
                  <a:pt x="792171" y="1967608"/>
                  <a:pt x="782261" y="1971688"/>
                </a:cubicBezTo>
                <a:cubicBezTo>
                  <a:pt x="662174" y="2021136"/>
                  <a:pt x="719922" y="1943630"/>
                  <a:pt x="687121" y="1992830"/>
                </a:cubicBezTo>
                <a:cubicBezTo>
                  <a:pt x="688883" y="1998116"/>
                  <a:pt x="688056" y="2005206"/>
                  <a:pt x="692407" y="2008687"/>
                </a:cubicBezTo>
                <a:cubicBezTo>
                  <a:pt x="698079" y="2013225"/>
                  <a:pt x="710300" y="2007475"/>
                  <a:pt x="713549" y="2013972"/>
                </a:cubicBezTo>
                <a:cubicBezTo>
                  <a:pt x="716390" y="2019654"/>
                  <a:pt x="707759" y="2025646"/>
                  <a:pt x="702978" y="2029829"/>
                </a:cubicBezTo>
                <a:cubicBezTo>
                  <a:pt x="693416" y="2038195"/>
                  <a:pt x="681835" y="2043924"/>
                  <a:pt x="671264" y="2050971"/>
                </a:cubicBezTo>
                <a:lnTo>
                  <a:pt x="655408" y="2061542"/>
                </a:lnTo>
                <a:lnTo>
                  <a:pt x="639551" y="2109112"/>
                </a:lnTo>
                <a:cubicBezTo>
                  <a:pt x="637789" y="2114398"/>
                  <a:pt x="638206" y="2121030"/>
                  <a:pt x="634266" y="2124969"/>
                </a:cubicBezTo>
                <a:lnTo>
                  <a:pt x="623694" y="2135540"/>
                </a:lnTo>
                <a:cubicBezTo>
                  <a:pt x="620170" y="2146111"/>
                  <a:pt x="614048" y="2156149"/>
                  <a:pt x="613123" y="2167253"/>
                </a:cubicBezTo>
                <a:cubicBezTo>
                  <a:pt x="611361" y="2188395"/>
                  <a:pt x="615454" y="2210878"/>
                  <a:pt x="607838" y="2230680"/>
                </a:cubicBezTo>
                <a:cubicBezTo>
                  <a:pt x="605230" y="2237460"/>
                  <a:pt x="593819" y="2234540"/>
                  <a:pt x="586696" y="2235965"/>
                </a:cubicBezTo>
                <a:cubicBezTo>
                  <a:pt x="576187" y="2238067"/>
                  <a:pt x="565553" y="2239489"/>
                  <a:pt x="554982" y="2241251"/>
                </a:cubicBezTo>
                <a:cubicBezTo>
                  <a:pt x="527074" y="2250555"/>
                  <a:pt x="543760" y="2243447"/>
                  <a:pt x="507412" y="2267679"/>
                </a:cubicBezTo>
                <a:lnTo>
                  <a:pt x="491556" y="2278250"/>
                </a:lnTo>
                <a:cubicBezTo>
                  <a:pt x="488032" y="2283535"/>
                  <a:pt x="484953" y="2289146"/>
                  <a:pt x="480985" y="2294106"/>
                </a:cubicBezTo>
                <a:cubicBezTo>
                  <a:pt x="477872" y="2297997"/>
                  <a:pt x="472978" y="2300405"/>
                  <a:pt x="470414" y="2304678"/>
                </a:cubicBezTo>
                <a:cubicBezTo>
                  <a:pt x="467548" y="2309455"/>
                  <a:pt x="467620" y="2315551"/>
                  <a:pt x="465128" y="2320534"/>
                </a:cubicBezTo>
                <a:cubicBezTo>
                  <a:pt x="462287" y="2326216"/>
                  <a:pt x="458081" y="2331105"/>
                  <a:pt x="454557" y="2336391"/>
                </a:cubicBezTo>
                <a:cubicBezTo>
                  <a:pt x="456022" y="2343719"/>
                  <a:pt x="460047" y="2369529"/>
                  <a:pt x="465128" y="2378675"/>
                </a:cubicBezTo>
                <a:cubicBezTo>
                  <a:pt x="471298" y="2389781"/>
                  <a:pt x="475699" y="2403342"/>
                  <a:pt x="486270" y="2410389"/>
                </a:cubicBezTo>
                <a:lnTo>
                  <a:pt x="502127" y="2420960"/>
                </a:lnTo>
                <a:cubicBezTo>
                  <a:pt x="503889" y="2426245"/>
                  <a:pt x="503473" y="2432877"/>
                  <a:pt x="507412" y="2436816"/>
                </a:cubicBezTo>
                <a:cubicBezTo>
                  <a:pt x="511352" y="2440756"/>
                  <a:pt x="518286" y="2439610"/>
                  <a:pt x="523269" y="2442102"/>
                </a:cubicBezTo>
                <a:cubicBezTo>
                  <a:pt x="528951" y="2444943"/>
                  <a:pt x="533444" y="2449832"/>
                  <a:pt x="539126" y="2452673"/>
                </a:cubicBezTo>
                <a:cubicBezTo>
                  <a:pt x="559461" y="2462840"/>
                  <a:pt x="598275" y="2461894"/>
                  <a:pt x="613123" y="2463244"/>
                </a:cubicBezTo>
                <a:cubicBezTo>
                  <a:pt x="614885" y="2468530"/>
                  <a:pt x="618409" y="2473529"/>
                  <a:pt x="618409" y="2479101"/>
                </a:cubicBezTo>
                <a:cubicBezTo>
                  <a:pt x="618409" y="2486365"/>
                  <a:pt x="615119" y="2493258"/>
                  <a:pt x="613123" y="2500243"/>
                </a:cubicBezTo>
                <a:cubicBezTo>
                  <a:pt x="611592" y="2505600"/>
                  <a:pt x="610602" y="2511263"/>
                  <a:pt x="607838" y="2516100"/>
                </a:cubicBezTo>
                <a:cubicBezTo>
                  <a:pt x="603467" y="2523749"/>
                  <a:pt x="597101" y="2530074"/>
                  <a:pt x="591981" y="2537242"/>
                </a:cubicBezTo>
                <a:cubicBezTo>
                  <a:pt x="588289" y="2542411"/>
                  <a:pt x="584934" y="2547813"/>
                  <a:pt x="581410" y="2553098"/>
                </a:cubicBezTo>
                <a:cubicBezTo>
                  <a:pt x="579648" y="2558384"/>
                  <a:pt x="577656" y="2563598"/>
                  <a:pt x="576125" y="2568955"/>
                </a:cubicBezTo>
                <a:cubicBezTo>
                  <a:pt x="574129" y="2575940"/>
                  <a:pt x="575377" y="2584425"/>
                  <a:pt x="570839" y="2590097"/>
                </a:cubicBezTo>
                <a:cubicBezTo>
                  <a:pt x="567358" y="2594448"/>
                  <a:pt x="559852" y="2592677"/>
                  <a:pt x="554982" y="2595383"/>
                </a:cubicBezTo>
                <a:cubicBezTo>
                  <a:pt x="543876" y="2601553"/>
                  <a:pt x="533840" y="2609478"/>
                  <a:pt x="523269" y="2616525"/>
                </a:cubicBezTo>
                <a:lnTo>
                  <a:pt x="507412" y="2627096"/>
                </a:lnTo>
                <a:cubicBezTo>
                  <a:pt x="505650" y="2632382"/>
                  <a:pt x="504833" y="2638083"/>
                  <a:pt x="502127" y="2642953"/>
                </a:cubicBezTo>
                <a:cubicBezTo>
                  <a:pt x="495957" y="2654059"/>
                  <a:pt x="485003" y="2662613"/>
                  <a:pt x="480985" y="2674666"/>
                </a:cubicBezTo>
                <a:cubicBezTo>
                  <a:pt x="472207" y="2701001"/>
                  <a:pt x="468864" y="2706660"/>
                  <a:pt x="465128" y="2732807"/>
                </a:cubicBezTo>
                <a:cubicBezTo>
                  <a:pt x="462872" y="2748601"/>
                  <a:pt x="462971" y="2764733"/>
                  <a:pt x="459842" y="2780377"/>
                </a:cubicBezTo>
                <a:cubicBezTo>
                  <a:pt x="457657" y="2791303"/>
                  <a:pt x="459842" y="2808566"/>
                  <a:pt x="449271" y="2812090"/>
                </a:cubicBezTo>
                <a:cubicBezTo>
                  <a:pt x="418280" y="2822422"/>
                  <a:pt x="438952" y="2816761"/>
                  <a:pt x="385845" y="2822661"/>
                </a:cubicBezTo>
                <a:cubicBezTo>
                  <a:pt x="381430" y="2849148"/>
                  <a:pt x="386672" y="2855585"/>
                  <a:pt x="364703" y="2870231"/>
                </a:cubicBezTo>
                <a:cubicBezTo>
                  <a:pt x="360067" y="2873322"/>
                  <a:pt x="354132" y="2873755"/>
                  <a:pt x="348846" y="2875517"/>
                </a:cubicBezTo>
                <a:cubicBezTo>
                  <a:pt x="345322" y="2880803"/>
                  <a:pt x="338502" y="2885026"/>
                  <a:pt x="338275" y="2891374"/>
                </a:cubicBezTo>
                <a:cubicBezTo>
                  <a:pt x="336702" y="2935427"/>
                  <a:pt x="340527" y="2979535"/>
                  <a:pt x="343560" y="3023512"/>
                </a:cubicBezTo>
                <a:cubicBezTo>
                  <a:pt x="344070" y="3030904"/>
                  <a:pt x="358022" y="3075438"/>
                  <a:pt x="359417" y="3076368"/>
                </a:cubicBezTo>
                <a:lnTo>
                  <a:pt x="375274" y="3086939"/>
                </a:lnTo>
                <a:cubicBezTo>
                  <a:pt x="377036" y="3093986"/>
                  <a:pt x="382856" y="3101190"/>
                  <a:pt x="380559" y="3108081"/>
                </a:cubicBezTo>
                <a:cubicBezTo>
                  <a:pt x="374382" y="3126612"/>
                  <a:pt x="352884" y="3115698"/>
                  <a:pt x="343560" y="3113367"/>
                </a:cubicBezTo>
                <a:cubicBezTo>
                  <a:pt x="340036" y="3109843"/>
                  <a:pt x="336880" y="3105908"/>
                  <a:pt x="332989" y="3102795"/>
                </a:cubicBezTo>
                <a:cubicBezTo>
                  <a:pt x="328029" y="3098827"/>
                  <a:pt x="321101" y="3097184"/>
                  <a:pt x="317133" y="3092224"/>
                </a:cubicBezTo>
                <a:cubicBezTo>
                  <a:pt x="309006" y="3082066"/>
                  <a:pt x="316426" y="3063148"/>
                  <a:pt x="295990" y="3060511"/>
                </a:cubicBezTo>
                <a:cubicBezTo>
                  <a:pt x="247033" y="3054194"/>
                  <a:pt x="197327" y="3056988"/>
                  <a:pt x="147995" y="3055226"/>
                </a:cubicBezTo>
                <a:lnTo>
                  <a:pt x="116282" y="3044654"/>
                </a:lnTo>
                <a:lnTo>
                  <a:pt x="100425" y="3039369"/>
                </a:lnTo>
                <a:cubicBezTo>
                  <a:pt x="96901" y="3034083"/>
                  <a:pt x="91679" y="3029597"/>
                  <a:pt x="89854" y="3023512"/>
                </a:cubicBezTo>
                <a:cubicBezTo>
                  <a:pt x="86274" y="3011579"/>
                  <a:pt x="86616" y="2998802"/>
                  <a:pt x="84568" y="2986513"/>
                </a:cubicBezTo>
                <a:cubicBezTo>
                  <a:pt x="83091" y="2977652"/>
                  <a:pt x="81647" y="2968753"/>
                  <a:pt x="79283" y="2960086"/>
                </a:cubicBezTo>
                <a:cubicBezTo>
                  <a:pt x="76351" y="2949335"/>
                  <a:pt x="71415" y="2939182"/>
                  <a:pt x="68712" y="2928372"/>
                </a:cubicBezTo>
                <a:cubicBezTo>
                  <a:pt x="66950" y="2921325"/>
                  <a:pt x="67964" y="2912902"/>
                  <a:pt x="63426" y="2907230"/>
                </a:cubicBezTo>
                <a:cubicBezTo>
                  <a:pt x="59946" y="2902880"/>
                  <a:pt x="53009" y="2903154"/>
                  <a:pt x="47570" y="2901945"/>
                </a:cubicBezTo>
                <a:cubicBezTo>
                  <a:pt x="37108" y="2899620"/>
                  <a:pt x="26427" y="2898421"/>
                  <a:pt x="15856" y="2896659"/>
                </a:cubicBezTo>
                <a:lnTo>
                  <a:pt x="5285" y="2864946"/>
                </a:lnTo>
                <a:lnTo>
                  <a:pt x="0" y="2849089"/>
                </a:lnTo>
                <a:cubicBezTo>
                  <a:pt x="1762" y="2819138"/>
                  <a:pt x="2300" y="2789089"/>
                  <a:pt x="5285" y="2759235"/>
                </a:cubicBezTo>
                <a:cubicBezTo>
                  <a:pt x="5839" y="2753691"/>
                  <a:pt x="6631" y="2747318"/>
                  <a:pt x="10571" y="2743378"/>
                </a:cubicBezTo>
                <a:cubicBezTo>
                  <a:pt x="19555" y="2734394"/>
                  <a:pt x="31713" y="2729283"/>
                  <a:pt x="42284" y="2722236"/>
                </a:cubicBezTo>
                <a:lnTo>
                  <a:pt x="58141" y="2711665"/>
                </a:lnTo>
                <a:cubicBezTo>
                  <a:pt x="59903" y="2706379"/>
                  <a:pt x="62690" y="2701331"/>
                  <a:pt x="63426" y="2695808"/>
                </a:cubicBezTo>
                <a:cubicBezTo>
                  <a:pt x="74922" y="2609585"/>
                  <a:pt x="60494" y="2657038"/>
                  <a:pt x="73997" y="2616525"/>
                </a:cubicBezTo>
                <a:cubicBezTo>
                  <a:pt x="75179" y="2599981"/>
                  <a:pt x="73670" y="2535090"/>
                  <a:pt x="89854" y="2510814"/>
                </a:cubicBezTo>
                <a:lnTo>
                  <a:pt x="110996" y="2479101"/>
                </a:lnTo>
                <a:lnTo>
                  <a:pt x="121567" y="2463244"/>
                </a:lnTo>
                <a:cubicBezTo>
                  <a:pt x="123329" y="2449149"/>
                  <a:pt x="124312" y="2434935"/>
                  <a:pt x="126853" y="2420960"/>
                </a:cubicBezTo>
                <a:cubicBezTo>
                  <a:pt x="127850" y="2415478"/>
                  <a:pt x="131350" y="2410619"/>
                  <a:pt x="132138" y="2405103"/>
                </a:cubicBezTo>
                <a:cubicBezTo>
                  <a:pt x="134890" y="2385838"/>
                  <a:pt x="135662" y="2366342"/>
                  <a:pt x="137424" y="2346962"/>
                </a:cubicBezTo>
                <a:cubicBezTo>
                  <a:pt x="135662" y="2311725"/>
                  <a:pt x="135194" y="2276399"/>
                  <a:pt x="132138" y="2241251"/>
                </a:cubicBezTo>
                <a:cubicBezTo>
                  <a:pt x="131655" y="2235700"/>
                  <a:pt x="126238" y="2230931"/>
                  <a:pt x="126853" y="2225394"/>
                </a:cubicBezTo>
                <a:cubicBezTo>
                  <a:pt x="128084" y="2214319"/>
                  <a:pt x="137424" y="2193681"/>
                  <a:pt x="137424" y="2193681"/>
                </a:cubicBezTo>
                <a:cubicBezTo>
                  <a:pt x="135662" y="2186634"/>
                  <a:pt x="133165" y="2179730"/>
                  <a:pt x="132138" y="2172539"/>
                </a:cubicBezTo>
                <a:cubicBezTo>
                  <a:pt x="129634" y="2155010"/>
                  <a:pt x="130116" y="2137086"/>
                  <a:pt x="126853" y="2119683"/>
                </a:cubicBezTo>
                <a:cubicBezTo>
                  <a:pt x="124800" y="2108731"/>
                  <a:pt x="116282" y="2087970"/>
                  <a:pt x="116282" y="2087970"/>
                </a:cubicBezTo>
                <a:cubicBezTo>
                  <a:pt x="118044" y="2033353"/>
                  <a:pt x="120091" y="1978744"/>
                  <a:pt x="121567" y="1924118"/>
                </a:cubicBezTo>
                <a:cubicBezTo>
                  <a:pt x="123614" y="1848366"/>
                  <a:pt x="123561" y="1772548"/>
                  <a:pt x="126853" y="1696839"/>
                </a:cubicBezTo>
                <a:cubicBezTo>
                  <a:pt x="127095" y="1691273"/>
                  <a:pt x="130607" y="1686340"/>
                  <a:pt x="132138" y="1680983"/>
                </a:cubicBezTo>
                <a:cubicBezTo>
                  <a:pt x="135831" y="1668059"/>
                  <a:pt x="141717" y="1637543"/>
                  <a:pt x="147995" y="1628127"/>
                </a:cubicBezTo>
                <a:cubicBezTo>
                  <a:pt x="151519" y="1622842"/>
                  <a:pt x="155986" y="1618076"/>
                  <a:pt x="158566" y="1612271"/>
                </a:cubicBezTo>
                <a:cubicBezTo>
                  <a:pt x="163092" y="1602088"/>
                  <a:pt x="165613" y="1591128"/>
                  <a:pt x="169137" y="1580557"/>
                </a:cubicBezTo>
                <a:lnTo>
                  <a:pt x="174423" y="1564701"/>
                </a:lnTo>
                <a:lnTo>
                  <a:pt x="179708" y="1548844"/>
                </a:lnTo>
                <a:cubicBezTo>
                  <a:pt x="177946" y="1524178"/>
                  <a:pt x="177012" y="1499439"/>
                  <a:pt x="174423" y="1474846"/>
                </a:cubicBezTo>
                <a:cubicBezTo>
                  <a:pt x="169106" y="1424335"/>
                  <a:pt x="146722" y="1432424"/>
                  <a:pt x="174423" y="1353279"/>
                </a:cubicBezTo>
                <a:cubicBezTo>
                  <a:pt x="178104" y="1342762"/>
                  <a:pt x="206136" y="1342708"/>
                  <a:pt x="206136" y="1342708"/>
                </a:cubicBezTo>
                <a:cubicBezTo>
                  <a:pt x="211422" y="1339184"/>
                  <a:pt x="218025" y="1337098"/>
                  <a:pt x="221993" y="1332137"/>
                </a:cubicBezTo>
                <a:cubicBezTo>
                  <a:pt x="224748" y="1328693"/>
                  <a:pt x="232220" y="1296516"/>
                  <a:pt x="232564" y="1295138"/>
                </a:cubicBezTo>
                <a:cubicBezTo>
                  <a:pt x="234326" y="1265186"/>
                  <a:pt x="234864" y="1235138"/>
                  <a:pt x="237849" y="1205283"/>
                </a:cubicBezTo>
                <a:cubicBezTo>
                  <a:pt x="239509" y="1188680"/>
                  <a:pt x="246470" y="1188043"/>
                  <a:pt x="253706" y="1173570"/>
                </a:cubicBezTo>
                <a:cubicBezTo>
                  <a:pt x="256198" y="1168587"/>
                  <a:pt x="257230" y="1162999"/>
                  <a:pt x="258992" y="1157713"/>
                </a:cubicBezTo>
                <a:cubicBezTo>
                  <a:pt x="260754" y="1127762"/>
                  <a:pt x="261292" y="1097713"/>
                  <a:pt x="264277" y="1067859"/>
                </a:cubicBezTo>
                <a:cubicBezTo>
                  <a:pt x="264831" y="1062315"/>
                  <a:pt x="269563" y="1057574"/>
                  <a:pt x="269563" y="1052002"/>
                </a:cubicBezTo>
                <a:cubicBezTo>
                  <a:pt x="269563" y="1045299"/>
                  <a:pt x="261029" y="1012580"/>
                  <a:pt x="258992" y="1004432"/>
                </a:cubicBezTo>
                <a:cubicBezTo>
                  <a:pt x="255917" y="958306"/>
                  <a:pt x="257948" y="936834"/>
                  <a:pt x="248420" y="898721"/>
                </a:cubicBezTo>
                <a:cubicBezTo>
                  <a:pt x="241778" y="872152"/>
                  <a:pt x="245482" y="892844"/>
                  <a:pt x="232564" y="867008"/>
                </a:cubicBezTo>
                <a:cubicBezTo>
                  <a:pt x="230072" y="862025"/>
                  <a:pt x="229040" y="856437"/>
                  <a:pt x="227278" y="851152"/>
                </a:cubicBezTo>
                <a:cubicBezTo>
                  <a:pt x="229040" y="844104"/>
                  <a:pt x="228026" y="835682"/>
                  <a:pt x="232564" y="830009"/>
                </a:cubicBezTo>
                <a:cubicBezTo>
                  <a:pt x="236044" y="825659"/>
                  <a:pt x="243643" y="827590"/>
                  <a:pt x="248420" y="824724"/>
                </a:cubicBezTo>
                <a:cubicBezTo>
                  <a:pt x="252693" y="822160"/>
                  <a:pt x="255468" y="817677"/>
                  <a:pt x="258992" y="814153"/>
                </a:cubicBezTo>
                <a:cubicBezTo>
                  <a:pt x="260754" y="808867"/>
                  <a:pt x="262082" y="803417"/>
                  <a:pt x="264277" y="798296"/>
                </a:cubicBezTo>
                <a:cubicBezTo>
                  <a:pt x="283876" y="752563"/>
                  <a:pt x="267734" y="798494"/>
                  <a:pt x="280134" y="761297"/>
                </a:cubicBezTo>
                <a:cubicBezTo>
                  <a:pt x="278372" y="756012"/>
                  <a:pt x="274848" y="751012"/>
                  <a:pt x="274848" y="745441"/>
                </a:cubicBezTo>
                <a:cubicBezTo>
                  <a:pt x="274848" y="718954"/>
                  <a:pt x="277209" y="692482"/>
                  <a:pt x="280134" y="666157"/>
                </a:cubicBezTo>
                <a:cubicBezTo>
                  <a:pt x="280749" y="660620"/>
                  <a:pt x="283888" y="655658"/>
                  <a:pt x="285419" y="650301"/>
                </a:cubicBezTo>
                <a:cubicBezTo>
                  <a:pt x="287415" y="643316"/>
                  <a:pt x="288943" y="636206"/>
                  <a:pt x="290705" y="629158"/>
                </a:cubicBezTo>
                <a:cubicBezTo>
                  <a:pt x="299153" y="502428"/>
                  <a:pt x="276728" y="576594"/>
                  <a:pt x="306562" y="539304"/>
                </a:cubicBezTo>
                <a:cubicBezTo>
                  <a:pt x="310530" y="534344"/>
                  <a:pt x="312173" y="527416"/>
                  <a:pt x="317133" y="523448"/>
                </a:cubicBezTo>
                <a:cubicBezTo>
                  <a:pt x="321483" y="519968"/>
                  <a:pt x="328006" y="520654"/>
                  <a:pt x="332989" y="518162"/>
                </a:cubicBezTo>
                <a:cubicBezTo>
                  <a:pt x="338671" y="515321"/>
                  <a:pt x="343560" y="511115"/>
                  <a:pt x="348846" y="507591"/>
                </a:cubicBezTo>
                <a:cubicBezTo>
                  <a:pt x="348409" y="504093"/>
                  <a:pt x="336895" y="461401"/>
                  <a:pt x="348846" y="449450"/>
                </a:cubicBezTo>
                <a:cubicBezTo>
                  <a:pt x="352786" y="445510"/>
                  <a:pt x="359720" y="446656"/>
                  <a:pt x="364703" y="444164"/>
                </a:cubicBezTo>
                <a:cubicBezTo>
                  <a:pt x="370385" y="441323"/>
                  <a:pt x="375274" y="437117"/>
                  <a:pt x="380559" y="433593"/>
                </a:cubicBezTo>
                <a:cubicBezTo>
                  <a:pt x="389242" y="407546"/>
                  <a:pt x="391181" y="409114"/>
                  <a:pt x="380559" y="370167"/>
                </a:cubicBezTo>
                <a:cubicBezTo>
                  <a:pt x="379248" y="365359"/>
                  <a:pt x="373512" y="363119"/>
                  <a:pt x="369988" y="359595"/>
                </a:cubicBezTo>
                <a:cubicBezTo>
                  <a:pt x="371750" y="354310"/>
                  <a:pt x="372568" y="348609"/>
                  <a:pt x="375274" y="343739"/>
                </a:cubicBezTo>
                <a:cubicBezTo>
                  <a:pt x="381444" y="332633"/>
                  <a:pt x="396416" y="312026"/>
                  <a:pt x="396416" y="312026"/>
                </a:cubicBezTo>
                <a:cubicBezTo>
                  <a:pt x="394654" y="303217"/>
                  <a:pt x="393309" y="294314"/>
                  <a:pt x="391130" y="285598"/>
                </a:cubicBezTo>
                <a:cubicBezTo>
                  <a:pt x="387794" y="272252"/>
                  <a:pt x="377030" y="257413"/>
                  <a:pt x="391130" y="243313"/>
                </a:cubicBezTo>
                <a:cubicBezTo>
                  <a:pt x="399009" y="235434"/>
                  <a:pt x="413572" y="238923"/>
                  <a:pt x="422844" y="232742"/>
                </a:cubicBezTo>
                <a:cubicBezTo>
                  <a:pt x="428129" y="229218"/>
                  <a:pt x="432895" y="224751"/>
                  <a:pt x="438700" y="222171"/>
                </a:cubicBezTo>
                <a:cubicBezTo>
                  <a:pt x="448883" y="217645"/>
                  <a:pt x="470414" y="211600"/>
                  <a:pt x="470414" y="211600"/>
                </a:cubicBezTo>
                <a:cubicBezTo>
                  <a:pt x="473938" y="201029"/>
                  <a:pt x="479976" y="190984"/>
                  <a:pt x="480985" y="179887"/>
                </a:cubicBezTo>
                <a:cubicBezTo>
                  <a:pt x="482747" y="160507"/>
                  <a:pt x="478786" y="139709"/>
                  <a:pt x="486270" y="121746"/>
                </a:cubicBezTo>
                <a:cubicBezTo>
                  <a:pt x="489064" y="115040"/>
                  <a:pt x="500365" y="118222"/>
                  <a:pt x="507412" y="116460"/>
                </a:cubicBezTo>
                <a:cubicBezTo>
                  <a:pt x="509174" y="111175"/>
                  <a:pt x="512698" y="106175"/>
                  <a:pt x="512698" y="100604"/>
                </a:cubicBezTo>
                <a:cubicBezTo>
                  <a:pt x="512698" y="90313"/>
                  <a:pt x="499807" y="64084"/>
                  <a:pt x="512698" y="53034"/>
                </a:cubicBezTo>
                <a:cubicBezTo>
                  <a:pt x="521158" y="45782"/>
                  <a:pt x="533840" y="45987"/>
                  <a:pt x="544411" y="42463"/>
                </a:cubicBezTo>
                <a:lnTo>
                  <a:pt x="560268" y="37177"/>
                </a:lnTo>
                <a:cubicBezTo>
                  <a:pt x="563792" y="31891"/>
                  <a:pt x="566347" y="25812"/>
                  <a:pt x="570839" y="21320"/>
                </a:cubicBezTo>
                <a:cubicBezTo>
                  <a:pt x="592159" y="0"/>
                  <a:pt x="606213" y="12701"/>
                  <a:pt x="639551" y="16035"/>
                </a:cubicBezTo>
                <a:cubicBezTo>
                  <a:pt x="679402" y="29317"/>
                  <a:pt x="630287" y="11402"/>
                  <a:pt x="671264" y="31891"/>
                </a:cubicBezTo>
                <a:cubicBezTo>
                  <a:pt x="715035" y="53777"/>
                  <a:pt x="657530" y="17450"/>
                  <a:pt x="702978" y="47748"/>
                </a:cubicBezTo>
                <a:cubicBezTo>
                  <a:pt x="706502" y="53034"/>
                  <a:pt x="711047" y="57766"/>
                  <a:pt x="713549" y="63605"/>
                </a:cubicBezTo>
                <a:cubicBezTo>
                  <a:pt x="716410" y="70282"/>
                  <a:pt x="711849" y="82751"/>
                  <a:pt x="718834" y="84747"/>
                </a:cubicBezTo>
                <a:cubicBezTo>
                  <a:pt x="729548" y="87808"/>
                  <a:pt x="750548" y="74176"/>
                  <a:pt x="750548" y="74176"/>
                </a:cubicBezTo>
                <a:cubicBezTo>
                  <a:pt x="759020" y="61468"/>
                  <a:pt x="774296" y="36307"/>
                  <a:pt x="787546" y="31891"/>
                </a:cubicBezTo>
                <a:lnTo>
                  <a:pt x="803403" y="26606"/>
                </a:lnTo>
                <a:cubicBezTo>
                  <a:pt x="819260" y="28368"/>
                  <a:pt x="835495" y="28021"/>
                  <a:pt x="850973" y="31891"/>
                </a:cubicBezTo>
                <a:cubicBezTo>
                  <a:pt x="857136" y="33432"/>
                  <a:pt x="861148" y="39622"/>
                  <a:pt x="866830" y="42463"/>
                </a:cubicBezTo>
                <a:cubicBezTo>
                  <a:pt x="871813" y="44955"/>
                  <a:pt x="877401" y="45986"/>
                  <a:pt x="882686" y="47748"/>
                </a:cubicBezTo>
                <a:cubicBezTo>
                  <a:pt x="892977" y="78618"/>
                  <a:pt x="879921" y="50268"/>
                  <a:pt x="903829" y="74176"/>
                </a:cubicBezTo>
                <a:cubicBezTo>
                  <a:pt x="908321" y="78668"/>
                  <a:pt x="910432" y="85072"/>
                  <a:pt x="914400" y="90032"/>
                </a:cubicBezTo>
                <a:cubicBezTo>
                  <a:pt x="917513" y="93923"/>
                  <a:pt x="921858" y="96713"/>
                  <a:pt x="924971" y="100604"/>
                </a:cubicBezTo>
                <a:cubicBezTo>
                  <a:pt x="939341" y="118566"/>
                  <a:pt x="931460" y="116809"/>
                  <a:pt x="951399" y="132317"/>
                </a:cubicBezTo>
                <a:cubicBezTo>
                  <a:pt x="961428" y="140117"/>
                  <a:pt x="972541" y="146412"/>
                  <a:pt x="983112" y="153459"/>
                </a:cubicBezTo>
                <a:lnTo>
                  <a:pt x="1014825" y="174601"/>
                </a:lnTo>
                <a:lnTo>
                  <a:pt x="1030682" y="185172"/>
                </a:lnTo>
                <a:cubicBezTo>
                  <a:pt x="1035967" y="188696"/>
                  <a:pt x="1040225" y="195041"/>
                  <a:pt x="1046538" y="195743"/>
                </a:cubicBezTo>
                <a:lnTo>
                  <a:pt x="1094108" y="201029"/>
                </a:lnTo>
                <a:cubicBezTo>
                  <a:pt x="1099394" y="206315"/>
                  <a:pt x="1105818" y="210666"/>
                  <a:pt x="1109965" y="216886"/>
                </a:cubicBezTo>
                <a:cubicBezTo>
                  <a:pt x="1113056" y="221522"/>
                  <a:pt x="1111771" y="228392"/>
                  <a:pt x="1115251" y="232742"/>
                </a:cubicBezTo>
                <a:cubicBezTo>
                  <a:pt x="1119219" y="237702"/>
                  <a:pt x="1126147" y="239345"/>
                  <a:pt x="1131107" y="243313"/>
                </a:cubicBezTo>
                <a:cubicBezTo>
                  <a:pt x="1134998" y="246426"/>
                  <a:pt x="1138565" y="249994"/>
                  <a:pt x="1141678" y="253885"/>
                </a:cubicBezTo>
                <a:cubicBezTo>
                  <a:pt x="1145646" y="258845"/>
                  <a:pt x="1147468" y="265558"/>
                  <a:pt x="1152249" y="269741"/>
                </a:cubicBezTo>
                <a:cubicBezTo>
                  <a:pt x="1161811" y="278107"/>
                  <a:pt x="1173392" y="283836"/>
                  <a:pt x="1183963" y="290883"/>
                </a:cubicBezTo>
                <a:cubicBezTo>
                  <a:pt x="1189248" y="294407"/>
                  <a:pt x="1195327" y="296962"/>
                  <a:pt x="1199819" y="301454"/>
                </a:cubicBezTo>
                <a:cubicBezTo>
                  <a:pt x="1203343" y="304978"/>
                  <a:pt x="1206117" y="309462"/>
                  <a:pt x="1210390" y="312026"/>
                </a:cubicBezTo>
                <a:cubicBezTo>
                  <a:pt x="1215168" y="314893"/>
                  <a:pt x="1220961" y="315549"/>
                  <a:pt x="1226247" y="317311"/>
                </a:cubicBezTo>
                <a:cubicBezTo>
                  <a:pt x="1231533" y="320835"/>
                  <a:pt x="1238136" y="322921"/>
                  <a:pt x="1242104" y="327882"/>
                </a:cubicBezTo>
                <a:cubicBezTo>
                  <a:pt x="1248368" y="335712"/>
                  <a:pt x="1249934" y="351765"/>
                  <a:pt x="1242104" y="359595"/>
                </a:cubicBezTo>
                <a:cubicBezTo>
                  <a:pt x="1238164" y="363535"/>
                  <a:pt x="1231533" y="363119"/>
                  <a:pt x="1226247" y="364881"/>
                </a:cubicBezTo>
                <a:cubicBezTo>
                  <a:pt x="1222723" y="370167"/>
                  <a:pt x="1218517" y="375056"/>
                  <a:pt x="1215676" y="380738"/>
                </a:cubicBezTo>
                <a:cubicBezTo>
                  <a:pt x="1213184" y="385721"/>
                  <a:pt x="1213480" y="391958"/>
                  <a:pt x="1210390" y="396594"/>
                </a:cubicBezTo>
                <a:cubicBezTo>
                  <a:pt x="1206244" y="402813"/>
                  <a:pt x="1199123" y="406551"/>
                  <a:pt x="1194534" y="412451"/>
                </a:cubicBezTo>
                <a:cubicBezTo>
                  <a:pt x="1173330" y="439713"/>
                  <a:pt x="1176081" y="436096"/>
                  <a:pt x="1168106" y="460021"/>
                </a:cubicBezTo>
                <a:cubicBezTo>
                  <a:pt x="1169868" y="465307"/>
                  <a:pt x="1167929" y="474785"/>
                  <a:pt x="1173392" y="475878"/>
                </a:cubicBezTo>
                <a:cubicBezTo>
                  <a:pt x="1229664" y="487132"/>
                  <a:pt x="1385516" y="477312"/>
                  <a:pt x="1427098" y="475878"/>
                </a:cubicBezTo>
                <a:cubicBezTo>
                  <a:pt x="1439994" y="471579"/>
                  <a:pt x="1448565" y="470267"/>
                  <a:pt x="1458811" y="460021"/>
                </a:cubicBezTo>
                <a:cubicBezTo>
                  <a:pt x="1471375" y="447457"/>
                  <a:pt x="1474719" y="428152"/>
                  <a:pt x="1479953" y="412451"/>
                </a:cubicBezTo>
                <a:lnTo>
                  <a:pt x="1485239" y="396594"/>
                </a:lnTo>
                <a:cubicBezTo>
                  <a:pt x="1487001" y="391309"/>
                  <a:pt x="1489174" y="386143"/>
                  <a:pt x="1490525" y="380738"/>
                </a:cubicBezTo>
                <a:cubicBezTo>
                  <a:pt x="1490871" y="379353"/>
                  <a:pt x="1498336" y="347188"/>
                  <a:pt x="1501096" y="343739"/>
                </a:cubicBezTo>
                <a:cubicBezTo>
                  <a:pt x="1505064" y="338779"/>
                  <a:pt x="1511667" y="336692"/>
                  <a:pt x="1516952" y="333168"/>
                </a:cubicBezTo>
                <a:cubicBezTo>
                  <a:pt x="1528457" y="335469"/>
                  <a:pt x="1550862" y="336461"/>
                  <a:pt x="1559237" y="349024"/>
                </a:cubicBezTo>
                <a:cubicBezTo>
                  <a:pt x="1563267" y="355068"/>
                  <a:pt x="1562526" y="363182"/>
                  <a:pt x="1564522" y="370167"/>
                </a:cubicBezTo>
                <a:cubicBezTo>
                  <a:pt x="1566053" y="375524"/>
                  <a:pt x="1568046" y="380738"/>
                  <a:pt x="1569808" y="386023"/>
                </a:cubicBezTo>
                <a:cubicBezTo>
                  <a:pt x="1568046" y="401880"/>
                  <a:pt x="1567145" y="417856"/>
                  <a:pt x="1564522" y="433593"/>
                </a:cubicBezTo>
                <a:cubicBezTo>
                  <a:pt x="1563606" y="439089"/>
                  <a:pt x="1563177" y="445510"/>
                  <a:pt x="1559237" y="449450"/>
                </a:cubicBezTo>
                <a:cubicBezTo>
                  <a:pt x="1541064" y="467623"/>
                  <a:pt x="1531605" y="469231"/>
                  <a:pt x="1511667" y="475878"/>
                </a:cubicBezTo>
                <a:cubicBezTo>
                  <a:pt x="1503867" y="487578"/>
                  <a:pt x="1497447" y="499452"/>
                  <a:pt x="1485239" y="507591"/>
                </a:cubicBezTo>
                <a:cubicBezTo>
                  <a:pt x="1480603" y="510681"/>
                  <a:pt x="1474668" y="511114"/>
                  <a:pt x="1469382" y="512876"/>
                </a:cubicBezTo>
                <a:cubicBezTo>
                  <a:pt x="1442601" y="539659"/>
                  <a:pt x="1477256" y="508153"/>
                  <a:pt x="1442955" y="528733"/>
                </a:cubicBezTo>
                <a:cubicBezTo>
                  <a:pt x="1429875" y="536580"/>
                  <a:pt x="1432618" y="544355"/>
                  <a:pt x="1421812" y="555161"/>
                </a:cubicBezTo>
                <a:cubicBezTo>
                  <a:pt x="1417320" y="559653"/>
                  <a:pt x="1411241" y="562208"/>
                  <a:pt x="1405956" y="565732"/>
                </a:cubicBezTo>
                <a:cubicBezTo>
                  <a:pt x="1404194" y="571018"/>
                  <a:pt x="1404151" y="577238"/>
                  <a:pt x="1400670" y="581589"/>
                </a:cubicBezTo>
                <a:cubicBezTo>
                  <a:pt x="1396702" y="586549"/>
                  <a:pt x="1389774" y="588192"/>
                  <a:pt x="1384814" y="592160"/>
                </a:cubicBezTo>
                <a:cubicBezTo>
                  <a:pt x="1380923" y="595273"/>
                  <a:pt x="1377355" y="598840"/>
                  <a:pt x="1374242" y="602731"/>
                </a:cubicBezTo>
                <a:cubicBezTo>
                  <a:pt x="1344797" y="639535"/>
                  <a:pt x="1385493" y="596763"/>
                  <a:pt x="1347815" y="634444"/>
                </a:cubicBezTo>
                <a:cubicBezTo>
                  <a:pt x="1346053" y="639730"/>
                  <a:pt x="1346010" y="645950"/>
                  <a:pt x="1342529" y="650301"/>
                </a:cubicBezTo>
                <a:cubicBezTo>
                  <a:pt x="1338561" y="655261"/>
                  <a:pt x="1331633" y="656904"/>
                  <a:pt x="1326673" y="660872"/>
                </a:cubicBezTo>
                <a:cubicBezTo>
                  <a:pt x="1322782" y="663985"/>
                  <a:pt x="1319214" y="667552"/>
                  <a:pt x="1316101" y="671443"/>
                </a:cubicBezTo>
                <a:cubicBezTo>
                  <a:pt x="1298713" y="693178"/>
                  <a:pt x="1314825" y="684202"/>
                  <a:pt x="1289674" y="692585"/>
                </a:cubicBezTo>
                <a:lnTo>
                  <a:pt x="1257960" y="713727"/>
                </a:lnTo>
                <a:cubicBezTo>
                  <a:pt x="1252675" y="717251"/>
                  <a:pt x="1248130" y="722289"/>
                  <a:pt x="1242104" y="724298"/>
                </a:cubicBezTo>
                <a:lnTo>
                  <a:pt x="1226247" y="729584"/>
                </a:lnTo>
                <a:cubicBezTo>
                  <a:pt x="1222723" y="734870"/>
                  <a:pt x="1216498" y="739142"/>
                  <a:pt x="1215676" y="745441"/>
                </a:cubicBezTo>
                <a:cubicBezTo>
                  <a:pt x="1195407" y="900833"/>
                  <a:pt x="1223868" y="810715"/>
                  <a:pt x="1205105" y="867008"/>
                </a:cubicBezTo>
                <a:cubicBezTo>
                  <a:pt x="1206867" y="881103"/>
                  <a:pt x="1208055" y="895282"/>
                  <a:pt x="1210390" y="909293"/>
                </a:cubicBezTo>
                <a:cubicBezTo>
                  <a:pt x="1211584" y="916458"/>
                  <a:pt x="1215676" y="923171"/>
                  <a:pt x="1215676" y="930435"/>
                </a:cubicBezTo>
                <a:cubicBezTo>
                  <a:pt x="1215676" y="951650"/>
                  <a:pt x="1213878" y="972934"/>
                  <a:pt x="1210390" y="993861"/>
                </a:cubicBezTo>
                <a:cubicBezTo>
                  <a:pt x="1208558" y="1004853"/>
                  <a:pt x="1203343" y="1015004"/>
                  <a:pt x="1199819" y="1025575"/>
                </a:cubicBezTo>
                <a:lnTo>
                  <a:pt x="1189248" y="1057288"/>
                </a:lnTo>
                <a:cubicBezTo>
                  <a:pt x="1187486" y="1062574"/>
                  <a:pt x="1185056" y="1067682"/>
                  <a:pt x="1183963" y="1073145"/>
                </a:cubicBezTo>
                <a:cubicBezTo>
                  <a:pt x="1182201" y="1081954"/>
                  <a:pt x="1181831" y="1091161"/>
                  <a:pt x="1178677" y="1099572"/>
                </a:cubicBezTo>
                <a:cubicBezTo>
                  <a:pt x="1167129" y="1130367"/>
                  <a:pt x="1188367" y="1072264"/>
                  <a:pt x="1189248" y="1078430"/>
                </a:cubicBezTo>
                <a:close/>
              </a:path>
            </a:pathLst>
          </a:custGeom>
          <a:solidFill>
            <a:srgbClr val="0000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3046418" y="2724153"/>
            <a:ext cx="649287" cy="3716867"/>
          </a:xfrm>
          <a:custGeom>
            <a:avLst/>
            <a:gdLst>
              <a:gd name="connsiteX0" fmla="*/ 363801 w 649925"/>
              <a:gd name="connsiteY0" fmla="*/ 50800 h 3716972"/>
              <a:gd name="connsiteX1" fmla="*/ 395551 w 649925"/>
              <a:gd name="connsiteY1" fmla="*/ 57150 h 3716972"/>
              <a:gd name="connsiteX2" fmla="*/ 420951 w 649925"/>
              <a:gd name="connsiteY2" fmla="*/ 31750 h 3716972"/>
              <a:gd name="connsiteX3" fmla="*/ 452701 w 649925"/>
              <a:gd name="connsiteY3" fmla="*/ 0 h 3716972"/>
              <a:gd name="connsiteX4" fmla="*/ 484451 w 649925"/>
              <a:gd name="connsiteY4" fmla="*/ 50800 h 3716972"/>
              <a:gd name="connsiteX5" fmla="*/ 503501 w 649925"/>
              <a:gd name="connsiteY5" fmla="*/ 107950 h 3716972"/>
              <a:gd name="connsiteX6" fmla="*/ 509851 w 649925"/>
              <a:gd name="connsiteY6" fmla="*/ 127000 h 3716972"/>
              <a:gd name="connsiteX7" fmla="*/ 522551 w 649925"/>
              <a:gd name="connsiteY7" fmla="*/ 146050 h 3716972"/>
              <a:gd name="connsiteX8" fmla="*/ 535251 w 649925"/>
              <a:gd name="connsiteY8" fmla="*/ 260350 h 3716972"/>
              <a:gd name="connsiteX9" fmla="*/ 547951 w 649925"/>
              <a:gd name="connsiteY9" fmla="*/ 279400 h 3716972"/>
              <a:gd name="connsiteX10" fmla="*/ 560651 w 649925"/>
              <a:gd name="connsiteY10" fmla="*/ 317500 h 3716972"/>
              <a:gd name="connsiteX11" fmla="*/ 567001 w 649925"/>
              <a:gd name="connsiteY11" fmla="*/ 336550 h 3716972"/>
              <a:gd name="connsiteX12" fmla="*/ 573351 w 649925"/>
              <a:gd name="connsiteY12" fmla="*/ 355600 h 3716972"/>
              <a:gd name="connsiteX13" fmla="*/ 579701 w 649925"/>
              <a:gd name="connsiteY13" fmla="*/ 431800 h 3716972"/>
              <a:gd name="connsiteX14" fmla="*/ 617801 w 649925"/>
              <a:gd name="connsiteY14" fmla="*/ 444500 h 3716972"/>
              <a:gd name="connsiteX15" fmla="*/ 636851 w 649925"/>
              <a:gd name="connsiteY15" fmla="*/ 450850 h 3716972"/>
              <a:gd name="connsiteX16" fmla="*/ 649551 w 649925"/>
              <a:gd name="connsiteY16" fmla="*/ 469900 h 3716972"/>
              <a:gd name="connsiteX17" fmla="*/ 636851 w 649925"/>
              <a:gd name="connsiteY17" fmla="*/ 514350 h 3716972"/>
              <a:gd name="connsiteX18" fmla="*/ 611451 w 649925"/>
              <a:gd name="connsiteY18" fmla="*/ 552450 h 3716972"/>
              <a:gd name="connsiteX19" fmla="*/ 605101 w 649925"/>
              <a:gd name="connsiteY19" fmla="*/ 571500 h 3716972"/>
              <a:gd name="connsiteX20" fmla="*/ 567001 w 649925"/>
              <a:gd name="connsiteY20" fmla="*/ 603250 h 3716972"/>
              <a:gd name="connsiteX21" fmla="*/ 547951 w 649925"/>
              <a:gd name="connsiteY21" fmla="*/ 609600 h 3716972"/>
              <a:gd name="connsiteX22" fmla="*/ 541601 w 649925"/>
              <a:gd name="connsiteY22" fmla="*/ 628650 h 3716972"/>
              <a:gd name="connsiteX23" fmla="*/ 535251 w 649925"/>
              <a:gd name="connsiteY23" fmla="*/ 654050 h 3716972"/>
              <a:gd name="connsiteX24" fmla="*/ 522551 w 649925"/>
              <a:gd name="connsiteY24" fmla="*/ 673100 h 3716972"/>
              <a:gd name="connsiteX25" fmla="*/ 516201 w 649925"/>
              <a:gd name="connsiteY25" fmla="*/ 692150 h 3716972"/>
              <a:gd name="connsiteX26" fmla="*/ 535251 w 649925"/>
              <a:gd name="connsiteY26" fmla="*/ 730250 h 3716972"/>
              <a:gd name="connsiteX27" fmla="*/ 541601 w 649925"/>
              <a:gd name="connsiteY27" fmla="*/ 749300 h 3716972"/>
              <a:gd name="connsiteX28" fmla="*/ 528901 w 649925"/>
              <a:gd name="connsiteY28" fmla="*/ 768350 h 3716972"/>
              <a:gd name="connsiteX29" fmla="*/ 522551 w 649925"/>
              <a:gd name="connsiteY29" fmla="*/ 787400 h 3716972"/>
              <a:gd name="connsiteX30" fmla="*/ 503501 w 649925"/>
              <a:gd name="connsiteY30" fmla="*/ 806450 h 3716972"/>
              <a:gd name="connsiteX31" fmla="*/ 490801 w 649925"/>
              <a:gd name="connsiteY31" fmla="*/ 825500 h 3716972"/>
              <a:gd name="connsiteX32" fmla="*/ 478101 w 649925"/>
              <a:gd name="connsiteY32" fmla="*/ 876300 h 3716972"/>
              <a:gd name="connsiteX33" fmla="*/ 471751 w 649925"/>
              <a:gd name="connsiteY33" fmla="*/ 901700 h 3716972"/>
              <a:gd name="connsiteX34" fmla="*/ 440001 w 649925"/>
              <a:gd name="connsiteY34" fmla="*/ 958850 h 3716972"/>
              <a:gd name="connsiteX35" fmla="*/ 420951 w 649925"/>
              <a:gd name="connsiteY35" fmla="*/ 1047750 h 3716972"/>
              <a:gd name="connsiteX36" fmla="*/ 414601 w 649925"/>
              <a:gd name="connsiteY36" fmla="*/ 1066800 h 3716972"/>
              <a:gd name="connsiteX37" fmla="*/ 401901 w 649925"/>
              <a:gd name="connsiteY37" fmla="*/ 1162050 h 3716972"/>
              <a:gd name="connsiteX38" fmla="*/ 376501 w 649925"/>
              <a:gd name="connsiteY38" fmla="*/ 1200150 h 3716972"/>
              <a:gd name="connsiteX39" fmla="*/ 382851 w 649925"/>
              <a:gd name="connsiteY39" fmla="*/ 1263650 h 3716972"/>
              <a:gd name="connsiteX40" fmla="*/ 389201 w 649925"/>
              <a:gd name="connsiteY40" fmla="*/ 1282700 h 3716972"/>
              <a:gd name="connsiteX41" fmla="*/ 395551 w 649925"/>
              <a:gd name="connsiteY41" fmla="*/ 1339850 h 3716972"/>
              <a:gd name="connsiteX42" fmla="*/ 414601 w 649925"/>
              <a:gd name="connsiteY42" fmla="*/ 1352550 h 3716972"/>
              <a:gd name="connsiteX43" fmla="*/ 408251 w 649925"/>
              <a:gd name="connsiteY43" fmla="*/ 1498600 h 3716972"/>
              <a:gd name="connsiteX44" fmla="*/ 395551 w 649925"/>
              <a:gd name="connsiteY44" fmla="*/ 1517650 h 3716972"/>
              <a:gd name="connsiteX45" fmla="*/ 382851 w 649925"/>
              <a:gd name="connsiteY45" fmla="*/ 1562100 h 3716972"/>
              <a:gd name="connsiteX46" fmla="*/ 376501 w 649925"/>
              <a:gd name="connsiteY46" fmla="*/ 1581150 h 3716972"/>
              <a:gd name="connsiteX47" fmla="*/ 363801 w 649925"/>
              <a:gd name="connsiteY47" fmla="*/ 1600200 h 3716972"/>
              <a:gd name="connsiteX48" fmla="*/ 363801 w 649925"/>
              <a:gd name="connsiteY48" fmla="*/ 1689100 h 3716972"/>
              <a:gd name="connsiteX49" fmla="*/ 344751 w 649925"/>
              <a:gd name="connsiteY49" fmla="*/ 1708150 h 3716972"/>
              <a:gd name="connsiteX50" fmla="*/ 325701 w 649925"/>
              <a:gd name="connsiteY50" fmla="*/ 1752600 h 3716972"/>
              <a:gd name="connsiteX51" fmla="*/ 313001 w 649925"/>
              <a:gd name="connsiteY51" fmla="*/ 1771650 h 3716972"/>
              <a:gd name="connsiteX52" fmla="*/ 319351 w 649925"/>
              <a:gd name="connsiteY52" fmla="*/ 1841500 h 3716972"/>
              <a:gd name="connsiteX53" fmla="*/ 332051 w 649925"/>
              <a:gd name="connsiteY53" fmla="*/ 1879600 h 3716972"/>
              <a:gd name="connsiteX54" fmla="*/ 344751 w 649925"/>
              <a:gd name="connsiteY54" fmla="*/ 1924050 h 3716972"/>
              <a:gd name="connsiteX55" fmla="*/ 325701 w 649925"/>
              <a:gd name="connsiteY55" fmla="*/ 1930400 h 3716972"/>
              <a:gd name="connsiteX56" fmla="*/ 300301 w 649925"/>
              <a:gd name="connsiteY56" fmla="*/ 1987550 h 3716972"/>
              <a:gd name="connsiteX57" fmla="*/ 281251 w 649925"/>
              <a:gd name="connsiteY57" fmla="*/ 2076450 h 3716972"/>
              <a:gd name="connsiteX58" fmla="*/ 268551 w 649925"/>
              <a:gd name="connsiteY58" fmla="*/ 2273300 h 3716972"/>
              <a:gd name="connsiteX59" fmla="*/ 262201 w 649925"/>
              <a:gd name="connsiteY59" fmla="*/ 2292350 h 3716972"/>
              <a:gd name="connsiteX60" fmla="*/ 255851 w 649925"/>
              <a:gd name="connsiteY60" fmla="*/ 2317750 h 3716972"/>
              <a:gd name="connsiteX61" fmla="*/ 268551 w 649925"/>
              <a:gd name="connsiteY61" fmla="*/ 2438400 h 3716972"/>
              <a:gd name="connsiteX62" fmla="*/ 281251 w 649925"/>
              <a:gd name="connsiteY62" fmla="*/ 2482850 h 3716972"/>
              <a:gd name="connsiteX63" fmla="*/ 287601 w 649925"/>
              <a:gd name="connsiteY63" fmla="*/ 2546350 h 3716972"/>
              <a:gd name="connsiteX64" fmla="*/ 300301 w 649925"/>
              <a:gd name="connsiteY64" fmla="*/ 2565400 h 3716972"/>
              <a:gd name="connsiteX65" fmla="*/ 281251 w 649925"/>
              <a:gd name="connsiteY65" fmla="*/ 2571750 h 3716972"/>
              <a:gd name="connsiteX66" fmla="*/ 274901 w 649925"/>
              <a:gd name="connsiteY66" fmla="*/ 2590800 h 3716972"/>
              <a:gd name="connsiteX67" fmla="*/ 281251 w 649925"/>
              <a:gd name="connsiteY67" fmla="*/ 2609850 h 3716972"/>
              <a:gd name="connsiteX68" fmla="*/ 287601 w 649925"/>
              <a:gd name="connsiteY68" fmla="*/ 2660650 h 3716972"/>
              <a:gd name="connsiteX69" fmla="*/ 281251 w 649925"/>
              <a:gd name="connsiteY69" fmla="*/ 2781300 h 3716972"/>
              <a:gd name="connsiteX70" fmla="*/ 255851 w 649925"/>
              <a:gd name="connsiteY70" fmla="*/ 2819400 h 3716972"/>
              <a:gd name="connsiteX71" fmla="*/ 243151 w 649925"/>
              <a:gd name="connsiteY71" fmla="*/ 2914650 h 3716972"/>
              <a:gd name="connsiteX72" fmla="*/ 230451 w 649925"/>
              <a:gd name="connsiteY72" fmla="*/ 2933700 h 3716972"/>
              <a:gd name="connsiteX73" fmla="*/ 217751 w 649925"/>
              <a:gd name="connsiteY73" fmla="*/ 2984500 h 3716972"/>
              <a:gd name="connsiteX74" fmla="*/ 205051 w 649925"/>
              <a:gd name="connsiteY74" fmla="*/ 3022600 h 3716972"/>
              <a:gd name="connsiteX75" fmla="*/ 192351 w 649925"/>
              <a:gd name="connsiteY75" fmla="*/ 3092450 h 3716972"/>
              <a:gd name="connsiteX76" fmla="*/ 179651 w 649925"/>
              <a:gd name="connsiteY76" fmla="*/ 3111500 h 3716972"/>
              <a:gd name="connsiteX77" fmla="*/ 166951 w 649925"/>
              <a:gd name="connsiteY77" fmla="*/ 3149600 h 3716972"/>
              <a:gd name="connsiteX78" fmla="*/ 160601 w 649925"/>
              <a:gd name="connsiteY78" fmla="*/ 3168650 h 3716972"/>
              <a:gd name="connsiteX79" fmla="*/ 166951 w 649925"/>
              <a:gd name="connsiteY79" fmla="*/ 3206750 h 3716972"/>
              <a:gd name="connsiteX80" fmla="*/ 173301 w 649925"/>
              <a:gd name="connsiteY80" fmla="*/ 3225800 h 3716972"/>
              <a:gd name="connsiteX81" fmla="*/ 179651 w 649925"/>
              <a:gd name="connsiteY81" fmla="*/ 3263900 h 3716972"/>
              <a:gd name="connsiteX82" fmla="*/ 198701 w 649925"/>
              <a:gd name="connsiteY82" fmla="*/ 3270250 h 3716972"/>
              <a:gd name="connsiteX83" fmla="*/ 236801 w 649925"/>
              <a:gd name="connsiteY83" fmla="*/ 3276600 h 3716972"/>
              <a:gd name="connsiteX84" fmla="*/ 230451 w 649925"/>
              <a:gd name="connsiteY84" fmla="*/ 3365500 h 3716972"/>
              <a:gd name="connsiteX85" fmla="*/ 236801 w 649925"/>
              <a:gd name="connsiteY85" fmla="*/ 3384550 h 3716972"/>
              <a:gd name="connsiteX86" fmla="*/ 255851 w 649925"/>
              <a:gd name="connsiteY86" fmla="*/ 3397250 h 3716972"/>
              <a:gd name="connsiteX87" fmla="*/ 268551 w 649925"/>
              <a:gd name="connsiteY87" fmla="*/ 3416300 h 3716972"/>
              <a:gd name="connsiteX88" fmla="*/ 287601 w 649925"/>
              <a:gd name="connsiteY88" fmla="*/ 3422650 h 3716972"/>
              <a:gd name="connsiteX89" fmla="*/ 382851 w 649925"/>
              <a:gd name="connsiteY89" fmla="*/ 3429000 h 3716972"/>
              <a:gd name="connsiteX90" fmla="*/ 420951 w 649925"/>
              <a:gd name="connsiteY90" fmla="*/ 3441700 h 3716972"/>
              <a:gd name="connsiteX91" fmla="*/ 440001 w 649925"/>
              <a:gd name="connsiteY91" fmla="*/ 3448050 h 3716972"/>
              <a:gd name="connsiteX92" fmla="*/ 516201 w 649925"/>
              <a:gd name="connsiteY92" fmla="*/ 3460750 h 3716972"/>
              <a:gd name="connsiteX93" fmla="*/ 509851 w 649925"/>
              <a:gd name="connsiteY93" fmla="*/ 3479800 h 3716972"/>
              <a:gd name="connsiteX94" fmla="*/ 528901 w 649925"/>
              <a:gd name="connsiteY94" fmla="*/ 3530600 h 3716972"/>
              <a:gd name="connsiteX95" fmla="*/ 535251 w 649925"/>
              <a:gd name="connsiteY95" fmla="*/ 3549650 h 3716972"/>
              <a:gd name="connsiteX96" fmla="*/ 554301 w 649925"/>
              <a:gd name="connsiteY96" fmla="*/ 3587750 h 3716972"/>
              <a:gd name="connsiteX97" fmla="*/ 560651 w 649925"/>
              <a:gd name="connsiteY97" fmla="*/ 3638550 h 3716972"/>
              <a:gd name="connsiteX98" fmla="*/ 535251 w 649925"/>
              <a:gd name="connsiteY98" fmla="*/ 3600450 h 3716972"/>
              <a:gd name="connsiteX99" fmla="*/ 516201 w 649925"/>
              <a:gd name="connsiteY99" fmla="*/ 3587750 h 3716972"/>
              <a:gd name="connsiteX100" fmla="*/ 471751 w 649925"/>
              <a:gd name="connsiteY100" fmla="*/ 3575050 h 3716972"/>
              <a:gd name="connsiteX101" fmla="*/ 401901 w 649925"/>
              <a:gd name="connsiteY101" fmla="*/ 3594100 h 3716972"/>
              <a:gd name="connsiteX102" fmla="*/ 389201 w 649925"/>
              <a:gd name="connsiteY102" fmla="*/ 3613150 h 3716972"/>
              <a:gd name="connsiteX103" fmla="*/ 382851 w 649925"/>
              <a:gd name="connsiteY103" fmla="*/ 3670300 h 3716972"/>
              <a:gd name="connsiteX104" fmla="*/ 376501 w 649925"/>
              <a:gd name="connsiteY104" fmla="*/ 3689350 h 3716972"/>
              <a:gd name="connsiteX105" fmla="*/ 370151 w 649925"/>
              <a:gd name="connsiteY105" fmla="*/ 3714750 h 3716972"/>
              <a:gd name="connsiteX106" fmla="*/ 313001 w 649925"/>
              <a:gd name="connsiteY106" fmla="*/ 3708400 h 3716972"/>
              <a:gd name="connsiteX107" fmla="*/ 306651 w 649925"/>
              <a:gd name="connsiteY107" fmla="*/ 3683000 h 3716972"/>
              <a:gd name="connsiteX108" fmla="*/ 217751 w 649925"/>
              <a:gd name="connsiteY108" fmla="*/ 3670300 h 3716972"/>
              <a:gd name="connsiteX109" fmla="*/ 249501 w 649925"/>
              <a:gd name="connsiteY109" fmla="*/ 3619500 h 3716972"/>
              <a:gd name="connsiteX110" fmla="*/ 224101 w 649925"/>
              <a:gd name="connsiteY110" fmla="*/ 3613150 h 3716972"/>
              <a:gd name="connsiteX111" fmla="*/ 192351 w 649925"/>
              <a:gd name="connsiteY111" fmla="*/ 3581400 h 3716972"/>
              <a:gd name="connsiteX112" fmla="*/ 166951 w 649925"/>
              <a:gd name="connsiteY112" fmla="*/ 3575050 h 3716972"/>
              <a:gd name="connsiteX113" fmla="*/ 186001 w 649925"/>
              <a:gd name="connsiteY113" fmla="*/ 3562350 h 3716972"/>
              <a:gd name="connsiteX114" fmla="*/ 147901 w 649925"/>
              <a:gd name="connsiteY114" fmla="*/ 3543300 h 3716972"/>
              <a:gd name="connsiteX115" fmla="*/ 154251 w 649925"/>
              <a:gd name="connsiteY115" fmla="*/ 3524250 h 3716972"/>
              <a:gd name="connsiteX116" fmla="*/ 179651 w 649925"/>
              <a:gd name="connsiteY116" fmla="*/ 3498850 h 3716972"/>
              <a:gd name="connsiteX117" fmla="*/ 160601 w 649925"/>
              <a:gd name="connsiteY117" fmla="*/ 3492500 h 3716972"/>
              <a:gd name="connsiteX118" fmla="*/ 135201 w 649925"/>
              <a:gd name="connsiteY118" fmla="*/ 3486150 h 3716972"/>
              <a:gd name="connsiteX119" fmla="*/ 154251 w 649925"/>
              <a:gd name="connsiteY119" fmla="*/ 3479800 h 3716972"/>
              <a:gd name="connsiteX120" fmla="*/ 135201 w 649925"/>
              <a:gd name="connsiteY120" fmla="*/ 3467100 h 3716972"/>
              <a:gd name="connsiteX121" fmla="*/ 147901 w 649925"/>
              <a:gd name="connsiteY121" fmla="*/ 3454400 h 3716972"/>
              <a:gd name="connsiteX122" fmla="*/ 154251 w 649925"/>
              <a:gd name="connsiteY122" fmla="*/ 3435350 h 3716972"/>
              <a:gd name="connsiteX123" fmla="*/ 122501 w 649925"/>
              <a:gd name="connsiteY123" fmla="*/ 3429000 h 3716972"/>
              <a:gd name="connsiteX124" fmla="*/ 103451 w 649925"/>
              <a:gd name="connsiteY124" fmla="*/ 3422650 h 3716972"/>
              <a:gd name="connsiteX125" fmla="*/ 122501 w 649925"/>
              <a:gd name="connsiteY125" fmla="*/ 3390900 h 3716972"/>
              <a:gd name="connsiteX126" fmla="*/ 135201 w 649925"/>
              <a:gd name="connsiteY126" fmla="*/ 3371850 h 3716972"/>
              <a:gd name="connsiteX127" fmla="*/ 141551 w 649925"/>
              <a:gd name="connsiteY127" fmla="*/ 3346450 h 3716972"/>
              <a:gd name="connsiteX128" fmla="*/ 116151 w 649925"/>
              <a:gd name="connsiteY128" fmla="*/ 3333750 h 3716972"/>
              <a:gd name="connsiteX129" fmla="*/ 103451 w 649925"/>
              <a:gd name="connsiteY129" fmla="*/ 3314700 h 3716972"/>
              <a:gd name="connsiteX130" fmla="*/ 109801 w 649925"/>
              <a:gd name="connsiteY130" fmla="*/ 3295650 h 3716972"/>
              <a:gd name="connsiteX131" fmla="*/ 65351 w 649925"/>
              <a:gd name="connsiteY131" fmla="*/ 3257550 h 3716972"/>
              <a:gd name="connsiteX132" fmla="*/ 84401 w 649925"/>
              <a:gd name="connsiteY132" fmla="*/ 3244850 h 3716972"/>
              <a:gd name="connsiteX133" fmla="*/ 65351 w 649925"/>
              <a:gd name="connsiteY133" fmla="*/ 3213100 h 3716972"/>
              <a:gd name="connsiteX134" fmla="*/ 46301 w 649925"/>
              <a:gd name="connsiteY134" fmla="*/ 3206750 h 3716972"/>
              <a:gd name="connsiteX135" fmla="*/ 52651 w 649925"/>
              <a:gd name="connsiteY135" fmla="*/ 3175000 h 3716972"/>
              <a:gd name="connsiteX136" fmla="*/ 59001 w 649925"/>
              <a:gd name="connsiteY136" fmla="*/ 3155950 h 3716972"/>
              <a:gd name="connsiteX137" fmla="*/ 52651 w 649925"/>
              <a:gd name="connsiteY137" fmla="*/ 3130550 h 3716972"/>
              <a:gd name="connsiteX138" fmla="*/ 39951 w 649925"/>
              <a:gd name="connsiteY138" fmla="*/ 3092450 h 3716972"/>
              <a:gd name="connsiteX139" fmla="*/ 27251 w 649925"/>
              <a:gd name="connsiteY139" fmla="*/ 3067050 h 3716972"/>
              <a:gd name="connsiteX140" fmla="*/ 1851 w 649925"/>
              <a:gd name="connsiteY140" fmla="*/ 3054350 h 3716972"/>
              <a:gd name="connsiteX141" fmla="*/ 20901 w 649925"/>
              <a:gd name="connsiteY141" fmla="*/ 3041650 h 3716972"/>
              <a:gd name="connsiteX142" fmla="*/ 59001 w 649925"/>
              <a:gd name="connsiteY142" fmla="*/ 3035300 h 3716972"/>
              <a:gd name="connsiteX143" fmla="*/ 65351 w 649925"/>
              <a:gd name="connsiteY143" fmla="*/ 3016250 h 3716972"/>
              <a:gd name="connsiteX144" fmla="*/ 46301 w 649925"/>
              <a:gd name="connsiteY144" fmla="*/ 2978150 h 3716972"/>
              <a:gd name="connsiteX145" fmla="*/ 109801 w 649925"/>
              <a:gd name="connsiteY145" fmla="*/ 2959100 h 3716972"/>
              <a:gd name="connsiteX146" fmla="*/ 128851 w 649925"/>
              <a:gd name="connsiteY146" fmla="*/ 2946400 h 3716972"/>
              <a:gd name="connsiteX147" fmla="*/ 109801 w 649925"/>
              <a:gd name="connsiteY147" fmla="*/ 2940050 h 3716972"/>
              <a:gd name="connsiteX148" fmla="*/ 71701 w 649925"/>
              <a:gd name="connsiteY148" fmla="*/ 2921000 h 3716972"/>
              <a:gd name="connsiteX149" fmla="*/ 90751 w 649925"/>
              <a:gd name="connsiteY149" fmla="*/ 2882900 h 3716972"/>
              <a:gd name="connsiteX150" fmla="*/ 103451 w 649925"/>
              <a:gd name="connsiteY150" fmla="*/ 2863850 h 3716972"/>
              <a:gd name="connsiteX151" fmla="*/ 97101 w 649925"/>
              <a:gd name="connsiteY151" fmla="*/ 2838450 h 3716972"/>
              <a:gd name="connsiteX152" fmla="*/ 39951 w 649925"/>
              <a:gd name="connsiteY152" fmla="*/ 2806700 h 3716972"/>
              <a:gd name="connsiteX153" fmla="*/ 27251 w 649925"/>
              <a:gd name="connsiteY153" fmla="*/ 2768600 h 3716972"/>
              <a:gd name="connsiteX154" fmla="*/ 33601 w 649925"/>
              <a:gd name="connsiteY154" fmla="*/ 2736850 h 3716972"/>
              <a:gd name="connsiteX155" fmla="*/ 46301 w 649925"/>
              <a:gd name="connsiteY155" fmla="*/ 2717800 h 3716972"/>
              <a:gd name="connsiteX156" fmla="*/ 103451 w 649925"/>
              <a:gd name="connsiteY156" fmla="*/ 2686050 h 3716972"/>
              <a:gd name="connsiteX157" fmla="*/ 97101 w 649925"/>
              <a:gd name="connsiteY157" fmla="*/ 2667000 h 3716972"/>
              <a:gd name="connsiteX158" fmla="*/ 71701 w 649925"/>
              <a:gd name="connsiteY158" fmla="*/ 2635250 h 3716972"/>
              <a:gd name="connsiteX159" fmla="*/ 97101 w 649925"/>
              <a:gd name="connsiteY159" fmla="*/ 2628900 h 3716972"/>
              <a:gd name="connsiteX160" fmla="*/ 160601 w 649925"/>
              <a:gd name="connsiteY160" fmla="*/ 2622550 h 3716972"/>
              <a:gd name="connsiteX161" fmla="*/ 179651 w 649925"/>
              <a:gd name="connsiteY161" fmla="*/ 2609850 h 3716972"/>
              <a:gd name="connsiteX162" fmla="*/ 192351 w 649925"/>
              <a:gd name="connsiteY162" fmla="*/ 2590800 h 3716972"/>
              <a:gd name="connsiteX163" fmla="*/ 211401 w 649925"/>
              <a:gd name="connsiteY163" fmla="*/ 2571750 h 3716972"/>
              <a:gd name="connsiteX164" fmla="*/ 217751 w 649925"/>
              <a:gd name="connsiteY164" fmla="*/ 2546350 h 3716972"/>
              <a:gd name="connsiteX165" fmla="*/ 224101 w 649925"/>
              <a:gd name="connsiteY165" fmla="*/ 2527300 h 3716972"/>
              <a:gd name="connsiteX166" fmla="*/ 211401 w 649925"/>
              <a:gd name="connsiteY166" fmla="*/ 2508250 h 3716972"/>
              <a:gd name="connsiteX167" fmla="*/ 173301 w 649925"/>
              <a:gd name="connsiteY167" fmla="*/ 2495550 h 3716972"/>
              <a:gd name="connsiteX168" fmla="*/ 179651 w 649925"/>
              <a:gd name="connsiteY168" fmla="*/ 2470150 h 3716972"/>
              <a:gd name="connsiteX169" fmla="*/ 192351 w 649925"/>
              <a:gd name="connsiteY169" fmla="*/ 2432050 h 3716972"/>
              <a:gd name="connsiteX170" fmla="*/ 192351 w 649925"/>
              <a:gd name="connsiteY170" fmla="*/ 2362200 h 3716972"/>
              <a:gd name="connsiteX171" fmla="*/ 217751 w 649925"/>
              <a:gd name="connsiteY171" fmla="*/ 2324100 h 3716972"/>
              <a:gd name="connsiteX172" fmla="*/ 211401 w 649925"/>
              <a:gd name="connsiteY172" fmla="*/ 2254250 h 3716972"/>
              <a:gd name="connsiteX173" fmla="*/ 205051 w 649925"/>
              <a:gd name="connsiteY173" fmla="*/ 2235200 h 3716972"/>
              <a:gd name="connsiteX174" fmla="*/ 186001 w 649925"/>
              <a:gd name="connsiteY174" fmla="*/ 2222500 h 3716972"/>
              <a:gd name="connsiteX175" fmla="*/ 154251 w 649925"/>
              <a:gd name="connsiteY175" fmla="*/ 2279650 h 3716972"/>
              <a:gd name="connsiteX176" fmla="*/ 147901 w 649925"/>
              <a:gd name="connsiteY176" fmla="*/ 2355850 h 3716972"/>
              <a:gd name="connsiteX177" fmla="*/ 135201 w 649925"/>
              <a:gd name="connsiteY177" fmla="*/ 2393950 h 3716972"/>
              <a:gd name="connsiteX178" fmla="*/ 128851 w 649925"/>
              <a:gd name="connsiteY178" fmla="*/ 2419350 h 3716972"/>
              <a:gd name="connsiteX179" fmla="*/ 116151 w 649925"/>
              <a:gd name="connsiteY179" fmla="*/ 2438400 h 3716972"/>
              <a:gd name="connsiteX180" fmla="*/ 71701 w 649925"/>
              <a:gd name="connsiteY180" fmla="*/ 2432050 h 3716972"/>
              <a:gd name="connsiteX181" fmla="*/ 65351 w 649925"/>
              <a:gd name="connsiteY181" fmla="*/ 2413000 h 3716972"/>
              <a:gd name="connsiteX182" fmla="*/ 90751 w 649925"/>
              <a:gd name="connsiteY182" fmla="*/ 2362200 h 3716972"/>
              <a:gd name="connsiteX183" fmla="*/ 109801 w 649925"/>
              <a:gd name="connsiteY183" fmla="*/ 2324100 h 3716972"/>
              <a:gd name="connsiteX184" fmla="*/ 97101 w 649925"/>
              <a:gd name="connsiteY184" fmla="*/ 2254250 h 3716972"/>
              <a:gd name="connsiteX185" fmla="*/ 103451 w 649925"/>
              <a:gd name="connsiteY185" fmla="*/ 2222500 h 3716972"/>
              <a:gd name="connsiteX186" fmla="*/ 122501 w 649925"/>
              <a:gd name="connsiteY186" fmla="*/ 2216150 h 3716972"/>
              <a:gd name="connsiteX187" fmla="*/ 128851 w 649925"/>
              <a:gd name="connsiteY187" fmla="*/ 2190750 h 3716972"/>
              <a:gd name="connsiteX188" fmla="*/ 116151 w 649925"/>
              <a:gd name="connsiteY188" fmla="*/ 2152650 h 3716972"/>
              <a:gd name="connsiteX189" fmla="*/ 103451 w 649925"/>
              <a:gd name="connsiteY189" fmla="*/ 2108200 h 3716972"/>
              <a:gd name="connsiteX190" fmla="*/ 109801 w 649925"/>
              <a:gd name="connsiteY190" fmla="*/ 2082800 h 3716972"/>
              <a:gd name="connsiteX191" fmla="*/ 128851 w 649925"/>
              <a:gd name="connsiteY191" fmla="*/ 2070100 h 3716972"/>
              <a:gd name="connsiteX192" fmla="*/ 135201 w 649925"/>
              <a:gd name="connsiteY192" fmla="*/ 1993900 h 3716972"/>
              <a:gd name="connsiteX193" fmla="*/ 154251 w 649925"/>
              <a:gd name="connsiteY193" fmla="*/ 1974850 h 3716972"/>
              <a:gd name="connsiteX194" fmla="*/ 166951 w 649925"/>
              <a:gd name="connsiteY194" fmla="*/ 1955800 h 3716972"/>
              <a:gd name="connsiteX195" fmla="*/ 135201 w 649925"/>
              <a:gd name="connsiteY195" fmla="*/ 1917700 h 3716972"/>
              <a:gd name="connsiteX196" fmla="*/ 128851 w 649925"/>
              <a:gd name="connsiteY196" fmla="*/ 1898650 h 3716972"/>
              <a:gd name="connsiteX197" fmla="*/ 116151 w 649925"/>
              <a:gd name="connsiteY197" fmla="*/ 1873250 h 3716972"/>
              <a:gd name="connsiteX198" fmla="*/ 128851 w 649925"/>
              <a:gd name="connsiteY198" fmla="*/ 1790700 h 3716972"/>
              <a:gd name="connsiteX199" fmla="*/ 135201 w 649925"/>
              <a:gd name="connsiteY199" fmla="*/ 1771650 h 3716972"/>
              <a:gd name="connsiteX200" fmla="*/ 173301 w 649925"/>
              <a:gd name="connsiteY200" fmla="*/ 1746250 h 3716972"/>
              <a:gd name="connsiteX201" fmla="*/ 192351 w 649925"/>
              <a:gd name="connsiteY201" fmla="*/ 1701800 h 3716972"/>
              <a:gd name="connsiteX202" fmla="*/ 198701 w 649925"/>
              <a:gd name="connsiteY202" fmla="*/ 1682750 h 3716972"/>
              <a:gd name="connsiteX203" fmla="*/ 217751 w 649925"/>
              <a:gd name="connsiteY203" fmla="*/ 1663700 h 3716972"/>
              <a:gd name="connsiteX204" fmla="*/ 224101 w 649925"/>
              <a:gd name="connsiteY204" fmla="*/ 1574800 h 3716972"/>
              <a:gd name="connsiteX205" fmla="*/ 243151 w 649925"/>
              <a:gd name="connsiteY205" fmla="*/ 1562100 h 3716972"/>
              <a:gd name="connsiteX206" fmla="*/ 255851 w 649925"/>
              <a:gd name="connsiteY206" fmla="*/ 1536700 h 3716972"/>
              <a:gd name="connsiteX207" fmla="*/ 268551 w 649925"/>
              <a:gd name="connsiteY207" fmla="*/ 1498600 h 3716972"/>
              <a:gd name="connsiteX208" fmla="*/ 274901 w 649925"/>
              <a:gd name="connsiteY208" fmla="*/ 1454150 h 3716972"/>
              <a:gd name="connsiteX209" fmla="*/ 281251 w 649925"/>
              <a:gd name="connsiteY209" fmla="*/ 1428750 h 3716972"/>
              <a:gd name="connsiteX210" fmla="*/ 287601 w 649925"/>
              <a:gd name="connsiteY210" fmla="*/ 1346200 h 3716972"/>
              <a:gd name="connsiteX211" fmla="*/ 300301 w 649925"/>
              <a:gd name="connsiteY211" fmla="*/ 1308100 h 3716972"/>
              <a:gd name="connsiteX212" fmla="*/ 293951 w 649925"/>
              <a:gd name="connsiteY212" fmla="*/ 1257300 h 3716972"/>
              <a:gd name="connsiteX213" fmla="*/ 287601 w 649925"/>
              <a:gd name="connsiteY213" fmla="*/ 1238250 h 3716972"/>
              <a:gd name="connsiteX214" fmla="*/ 293951 w 649925"/>
              <a:gd name="connsiteY214" fmla="*/ 1143000 h 3716972"/>
              <a:gd name="connsiteX215" fmla="*/ 300301 w 649925"/>
              <a:gd name="connsiteY215" fmla="*/ 1123950 h 3716972"/>
              <a:gd name="connsiteX216" fmla="*/ 306651 w 649925"/>
              <a:gd name="connsiteY216" fmla="*/ 1098550 h 3716972"/>
              <a:gd name="connsiteX217" fmla="*/ 313001 w 649925"/>
              <a:gd name="connsiteY217" fmla="*/ 952500 h 3716972"/>
              <a:gd name="connsiteX218" fmla="*/ 332051 w 649925"/>
              <a:gd name="connsiteY218" fmla="*/ 895350 h 3716972"/>
              <a:gd name="connsiteX219" fmla="*/ 338401 w 649925"/>
              <a:gd name="connsiteY219" fmla="*/ 876300 h 3716972"/>
              <a:gd name="connsiteX220" fmla="*/ 344751 w 649925"/>
              <a:gd name="connsiteY220" fmla="*/ 800100 h 3716972"/>
              <a:gd name="connsiteX221" fmla="*/ 351101 w 649925"/>
              <a:gd name="connsiteY221" fmla="*/ 781050 h 3716972"/>
              <a:gd name="connsiteX222" fmla="*/ 357451 w 649925"/>
              <a:gd name="connsiteY222" fmla="*/ 755650 h 3716972"/>
              <a:gd name="connsiteX223" fmla="*/ 363801 w 649925"/>
              <a:gd name="connsiteY223" fmla="*/ 736600 h 3716972"/>
              <a:gd name="connsiteX224" fmla="*/ 376501 w 649925"/>
              <a:gd name="connsiteY224" fmla="*/ 660400 h 3716972"/>
              <a:gd name="connsiteX225" fmla="*/ 382851 w 649925"/>
              <a:gd name="connsiteY225" fmla="*/ 482600 h 3716972"/>
              <a:gd name="connsiteX226" fmla="*/ 395551 w 649925"/>
              <a:gd name="connsiteY226" fmla="*/ 463550 h 3716972"/>
              <a:gd name="connsiteX227" fmla="*/ 382851 w 649925"/>
              <a:gd name="connsiteY227" fmla="*/ 311150 h 3716972"/>
              <a:gd name="connsiteX228" fmla="*/ 376501 w 649925"/>
              <a:gd name="connsiteY228" fmla="*/ 292100 h 3716972"/>
              <a:gd name="connsiteX229" fmla="*/ 382851 w 649925"/>
              <a:gd name="connsiteY229" fmla="*/ 234950 h 3716972"/>
              <a:gd name="connsiteX230" fmla="*/ 395551 w 649925"/>
              <a:gd name="connsiteY230" fmla="*/ 146050 h 3716972"/>
              <a:gd name="connsiteX231" fmla="*/ 389201 w 649925"/>
              <a:gd name="connsiteY231" fmla="*/ 101600 h 3716972"/>
              <a:gd name="connsiteX232" fmla="*/ 363801 w 649925"/>
              <a:gd name="connsiteY232" fmla="*/ 50800 h 37169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</a:cxnLst>
            <a:rect l="l" t="t" r="r" b="b"/>
            <a:pathLst>
              <a:path w="649925" h="3716972">
                <a:moveTo>
                  <a:pt x="363801" y="50800"/>
                </a:moveTo>
                <a:cubicBezTo>
                  <a:pt x="364859" y="43392"/>
                  <a:pt x="384758" y="57150"/>
                  <a:pt x="395551" y="57150"/>
                </a:cubicBezTo>
                <a:cubicBezTo>
                  <a:pt x="420951" y="57150"/>
                  <a:pt x="412484" y="48683"/>
                  <a:pt x="420951" y="31750"/>
                </a:cubicBezTo>
                <a:cubicBezTo>
                  <a:pt x="431534" y="10583"/>
                  <a:pt x="433651" y="12700"/>
                  <a:pt x="452701" y="0"/>
                </a:cubicBezTo>
                <a:cubicBezTo>
                  <a:pt x="467814" y="45340"/>
                  <a:pt x="454262" y="30674"/>
                  <a:pt x="484451" y="50800"/>
                </a:cubicBezTo>
                <a:lnTo>
                  <a:pt x="503501" y="107950"/>
                </a:lnTo>
                <a:cubicBezTo>
                  <a:pt x="505618" y="114300"/>
                  <a:pt x="506138" y="121431"/>
                  <a:pt x="509851" y="127000"/>
                </a:cubicBezTo>
                <a:lnTo>
                  <a:pt x="522551" y="146050"/>
                </a:lnTo>
                <a:cubicBezTo>
                  <a:pt x="523344" y="157951"/>
                  <a:pt x="520101" y="230050"/>
                  <a:pt x="535251" y="260350"/>
                </a:cubicBezTo>
                <a:cubicBezTo>
                  <a:pt x="538664" y="267176"/>
                  <a:pt x="544851" y="272426"/>
                  <a:pt x="547951" y="279400"/>
                </a:cubicBezTo>
                <a:cubicBezTo>
                  <a:pt x="553388" y="291633"/>
                  <a:pt x="556418" y="304800"/>
                  <a:pt x="560651" y="317500"/>
                </a:cubicBezTo>
                <a:lnTo>
                  <a:pt x="567001" y="336550"/>
                </a:lnTo>
                <a:lnTo>
                  <a:pt x="573351" y="355600"/>
                </a:lnTo>
                <a:cubicBezTo>
                  <a:pt x="575468" y="381000"/>
                  <a:pt x="568302" y="409003"/>
                  <a:pt x="579701" y="431800"/>
                </a:cubicBezTo>
                <a:cubicBezTo>
                  <a:pt x="585688" y="443774"/>
                  <a:pt x="605101" y="440267"/>
                  <a:pt x="617801" y="444500"/>
                </a:cubicBezTo>
                <a:lnTo>
                  <a:pt x="636851" y="450850"/>
                </a:lnTo>
                <a:cubicBezTo>
                  <a:pt x="641084" y="457200"/>
                  <a:pt x="648472" y="462345"/>
                  <a:pt x="649551" y="469900"/>
                </a:cubicBezTo>
                <a:cubicBezTo>
                  <a:pt x="649925" y="472516"/>
                  <a:pt x="639559" y="509476"/>
                  <a:pt x="636851" y="514350"/>
                </a:cubicBezTo>
                <a:cubicBezTo>
                  <a:pt x="629438" y="527693"/>
                  <a:pt x="616278" y="537970"/>
                  <a:pt x="611451" y="552450"/>
                </a:cubicBezTo>
                <a:cubicBezTo>
                  <a:pt x="609334" y="558800"/>
                  <a:pt x="608814" y="565931"/>
                  <a:pt x="605101" y="571500"/>
                </a:cubicBezTo>
                <a:cubicBezTo>
                  <a:pt x="598079" y="582033"/>
                  <a:pt x="578715" y="597393"/>
                  <a:pt x="567001" y="603250"/>
                </a:cubicBezTo>
                <a:cubicBezTo>
                  <a:pt x="561014" y="606243"/>
                  <a:pt x="554301" y="607483"/>
                  <a:pt x="547951" y="609600"/>
                </a:cubicBezTo>
                <a:cubicBezTo>
                  <a:pt x="545834" y="615950"/>
                  <a:pt x="543440" y="622214"/>
                  <a:pt x="541601" y="628650"/>
                </a:cubicBezTo>
                <a:cubicBezTo>
                  <a:pt x="539203" y="637041"/>
                  <a:pt x="538689" y="646028"/>
                  <a:pt x="535251" y="654050"/>
                </a:cubicBezTo>
                <a:cubicBezTo>
                  <a:pt x="532245" y="661065"/>
                  <a:pt x="525964" y="666274"/>
                  <a:pt x="522551" y="673100"/>
                </a:cubicBezTo>
                <a:cubicBezTo>
                  <a:pt x="519558" y="679087"/>
                  <a:pt x="518318" y="685800"/>
                  <a:pt x="516201" y="692150"/>
                </a:cubicBezTo>
                <a:cubicBezTo>
                  <a:pt x="532162" y="740033"/>
                  <a:pt x="510632" y="681011"/>
                  <a:pt x="535251" y="730250"/>
                </a:cubicBezTo>
                <a:cubicBezTo>
                  <a:pt x="538244" y="736237"/>
                  <a:pt x="539484" y="742950"/>
                  <a:pt x="541601" y="749300"/>
                </a:cubicBezTo>
                <a:cubicBezTo>
                  <a:pt x="537368" y="755650"/>
                  <a:pt x="532314" y="761524"/>
                  <a:pt x="528901" y="768350"/>
                </a:cubicBezTo>
                <a:cubicBezTo>
                  <a:pt x="525908" y="774337"/>
                  <a:pt x="526264" y="781831"/>
                  <a:pt x="522551" y="787400"/>
                </a:cubicBezTo>
                <a:cubicBezTo>
                  <a:pt x="517570" y="794872"/>
                  <a:pt x="509250" y="799551"/>
                  <a:pt x="503501" y="806450"/>
                </a:cubicBezTo>
                <a:cubicBezTo>
                  <a:pt x="498615" y="812313"/>
                  <a:pt x="495034" y="819150"/>
                  <a:pt x="490801" y="825500"/>
                </a:cubicBezTo>
                <a:lnTo>
                  <a:pt x="478101" y="876300"/>
                </a:lnTo>
                <a:cubicBezTo>
                  <a:pt x="475984" y="884767"/>
                  <a:pt x="476592" y="894438"/>
                  <a:pt x="471751" y="901700"/>
                </a:cubicBezTo>
                <a:cubicBezTo>
                  <a:pt x="442638" y="945369"/>
                  <a:pt x="451178" y="925320"/>
                  <a:pt x="440001" y="958850"/>
                </a:cubicBezTo>
                <a:cubicBezTo>
                  <a:pt x="431991" y="1022934"/>
                  <a:pt x="439047" y="993461"/>
                  <a:pt x="420951" y="1047750"/>
                </a:cubicBezTo>
                <a:lnTo>
                  <a:pt x="414601" y="1066800"/>
                </a:lnTo>
                <a:cubicBezTo>
                  <a:pt x="410368" y="1098550"/>
                  <a:pt x="410701" y="1131251"/>
                  <a:pt x="401901" y="1162050"/>
                </a:cubicBezTo>
                <a:cubicBezTo>
                  <a:pt x="397708" y="1176726"/>
                  <a:pt x="376501" y="1200150"/>
                  <a:pt x="376501" y="1200150"/>
                </a:cubicBezTo>
                <a:cubicBezTo>
                  <a:pt x="378618" y="1221317"/>
                  <a:pt x="379616" y="1242625"/>
                  <a:pt x="382851" y="1263650"/>
                </a:cubicBezTo>
                <a:cubicBezTo>
                  <a:pt x="383869" y="1270266"/>
                  <a:pt x="388101" y="1276098"/>
                  <a:pt x="389201" y="1282700"/>
                </a:cubicBezTo>
                <a:cubicBezTo>
                  <a:pt x="392352" y="1301606"/>
                  <a:pt x="389001" y="1321837"/>
                  <a:pt x="395551" y="1339850"/>
                </a:cubicBezTo>
                <a:cubicBezTo>
                  <a:pt x="398159" y="1347022"/>
                  <a:pt x="408251" y="1348317"/>
                  <a:pt x="414601" y="1352550"/>
                </a:cubicBezTo>
                <a:cubicBezTo>
                  <a:pt x="412484" y="1401233"/>
                  <a:pt x="413837" y="1450192"/>
                  <a:pt x="408251" y="1498600"/>
                </a:cubicBezTo>
                <a:cubicBezTo>
                  <a:pt x="407376" y="1506181"/>
                  <a:pt x="398964" y="1510824"/>
                  <a:pt x="395551" y="1517650"/>
                </a:cubicBezTo>
                <a:cubicBezTo>
                  <a:pt x="390476" y="1527800"/>
                  <a:pt x="385564" y="1552605"/>
                  <a:pt x="382851" y="1562100"/>
                </a:cubicBezTo>
                <a:cubicBezTo>
                  <a:pt x="381012" y="1568536"/>
                  <a:pt x="379494" y="1575163"/>
                  <a:pt x="376501" y="1581150"/>
                </a:cubicBezTo>
                <a:cubicBezTo>
                  <a:pt x="373088" y="1587976"/>
                  <a:pt x="368034" y="1593850"/>
                  <a:pt x="363801" y="1600200"/>
                </a:cubicBezTo>
                <a:cubicBezTo>
                  <a:pt x="369359" y="1633548"/>
                  <a:pt x="376516" y="1654133"/>
                  <a:pt x="363801" y="1689100"/>
                </a:cubicBezTo>
                <a:cubicBezTo>
                  <a:pt x="360732" y="1697540"/>
                  <a:pt x="349971" y="1700842"/>
                  <a:pt x="344751" y="1708150"/>
                </a:cubicBezTo>
                <a:cubicBezTo>
                  <a:pt x="322728" y="1738982"/>
                  <a:pt x="339520" y="1724962"/>
                  <a:pt x="325701" y="1752600"/>
                </a:cubicBezTo>
                <a:cubicBezTo>
                  <a:pt x="322288" y="1759426"/>
                  <a:pt x="317234" y="1765300"/>
                  <a:pt x="313001" y="1771650"/>
                </a:cubicBezTo>
                <a:cubicBezTo>
                  <a:pt x="315118" y="1794933"/>
                  <a:pt x="315288" y="1818476"/>
                  <a:pt x="319351" y="1841500"/>
                </a:cubicBezTo>
                <a:cubicBezTo>
                  <a:pt x="321677" y="1854683"/>
                  <a:pt x="327818" y="1866900"/>
                  <a:pt x="332051" y="1879600"/>
                </a:cubicBezTo>
                <a:cubicBezTo>
                  <a:pt x="341161" y="1906929"/>
                  <a:pt x="336778" y="1892156"/>
                  <a:pt x="344751" y="1924050"/>
                </a:cubicBezTo>
                <a:cubicBezTo>
                  <a:pt x="338401" y="1926167"/>
                  <a:pt x="330928" y="1926219"/>
                  <a:pt x="325701" y="1930400"/>
                </a:cubicBezTo>
                <a:cubicBezTo>
                  <a:pt x="312670" y="1940825"/>
                  <a:pt x="302969" y="1976878"/>
                  <a:pt x="300301" y="1987550"/>
                </a:cubicBezTo>
                <a:cubicBezTo>
                  <a:pt x="284478" y="2050841"/>
                  <a:pt x="290470" y="2021133"/>
                  <a:pt x="281251" y="2076450"/>
                </a:cubicBezTo>
                <a:cubicBezTo>
                  <a:pt x="280158" y="2095034"/>
                  <a:pt x="271699" y="2246546"/>
                  <a:pt x="268551" y="2273300"/>
                </a:cubicBezTo>
                <a:cubicBezTo>
                  <a:pt x="267769" y="2279948"/>
                  <a:pt x="264040" y="2285914"/>
                  <a:pt x="262201" y="2292350"/>
                </a:cubicBezTo>
                <a:cubicBezTo>
                  <a:pt x="259803" y="2300741"/>
                  <a:pt x="257968" y="2309283"/>
                  <a:pt x="255851" y="2317750"/>
                </a:cubicBezTo>
                <a:cubicBezTo>
                  <a:pt x="259532" y="2361921"/>
                  <a:pt x="260894" y="2396285"/>
                  <a:pt x="268551" y="2438400"/>
                </a:cubicBezTo>
                <a:cubicBezTo>
                  <a:pt x="271740" y="2455942"/>
                  <a:pt x="275810" y="2466528"/>
                  <a:pt x="281251" y="2482850"/>
                </a:cubicBezTo>
                <a:cubicBezTo>
                  <a:pt x="283368" y="2504017"/>
                  <a:pt x="282818" y="2525623"/>
                  <a:pt x="287601" y="2546350"/>
                </a:cubicBezTo>
                <a:cubicBezTo>
                  <a:pt x="289317" y="2553786"/>
                  <a:pt x="302152" y="2557996"/>
                  <a:pt x="300301" y="2565400"/>
                </a:cubicBezTo>
                <a:cubicBezTo>
                  <a:pt x="298678" y="2571894"/>
                  <a:pt x="287601" y="2569633"/>
                  <a:pt x="281251" y="2571750"/>
                </a:cubicBezTo>
                <a:cubicBezTo>
                  <a:pt x="279134" y="2578100"/>
                  <a:pt x="274901" y="2584107"/>
                  <a:pt x="274901" y="2590800"/>
                </a:cubicBezTo>
                <a:cubicBezTo>
                  <a:pt x="274901" y="2597493"/>
                  <a:pt x="280054" y="2603264"/>
                  <a:pt x="281251" y="2609850"/>
                </a:cubicBezTo>
                <a:cubicBezTo>
                  <a:pt x="284304" y="2626640"/>
                  <a:pt x="285484" y="2643717"/>
                  <a:pt x="287601" y="2660650"/>
                </a:cubicBezTo>
                <a:cubicBezTo>
                  <a:pt x="285484" y="2700867"/>
                  <a:pt x="289149" y="2741810"/>
                  <a:pt x="281251" y="2781300"/>
                </a:cubicBezTo>
                <a:cubicBezTo>
                  <a:pt x="278258" y="2796267"/>
                  <a:pt x="255851" y="2819400"/>
                  <a:pt x="255851" y="2819400"/>
                </a:cubicBezTo>
                <a:cubicBezTo>
                  <a:pt x="254432" y="2836424"/>
                  <a:pt x="256120" y="2888712"/>
                  <a:pt x="243151" y="2914650"/>
                </a:cubicBezTo>
                <a:cubicBezTo>
                  <a:pt x="239738" y="2921476"/>
                  <a:pt x="234684" y="2927350"/>
                  <a:pt x="230451" y="2933700"/>
                </a:cubicBezTo>
                <a:cubicBezTo>
                  <a:pt x="226218" y="2950633"/>
                  <a:pt x="223271" y="2967941"/>
                  <a:pt x="217751" y="2984500"/>
                </a:cubicBezTo>
                <a:lnTo>
                  <a:pt x="205051" y="3022600"/>
                </a:lnTo>
                <a:cubicBezTo>
                  <a:pt x="202862" y="3040112"/>
                  <a:pt x="202140" y="3072873"/>
                  <a:pt x="192351" y="3092450"/>
                </a:cubicBezTo>
                <a:cubicBezTo>
                  <a:pt x="188938" y="3099276"/>
                  <a:pt x="182751" y="3104526"/>
                  <a:pt x="179651" y="3111500"/>
                </a:cubicBezTo>
                <a:cubicBezTo>
                  <a:pt x="174214" y="3123733"/>
                  <a:pt x="171184" y="3136900"/>
                  <a:pt x="166951" y="3149600"/>
                </a:cubicBezTo>
                <a:lnTo>
                  <a:pt x="160601" y="3168650"/>
                </a:lnTo>
                <a:cubicBezTo>
                  <a:pt x="162718" y="3181350"/>
                  <a:pt x="164158" y="3194181"/>
                  <a:pt x="166951" y="3206750"/>
                </a:cubicBezTo>
                <a:cubicBezTo>
                  <a:pt x="168403" y="3213284"/>
                  <a:pt x="171849" y="3219266"/>
                  <a:pt x="173301" y="3225800"/>
                </a:cubicBezTo>
                <a:cubicBezTo>
                  <a:pt x="176094" y="3238369"/>
                  <a:pt x="173263" y="3252721"/>
                  <a:pt x="179651" y="3263900"/>
                </a:cubicBezTo>
                <a:cubicBezTo>
                  <a:pt x="182972" y="3269712"/>
                  <a:pt x="192167" y="3268798"/>
                  <a:pt x="198701" y="3270250"/>
                </a:cubicBezTo>
                <a:cubicBezTo>
                  <a:pt x="211270" y="3273043"/>
                  <a:pt x="224101" y="3274483"/>
                  <a:pt x="236801" y="3276600"/>
                </a:cubicBezTo>
                <a:cubicBezTo>
                  <a:pt x="212214" y="3313480"/>
                  <a:pt x="220097" y="3293020"/>
                  <a:pt x="230451" y="3365500"/>
                </a:cubicBezTo>
                <a:cubicBezTo>
                  <a:pt x="231398" y="3372126"/>
                  <a:pt x="232620" y="3379323"/>
                  <a:pt x="236801" y="3384550"/>
                </a:cubicBezTo>
                <a:cubicBezTo>
                  <a:pt x="241569" y="3390509"/>
                  <a:pt x="249501" y="3393017"/>
                  <a:pt x="255851" y="3397250"/>
                </a:cubicBezTo>
                <a:cubicBezTo>
                  <a:pt x="260084" y="3403600"/>
                  <a:pt x="262592" y="3411532"/>
                  <a:pt x="268551" y="3416300"/>
                </a:cubicBezTo>
                <a:cubicBezTo>
                  <a:pt x="273778" y="3420481"/>
                  <a:pt x="280948" y="3421911"/>
                  <a:pt x="287601" y="3422650"/>
                </a:cubicBezTo>
                <a:cubicBezTo>
                  <a:pt x="319227" y="3426164"/>
                  <a:pt x="351101" y="3426883"/>
                  <a:pt x="382851" y="3429000"/>
                </a:cubicBezTo>
                <a:lnTo>
                  <a:pt x="420951" y="3441700"/>
                </a:lnTo>
                <a:cubicBezTo>
                  <a:pt x="427301" y="3443817"/>
                  <a:pt x="433399" y="3446950"/>
                  <a:pt x="440001" y="3448050"/>
                </a:cubicBezTo>
                <a:lnTo>
                  <a:pt x="516201" y="3460750"/>
                </a:lnTo>
                <a:cubicBezTo>
                  <a:pt x="514084" y="3467100"/>
                  <a:pt x="509851" y="3473107"/>
                  <a:pt x="509851" y="3479800"/>
                </a:cubicBezTo>
                <a:cubicBezTo>
                  <a:pt x="509851" y="3516554"/>
                  <a:pt x="515763" y="3504323"/>
                  <a:pt x="528901" y="3530600"/>
                </a:cubicBezTo>
                <a:cubicBezTo>
                  <a:pt x="531894" y="3536587"/>
                  <a:pt x="532258" y="3543663"/>
                  <a:pt x="535251" y="3549650"/>
                </a:cubicBezTo>
                <a:cubicBezTo>
                  <a:pt x="559870" y="3598889"/>
                  <a:pt x="538340" y="3539867"/>
                  <a:pt x="554301" y="3587750"/>
                </a:cubicBezTo>
                <a:cubicBezTo>
                  <a:pt x="556418" y="3604683"/>
                  <a:pt x="574850" y="3629084"/>
                  <a:pt x="560651" y="3638550"/>
                </a:cubicBezTo>
                <a:cubicBezTo>
                  <a:pt x="547951" y="3647017"/>
                  <a:pt x="547951" y="3608917"/>
                  <a:pt x="535251" y="3600450"/>
                </a:cubicBezTo>
                <a:cubicBezTo>
                  <a:pt x="528901" y="3596217"/>
                  <a:pt x="523027" y="3591163"/>
                  <a:pt x="516201" y="3587750"/>
                </a:cubicBezTo>
                <a:cubicBezTo>
                  <a:pt x="507091" y="3583195"/>
                  <a:pt x="479889" y="3577085"/>
                  <a:pt x="471751" y="3575050"/>
                </a:cubicBezTo>
                <a:cubicBezTo>
                  <a:pt x="441701" y="3578806"/>
                  <a:pt x="422484" y="3573517"/>
                  <a:pt x="401901" y="3594100"/>
                </a:cubicBezTo>
                <a:cubicBezTo>
                  <a:pt x="396505" y="3599496"/>
                  <a:pt x="393434" y="3606800"/>
                  <a:pt x="389201" y="3613150"/>
                </a:cubicBezTo>
                <a:cubicBezTo>
                  <a:pt x="387084" y="3632200"/>
                  <a:pt x="386002" y="3651394"/>
                  <a:pt x="382851" y="3670300"/>
                </a:cubicBezTo>
                <a:cubicBezTo>
                  <a:pt x="381751" y="3676902"/>
                  <a:pt x="378340" y="3682914"/>
                  <a:pt x="376501" y="3689350"/>
                </a:cubicBezTo>
                <a:cubicBezTo>
                  <a:pt x="374103" y="3697741"/>
                  <a:pt x="372268" y="3706283"/>
                  <a:pt x="370151" y="3714750"/>
                </a:cubicBezTo>
                <a:cubicBezTo>
                  <a:pt x="351101" y="3712633"/>
                  <a:pt x="330145" y="3716972"/>
                  <a:pt x="313001" y="3708400"/>
                </a:cubicBezTo>
                <a:cubicBezTo>
                  <a:pt x="305195" y="3704497"/>
                  <a:pt x="314754" y="3686241"/>
                  <a:pt x="306651" y="3683000"/>
                </a:cubicBezTo>
                <a:cubicBezTo>
                  <a:pt x="278858" y="3671883"/>
                  <a:pt x="247384" y="3674533"/>
                  <a:pt x="217751" y="3670300"/>
                </a:cubicBezTo>
                <a:cubicBezTo>
                  <a:pt x="232864" y="3624960"/>
                  <a:pt x="219312" y="3639626"/>
                  <a:pt x="249501" y="3619500"/>
                </a:cubicBezTo>
                <a:cubicBezTo>
                  <a:pt x="241034" y="3617383"/>
                  <a:pt x="231363" y="3617991"/>
                  <a:pt x="224101" y="3613150"/>
                </a:cubicBezTo>
                <a:cubicBezTo>
                  <a:pt x="173301" y="3579283"/>
                  <a:pt x="251618" y="3606800"/>
                  <a:pt x="192351" y="3581400"/>
                </a:cubicBezTo>
                <a:cubicBezTo>
                  <a:pt x="184329" y="3577962"/>
                  <a:pt x="175418" y="3577167"/>
                  <a:pt x="166951" y="3575050"/>
                </a:cubicBezTo>
                <a:cubicBezTo>
                  <a:pt x="173301" y="3570817"/>
                  <a:pt x="186001" y="3569982"/>
                  <a:pt x="186001" y="3562350"/>
                </a:cubicBezTo>
                <a:cubicBezTo>
                  <a:pt x="186001" y="3554144"/>
                  <a:pt x="152599" y="3544866"/>
                  <a:pt x="147901" y="3543300"/>
                </a:cubicBezTo>
                <a:cubicBezTo>
                  <a:pt x="150018" y="3536950"/>
                  <a:pt x="149518" y="3528983"/>
                  <a:pt x="154251" y="3524250"/>
                </a:cubicBezTo>
                <a:cubicBezTo>
                  <a:pt x="188118" y="3490383"/>
                  <a:pt x="162718" y="3549650"/>
                  <a:pt x="179651" y="3498850"/>
                </a:cubicBezTo>
                <a:cubicBezTo>
                  <a:pt x="173301" y="3496733"/>
                  <a:pt x="167037" y="3494339"/>
                  <a:pt x="160601" y="3492500"/>
                </a:cubicBezTo>
                <a:cubicBezTo>
                  <a:pt x="152210" y="3490102"/>
                  <a:pt x="139104" y="3493956"/>
                  <a:pt x="135201" y="3486150"/>
                </a:cubicBezTo>
                <a:cubicBezTo>
                  <a:pt x="132208" y="3480163"/>
                  <a:pt x="147901" y="3481917"/>
                  <a:pt x="154251" y="3479800"/>
                </a:cubicBezTo>
                <a:cubicBezTo>
                  <a:pt x="147901" y="3475567"/>
                  <a:pt x="142027" y="3470513"/>
                  <a:pt x="135201" y="3467100"/>
                </a:cubicBezTo>
                <a:cubicBezTo>
                  <a:pt x="112886" y="3455942"/>
                  <a:pt x="98343" y="3464312"/>
                  <a:pt x="147901" y="3454400"/>
                </a:cubicBezTo>
                <a:cubicBezTo>
                  <a:pt x="150018" y="3448050"/>
                  <a:pt x="158984" y="3440083"/>
                  <a:pt x="154251" y="3435350"/>
                </a:cubicBezTo>
                <a:cubicBezTo>
                  <a:pt x="146619" y="3427718"/>
                  <a:pt x="132972" y="3431618"/>
                  <a:pt x="122501" y="3429000"/>
                </a:cubicBezTo>
                <a:cubicBezTo>
                  <a:pt x="116007" y="3427377"/>
                  <a:pt x="109801" y="3424767"/>
                  <a:pt x="103451" y="3422650"/>
                </a:cubicBezTo>
                <a:cubicBezTo>
                  <a:pt x="151115" y="3410734"/>
                  <a:pt x="117170" y="3428216"/>
                  <a:pt x="122501" y="3390900"/>
                </a:cubicBezTo>
                <a:cubicBezTo>
                  <a:pt x="123580" y="3383345"/>
                  <a:pt x="130968" y="3378200"/>
                  <a:pt x="135201" y="3371850"/>
                </a:cubicBezTo>
                <a:cubicBezTo>
                  <a:pt x="137318" y="3363383"/>
                  <a:pt x="145454" y="3354256"/>
                  <a:pt x="141551" y="3346450"/>
                </a:cubicBezTo>
                <a:cubicBezTo>
                  <a:pt x="137318" y="3337983"/>
                  <a:pt x="123423" y="3339810"/>
                  <a:pt x="116151" y="3333750"/>
                </a:cubicBezTo>
                <a:cubicBezTo>
                  <a:pt x="110288" y="3328864"/>
                  <a:pt x="107684" y="3321050"/>
                  <a:pt x="103451" y="3314700"/>
                </a:cubicBezTo>
                <a:cubicBezTo>
                  <a:pt x="105568" y="3308350"/>
                  <a:pt x="112151" y="3301917"/>
                  <a:pt x="109801" y="3295650"/>
                </a:cubicBezTo>
                <a:cubicBezTo>
                  <a:pt x="98180" y="3264660"/>
                  <a:pt x="88389" y="3265229"/>
                  <a:pt x="65351" y="3257550"/>
                </a:cubicBezTo>
                <a:cubicBezTo>
                  <a:pt x="71701" y="3253317"/>
                  <a:pt x="79633" y="3250809"/>
                  <a:pt x="84401" y="3244850"/>
                </a:cubicBezTo>
                <a:cubicBezTo>
                  <a:pt x="102541" y="3222175"/>
                  <a:pt x="84298" y="3221220"/>
                  <a:pt x="65351" y="3213100"/>
                </a:cubicBezTo>
                <a:cubicBezTo>
                  <a:pt x="59199" y="3210463"/>
                  <a:pt x="52651" y="3208867"/>
                  <a:pt x="46301" y="3206750"/>
                </a:cubicBezTo>
                <a:cubicBezTo>
                  <a:pt x="21799" y="3157745"/>
                  <a:pt x="30850" y="3196801"/>
                  <a:pt x="52651" y="3175000"/>
                </a:cubicBezTo>
                <a:cubicBezTo>
                  <a:pt x="57384" y="3170267"/>
                  <a:pt x="56884" y="3162300"/>
                  <a:pt x="59001" y="3155950"/>
                </a:cubicBezTo>
                <a:cubicBezTo>
                  <a:pt x="56884" y="3147483"/>
                  <a:pt x="57724" y="3137652"/>
                  <a:pt x="52651" y="3130550"/>
                </a:cubicBezTo>
                <a:cubicBezTo>
                  <a:pt x="28207" y="3096329"/>
                  <a:pt x="16288" y="3127944"/>
                  <a:pt x="39951" y="3092450"/>
                </a:cubicBezTo>
                <a:cubicBezTo>
                  <a:pt x="35718" y="3083983"/>
                  <a:pt x="33944" y="3073743"/>
                  <a:pt x="27251" y="3067050"/>
                </a:cubicBezTo>
                <a:cubicBezTo>
                  <a:pt x="20558" y="3060357"/>
                  <a:pt x="4147" y="3063533"/>
                  <a:pt x="1851" y="3054350"/>
                </a:cubicBezTo>
                <a:cubicBezTo>
                  <a:pt x="0" y="3046946"/>
                  <a:pt x="13661" y="3044063"/>
                  <a:pt x="20901" y="3041650"/>
                </a:cubicBezTo>
                <a:cubicBezTo>
                  <a:pt x="33115" y="3037579"/>
                  <a:pt x="46301" y="3037417"/>
                  <a:pt x="59001" y="3035300"/>
                </a:cubicBezTo>
                <a:cubicBezTo>
                  <a:pt x="61118" y="3028950"/>
                  <a:pt x="65351" y="3022943"/>
                  <a:pt x="65351" y="3016250"/>
                </a:cubicBezTo>
                <a:cubicBezTo>
                  <a:pt x="65351" y="3003105"/>
                  <a:pt x="52722" y="2987782"/>
                  <a:pt x="46301" y="2978150"/>
                </a:cubicBezTo>
                <a:cubicBezTo>
                  <a:pt x="67411" y="2972873"/>
                  <a:pt x="89924" y="2967934"/>
                  <a:pt x="109801" y="2959100"/>
                </a:cubicBezTo>
                <a:cubicBezTo>
                  <a:pt x="116775" y="2956000"/>
                  <a:pt x="122501" y="2950633"/>
                  <a:pt x="128851" y="2946400"/>
                </a:cubicBezTo>
                <a:cubicBezTo>
                  <a:pt x="122501" y="2944283"/>
                  <a:pt x="115788" y="2943043"/>
                  <a:pt x="109801" y="2940050"/>
                </a:cubicBezTo>
                <a:cubicBezTo>
                  <a:pt x="60562" y="2915431"/>
                  <a:pt x="119584" y="2936961"/>
                  <a:pt x="71701" y="2921000"/>
                </a:cubicBezTo>
                <a:cubicBezTo>
                  <a:pt x="108097" y="2866405"/>
                  <a:pt x="64461" y="2935480"/>
                  <a:pt x="90751" y="2882900"/>
                </a:cubicBezTo>
                <a:cubicBezTo>
                  <a:pt x="94164" y="2876074"/>
                  <a:pt x="99218" y="2870200"/>
                  <a:pt x="103451" y="2863850"/>
                </a:cubicBezTo>
                <a:cubicBezTo>
                  <a:pt x="101334" y="2855383"/>
                  <a:pt x="102848" y="2845018"/>
                  <a:pt x="97101" y="2838450"/>
                </a:cubicBezTo>
                <a:cubicBezTo>
                  <a:pt x="79120" y="2817900"/>
                  <a:pt x="62216" y="2814122"/>
                  <a:pt x="39951" y="2806700"/>
                </a:cubicBezTo>
                <a:cubicBezTo>
                  <a:pt x="35718" y="2794000"/>
                  <a:pt x="24626" y="2781727"/>
                  <a:pt x="27251" y="2768600"/>
                </a:cubicBezTo>
                <a:cubicBezTo>
                  <a:pt x="29368" y="2758017"/>
                  <a:pt x="29811" y="2746956"/>
                  <a:pt x="33601" y="2736850"/>
                </a:cubicBezTo>
                <a:cubicBezTo>
                  <a:pt x="36281" y="2729704"/>
                  <a:pt x="40558" y="2722826"/>
                  <a:pt x="46301" y="2717800"/>
                </a:cubicBezTo>
                <a:cubicBezTo>
                  <a:pt x="73174" y="2694286"/>
                  <a:pt x="77286" y="2694772"/>
                  <a:pt x="103451" y="2686050"/>
                </a:cubicBezTo>
                <a:cubicBezTo>
                  <a:pt x="101334" y="2679700"/>
                  <a:pt x="101282" y="2672227"/>
                  <a:pt x="97101" y="2667000"/>
                </a:cubicBezTo>
                <a:cubicBezTo>
                  <a:pt x="64275" y="2625968"/>
                  <a:pt x="87662" y="2683133"/>
                  <a:pt x="71701" y="2635250"/>
                </a:cubicBezTo>
                <a:cubicBezTo>
                  <a:pt x="80168" y="2633133"/>
                  <a:pt x="88461" y="2630134"/>
                  <a:pt x="97101" y="2628900"/>
                </a:cubicBezTo>
                <a:cubicBezTo>
                  <a:pt x="118159" y="2625892"/>
                  <a:pt x="139874" y="2627333"/>
                  <a:pt x="160601" y="2622550"/>
                </a:cubicBezTo>
                <a:cubicBezTo>
                  <a:pt x="168037" y="2620834"/>
                  <a:pt x="173301" y="2614083"/>
                  <a:pt x="179651" y="2609850"/>
                </a:cubicBezTo>
                <a:cubicBezTo>
                  <a:pt x="183884" y="2603500"/>
                  <a:pt x="187465" y="2596663"/>
                  <a:pt x="192351" y="2590800"/>
                </a:cubicBezTo>
                <a:cubicBezTo>
                  <a:pt x="198100" y="2583901"/>
                  <a:pt x="206946" y="2579547"/>
                  <a:pt x="211401" y="2571750"/>
                </a:cubicBezTo>
                <a:cubicBezTo>
                  <a:pt x="215731" y="2564173"/>
                  <a:pt x="215353" y="2554741"/>
                  <a:pt x="217751" y="2546350"/>
                </a:cubicBezTo>
                <a:cubicBezTo>
                  <a:pt x="219590" y="2539914"/>
                  <a:pt x="221984" y="2533650"/>
                  <a:pt x="224101" y="2527300"/>
                </a:cubicBezTo>
                <a:cubicBezTo>
                  <a:pt x="219868" y="2520950"/>
                  <a:pt x="217873" y="2512295"/>
                  <a:pt x="211401" y="2508250"/>
                </a:cubicBezTo>
                <a:cubicBezTo>
                  <a:pt x="200049" y="2501155"/>
                  <a:pt x="173301" y="2495550"/>
                  <a:pt x="173301" y="2495550"/>
                </a:cubicBezTo>
                <a:cubicBezTo>
                  <a:pt x="175418" y="2487083"/>
                  <a:pt x="177143" y="2478509"/>
                  <a:pt x="179651" y="2470150"/>
                </a:cubicBezTo>
                <a:cubicBezTo>
                  <a:pt x="183498" y="2457328"/>
                  <a:pt x="192351" y="2432050"/>
                  <a:pt x="192351" y="2432050"/>
                </a:cubicBezTo>
                <a:cubicBezTo>
                  <a:pt x="188570" y="2405585"/>
                  <a:pt x="180153" y="2386596"/>
                  <a:pt x="192351" y="2362200"/>
                </a:cubicBezTo>
                <a:cubicBezTo>
                  <a:pt x="199177" y="2348548"/>
                  <a:pt x="217751" y="2324100"/>
                  <a:pt x="217751" y="2324100"/>
                </a:cubicBezTo>
                <a:cubicBezTo>
                  <a:pt x="215634" y="2300817"/>
                  <a:pt x="214707" y="2277394"/>
                  <a:pt x="211401" y="2254250"/>
                </a:cubicBezTo>
                <a:cubicBezTo>
                  <a:pt x="210454" y="2247624"/>
                  <a:pt x="209232" y="2240427"/>
                  <a:pt x="205051" y="2235200"/>
                </a:cubicBezTo>
                <a:cubicBezTo>
                  <a:pt x="200283" y="2229241"/>
                  <a:pt x="192351" y="2226733"/>
                  <a:pt x="186001" y="2222500"/>
                </a:cubicBezTo>
                <a:cubicBezTo>
                  <a:pt x="156888" y="2266169"/>
                  <a:pt x="165428" y="2246120"/>
                  <a:pt x="154251" y="2279650"/>
                </a:cubicBezTo>
                <a:cubicBezTo>
                  <a:pt x="152134" y="2305050"/>
                  <a:pt x="152091" y="2330709"/>
                  <a:pt x="147901" y="2355850"/>
                </a:cubicBezTo>
                <a:cubicBezTo>
                  <a:pt x="145700" y="2369055"/>
                  <a:pt x="138448" y="2380963"/>
                  <a:pt x="135201" y="2393950"/>
                </a:cubicBezTo>
                <a:cubicBezTo>
                  <a:pt x="133084" y="2402417"/>
                  <a:pt x="132289" y="2411328"/>
                  <a:pt x="128851" y="2419350"/>
                </a:cubicBezTo>
                <a:cubicBezTo>
                  <a:pt x="125845" y="2426365"/>
                  <a:pt x="120384" y="2432050"/>
                  <a:pt x="116151" y="2438400"/>
                </a:cubicBezTo>
                <a:cubicBezTo>
                  <a:pt x="101334" y="2436283"/>
                  <a:pt x="85088" y="2438743"/>
                  <a:pt x="71701" y="2432050"/>
                </a:cubicBezTo>
                <a:cubicBezTo>
                  <a:pt x="65714" y="2429057"/>
                  <a:pt x="65351" y="2419693"/>
                  <a:pt x="65351" y="2413000"/>
                </a:cubicBezTo>
                <a:cubicBezTo>
                  <a:pt x="65351" y="2372442"/>
                  <a:pt x="65496" y="2379037"/>
                  <a:pt x="90751" y="2362200"/>
                </a:cubicBezTo>
                <a:cubicBezTo>
                  <a:pt x="97172" y="2352568"/>
                  <a:pt x="109801" y="2337245"/>
                  <a:pt x="109801" y="2324100"/>
                </a:cubicBezTo>
                <a:cubicBezTo>
                  <a:pt x="109801" y="2288199"/>
                  <a:pt x="106031" y="2281040"/>
                  <a:pt x="97101" y="2254250"/>
                </a:cubicBezTo>
                <a:cubicBezTo>
                  <a:pt x="99218" y="2243667"/>
                  <a:pt x="97464" y="2231480"/>
                  <a:pt x="103451" y="2222500"/>
                </a:cubicBezTo>
                <a:cubicBezTo>
                  <a:pt x="107164" y="2216931"/>
                  <a:pt x="118320" y="2221377"/>
                  <a:pt x="122501" y="2216150"/>
                </a:cubicBezTo>
                <a:cubicBezTo>
                  <a:pt x="127953" y="2209335"/>
                  <a:pt x="126734" y="2199217"/>
                  <a:pt x="128851" y="2190750"/>
                </a:cubicBezTo>
                <a:cubicBezTo>
                  <a:pt x="124618" y="2178050"/>
                  <a:pt x="119998" y="2165472"/>
                  <a:pt x="116151" y="2152650"/>
                </a:cubicBezTo>
                <a:cubicBezTo>
                  <a:pt x="92231" y="2072916"/>
                  <a:pt x="124791" y="2172221"/>
                  <a:pt x="103451" y="2108200"/>
                </a:cubicBezTo>
                <a:cubicBezTo>
                  <a:pt x="105568" y="2099733"/>
                  <a:pt x="104960" y="2090062"/>
                  <a:pt x="109801" y="2082800"/>
                </a:cubicBezTo>
                <a:cubicBezTo>
                  <a:pt x="114034" y="2076450"/>
                  <a:pt x="126754" y="2077438"/>
                  <a:pt x="128851" y="2070100"/>
                </a:cubicBezTo>
                <a:cubicBezTo>
                  <a:pt x="135853" y="2045593"/>
                  <a:pt x="128634" y="2018527"/>
                  <a:pt x="135201" y="1993900"/>
                </a:cubicBezTo>
                <a:cubicBezTo>
                  <a:pt x="137515" y="1985223"/>
                  <a:pt x="148502" y="1981749"/>
                  <a:pt x="154251" y="1974850"/>
                </a:cubicBezTo>
                <a:cubicBezTo>
                  <a:pt x="159137" y="1968987"/>
                  <a:pt x="162718" y="1962150"/>
                  <a:pt x="166951" y="1955800"/>
                </a:cubicBezTo>
                <a:cubicBezTo>
                  <a:pt x="152907" y="1941756"/>
                  <a:pt x="144042" y="1935381"/>
                  <a:pt x="135201" y="1917700"/>
                </a:cubicBezTo>
                <a:cubicBezTo>
                  <a:pt x="132208" y="1911713"/>
                  <a:pt x="131488" y="1904802"/>
                  <a:pt x="128851" y="1898650"/>
                </a:cubicBezTo>
                <a:cubicBezTo>
                  <a:pt x="125122" y="1889949"/>
                  <a:pt x="120384" y="1881717"/>
                  <a:pt x="116151" y="1873250"/>
                </a:cubicBezTo>
                <a:cubicBezTo>
                  <a:pt x="121269" y="1827190"/>
                  <a:pt x="118852" y="1825696"/>
                  <a:pt x="128851" y="1790700"/>
                </a:cubicBezTo>
                <a:cubicBezTo>
                  <a:pt x="130690" y="1784264"/>
                  <a:pt x="130468" y="1776383"/>
                  <a:pt x="135201" y="1771650"/>
                </a:cubicBezTo>
                <a:cubicBezTo>
                  <a:pt x="145994" y="1760857"/>
                  <a:pt x="173301" y="1746250"/>
                  <a:pt x="173301" y="1746250"/>
                </a:cubicBezTo>
                <a:cubicBezTo>
                  <a:pt x="186517" y="1693387"/>
                  <a:pt x="170425" y="1745653"/>
                  <a:pt x="192351" y="1701800"/>
                </a:cubicBezTo>
                <a:cubicBezTo>
                  <a:pt x="195344" y="1695813"/>
                  <a:pt x="194988" y="1688319"/>
                  <a:pt x="198701" y="1682750"/>
                </a:cubicBezTo>
                <a:cubicBezTo>
                  <a:pt x="203682" y="1675278"/>
                  <a:pt x="211401" y="1670050"/>
                  <a:pt x="217751" y="1663700"/>
                </a:cubicBezTo>
                <a:cubicBezTo>
                  <a:pt x="219868" y="1634067"/>
                  <a:pt x="216896" y="1603622"/>
                  <a:pt x="224101" y="1574800"/>
                </a:cubicBezTo>
                <a:cubicBezTo>
                  <a:pt x="225952" y="1567396"/>
                  <a:pt x="238265" y="1567963"/>
                  <a:pt x="243151" y="1562100"/>
                </a:cubicBezTo>
                <a:cubicBezTo>
                  <a:pt x="249211" y="1554828"/>
                  <a:pt x="252335" y="1545489"/>
                  <a:pt x="255851" y="1536700"/>
                </a:cubicBezTo>
                <a:cubicBezTo>
                  <a:pt x="260823" y="1524271"/>
                  <a:pt x="268551" y="1498600"/>
                  <a:pt x="268551" y="1498600"/>
                </a:cubicBezTo>
                <a:cubicBezTo>
                  <a:pt x="270668" y="1483783"/>
                  <a:pt x="272224" y="1468876"/>
                  <a:pt x="274901" y="1454150"/>
                </a:cubicBezTo>
                <a:cubicBezTo>
                  <a:pt x="276462" y="1445564"/>
                  <a:pt x="280231" y="1437417"/>
                  <a:pt x="281251" y="1428750"/>
                </a:cubicBezTo>
                <a:cubicBezTo>
                  <a:pt x="284476" y="1401341"/>
                  <a:pt x="283297" y="1373460"/>
                  <a:pt x="287601" y="1346200"/>
                </a:cubicBezTo>
                <a:cubicBezTo>
                  <a:pt x="289689" y="1332977"/>
                  <a:pt x="300301" y="1308100"/>
                  <a:pt x="300301" y="1308100"/>
                </a:cubicBezTo>
                <a:cubicBezTo>
                  <a:pt x="298184" y="1291167"/>
                  <a:pt x="297004" y="1274090"/>
                  <a:pt x="293951" y="1257300"/>
                </a:cubicBezTo>
                <a:cubicBezTo>
                  <a:pt x="292754" y="1250714"/>
                  <a:pt x="287601" y="1244943"/>
                  <a:pt x="287601" y="1238250"/>
                </a:cubicBezTo>
                <a:cubicBezTo>
                  <a:pt x="287601" y="1206430"/>
                  <a:pt x="290437" y="1174626"/>
                  <a:pt x="293951" y="1143000"/>
                </a:cubicBezTo>
                <a:cubicBezTo>
                  <a:pt x="294690" y="1136347"/>
                  <a:pt x="298462" y="1130386"/>
                  <a:pt x="300301" y="1123950"/>
                </a:cubicBezTo>
                <a:cubicBezTo>
                  <a:pt x="302699" y="1115559"/>
                  <a:pt x="304534" y="1107017"/>
                  <a:pt x="306651" y="1098550"/>
                </a:cubicBezTo>
                <a:cubicBezTo>
                  <a:pt x="308768" y="1049867"/>
                  <a:pt x="307987" y="1000971"/>
                  <a:pt x="313001" y="952500"/>
                </a:cubicBezTo>
                <a:lnTo>
                  <a:pt x="332051" y="895350"/>
                </a:lnTo>
                <a:lnTo>
                  <a:pt x="338401" y="876300"/>
                </a:lnTo>
                <a:cubicBezTo>
                  <a:pt x="340518" y="850900"/>
                  <a:pt x="341382" y="825364"/>
                  <a:pt x="344751" y="800100"/>
                </a:cubicBezTo>
                <a:cubicBezTo>
                  <a:pt x="345636" y="793465"/>
                  <a:pt x="349262" y="787486"/>
                  <a:pt x="351101" y="781050"/>
                </a:cubicBezTo>
                <a:cubicBezTo>
                  <a:pt x="353499" y="772659"/>
                  <a:pt x="355053" y="764041"/>
                  <a:pt x="357451" y="755650"/>
                </a:cubicBezTo>
                <a:cubicBezTo>
                  <a:pt x="359290" y="749214"/>
                  <a:pt x="361962" y="743036"/>
                  <a:pt x="363801" y="736600"/>
                </a:cubicBezTo>
                <a:cubicBezTo>
                  <a:pt x="373124" y="703968"/>
                  <a:pt x="371347" y="701629"/>
                  <a:pt x="376501" y="660400"/>
                </a:cubicBezTo>
                <a:cubicBezTo>
                  <a:pt x="378618" y="601133"/>
                  <a:pt x="377139" y="541629"/>
                  <a:pt x="382851" y="482600"/>
                </a:cubicBezTo>
                <a:cubicBezTo>
                  <a:pt x="383586" y="475004"/>
                  <a:pt x="395188" y="471173"/>
                  <a:pt x="395551" y="463550"/>
                </a:cubicBezTo>
                <a:cubicBezTo>
                  <a:pt x="397090" y="431228"/>
                  <a:pt x="392571" y="354892"/>
                  <a:pt x="382851" y="311150"/>
                </a:cubicBezTo>
                <a:cubicBezTo>
                  <a:pt x="381399" y="304616"/>
                  <a:pt x="378618" y="298450"/>
                  <a:pt x="376501" y="292100"/>
                </a:cubicBezTo>
                <a:cubicBezTo>
                  <a:pt x="378618" y="273050"/>
                  <a:pt x="380944" y="254022"/>
                  <a:pt x="382851" y="234950"/>
                </a:cubicBezTo>
                <a:cubicBezTo>
                  <a:pt x="390801" y="155453"/>
                  <a:pt x="381523" y="188133"/>
                  <a:pt x="395551" y="146050"/>
                </a:cubicBezTo>
                <a:cubicBezTo>
                  <a:pt x="393434" y="131233"/>
                  <a:pt x="392136" y="116276"/>
                  <a:pt x="389201" y="101600"/>
                </a:cubicBezTo>
                <a:cubicBezTo>
                  <a:pt x="386585" y="88522"/>
                  <a:pt x="362743" y="58208"/>
                  <a:pt x="363801" y="50800"/>
                </a:cubicBezTo>
                <a:close/>
              </a:path>
            </a:pathLst>
          </a:custGeom>
          <a:solidFill>
            <a:srgbClr val="FF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476630" y="6354239"/>
            <a:ext cx="385763" cy="224367"/>
          </a:xfrm>
          <a:custGeom>
            <a:avLst/>
            <a:gdLst>
              <a:gd name="connsiteX0" fmla="*/ 383937 w 384995"/>
              <a:gd name="connsiteY0" fmla="*/ 153822 h 223672"/>
              <a:gd name="connsiteX1" fmla="*/ 352187 w 384995"/>
              <a:gd name="connsiteY1" fmla="*/ 141122 h 223672"/>
              <a:gd name="connsiteX2" fmla="*/ 314087 w 384995"/>
              <a:gd name="connsiteY2" fmla="*/ 128422 h 223672"/>
              <a:gd name="connsiteX3" fmla="*/ 275987 w 384995"/>
              <a:gd name="connsiteY3" fmla="*/ 103022 h 223672"/>
              <a:gd name="connsiteX4" fmla="*/ 256937 w 384995"/>
              <a:gd name="connsiteY4" fmla="*/ 90322 h 223672"/>
              <a:gd name="connsiteX5" fmla="*/ 244237 w 384995"/>
              <a:gd name="connsiteY5" fmla="*/ 71272 h 223672"/>
              <a:gd name="connsiteX6" fmla="*/ 206137 w 384995"/>
              <a:gd name="connsiteY6" fmla="*/ 45872 h 223672"/>
              <a:gd name="connsiteX7" fmla="*/ 187087 w 384995"/>
              <a:gd name="connsiteY7" fmla="*/ 33172 h 223672"/>
              <a:gd name="connsiteX8" fmla="*/ 91837 w 384995"/>
              <a:gd name="connsiteY8" fmla="*/ 20472 h 223672"/>
              <a:gd name="connsiteX9" fmla="*/ 72787 w 384995"/>
              <a:gd name="connsiteY9" fmla="*/ 14122 h 223672"/>
              <a:gd name="connsiteX10" fmla="*/ 53737 w 384995"/>
              <a:gd name="connsiteY10" fmla="*/ 1422 h 223672"/>
              <a:gd name="connsiteX11" fmla="*/ 15637 w 384995"/>
              <a:gd name="connsiteY11" fmla="*/ 7772 h 223672"/>
              <a:gd name="connsiteX12" fmla="*/ 2937 w 384995"/>
              <a:gd name="connsiteY12" fmla="*/ 26822 h 223672"/>
              <a:gd name="connsiteX13" fmla="*/ 21987 w 384995"/>
              <a:gd name="connsiteY13" fmla="*/ 71272 h 223672"/>
              <a:gd name="connsiteX14" fmla="*/ 28337 w 384995"/>
              <a:gd name="connsiteY14" fmla="*/ 90322 h 223672"/>
              <a:gd name="connsiteX15" fmla="*/ 66437 w 384995"/>
              <a:gd name="connsiteY15" fmla="*/ 103022 h 223672"/>
              <a:gd name="connsiteX16" fmla="*/ 72787 w 384995"/>
              <a:gd name="connsiteY16" fmla="*/ 122072 h 223672"/>
              <a:gd name="connsiteX17" fmla="*/ 110887 w 384995"/>
              <a:gd name="connsiteY17" fmla="*/ 134772 h 223672"/>
              <a:gd name="connsiteX18" fmla="*/ 161687 w 384995"/>
              <a:gd name="connsiteY18" fmla="*/ 147472 h 223672"/>
              <a:gd name="connsiteX19" fmla="*/ 168037 w 384995"/>
              <a:gd name="connsiteY19" fmla="*/ 166522 h 223672"/>
              <a:gd name="connsiteX20" fmla="*/ 206137 w 384995"/>
              <a:gd name="connsiteY20" fmla="*/ 179222 h 223672"/>
              <a:gd name="connsiteX21" fmla="*/ 237887 w 384995"/>
              <a:gd name="connsiteY21" fmla="*/ 217322 h 223672"/>
              <a:gd name="connsiteX22" fmla="*/ 256937 w 384995"/>
              <a:gd name="connsiteY22" fmla="*/ 223672 h 223672"/>
              <a:gd name="connsiteX23" fmla="*/ 295037 w 384995"/>
              <a:gd name="connsiteY23" fmla="*/ 210972 h 223672"/>
              <a:gd name="connsiteX24" fmla="*/ 314087 w 384995"/>
              <a:gd name="connsiteY24" fmla="*/ 204622 h 223672"/>
              <a:gd name="connsiteX25" fmla="*/ 320437 w 384995"/>
              <a:gd name="connsiteY25" fmla="*/ 185572 h 223672"/>
              <a:gd name="connsiteX26" fmla="*/ 339487 w 384995"/>
              <a:gd name="connsiteY26" fmla="*/ 179222 h 223672"/>
              <a:gd name="connsiteX27" fmla="*/ 358537 w 384995"/>
              <a:gd name="connsiteY27" fmla="*/ 166522 h 223672"/>
              <a:gd name="connsiteX28" fmla="*/ 383937 w 384995"/>
              <a:gd name="connsiteY28" fmla="*/ 153822 h 2236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384995" h="223672">
                <a:moveTo>
                  <a:pt x="383937" y="153822"/>
                </a:moveTo>
                <a:cubicBezTo>
                  <a:pt x="382879" y="149589"/>
                  <a:pt x="362899" y="145017"/>
                  <a:pt x="352187" y="141122"/>
                </a:cubicBezTo>
                <a:cubicBezTo>
                  <a:pt x="339606" y="136547"/>
                  <a:pt x="325226" y="135848"/>
                  <a:pt x="314087" y="128422"/>
                </a:cubicBezTo>
                <a:lnTo>
                  <a:pt x="275987" y="103022"/>
                </a:lnTo>
                <a:lnTo>
                  <a:pt x="256937" y="90322"/>
                </a:lnTo>
                <a:cubicBezTo>
                  <a:pt x="252704" y="83972"/>
                  <a:pt x="249980" y="76298"/>
                  <a:pt x="244237" y="71272"/>
                </a:cubicBezTo>
                <a:cubicBezTo>
                  <a:pt x="232750" y="61221"/>
                  <a:pt x="218837" y="54339"/>
                  <a:pt x="206137" y="45872"/>
                </a:cubicBezTo>
                <a:cubicBezTo>
                  <a:pt x="199787" y="41639"/>
                  <a:pt x="194327" y="35585"/>
                  <a:pt x="187087" y="33172"/>
                </a:cubicBezTo>
                <a:cubicBezTo>
                  <a:pt x="143857" y="18762"/>
                  <a:pt x="174707" y="27378"/>
                  <a:pt x="91837" y="20472"/>
                </a:cubicBezTo>
                <a:cubicBezTo>
                  <a:pt x="85487" y="18355"/>
                  <a:pt x="78774" y="17115"/>
                  <a:pt x="72787" y="14122"/>
                </a:cubicBezTo>
                <a:cubicBezTo>
                  <a:pt x="65961" y="10709"/>
                  <a:pt x="61322" y="2265"/>
                  <a:pt x="53737" y="1422"/>
                </a:cubicBezTo>
                <a:cubicBezTo>
                  <a:pt x="40941" y="0"/>
                  <a:pt x="28337" y="5655"/>
                  <a:pt x="15637" y="7772"/>
                </a:cubicBezTo>
                <a:cubicBezTo>
                  <a:pt x="11404" y="14122"/>
                  <a:pt x="4016" y="19267"/>
                  <a:pt x="2937" y="26822"/>
                </a:cubicBezTo>
                <a:cubicBezTo>
                  <a:pt x="0" y="47380"/>
                  <a:pt x="14186" y="55669"/>
                  <a:pt x="21987" y="71272"/>
                </a:cubicBezTo>
                <a:cubicBezTo>
                  <a:pt x="24980" y="77259"/>
                  <a:pt x="22890" y="86431"/>
                  <a:pt x="28337" y="90322"/>
                </a:cubicBezTo>
                <a:cubicBezTo>
                  <a:pt x="39230" y="98103"/>
                  <a:pt x="66437" y="103022"/>
                  <a:pt x="66437" y="103022"/>
                </a:cubicBezTo>
                <a:cubicBezTo>
                  <a:pt x="68554" y="109372"/>
                  <a:pt x="67340" y="118181"/>
                  <a:pt x="72787" y="122072"/>
                </a:cubicBezTo>
                <a:cubicBezTo>
                  <a:pt x="83680" y="129853"/>
                  <a:pt x="98187" y="130539"/>
                  <a:pt x="110887" y="134772"/>
                </a:cubicBezTo>
                <a:cubicBezTo>
                  <a:pt x="140176" y="144535"/>
                  <a:pt x="123373" y="139809"/>
                  <a:pt x="161687" y="147472"/>
                </a:cubicBezTo>
                <a:cubicBezTo>
                  <a:pt x="163804" y="153822"/>
                  <a:pt x="162590" y="162631"/>
                  <a:pt x="168037" y="166522"/>
                </a:cubicBezTo>
                <a:cubicBezTo>
                  <a:pt x="178930" y="174303"/>
                  <a:pt x="206137" y="179222"/>
                  <a:pt x="206137" y="179222"/>
                </a:cubicBezTo>
                <a:cubicBezTo>
                  <a:pt x="215508" y="193279"/>
                  <a:pt x="223219" y="207543"/>
                  <a:pt x="237887" y="217322"/>
                </a:cubicBezTo>
                <a:cubicBezTo>
                  <a:pt x="243456" y="221035"/>
                  <a:pt x="250587" y="221555"/>
                  <a:pt x="256937" y="223672"/>
                </a:cubicBezTo>
                <a:lnTo>
                  <a:pt x="295037" y="210972"/>
                </a:lnTo>
                <a:lnTo>
                  <a:pt x="314087" y="204622"/>
                </a:lnTo>
                <a:cubicBezTo>
                  <a:pt x="316204" y="198272"/>
                  <a:pt x="315704" y="190305"/>
                  <a:pt x="320437" y="185572"/>
                </a:cubicBezTo>
                <a:cubicBezTo>
                  <a:pt x="325170" y="180839"/>
                  <a:pt x="333500" y="182215"/>
                  <a:pt x="339487" y="179222"/>
                </a:cubicBezTo>
                <a:cubicBezTo>
                  <a:pt x="346313" y="175809"/>
                  <a:pt x="351711" y="169935"/>
                  <a:pt x="358537" y="166522"/>
                </a:cubicBezTo>
                <a:cubicBezTo>
                  <a:pt x="372576" y="159503"/>
                  <a:pt x="384995" y="158055"/>
                  <a:pt x="383937" y="153822"/>
                </a:cubicBezTo>
                <a:close/>
              </a:path>
            </a:pathLst>
          </a:custGeom>
          <a:solidFill>
            <a:srgbClr val="FF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3470281" y="6510867"/>
            <a:ext cx="174625" cy="127000"/>
          </a:xfrm>
          <a:custGeom>
            <a:avLst/>
            <a:gdLst>
              <a:gd name="connsiteX0" fmla="*/ 3175 w 174625"/>
              <a:gd name="connsiteY0" fmla="*/ 5292 h 128246"/>
              <a:gd name="connsiteX1" fmla="*/ 47625 w 174625"/>
              <a:gd name="connsiteY1" fmla="*/ 11642 h 128246"/>
              <a:gd name="connsiteX2" fmla="*/ 85725 w 174625"/>
              <a:gd name="connsiteY2" fmla="*/ 24342 h 128246"/>
              <a:gd name="connsiteX3" fmla="*/ 123825 w 174625"/>
              <a:gd name="connsiteY3" fmla="*/ 30692 h 128246"/>
              <a:gd name="connsiteX4" fmla="*/ 161925 w 174625"/>
              <a:gd name="connsiteY4" fmla="*/ 43392 h 128246"/>
              <a:gd name="connsiteX5" fmla="*/ 174625 w 174625"/>
              <a:gd name="connsiteY5" fmla="*/ 62442 h 128246"/>
              <a:gd name="connsiteX6" fmla="*/ 142875 w 174625"/>
              <a:gd name="connsiteY6" fmla="*/ 94192 h 128246"/>
              <a:gd name="connsiteX7" fmla="*/ 155575 w 174625"/>
              <a:gd name="connsiteY7" fmla="*/ 113242 h 128246"/>
              <a:gd name="connsiteX8" fmla="*/ 111125 w 174625"/>
              <a:gd name="connsiteY8" fmla="*/ 113242 h 128246"/>
              <a:gd name="connsiteX9" fmla="*/ 85725 w 174625"/>
              <a:gd name="connsiteY9" fmla="*/ 75142 h 128246"/>
              <a:gd name="connsiteX10" fmla="*/ 47625 w 174625"/>
              <a:gd name="connsiteY10" fmla="*/ 56092 h 128246"/>
              <a:gd name="connsiteX11" fmla="*/ 28575 w 174625"/>
              <a:gd name="connsiteY11" fmla="*/ 43392 h 128246"/>
              <a:gd name="connsiteX12" fmla="*/ 3175 w 174625"/>
              <a:gd name="connsiteY12" fmla="*/ 5292 h 128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4625" h="128246">
                <a:moveTo>
                  <a:pt x="3175" y="5292"/>
                </a:moveTo>
                <a:cubicBezTo>
                  <a:pt x="6350" y="0"/>
                  <a:pt x="33041" y="8277"/>
                  <a:pt x="47625" y="11642"/>
                </a:cubicBezTo>
                <a:cubicBezTo>
                  <a:pt x="60669" y="14652"/>
                  <a:pt x="72520" y="22141"/>
                  <a:pt x="85725" y="24342"/>
                </a:cubicBezTo>
                <a:cubicBezTo>
                  <a:pt x="98425" y="26459"/>
                  <a:pt x="111334" y="27569"/>
                  <a:pt x="123825" y="30692"/>
                </a:cubicBezTo>
                <a:cubicBezTo>
                  <a:pt x="136812" y="33939"/>
                  <a:pt x="161925" y="43392"/>
                  <a:pt x="161925" y="43392"/>
                </a:cubicBezTo>
                <a:cubicBezTo>
                  <a:pt x="166158" y="49742"/>
                  <a:pt x="174625" y="54810"/>
                  <a:pt x="174625" y="62442"/>
                </a:cubicBezTo>
                <a:cubicBezTo>
                  <a:pt x="174625" y="76553"/>
                  <a:pt x="151342" y="88548"/>
                  <a:pt x="142875" y="94192"/>
                </a:cubicBezTo>
                <a:cubicBezTo>
                  <a:pt x="147108" y="100542"/>
                  <a:pt x="157426" y="105838"/>
                  <a:pt x="155575" y="113242"/>
                </a:cubicBezTo>
                <a:cubicBezTo>
                  <a:pt x="151824" y="128246"/>
                  <a:pt x="112276" y="113530"/>
                  <a:pt x="111125" y="113242"/>
                </a:cubicBezTo>
                <a:cubicBezTo>
                  <a:pt x="102658" y="100542"/>
                  <a:pt x="98425" y="83609"/>
                  <a:pt x="85725" y="75142"/>
                </a:cubicBezTo>
                <a:cubicBezTo>
                  <a:pt x="31130" y="38746"/>
                  <a:pt x="100205" y="82382"/>
                  <a:pt x="47625" y="56092"/>
                </a:cubicBezTo>
                <a:cubicBezTo>
                  <a:pt x="40799" y="52679"/>
                  <a:pt x="35938" y="45400"/>
                  <a:pt x="28575" y="43392"/>
                </a:cubicBezTo>
                <a:cubicBezTo>
                  <a:pt x="4329" y="36779"/>
                  <a:pt x="0" y="10584"/>
                  <a:pt x="3175" y="5292"/>
                </a:cubicBezTo>
                <a:close/>
              </a:path>
            </a:pathLst>
          </a:custGeom>
          <a:solidFill>
            <a:srgbClr val="FF66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4051300" y="2857506"/>
            <a:ext cx="673100" cy="715433"/>
          </a:xfrm>
          <a:custGeom>
            <a:avLst/>
            <a:gdLst>
              <a:gd name="connsiteX0" fmla="*/ 0 w 673100"/>
              <a:gd name="connsiteY0" fmla="*/ 260350 h 715185"/>
              <a:gd name="connsiteX1" fmla="*/ 6350 w 673100"/>
              <a:gd name="connsiteY1" fmla="*/ 228600 h 715185"/>
              <a:gd name="connsiteX2" fmla="*/ 12700 w 673100"/>
              <a:gd name="connsiteY2" fmla="*/ 209550 h 715185"/>
              <a:gd name="connsiteX3" fmla="*/ 19050 w 673100"/>
              <a:gd name="connsiteY3" fmla="*/ 171450 h 715185"/>
              <a:gd name="connsiteX4" fmla="*/ 31750 w 673100"/>
              <a:gd name="connsiteY4" fmla="*/ 133350 h 715185"/>
              <a:gd name="connsiteX5" fmla="*/ 57150 w 673100"/>
              <a:gd name="connsiteY5" fmla="*/ 82550 h 715185"/>
              <a:gd name="connsiteX6" fmla="*/ 69850 w 673100"/>
              <a:gd name="connsiteY6" fmla="*/ 44450 h 715185"/>
              <a:gd name="connsiteX7" fmla="*/ 88900 w 673100"/>
              <a:gd name="connsiteY7" fmla="*/ 38100 h 715185"/>
              <a:gd name="connsiteX8" fmla="*/ 127000 w 673100"/>
              <a:gd name="connsiteY8" fmla="*/ 19050 h 715185"/>
              <a:gd name="connsiteX9" fmla="*/ 209550 w 673100"/>
              <a:gd name="connsiteY9" fmla="*/ 12700 h 715185"/>
              <a:gd name="connsiteX10" fmla="*/ 234950 w 673100"/>
              <a:gd name="connsiteY10" fmla="*/ 6350 h 715185"/>
              <a:gd name="connsiteX11" fmla="*/ 254000 w 673100"/>
              <a:gd name="connsiteY11" fmla="*/ 0 h 715185"/>
              <a:gd name="connsiteX12" fmla="*/ 304800 w 673100"/>
              <a:gd name="connsiteY12" fmla="*/ 12700 h 715185"/>
              <a:gd name="connsiteX13" fmla="*/ 323850 w 673100"/>
              <a:gd name="connsiteY13" fmla="*/ 50800 h 715185"/>
              <a:gd name="connsiteX14" fmla="*/ 342900 w 673100"/>
              <a:gd name="connsiteY14" fmla="*/ 57150 h 715185"/>
              <a:gd name="connsiteX15" fmla="*/ 361950 w 673100"/>
              <a:gd name="connsiteY15" fmla="*/ 69850 h 715185"/>
              <a:gd name="connsiteX16" fmla="*/ 368300 w 673100"/>
              <a:gd name="connsiteY16" fmla="*/ 120650 h 715185"/>
              <a:gd name="connsiteX17" fmla="*/ 381000 w 673100"/>
              <a:gd name="connsiteY17" fmla="*/ 139700 h 715185"/>
              <a:gd name="connsiteX18" fmla="*/ 387350 w 673100"/>
              <a:gd name="connsiteY18" fmla="*/ 215900 h 715185"/>
              <a:gd name="connsiteX19" fmla="*/ 393700 w 673100"/>
              <a:gd name="connsiteY19" fmla="*/ 247650 h 715185"/>
              <a:gd name="connsiteX20" fmla="*/ 431800 w 673100"/>
              <a:gd name="connsiteY20" fmla="*/ 260350 h 715185"/>
              <a:gd name="connsiteX21" fmla="*/ 450850 w 673100"/>
              <a:gd name="connsiteY21" fmla="*/ 266700 h 715185"/>
              <a:gd name="connsiteX22" fmla="*/ 469900 w 673100"/>
              <a:gd name="connsiteY22" fmla="*/ 273050 h 715185"/>
              <a:gd name="connsiteX23" fmla="*/ 488950 w 673100"/>
              <a:gd name="connsiteY23" fmla="*/ 266700 h 715185"/>
              <a:gd name="connsiteX24" fmla="*/ 527050 w 673100"/>
              <a:gd name="connsiteY24" fmla="*/ 247650 h 715185"/>
              <a:gd name="connsiteX25" fmla="*/ 539750 w 673100"/>
              <a:gd name="connsiteY25" fmla="*/ 292100 h 715185"/>
              <a:gd name="connsiteX26" fmla="*/ 552450 w 673100"/>
              <a:gd name="connsiteY26" fmla="*/ 330200 h 715185"/>
              <a:gd name="connsiteX27" fmla="*/ 558800 w 673100"/>
              <a:gd name="connsiteY27" fmla="*/ 349250 h 715185"/>
              <a:gd name="connsiteX28" fmla="*/ 577850 w 673100"/>
              <a:gd name="connsiteY28" fmla="*/ 361950 h 715185"/>
              <a:gd name="connsiteX29" fmla="*/ 615950 w 673100"/>
              <a:gd name="connsiteY29" fmla="*/ 387350 h 715185"/>
              <a:gd name="connsiteX30" fmla="*/ 635000 w 673100"/>
              <a:gd name="connsiteY30" fmla="*/ 400050 h 715185"/>
              <a:gd name="connsiteX31" fmla="*/ 654050 w 673100"/>
              <a:gd name="connsiteY31" fmla="*/ 406400 h 715185"/>
              <a:gd name="connsiteX32" fmla="*/ 673100 w 673100"/>
              <a:gd name="connsiteY32" fmla="*/ 444500 h 715185"/>
              <a:gd name="connsiteX33" fmla="*/ 660400 w 673100"/>
              <a:gd name="connsiteY33" fmla="*/ 501650 h 715185"/>
              <a:gd name="connsiteX34" fmla="*/ 647700 w 673100"/>
              <a:gd name="connsiteY34" fmla="*/ 546100 h 715185"/>
              <a:gd name="connsiteX35" fmla="*/ 635000 w 673100"/>
              <a:gd name="connsiteY35" fmla="*/ 565150 h 715185"/>
              <a:gd name="connsiteX36" fmla="*/ 628650 w 673100"/>
              <a:gd name="connsiteY36" fmla="*/ 609600 h 715185"/>
              <a:gd name="connsiteX37" fmla="*/ 622300 w 673100"/>
              <a:gd name="connsiteY37" fmla="*/ 641350 h 715185"/>
              <a:gd name="connsiteX38" fmla="*/ 603250 w 673100"/>
              <a:gd name="connsiteY38" fmla="*/ 654050 h 715185"/>
              <a:gd name="connsiteX39" fmla="*/ 590550 w 673100"/>
              <a:gd name="connsiteY39" fmla="*/ 673100 h 715185"/>
              <a:gd name="connsiteX40" fmla="*/ 571500 w 673100"/>
              <a:gd name="connsiteY40" fmla="*/ 685800 h 715185"/>
              <a:gd name="connsiteX41" fmla="*/ 495300 w 673100"/>
              <a:gd name="connsiteY41" fmla="*/ 698500 h 715185"/>
              <a:gd name="connsiteX42" fmla="*/ 431800 w 673100"/>
              <a:gd name="connsiteY42" fmla="*/ 704850 h 715185"/>
              <a:gd name="connsiteX43" fmla="*/ 412750 w 673100"/>
              <a:gd name="connsiteY43" fmla="*/ 698500 h 715185"/>
              <a:gd name="connsiteX44" fmla="*/ 393700 w 673100"/>
              <a:gd name="connsiteY44" fmla="*/ 685800 h 715185"/>
              <a:gd name="connsiteX45" fmla="*/ 330200 w 673100"/>
              <a:gd name="connsiteY45" fmla="*/ 679450 h 715185"/>
              <a:gd name="connsiteX46" fmla="*/ 311150 w 673100"/>
              <a:gd name="connsiteY46" fmla="*/ 673100 h 715185"/>
              <a:gd name="connsiteX47" fmla="*/ 342900 w 673100"/>
              <a:gd name="connsiteY47" fmla="*/ 641350 h 715185"/>
              <a:gd name="connsiteX48" fmla="*/ 361950 w 673100"/>
              <a:gd name="connsiteY48" fmla="*/ 577850 h 715185"/>
              <a:gd name="connsiteX49" fmla="*/ 368300 w 673100"/>
              <a:gd name="connsiteY49" fmla="*/ 558800 h 715185"/>
              <a:gd name="connsiteX50" fmla="*/ 361950 w 673100"/>
              <a:gd name="connsiteY50" fmla="*/ 533400 h 715185"/>
              <a:gd name="connsiteX51" fmla="*/ 323850 w 673100"/>
              <a:gd name="connsiteY51" fmla="*/ 520700 h 715185"/>
              <a:gd name="connsiteX52" fmla="*/ 273050 w 673100"/>
              <a:gd name="connsiteY52" fmla="*/ 444500 h 715185"/>
              <a:gd name="connsiteX53" fmla="*/ 260350 w 673100"/>
              <a:gd name="connsiteY53" fmla="*/ 425450 h 715185"/>
              <a:gd name="connsiteX54" fmla="*/ 241300 w 673100"/>
              <a:gd name="connsiteY54" fmla="*/ 419100 h 715185"/>
              <a:gd name="connsiteX55" fmla="*/ 215900 w 673100"/>
              <a:gd name="connsiteY55" fmla="*/ 400050 h 715185"/>
              <a:gd name="connsiteX56" fmla="*/ 177800 w 673100"/>
              <a:gd name="connsiteY56" fmla="*/ 387350 h 715185"/>
              <a:gd name="connsiteX57" fmla="*/ 158750 w 673100"/>
              <a:gd name="connsiteY57" fmla="*/ 381000 h 715185"/>
              <a:gd name="connsiteX58" fmla="*/ 139700 w 673100"/>
              <a:gd name="connsiteY58" fmla="*/ 374650 h 715185"/>
              <a:gd name="connsiteX59" fmla="*/ 82550 w 673100"/>
              <a:gd name="connsiteY59" fmla="*/ 336550 h 715185"/>
              <a:gd name="connsiteX60" fmla="*/ 63500 w 673100"/>
              <a:gd name="connsiteY60" fmla="*/ 323850 h 715185"/>
              <a:gd name="connsiteX61" fmla="*/ 44450 w 673100"/>
              <a:gd name="connsiteY61" fmla="*/ 304800 h 715185"/>
              <a:gd name="connsiteX62" fmla="*/ 38100 w 673100"/>
              <a:gd name="connsiteY62" fmla="*/ 285750 h 715185"/>
              <a:gd name="connsiteX63" fmla="*/ 0 w 673100"/>
              <a:gd name="connsiteY63" fmla="*/ 260350 h 715185"/>
              <a:gd name="connsiteX64" fmla="*/ 0 w 673100"/>
              <a:gd name="connsiteY64" fmla="*/ 260350 h 715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673100" h="715185">
                <a:moveTo>
                  <a:pt x="0" y="260350"/>
                </a:moveTo>
                <a:cubicBezTo>
                  <a:pt x="1058" y="255059"/>
                  <a:pt x="3732" y="239071"/>
                  <a:pt x="6350" y="228600"/>
                </a:cubicBezTo>
                <a:cubicBezTo>
                  <a:pt x="7973" y="222106"/>
                  <a:pt x="11248" y="216084"/>
                  <a:pt x="12700" y="209550"/>
                </a:cubicBezTo>
                <a:cubicBezTo>
                  <a:pt x="15493" y="196981"/>
                  <a:pt x="15927" y="183941"/>
                  <a:pt x="19050" y="171450"/>
                </a:cubicBezTo>
                <a:cubicBezTo>
                  <a:pt x="22297" y="158463"/>
                  <a:pt x="29125" y="146477"/>
                  <a:pt x="31750" y="133350"/>
                </a:cubicBezTo>
                <a:cubicBezTo>
                  <a:pt x="39861" y="92794"/>
                  <a:pt x="30468" y="109232"/>
                  <a:pt x="57150" y="82550"/>
                </a:cubicBezTo>
                <a:cubicBezTo>
                  <a:pt x="61383" y="69850"/>
                  <a:pt x="57150" y="48683"/>
                  <a:pt x="69850" y="44450"/>
                </a:cubicBezTo>
                <a:cubicBezTo>
                  <a:pt x="76200" y="42333"/>
                  <a:pt x="82913" y="41093"/>
                  <a:pt x="88900" y="38100"/>
                </a:cubicBezTo>
                <a:cubicBezTo>
                  <a:pt x="107808" y="28646"/>
                  <a:pt x="105719" y="21710"/>
                  <a:pt x="127000" y="19050"/>
                </a:cubicBezTo>
                <a:cubicBezTo>
                  <a:pt x="154385" y="15627"/>
                  <a:pt x="182033" y="14817"/>
                  <a:pt x="209550" y="12700"/>
                </a:cubicBezTo>
                <a:cubicBezTo>
                  <a:pt x="218017" y="10583"/>
                  <a:pt x="226559" y="8748"/>
                  <a:pt x="234950" y="6350"/>
                </a:cubicBezTo>
                <a:cubicBezTo>
                  <a:pt x="241386" y="4511"/>
                  <a:pt x="247307" y="0"/>
                  <a:pt x="254000" y="0"/>
                </a:cubicBezTo>
                <a:cubicBezTo>
                  <a:pt x="269325" y="0"/>
                  <a:pt x="289768" y="7689"/>
                  <a:pt x="304800" y="12700"/>
                </a:cubicBezTo>
                <a:cubicBezTo>
                  <a:pt x="308983" y="25249"/>
                  <a:pt x="312659" y="41848"/>
                  <a:pt x="323850" y="50800"/>
                </a:cubicBezTo>
                <a:cubicBezTo>
                  <a:pt x="329077" y="54981"/>
                  <a:pt x="336913" y="54157"/>
                  <a:pt x="342900" y="57150"/>
                </a:cubicBezTo>
                <a:cubicBezTo>
                  <a:pt x="349726" y="60563"/>
                  <a:pt x="355600" y="65617"/>
                  <a:pt x="361950" y="69850"/>
                </a:cubicBezTo>
                <a:cubicBezTo>
                  <a:pt x="364067" y="86783"/>
                  <a:pt x="363810" y="104186"/>
                  <a:pt x="368300" y="120650"/>
                </a:cubicBezTo>
                <a:cubicBezTo>
                  <a:pt x="370308" y="128013"/>
                  <a:pt x="379503" y="132216"/>
                  <a:pt x="381000" y="139700"/>
                </a:cubicBezTo>
                <a:cubicBezTo>
                  <a:pt x="385999" y="164693"/>
                  <a:pt x="384372" y="190587"/>
                  <a:pt x="387350" y="215900"/>
                </a:cubicBezTo>
                <a:cubicBezTo>
                  <a:pt x="388611" y="226619"/>
                  <a:pt x="386068" y="240018"/>
                  <a:pt x="393700" y="247650"/>
                </a:cubicBezTo>
                <a:cubicBezTo>
                  <a:pt x="403166" y="257116"/>
                  <a:pt x="419100" y="256117"/>
                  <a:pt x="431800" y="260350"/>
                </a:cubicBezTo>
                <a:lnTo>
                  <a:pt x="450850" y="266700"/>
                </a:lnTo>
                <a:lnTo>
                  <a:pt x="469900" y="273050"/>
                </a:lnTo>
                <a:cubicBezTo>
                  <a:pt x="476250" y="270933"/>
                  <a:pt x="482963" y="269693"/>
                  <a:pt x="488950" y="266700"/>
                </a:cubicBezTo>
                <a:cubicBezTo>
                  <a:pt x="538189" y="242081"/>
                  <a:pt x="479167" y="263611"/>
                  <a:pt x="527050" y="247650"/>
                </a:cubicBezTo>
                <a:cubicBezTo>
                  <a:pt x="548390" y="311671"/>
                  <a:pt x="515830" y="212366"/>
                  <a:pt x="539750" y="292100"/>
                </a:cubicBezTo>
                <a:cubicBezTo>
                  <a:pt x="543597" y="304922"/>
                  <a:pt x="548217" y="317500"/>
                  <a:pt x="552450" y="330200"/>
                </a:cubicBezTo>
                <a:cubicBezTo>
                  <a:pt x="554567" y="336550"/>
                  <a:pt x="553231" y="345537"/>
                  <a:pt x="558800" y="349250"/>
                </a:cubicBezTo>
                <a:lnTo>
                  <a:pt x="577850" y="361950"/>
                </a:lnTo>
                <a:cubicBezTo>
                  <a:pt x="600172" y="395433"/>
                  <a:pt x="577679" y="370948"/>
                  <a:pt x="615950" y="387350"/>
                </a:cubicBezTo>
                <a:cubicBezTo>
                  <a:pt x="622965" y="390356"/>
                  <a:pt x="628174" y="396637"/>
                  <a:pt x="635000" y="400050"/>
                </a:cubicBezTo>
                <a:cubicBezTo>
                  <a:pt x="640987" y="403043"/>
                  <a:pt x="647700" y="404283"/>
                  <a:pt x="654050" y="406400"/>
                </a:cubicBezTo>
                <a:cubicBezTo>
                  <a:pt x="660471" y="416032"/>
                  <a:pt x="673100" y="431355"/>
                  <a:pt x="673100" y="444500"/>
                </a:cubicBezTo>
                <a:cubicBezTo>
                  <a:pt x="673100" y="473149"/>
                  <a:pt x="666948" y="478731"/>
                  <a:pt x="660400" y="501650"/>
                </a:cubicBezTo>
                <a:cubicBezTo>
                  <a:pt x="657687" y="511145"/>
                  <a:pt x="652775" y="535950"/>
                  <a:pt x="647700" y="546100"/>
                </a:cubicBezTo>
                <a:cubicBezTo>
                  <a:pt x="644287" y="552926"/>
                  <a:pt x="639233" y="558800"/>
                  <a:pt x="635000" y="565150"/>
                </a:cubicBezTo>
                <a:cubicBezTo>
                  <a:pt x="632883" y="579967"/>
                  <a:pt x="631111" y="594837"/>
                  <a:pt x="628650" y="609600"/>
                </a:cubicBezTo>
                <a:cubicBezTo>
                  <a:pt x="626876" y="620246"/>
                  <a:pt x="627655" y="631979"/>
                  <a:pt x="622300" y="641350"/>
                </a:cubicBezTo>
                <a:cubicBezTo>
                  <a:pt x="618514" y="647976"/>
                  <a:pt x="609600" y="649817"/>
                  <a:pt x="603250" y="654050"/>
                </a:cubicBezTo>
                <a:cubicBezTo>
                  <a:pt x="599017" y="660400"/>
                  <a:pt x="595946" y="667704"/>
                  <a:pt x="590550" y="673100"/>
                </a:cubicBezTo>
                <a:cubicBezTo>
                  <a:pt x="585154" y="678496"/>
                  <a:pt x="578326" y="682387"/>
                  <a:pt x="571500" y="685800"/>
                </a:cubicBezTo>
                <a:cubicBezTo>
                  <a:pt x="550224" y="696438"/>
                  <a:pt x="513408" y="696488"/>
                  <a:pt x="495300" y="698500"/>
                </a:cubicBezTo>
                <a:cubicBezTo>
                  <a:pt x="452318" y="712827"/>
                  <a:pt x="467973" y="715185"/>
                  <a:pt x="431800" y="704850"/>
                </a:cubicBezTo>
                <a:cubicBezTo>
                  <a:pt x="425364" y="703011"/>
                  <a:pt x="418737" y="701493"/>
                  <a:pt x="412750" y="698500"/>
                </a:cubicBezTo>
                <a:cubicBezTo>
                  <a:pt x="405924" y="695087"/>
                  <a:pt x="401136" y="687516"/>
                  <a:pt x="393700" y="685800"/>
                </a:cubicBezTo>
                <a:cubicBezTo>
                  <a:pt x="372973" y="681017"/>
                  <a:pt x="351367" y="681567"/>
                  <a:pt x="330200" y="679450"/>
                </a:cubicBezTo>
                <a:cubicBezTo>
                  <a:pt x="323850" y="677333"/>
                  <a:pt x="312773" y="679594"/>
                  <a:pt x="311150" y="673100"/>
                </a:cubicBezTo>
                <a:cubicBezTo>
                  <a:pt x="308126" y="661005"/>
                  <a:pt x="337457" y="644979"/>
                  <a:pt x="342900" y="641350"/>
                </a:cubicBezTo>
                <a:cubicBezTo>
                  <a:pt x="352497" y="602963"/>
                  <a:pt x="346490" y="624229"/>
                  <a:pt x="361950" y="577850"/>
                </a:cubicBezTo>
                <a:lnTo>
                  <a:pt x="368300" y="558800"/>
                </a:lnTo>
                <a:cubicBezTo>
                  <a:pt x="366183" y="550333"/>
                  <a:pt x="368576" y="539080"/>
                  <a:pt x="361950" y="533400"/>
                </a:cubicBezTo>
                <a:cubicBezTo>
                  <a:pt x="351786" y="524688"/>
                  <a:pt x="323850" y="520700"/>
                  <a:pt x="323850" y="520700"/>
                </a:cubicBezTo>
                <a:lnTo>
                  <a:pt x="273050" y="444500"/>
                </a:lnTo>
                <a:cubicBezTo>
                  <a:pt x="268817" y="438150"/>
                  <a:pt x="267590" y="427863"/>
                  <a:pt x="260350" y="425450"/>
                </a:cubicBezTo>
                <a:lnTo>
                  <a:pt x="241300" y="419100"/>
                </a:lnTo>
                <a:cubicBezTo>
                  <a:pt x="232833" y="412750"/>
                  <a:pt x="225366" y="404783"/>
                  <a:pt x="215900" y="400050"/>
                </a:cubicBezTo>
                <a:cubicBezTo>
                  <a:pt x="203926" y="394063"/>
                  <a:pt x="190500" y="391583"/>
                  <a:pt x="177800" y="387350"/>
                </a:cubicBezTo>
                <a:lnTo>
                  <a:pt x="158750" y="381000"/>
                </a:lnTo>
                <a:cubicBezTo>
                  <a:pt x="152400" y="378883"/>
                  <a:pt x="145269" y="378363"/>
                  <a:pt x="139700" y="374650"/>
                </a:cubicBezTo>
                <a:lnTo>
                  <a:pt x="82550" y="336550"/>
                </a:lnTo>
                <a:cubicBezTo>
                  <a:pt x="76200" y="332317"/>
                  <a:pt x="68896" y="329246"/>
                  <a:pt x="63500" y="323850"/>
                </a:cubicBezTo>
                <a:lnTo>
                  <a:pt x="44450" y="304800"/>
                </a:lnTo>
                <a:cubicBezTo>
                  <a:pt x="42333" y="298450"/>
                  <a:pt x="41813" y="291319"/>
                  <a:pt x="38100" y="285750"/>
                </a:cubicBezTo>
                <a:cubicBezTo>
                  <a:pt x="26296" y="268044"/>
                  <a:pt x="18641" y="265010"/>
                  <a:pt x="0" y="260350"/>
                </a:cubicBezTo>
                <a:lnTo>
                  <a:pt x="0" y="260350"/>
                </a:lnTo>
                <a:close/>
              </a:path>
            </a:pathLst>
          </a:custGeom>
          <a:solidFill>
            <a:srgbClr val="92D05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 rot="16797956">
            <a:off x="3200669" y="3172624"/>
            <a:ext cx="728133" cy="258763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చిలీ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 rot="2714811">
            <a:off x="3864774" y="3057263"/>
            <a:ext cx="971551" cy="233362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800" dirty="0" err="1">
                <a:latin typeface="Ramabhadra" pitchFamily="2" charset="0"/>
                <a:ea typeface="+mj-ea"/>
                <a:cs typeface="Ramabhadra" pitchFamily="2" charset="0"/>
              </a:rPr>
              <a:t>పరాగ్వే</a:t>
            </a:r>
            <a:endParaRPr lang="en-IN" sz="8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3" name="Freeform 22"/>
          <p:cNvSpPr/>
          <p:nvPr/>
        </p:nvSpPr>
        <p:spPr>
          <a:xfrm>
            <a:off x="3463926" y="2095500"/>
            <a:ext cx="985838" cy="1092200"/>
          </a:xfrm>
          <a:custGeom>
            <a:avLst/>
            <a:gdLst>
              <a:gd name="connsiteX0" fmla="*/ 22225 w 985958"/>
              <a:gd name="connsiteY0" fmla="*/ 82550 h 1091750"/>
              <a:gd name="connsiteX1" fmla="*/ 174625 w 985958"/>
              <a:gd name="connsiteY1" fmla="*/ 82550 h 1091750"/>
              <a:gd name="connsiteX2" fmla="*/ 187325 w 985958"/>
              <a:gd name="connsiteY2" fmla="*/ 63500 h 1091750"/>
              <a:gd name="connsiteX3" fmla="*/ 244475 w 985958"/>
              <a:gd name="connsiteY3" fmla="*/ 38100 h 1091750"/>
              <a:gd name="connsiteX4" fmla="*/ 263525 w 985958"/>
              <a:gd name="connsiteY4" fmla="*/ 31750 h 1091750"/>
              <a:gd name="connsiteX5" fmla="*/ 295275 w 985958"/>
              <a:gd name="connsiteY5" fmla="*/ 25400 h 1091750"/>
              <a:gd name="connsiteX6" fmla="*/ 314325 w 985958"/>
              <a:gd name="connsiteY6" fmla="*/ 19050 h 1091750"/>
              <a:gd name="connsiteX7" fmla="*/ 346075 w 985958"/>
              <a:gd name="connsiteY7" fmla="*/ 12700 h 1091750"/>
              <a:gd name="connsiteX8" fmla="*/ 384175 w 985958"/>
              <a:gd name="connsiteY8" fmla="*/ 0 h 1091750"/>
              <a:gd name="connsiteX9" fmla="*/ 390525 w 985958"/>
              <a:gd name="connsiteY9" fmla="*/ 76200 h 1091750"/>
              <a:gd name="connsiteX10" fmla="*/ 377825 w 985958"/>
              <a:gd name="connsiteY10" fmla="*/ 114300 h 1091750"/>
              <a:gd name="connsiteX11" fmla="*/ 384175 w 985958"/>
              <a:gd name="connsiteY11" fmla="*/ 152400 h 1091750"/>
              <a:gd name="connsiteX12" fmla="*/ 415925 w 985958"/>
              <a:gd name="connsiteY12" fmla="*/ 190500 h 1091750"/>
              <a:gd name="connsiteX13" fmla="*/ 454025 w 985958"/>
              <a:gd name="connsiteY13" fmla="*/ 203200 h 1091750"/>
              <a:gd name="connsiteX14" fmla="*/ 473075 w 985958"/>
              <a:gd name="connsiteY14" fmla="*/ 209550 h 1091750"/>
              <a:gd name="connsiteX15" fmla="*/ 511175 w 985958"/>
              <a:gd name="connsiteY15" fmla="*/ 234950 h 1091750"/>
              <a:gd name="connsiteX16" fmla="*/ 568325 w 985958"/>
              <a:gd name="connsiteY16" fmla="*/ 254000 h 1091750"/>
              <a:gd name="connsiteX17" fmla="*/ 587375 w 985958"/>
              <a:gd name="connsiteY17" fmla="*/ 260350 h 1091750"/>
              <a:gd name="connsiteX18" fmla="*/ 612775 w 985958"/>
              <a:gd name="connsiteY18" fmla="*/ 266700 h 1091750"/>
              <a:gd name="connsiteX19" fmla="*/ 644525 w 985958"/>
              <a:gd name="connsiteY19" fmla="*/ 273050 h 1091750"/>
              <a:gd name="connsiteX20" fmla="*/ 682625 w 985958"/>
              <a:gd name="connsiteY20" fmla="*/ 292100 h 1091750"/>
              <a:gd name="connsiteX21" fmla="*/ 701675 w 985958"/>
              <a:gd name="connsiteY21" fmla="*/ 298450 h 1091750"/>
              <a:gd name="connsiteX22" fmla="*/ 746125 w 985958"/>
              <a:gd name="connsiteY22" fmla="*/ 317500 h 1091750"/>
              <a:gd name="connsiteX23" fmla="*/ 758825 w 985958"/>
              <a:gd name="connsiteY23" fmla="*/ 336550 h 1091750"/>
              <a:gd name="connsiteX24" fmla="*/ 771525 w 985958"/>
              <a:gd name="connsiteY24" fmla="*/ 374650 h 1091750"/>
              <a:gd name="connsiteX25" fmla="*/ 777875 w 985958"/>
              <a:gd name="connsiteY25" fmla="*/ 508000 h 1091750"/>
              <a:gd name="connsiteX26" fmla="*/ 815975 w 985958"/>
              <a:gd name="connsiteY26" fmla="*/ 527050 h 1091750"/>
              <a:gd name="connsiteX27" fmla="*/ 885825 w 985958"/>
              <a:gd name="connsiteY27" fmla="*/ 533400 h 1091750"/>
              <a:gd name="connsiteX28" fmla="*/ 911225 w 985958"/>
              <a:gd name="connsiteY28" fmla="*/ 539750 h 1091750"/>
              <a:gd name="connsiteX29" fmla="*/ 930275 w 985958"/>
              <a:gd name="connsiteY29" fmla="*/ 609600 h 1091750"/>
              <a:gd name="connsiteX30" fmla="*/ 962025 w 985958"/>
              <a:gd name="connsiteY30" fmla="*/ 635000 h 1091750"/>
              <a:gd name="connsiteX31" fmla="*/ 974725 w 985958"/>
              <a:gd name="connsiteY31" fmla="*/ 812800 h 1091750"/>
              <a:gd name="connsiteX32" fmla="*/ 981075 w 985958"/>
              <a:gd name="connsiteY32" fmla="*/ 831850 h 1091750"/>
              <a:gd name="connsiteX33" fmla="*/ 974725 w 985958"/>
              <a:gd name="connsiteY33" fmla="*/ 857250 h 1091750"/>
              <a:gd name="connsiteX34" fmla="*/ 955675 w 985958"/>
              <a:gd name="connsiteY34" fmla="*/ 869950 h 1091750"/>
              <a:gd name="connsiteX35" fmla="*/ 936625 w 985958"/>
              <a:gd name="connsiteY35" fmla="*/ 831850 h 1091750"/>
              <a:gd name="connsiteX36" fmla="*/ 923925 w 985958"/>
              <a:gd name="connsiteY36" fmla="*/ 812800 h 1091750"/>
              <a:gd name="connsiteX37" fmla="*/ 917575 w 985958"/>
              <a:gd name="connsiteY37" fmla="*/ 793750 h 1091750"/>
              <a:gd name="connsiteX38" fmla="*/ 879475 w 985958"/>
              <a:gd name="connsiteY38" fmla="*/ 781050 h 1091750"/>
              <a:gd name="connsiteX39" fmla="*/ 860425 w 985958"/>
              <a:gd name="connsiteY39" fmla="*/ 774700 h 1091750"/>
              <a:gd name="connsiteX40" fmla="*/ 663575 w 985958"/>
              <a:gd name="connsiteY40" fmla="*/ 781050 h 1091750"/>
              <a:gd name="connsiteX41" fmla="*/ 631825 w 985958"/>
              <a:gd name="connsiteY41" fmla="*/ 838200 h 1091750"/>
              <a:gd name="connsiteX42" fmla="*/ 619125 w 985958"/>
              <a:gd name="connsiteY42" fmla="*/ 857250 h 1091750"/>
              <a:gd name="connsiteX43" fmla="*/ 612775 w 985958"/>
              <a:gd name="connsiteY43" fmla="*/ 876300 h 1091750"/>
              <a:gd name="connsiteX44" fmla="*/ 606425 w 985958"/>
              <a:gd name="connsiteY44" fmla="*/ 933450 h 1091750"/>
              <a:gd name="connsiteX45" fmla="*/ 581025 w 985958"/>
              <a:gd name="connsiteY45" fmla="*/ 971550 h 1091750"/>
              <a:gd name="connsiteX46" fmla="*/ 574675 w 985958"/>
              <a:gd name="connsiteY46" fmla="*/ 990600 h 1091750"/>
              <a:gd name="connsiteX47" fmla="*/ 581025 w 985958"/>
              <a:gd name="connsiteY47" fmla="*/ 1009650 h 1091750"/>
              <a:gd name="connsiteX48" fmla="*/ 536575 w 985958"/>
              <a:gd name="connsiteY48" fmla="*/ 990600 h 1091750"/>
              <a:gd name="connsiteX49" fmla="*/ 473075 w 985958"/>
              <a:gd name="connsiteY49" fmla="*/ 996950 h 1091750"/>
              <a:gd name="connsiteX50" fmla="*/ 466725 w 985958"/>
              <a:gd name="connsiteY50" fmla="*/ 1028700 h 1091750"/>
              <a:gd name="connsiteX51" fmla="*/ 441325 w 985958"/>
              <a:gd name="connsiteY51" fmla="*/ 1066800 h 1091750"/>
              <a:gd name="connsiteX52" fmla="*/ 447675 w 985958"/>
              <a:gd name="connsiteY52" fmla="*/ 1047750 h 1091750"/>
              <a:gd name="connsiteX53" fmla="*/ 441325 w 985958"/>
              <a:gd name="connsiteY53" fmla="*/ 1028700 h 1091750"/>
              <a:gd name="connsiteX54" fmla="*/ 352425 w 985958"/>
              <a:gd name="connsiteY54" fmla="*/ 1016000 h 1091750"/>
              <a:gd name="connsiteX55" fmla="*/ 333375 w 985958"/>
              <a:gd name="connsiteY55" fmla="*/ 1003300 h 1091750"/>
              <a:gd name="connsiteX56" fmla="*/ 295275 w 985958"/>
              <a:gd name="connsiteY56" fmla="*/ 990600 h 1091750"/>
              <a:gd name="connsiteX57" fmla="*/ 263525 w 985958"/>
              <a:gd name="connsiteY57" fmla="*/ 996950 h 1091750"/>
              <a:gd name="connsiteX58" fmla="*/ 257175 w 985958"/>
              <a:gd name="connsiteY58" fmla="*/ 1016000 h 1091750"/>
              <a:gd name="connsiteX59" fmla="*/ 238125 w 985958"/>
              <a:gd name="connsiteY59" fmla="*/ 1022350 h 1091750"/>
              <a:gd name="connsiteX60" fmla="*/ 231775 w 985958"/>
              <a:gd name="connsiteY60" fmla="*/ 1041400 h 1091750"/>
              <a:gd name="connsiteX61" fmla="*/ 168275 w 985958"/>
              <a:gd name="connsiteY61" fmla="*/ 1060450 h 1091750"/>
              <a:gd name="connsiteX62" fmla="*/ 155575 w 985958"/>
              <a:gd name="connsiteY62" fmla="*/ 1041400 h 1091750"/>
              <a:gd name="connsiteX63" fmla="*/ 142875 w 985958"/>
              <a:gd name="connsiteY63" fmla="*/ 927100 h 1091750"/>
              <a:gd name="connsiteX64" fmla="*/ 111125 w 985958"/>
              <a:gd name="connsiteY64" fmla="*/ 895350 h 1091750"/>
              <a:gd name="connsiteX65" fmla="*/ 104775 w 985958"/>
              <a:gd name="connsiteY65" fmla="*/ 876300 h 1091750"/>
              <a:gd name="connsiteX66" fmla="*/ 92075 w 985958"/>
              <a:gd name="connsiteY66" fmla="*/ 857250 h 1091750"/>
              <a:gd name="connsiteX67" fmla="*/ 104775 w 985958"/>
              <a:gd name="connsiteY67" fmla="*/ 787400 h 1091750"/>
              <a:gd name="connsiteX68" fmla="*/ 98425 w 985958"/>
              <a:gd name="connsiteY68" fmla="*/ 749300 h 1091750"/>
              <a:gd name="connsiteX69" fmla="*/ 79375 w 985958"/>
              <a:gd name="connsiteY69" fmla="*/ 742950 h 1091750"/>
              <a:gd name="connsiteX70" fmla="*/ 66675 w 985958"/>
              <a:gd name="connsiteY70" fmla="*/ 723900 h 1091750"/>
              <a:gd name="connsiteX71" fmla="*/ 53975 w 985958"/>
              <a:gd name="connsiteY71" fmla="*/ 685800 h 1091750"/>
              <a:gd name="connsiteX72" fmla="*/ 22225 w 985958"/>
              <a:gd name="connsiteY72" fmla="*/ 628650 h 1091750"/>
              <a:gd name="connsiteX73" fmla="*/ 41275 w 985958"/>
              <a:gd name="connsiteY73" fmla="*/ 615950 h 1091750"/>
              <a:gd name="connsiteX74" fmla="*/ 47625 w 985958"/>
              <a:gd name="connsiteY74" fmla="*/ 596900 h 1091750"/>
              <a:gd name="connsiteX75" fmla="*/ 60325 w 985958"/>
              <a:gd name="connsiteY75" fmla="*/ 501650 h 1091750"/>
              <a:gd name="connsiteX76" fmla="*/ 47625 w 985958"/>
              <a:gd name="connsiteY76" fmla="*/ 463550 h 1091750"/>
              <a:gd name="connsiteX77" fmla="*/ 53975 w 985958"/>
              <a:gd name="connsiteY77" fmla="*/ 431800 h 1091750"/>
              <a:gd name="connsiteX78" fmla="*/ 60325 w 985958"/>
              <a:gd name="connsiteY78" fmla="*/ 393700 h 1091750"/>
              <a:gd name="connsiteX79" fmla="*/ 73025 w 985958"/>
              <a:gd name="connsiteY79" fmla="*/ 374650 h 1091750"/>
              <a:gd name="connsiteX80" fmla="*/ 79375 w 985958"/>
              <a:gd name="connsiteY80" fmla="*/ 330200 h 1091750"/>
              <a:gd name="connsiteX81" fmla="*/ 92075 w 985958"/>
              <a:gd name="connsiteY81" fmla="*/ 203200 h 1091750"/>
              <a:gd name="connsiteX82" fmla="*/ 85725 w 985958"/>
              <a:gd name="connsiteY82" fmla="*/ 165100 h 1091750"/>
              <a:gd name="connsiteX83" fmla="*/ 47625 w 985958"/>
              <a:gd name="connsiteY83" fmla="*/ 127000 h 1091750"/>
              <a:gd name="connsiteX84" fmla="*/ 41275 w 985958"/>
              <a:gd name="connsiteY84" fmla="*/ 107950 h 1091750"/>
              <a:gd name="connsiteX85" fmla="*/ 22225 w 985958"/>
              <a:gd name="connsiteY85" fmla="*/ 82550 h 109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985958" h="1091750">
                <a:moveTo>
                  <a:pt x="22225" y="82550"/>
                </a:moveTo>
                <a:cubicBezTo>
                  <a:pt x="44450" y="78317"/>
                  <a:pt x="135211" y="95688"/>
                  <a:pt x="174625" y="82550"/>
                </a:cubicBezTo>
                <a:cubicBezTo>
                  <a:pt x="181865" y="80137"/>
                  <a:pt x="181929" y="68896"/>
                  <a:pt x="187325" y="63500"/>
                </a:cubicBezTo>
                <a:cubicBezTo>
                  <a:pt x="202419" y="48406"/>
                  <a:pt x="225612" y="44388"/>
                  <a:pt x="244475" y="38100"/>
                </a:cubicBezTo>
                <a:cubicBezTo>
                  <a:pt x="250825" y="35983"/>
                  <a:pt x="256961" y="33063"/>
                  <a:pt x="263525" y="31750"/>
                </a:cubicBezTo>
                <a:cubicBezTo>
                  <a:pt x="274108" y="29633"/>
                  <a:pt x="284804" y="28018"/>
                  <a:pt x="295275" y="25400"/>
                </a:cubicBezTo>
                <a:cubicBezTo>
                  <a:pt x="301769" y="23777"/>
                  <a:pt x="307831" y="20673"/>
                  <a:pt x="314325" y="19050"/>
                </a:cubicBezTo>
                <a:cubicBezTo>
                  <a:pt x="324796" y="16432"/>
                  <a:pt x="335662" y="15540"/>
                  <a:pt x="346075" y="12700"/>
                </a:cubicBezTo>
                <a:cubicBezTo>
                  <a:pt x="358990" y="9178"/>
                  <a:pt x="384175" y="0"/>
                  <a:pt x="384175" y="0"/>
                </a:cubicBezTo>
                <a:cubicBezTo>
                  <a:pt x="405745" y="32354"/>
                  <a:pt x="402144" y="18104"/>
                  <a:pt x="390525" y="76200"/>
                </a:cubicBezTo>
                <a:cubicBezTo>
                  <a:pt x="387900" y="89327"/>
                  <a:pt x="377825" y="114300"/>
                  <a:pt x="377825" y="114300"/>
                </a:cubicBezTo>
                <a:cubicBezTo>
                  <a:pt x="379942" y="127000"/>
                  <a:pt x="380104" y="140186"/>
                  <a:pt x="384175" y="152400"/>
                </a:cubicBezTo>
                <a:cubicBezTo>
                  <a:pt x="387229" y="161562"/>
                  <a:pt x="408690" y="186481"/>
                  <a:pt x="415925" y="190500"/>
                </a:cubicBezTo>
                <a:cubicBezTo>
                  <a:pt x="427627" y="197001"/>
                  <a:pt x="441325" y="198967"/>
                  <a:pt x="454025" y="203200"/>
                </a:cubicBezTo>
                <a:cubicBezTo>
                  <a:pt x="460375" y="205317"/>
                  <a:pt x="467506" y="205837"/>
                  <a:pt x="473075" y="209550"/>
                </a:cubicBezTo>
                <a:cubicBezTo>
                  <a:pt x="485775" y="218017"/>
                  <a:pt x="496695" y="230123"/>
                  <a:pt x="511175" y="234950"/>
                </a:cubicBezTo>
                <a:lnTo>
                  <a:pt x="568325" y="254000"/>
                </a:lnTo>
                <a:cubicBezTo>
                  <a:pt x="574675" y="256117"/>
                  <a:pt x="580881" y="258727"/>
                  <a:pt x="587375" y="260350"/>
                </a:cubicBezTo>
                <a:cubicBezTo>
                  <a:pt x="595842" y="262467"/>
                  <a:pt x="604256" y="264807"/>
                  <a:pt x="612775" y="266700"/>
                </a:cubicBezTo>
                <a:cubicBezTo>
                  <a:pt x="623311" y="269041"/>
                  <a:pt x="634054" y="270432"/>
                  <a:pt x="644525" y="273050"/>
                </a:cubicBezTo>
                <a:cubicBezTo>
                  <a:pt x="676447" y="281030"/>
                  <a:pt x="651585" y="276580"/>
                  <a:pt x="682625" y="292100"/>
                </a:cubicBezTo>
                <a:cubicBezTo>
                  <a:pt x="688612" y="295093"/>
                  <a:pt x="695523" y="295813"/>
                  <a:pt x="701675" y="298450"/>
                </a:cubicBezTo>
                <a:cubicBezTo>
                  <a:pt x="756602" y="321990"/>
                  <a:pt x="701449" y="302608"/>
                  <a:pt x="746125" y="317500"/>
                </a:cubicBezTo>
                <a:cubicBezTo>
                  <a:pt x="750358" y="323850"/>
                  <a:pt x="755725" y="329576"/>
                  <a:pt x="758825" y="336550"/>
                </a:cubicBezTo>
                <a:cubicBezTo>
                  <a:pt x="764262" y="348783"/>
                  <a:pt x="771525" y="374650"/>
                  <a:pt x="771525" y="374650"/>
                </a:cubicBezTo>
                <a:cubicBezTo>
                  <a:pt x="773642" y="419100"/>
                  <a:pt x="770250" y="464158"/>
                  <a:pt x="777875" y="508000"/>
                </a:cubicBezTo>
                <a:cubicBezTo>
                  <a:pt x="779157" y="515369"/>
                  <a:pt x="810153" y="526218"/>
                  <a:pt x="815975" y="527050"/>
                </a:cubicBezTo>
                <a:cubicBezTo>
                  <a:pt x="839119" y="530356"/>
                  <a:pt x="862542" y="531283"/>
                  <a:pt x="885825" y="533400"/>
                </a:cubicBezTo>
                <a:cubicBezTo>
                  <a:pt x="894292" y="535517"/>
                  <a:pt x="903963" y="534909"/>
                  <a:pt x="911225" y="539750"/>
                </a:cubicBezTo>
                <a:cubicBezTo>
                  <a:pt x="931947" y="553565"/>
                  <a:pt x="926207" y="594683"/>
                  <a:pt x="930275" y="609600"/>
                </a:cubicBezTo>
                <a:cubicBezTo>
                  <a:pt x="936020" y="630663"/>
                  <a:pt x="945092" y="629356"/>
                  <a:pt x="962025" y="635000"/>
                </a:cubicBezTo>
                <a:cubicBezTo>
                  <a:pt x="985958" y="706800"/>
                  <a:pt x="961490" y="627509"/>
                  <a:pt x="974725" y="812800"/>
                </a:cubicBezTo>
                <a:cubicBezTo>
                  <a:pt x="975202" y="819476"/>
                  <a:pt x="978958" y="825500"/>
                  <a:pt x="981075" y="831850"/>
                </a:cubicBezTo>
                <a:cubicBezTo>
                  <a:pt x="978958" y="840317"/>
                  <a:pt x="979566" y="849988"/>
                  <a:pt x="974725" y="857250"/>
                </a:cubicBezTo>
                <a:cubicBezTo>
                  <a:pt x="970492" y="863600"/>
                  <a:pt x="963159" y="871447"/>
                  <a:pt x="955675" y="869950"/>
                </a:cubicBezTo>
                <a:cubicBezTo>
                  <a:pt x="945565" y="867928"/>
                  <a:pt x="939860" y="838321"/>
                  <a:pt x="936625" y="831850"/>
                </a:cubicBezTo>
                <a:cubicBezTo>
                  <a:pt x="933212" y="825024"/>
                  <a:pt x="927338" y="819626"/>
                  <a:pt x="923925" y="812800"/>
                </a:cubicBezTo>
                <a:cubicBezTo>
                  <a:pt x="920932" y="806813"/>
                  <a:pt x="923022" y="797641"/>
                  <a:pt x="917575" y="793750"/>
                </a:cubicBezTo>
                <a:cubicBezTo>
                  <a:pt x="906682" y="785969"/>
                  <a:pt x="892175" y="785283"/>
                  <a:pt x="879475" y="781050"/>
                </a:cubicBezTo>
                <a:lnTo>
                  <a:pt x="860425" y="774700"/>
                </a:lnTo>
                <a:cubicBezTo>
                  <a:pt x="794808" y="776817"/>
                  <a:pt x="727951" y="768175"/>
                  <a:pt x="663575" y="781050"/>
                </a:cubicBezTo>
                <a:cubicBezTo>
                  <a:pt x="641329" y="785499"/>
                  <a:pt x="639991" y="821869"/>
                  <a:pt x="631825" y="838200"/>
                </a:cubicBezTo>
                <a:cubicBezTo>
                  <a:pt x="628412" y="845026"/>
                  <a:pt x="622538" y="850424"/>
                  <a:pt x="619125" y="857250"/>
                </a:cubicBezTo>
                <a:cubicBezTo>
                  <a:pt x="616132" y="863237"/>
                  <a:pt x="614892" y="869950"/>
                  <a:pt x="612775" y="876300"/>
                </a:cubicBezTo>
                <a:cubicBezTo>
                  <a:pt x="610658" y="895350"/>
                  <a:pt x="612486" y="915266"/>
                  <a:pt x="606425" y="933450"/>
                </a:cubicBezTo>
                <a:cubicBezTo>
                  <a:pt x="601598" y="947930"/>
                  <a:pt x="585852" y="957070"/>
                  <a:pt x="581025" y="971550"/>
                </a:cubicBezTo>
                <a:lnTo>
                  <a:pt x="574675" y="990600"/>
                </a:lnTo>
                <a:cubicBezTo>
                  <a:pt x="576792" y="996950"/>
                  <a:pt x="586594" y="1005937"/>
                  <a:pt x="581025" y="1009650"/>
                </a:cubicBezTo>
                <a:cubicBezTo>
                  <a:pt x="570774" y="1016484"/>
                  <a:pt x="543165" y="994993"/>
                  <a:pt x="536575" y="990600"/>
                </a:cubicBezTo>
                <a:cubicBezTo>
                  <a:pt x="515408" y="992717"/>
                  <a:pt x="491750" y="986764"/>
                  <a:pt x="473075" y="996950"/>
                </a:cubicBezTo>
                <a:cubicBezTo>
                  <a:pt x="463600" y="1002118"/>
                  <a:pt x="471191" y="1018874"/>
                  <a:pt x="466725" y="1028700"/>
                </a:cubicBezTo>
                <a:cubicBezTo>
                  <a:pt x="460409" y="1042595"/>
                  <a:pt x="436498" y="1081280"/>
                  <a:pt x="441325" y="1066800"/>
                </a:cubicBezTo>
                <a:lnTo>
                  <a:pt x="447675" y="1047750"/>
                </a:lnTo>
                <a:cubicBezTo>
                  <a:pt x="445558" y="1041400"/>
                  <a:pt x="447675" y="1030817"/>
                  <a:pt x="441325" y="1028700"/>
                </a:cubicBezTo>
                <a:cubicBezTo>
                  <a:pt x="397522" y="1014099"/>
                  <a:pt x="384289" y="1031932"/>
                  <a:pt x="352425" y="1016000"/>
                </a:cubicBezTo>
                <a:cubicBezTo>
                  <a:pt x="345599" y="1012587"/>
                  <a:pt x="340349" y="1006400"/>
                  <a:pt x="333375" y="1003300"/>
                </a:cubicBezTo>
                <a:cubicBezTo>
                  <a:pt x="321142" y="997863"/>
                  <a:pt x="295275" y="990600"/>
                  <a:pt x="295275" y="990600"/>
                </a:cubicBezTo>
                <a:cubicBezTo>
                  <a:pt x="284692" y="992717"/>
                  <a:pt x="272505" y="990963"/>
                  <a:pt x="263525" y="996950"/>
                </a:cubicBezTo>
                <a:cubicBezTo>
                  <a:pt x="257956" y="1000663"/>
                  <a:pt x="261908" y="1011267"/>
                  <a:pt x="257175" y="1016000"/>
                </a:cubicBezTo>
                <a:cubicBezTo>
                  <a:pt x="252442" y="1020733"/>
                  <a:pt x="244475" y="1020233"/>
                  <a:pt x="238125" y="1022350"/>
                </a:cubicBezTo>
                <a:cubicBezTo>
                  <a:pt x="236008" y="1028700"/>
                  <a:pt x="233398" y="1034906"/>
                  <a:pt x="231775" y="1041400"/>
                </a:cubicBezTo>
                <a:cubicBezTo>
                  <a:pt x="219187" y="1091750"/>
                  <a:pt x="240319" y="1076460"/>
                  <a:pt x="168275" y="1060450"/>
                </a:cubicBezTo>
                <a:cubicBezTo>
                  <a:pt x="164042" y="1054100"/>
                  <a:pt x="156901" y="1048916"/>
                  <a:pt x="155575" y="1041400"/>
                </a:cubicBezTo>
                <a:cubicBezTo>
                  <a:pt x="154246" y="1033870"/>
                  <a:pt x="154773" y="954862"/>
                  <a:pt x="142875" y="927100"/>
                </a:cubicBezTo>
                <a:cubicBezTo>
                  <a:pt x="134408" y="907344"/>
                  <a:pt x="128058" y="906639"/>
                  <a:pt x="111125" y="895350"/>
                </a:cubicBezTo>
                <a:cubicBezTo>
                  <a:pt x="109008" y="889000"/>
                  <a:pt x="107768" y="882287"/>
                  <a:pt x="104775" y="876300"/>
                </a:cubicBezTo>
                <a:cubicBezTo>
                  <a:pt x="101362" y="869474"/>
                  <a:pt x="92834" y="864844"/>
                  <a:pt x="92075" y="857250"/>
                </a:cubicBezTo>
                <a:cubicBezTo>
                  <a:pt x="90450" y="840998"/>
                  <a:pt x="100165" y="805840"/>
                  <a:pt x="104775" y="787400"/>
                </a:cubicBezTo>
                <a:cubicBezTo>
                  <a:pt x="102658" y="774700"/>
                  <a:pt x="104813" y="760479"/>
                  <a:pt x="98425" y="749300"/>
                </a:cubicBezTo>
                <a:cubicBezTo>
                  <a:pt x="95104" y="743488"/>
                  <a:pt x="84602" y="747131"/>
                  <a:pt x="79375" y="742950"/>
                </a:cubicBezTo>
                <a:cubicBezTo>
                  <a:pt x="73416" y="738182"/>
                  <a:pt x="69775" y="730874"/>
                  <a:pt x="66675" y="723900"/>
                </a:cubicBezTo>
                <a:cubicBezTo>
                  <a:pt x="61238" y="711667"/>
                  <a:pt x="61401" y="696939"/>
                  <a:pt x="53975" y="685800"/>
                </a:cubicBezTo>
                <a:cubicBezTo>
                  <a:pt x="24862" y="642131"/>
                  <a:pt x="33402" y="662180"/>
                  <a:pt x="22225" y="628650"/>
                </a:cubicBezTo>
                <a:cubicBezTo>
                  <a:pt x="28575" y="624417"/>
                  <a:pt x="36507" y="621909"/>
                  <a:pt x="41275" y="615950"/>
                </a:cubicBezTo>
                <a:cubicBezTo>
                  <a:pt x="45456" y="610723"/>
                  <a:pt x="46678" y="603526"/>
                  <a:pt x="47625" y="596900"/>
                </a:cubicBezTo>
                <a:cubicBezTo>
                  <a:pt x="64285" y="480278"/>
                  <a:pt x="44751" y="563946"/>
                  <a:pt x="60325" y="501650"/>
                </a:cubicBezTo>
                <a:cubicBezTo>
                  <a:pt x="56092" y="488950"/>
                  <a:pt x="45000" y="476677"/>
                  <a:pt x="47625" y="463550"/>
                </a:cubicBezTo>
                <a:cubicBezTo>
                  <a:pt x="49742" y="452967"/>
                  <a:pt x="52044" y="442419"/>
                  <a:pt x="53975" y="431800"/>
                </a:cubicBezTo>
                <a:cubicBezTo>
                  <a:pt x="56278" y="419132"/>
                  <a:pt x="56254" y="405914"/>
                  <a:pt x="60325" y="393700"/>
                </a:cubicBezTo>
                <a:cubicBezTo>
                  <a:pt x="62738" y="386460"/>
                  <a:pt x="68792" y="381000"/>
                  <a:pt x="73025" y="374650"/>
                </a:cubicBezTo>
                <a:cubicBezTo>
                  <a:pt x="55108" y="302982"/>
                  <a:pt x="70330" y="390497"/>
                  <a:pt x="79375" y="330200"/>
                </a:cubicBezTo>
                <a:cubicBezTo>
                  <a:pt x="105121" y="158559"/>
                  <a:pt x="70798" y="267032"/>
                  <a:pt x="92075" y="203200"/>
                </a:cubicBezTo>
                <a:cubicBezTo>
                  <a:pt x="89958" y="190500"/>
                  <a:pt x="92212" y="176221"/>
                  <a:pt x="85725" y="165100"/>
                </a:cubicBezTo>
                <a:cubicBezTo>
                  <a:pt x="76675" y="149586"/>
                  <a:pt x="47625" y="127000"/>
                  <a:pt x="47625" y="127000"/>
                </a:cubicBezTo>
                <a:cubicBezTo>
                  <a:pt x="45508" y="120650"/>
                  <a:pt x="44268" y="113937"/>
                  <a:pt x="41275" y="107950"/>
                </a:cubicBezTo>
                <a:cubicBezTo>
                  <a:pt x="27401" y="80202"/>
                  <a:pt x="0" y="86783"/>
                  <a:pt x="22225" y="82550"/>
                </a:cubicBezTo>
                <a:close/>
              </a:path>
            </a:pathLst>
          </a:custGeom>
          <a:solidFill>
            <a:srgbClr val="7030A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3429000" y="2381255"/>
            <a:ext cx="927100" cy="289983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6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బొలీవియా</a:t>
            </a:r>
            <a:endParaRPr lang="en-IN" sz="1600" dirty="0">
              <a:solidFill>
                <a:srgbClr val="FFFF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2565405" y="1314453"/>
            <a:ext cx="1008063" cy="1479549"/>
          </a:xfrm>
          <a:custGeom>
            <a:avLst/>
            <a:gdLst>
              <a:gd name="connsiteX0" fmla="*/ 69850 w 1008336"/>
              <a:gd name="connsiteY0" fmla="*/ 285750 h 1479550"/>
              <a:gd name="connsiteX1" fmla="*/ 69850 w 1008336"/>
              <a:gd name="connsiteY1" fmla="*/ 349250 h 1479550"/>
              <a:gd name="connsiteX2" fmla="*/ 63500 w 1008336"/>
              <a:gd name="connsiteY2" fmla="*/ 368300 h 1479550"/>
              <a:gd name="connsiteX3" fmla="*/ 82550 w 1008336"/>
              <a:gd name="connsiteY3" fmla="*/ 361950 h 1479550"/>
              <a:gd name="connsiteX4" fmla="*/ 127000 w 1008336"/>
              <a:gd name="connsiteY4" fmla="*/ 368300 h 1479550"/>
              <a:gd name="connsiteX5" fmla="*/ 139700 w 1008336"/>
              <a:gd name="connsiteY5" fmla="*/ 387350 h 1479550"/>
              <a:gd name="connsiteX6" fmla="*/ 177800 w 1008336"/>
              <a:gd name="connsiteY6" fmla="*/ 400050 h 1479550"/>
              <a:gd name="connsiteX7" fmla="*/ 203200 w 1008336"/>
              <a:gd name="connsiteY7" fmla="*/ 330200 h 1479550"/>
              <a:gd name="connsiteX8" fmla="*/ 222250 w 1008336"/>
              <a:gd name="connsiteY8" fmla="*/ 317500 h 1479550"/>
              <a:gd name="connsiteX9" fmla="*/ 234950 w 1008336"/>
              <a:gd name="connsiteY9" fmla="*/ 298450 h 1479550"/>
              <a:gd name="connsiteX10" fmla="*/ 247650 w 1008336"/>
              <a:gd name="connsiteY10" fmla="*/ 260350 h 1479550"/>
              <a:gd name="connsiteX11" fmla="*/ 266700 w 1008336"/>
              <a:gd name="connsiteY11" fmla="*/ 254000 h 1479550"/>
              <a:gd name="connsiteX12" fmla="*/ 304800 w 1008336"/>
              <a:gd name="connsiteY12" fmla="*/ 228600 h 1479550"/>
              <a:gd name="connsiteX13" fmla="*/ 400050 w 1008336"/>
              <a:gd name="connsiteY13" fmla="*/ 215900 h 1479550"/>
              <a:gd name="connsiteX14" fmla="*/ 412750 w 1008336"/>
              <a:gd name="connsiteY14" fmla="*/ 196850 h 1479550"/>
              <a:gd name="connsiteX15" fmla="*/ 419100 w 1008336"/>
              <a:gd name="connsiteY15" fmla="*/ 177800 h 1479550"/>
              <a:gd name="connsiteX16" fmla="*/ 444500 w 1008336"/>
              <a:gd name="connsiteY16" fmla="*/ 139700 h 1479550"/>
              <a:gd name="connsiteX17" fmla="*/ 457200 w 1008336"/>
              <a:gd name="connsiteY17" fmla="*/ 120650 h 1479550"/>
              <a:gd name="connsiteX18" fmla="*/ 476250 w 1008336"/>
              <a:gd name="connsiteY18" fmla="*/ 107950 h 1479550"/>
              <a:gd name="connsiteX19" fmla="*/ 482600 w 1008336"/>
              <a:gd name="connsiteY19" fmla="*/ 50800 h 1479550"/>
              <a:gd name="connsiteX20" fmla="*/ 495300 w 1008336"/>
              <a:gd name="connsiteY20" fmla="*/ 0 h 1479550"/>
              <a:gd name="connsiteX21" fmla="*/ 514350 w 1008336"/>
              <a:gd name="connsiteY21" fmla="*/ 6350 h 1479550"/>
              <a:gd name="connsiteX22" fmla="*/ 552450 w 1008336"/>
              <a:gd name="connsiteY22" fmla="*/ 31750 h 1479550"/>
              <a:gd name="connsiteX23" fmla="*/ 565150 w 1008336"/>
              <a:gd name="connsiteY23" fmla="*/ 50800 h 1479550"/>
              <a:gd name="connsiteX24" fmla="*/ 596900 w 1008336"/>
              <a:gd name="connsiteY24" fmla="*/ 107950 h 1479550"/>
              <a:gd name="connsiteX25" fmla="*/ 615950 w 1008336"/>
              <a:gd name="connsiteY25" fmla="*/ 120650 h 1479550"/>
              <a:gd name="connsiteX26" fmla="*/ 628650 w 1008336"/>
              <a:gd name="connsiteY26" fmla="*/ 139700 h 1479550"/>
              <a:gd name="connsiteX27" fmla="*/ 654050 w 1008336"/>
              <a:gd name="connsiteY27" fmla="*/ 196850 h 1479550"/>
              <a:gd name="connsiteX28" fmla="*/ 673100 w 1008336"/>
              <a:gd name="connsiteY28" fmla="*/ 203200 h 1479550"/>
              <a:gd name="connsiteX29" fmla="*/ 742950 w 1008336"/>
              <a:gd name="connsiteY29" fmla="*/ 190500 h 1479550"/>
              <a:gd name="connsiteX30" fmla="*/ 762000 w 1008336"/>
              <a:gd name="connsiteY30" fmla="*/ 184150 h 1479550"/>
              <a:gd name="connsiteX31" fmla="*/ 825500 w 1008336"/>
              <a:gd name="connsiteY31" fmla="*/ 190500 h 1479550"/>
              <a:gd name="connsiteX32" fmla="*/ 882650 w 1008336"/>
              <a:gd name="connsiteY32" fmla="*/ 215900 h 1479550"/>
              <a:gd name="connsiteX33" fmla="*/ 869950 w 1008336"/>
              <a:gd name="connsiteY33" fmla="*/ 273050 h 1479550"/>
              <a:gd name="connsiteX34" fmla="*/ 850900 w 1008336"/>
              <a:gd name="connsiteY34" fmla="*/ 285750 h 1479550"/>
              <a:gd name="connsiteX35" fmla="*/ 876300 w 1008336"/>
              <a:gd name="connsiteY35" fmla="*/ 311150 h 1479550"/>
              <a:gd name="connsiteX36" fmla="*/ 889000 w 1008336"/>
              <a:gd name="connsiteY36" fmla="*/ 330200 h 1479550"/>
              <a:gd name="connsiteX37" fmla="*/ 850900 w 1008336"/>
              <a:gd name="connsiteY37" fmla="*/ 355600 h 1479550"/>
              <a:gd name="connsiteX38" fmla="*/ 812800 w 1008336"/>
              <a:gd name="connsiteY38" fmla="*/ 368300 h 1479550"/>
              <a:gd name="connsiteX39" fmla="*/ 742950 w 1008336"/>
              <a:gd name="connsiteY39" fmla="*/ 387350 h 1479550"/>
              <a:gd name="connsiteX40" fmla="*/ 723900 w 1008336"/>
              <a:gd name="connsiteY40" fmla="*/ 393700 h 1479550"/>
              <a:gd name="connsiteX41" fmla="*/ 704850 w 1008336"/>
              <a:gd name="connsiteY41" fmla="*/ 406400 h 1479550"/>
              <a:gd name="connsiteX42" fmla="*/ 685800 w 1008336"/>
              <a:gd name="connsiteY42" fmla="*/ 444500 h 1479550"/>
              <a:gd name="connsiteX43" fmla="*/ 666750 w 1008336"/>
              <a:gd name="connsiteY43" fmla="*/ 457200 h 1479550"/>
              <a:gd name="connsiteX44" fmla="*/ 660400 w 1008336"/>
              <a:gd name="connsiteY44" fmla="*/ 476250 h 1479550"/>
              <a:gd name="connsiteX45" fmla="*/ 654050 w 1008336"/>
              <a:gd name="connsiteY45" fmla="*/ 501650 h 1479550"/>
              <a:gd name="connsiteX46" fmla="*/ 615950 w 1008336"/>
              <a:gd name="connsiteY46" fmla="*/ 527050 h 1479550"/>
              <a:gd name="connsiteX47" fmla="*/ 615950 w 1008336"/>
              <a:gd name="connsiteY47" fmla="*/ 628650 h 1479550"/>
              <a:gd name="connsiteX48" fmla="*/ 635000 w 1008336"/>
              <a:gd name="connsiteY48" fmla="*/ 666750 h 1479550"/>
              <a:gd name="connsiteX49" fmla="*/ 654050 w 1008336"/>
              <a:gd name="connsiteY49" fmla="*/ 679450 h 1479550"/>
              <a:gd name="connsiteX50" fmla="*/ 673100 w 1008336"/>
              <a:gd name="connsiteY50" fmla="*/ 717550 h 1479550"/>
              <a:gd name="connsiteX51" fmla="*/ 666750 w 1008336"/>
              <a:gd name="connsiteY51" fmla="*/ 736600 h 1479550"/>
              <a:gd name="connsiteX52" fmla="*/ 711200 w 1008336"/>
              <a:gd name="connsiteY52" fmla="*/ 762000 h 1479550"/>
              <a:gd name="connsiteX53" fmla="*/ 730250 w 1008336"/>
              <a:gd name="connsiteY53" fmla="*/ 774700 h 1479550"/>
              <a:gd name="connsiteX54" fmla="*/ 749300 w 1008336"/>
              <a:gd name="connsiteY54" fmla="*/ 781050 h 1479550"/>
              <a:gd name="connsiteX55" fmla="*/ 781050 w 1008336"/>
              <a:gd name="connsiteY55" fmla="*/ 774700 h 1479550"/>
              <a:gd name="connsiteX56" fmla="*/ 812800 w 1008336"/>
              <a:gd name="connsiteY56" fmla="*/ 742950 h 1479550"/>
              <a:gd name="connsiteX57" fmla="*/ 831850 w 1008336"/>
              <a:gd name="connsiteY57" fmla="*/ 736600 h 1479550"/>
              <a:gd name="connsiteX58" fmla="*/ 857250 w 1008336"/>
              <a:gd name="connsiteY58" fmla="*/ 793750 h 1479550"/>
              <a:gd name="connsiteX59" fmla="*/ 863600 w 1008336"/>
              <a:gd name="connsiteY59" fmla="*/ 812800 h 1479550"/>
              <a:gd name="connsiteX60" fmla="*/ 869950 w 1008336"/>
              <a:gd name="connsiteY60" fmla="*/ 876300 h 1479550"/>
              <a:gd name="connsiteX61" fmla="*/ 946150 w 1008336"/>
              <a:gd name="connsiteY61" fmla="*/ 882650 h 1479550"/>
              <a:gd name="connsiteX62" fmla="*/ 952500 w 1008336"/>
              <a:gd name="connsiteY62" fmla="*/ 952500 h 1479550"/>
              <a:gd name="connsiteX63" fmla="*/ 958850 w 1008336"/>
              <a:gd name="connsiteY63" fmla="*/ 971550 h 1479550"/>
              <a:gd name="connsiteX64" fmla="*/ 984250 w 1008336"/>
              <a:gd name="connsiteY64" fmla="*/ 1009650 h 1479550"/>
              <a:gd name="connsiteX65" fmla="*/ 971550 w 1008336"/>
              <a:gd name="connsiteY65" fmla="*/ 1047750 h 1479550"/>
              <a:gd name="connsiteX66" fmla="*/ 965200 w 1008336"/>
              <a:gd name="connsiteY66" fmla="*/ 1066800 h 1479550"/>
              <a:gd name="connsiteX67" fmla="*/ 971550 w 1008336"/>
              <a:gd name="connsiteY67" fmla="*/ 1098550 h 1479550"/>
              <a:gd name="connsiteX68" fmla="*/ 971550 w 1008336"/>
              <a:gd name="connsiteY68" fmla="*/ 1123950 h 1479550"/>
              <a:gd name="connsiteX69" fmla="*/ 958850 w 1008336"/>
              <a:gd name="connsiteY69" fmla="*/ 1149350 h 1479550"/>
              <a:gd name="connsiteX70" fmla="*/ 952500 w 1008336"/>
              <a:gd name="connsiteY70" fmla="*/ 1212850 h 1479550"/>
              <a:gd name="connsiteX71" fmla="*/ 965200 w 1008336"/>
              <a:gd name="connsiteY71" fmla="*/ 1320800 h 1479550"/>
              <a:gd name="connsiteX72" fmla="*/ 958850 w 1008336"/>
              <a:gd name="connsiteY72" fmla="*/ 1339850 h 1479550"/>
              <a:gd name="connsiteX73" fmla="*/ 952500 w 1008336"/>
              <a:gd name="connsiteY73" fmla="*/ 1365250 h 1479550"/>
              <a:gd name="connsiteX74" fmla="*/ 933450 w 1008336"/>
              <a:gd name="connsiteY74" fmla="*/ 1377950 h 1479550"/>
              <a:gd name="connsiteX75" fmla="*/ 914400 w 1008336"/>
              <a:gd name="connsiteY75" fmla="*/ 1416050 h 1479550"/>
              <a:gd name="connsiteX76" fmla="*/ 908050 w 1008336"/>
              <a:gd name="connsiteY76" fmla="*/ 1441450 h 1479550"/>
              <a:gd name="connsiteX77" fmla="*/ 869950 w 1008336"/>
              <a:gd name="connsiteY77" fmla="*/ 1466850 h 1479550"/>
              <a:gd name="connsiteX78" fmla="*/ 850900 w 1008336"/>
              <a:gd name="connsiteY78" fmla="*/ 1479550 h 1479550"/>
              <a:gd name="connsiteX79" fmla="*/ 800100 w 1008336"/>
              <a:gd name="connsiteY79" fmla="*/ 1473200 h 1479550"/>
              <a:gd name="connsiteX80" fmla="*/ 787400 w 1008336"/>
              <a:gd name="connsiteY80" fmla="*/ 1454150 h 1479550"/>
              <a:gd name="connsiteX81" fmla="*/ 781050 w 1008336"/>
              <a:gd name="connsiteY81" fmla="*/ 1397000 h 1479550"/>
              <a:gd name="connsiteX82" fmla="*/ 742950 w 1008336"/>
              <a:gd name="connsiteY82" fmla="*/ 1384300 h 1479550"/>
              <a:gd name="connsiteX83" fmla="*/ 704850 w 1008336"/>
              <a:gd name="connsiteY83" fmla="*/ 1365250 h 1479550"/>
              <a:gd name="connsiteX84" fmla="*/ 692150 w 1008336"/>
              <a:gd name="connsiteY84" fmla="*/ 1339850 h 1479550"/>
              <a:gd name="connsiteX85" fmla="*/ 673100 w 1008336"/>
              <a:gd name="connsiteY85" fmla="*/ 1301750 h 1479550"/>
              <a:gd name="connsiteX86" fmla="*/ 654050 w 1008336"/>
              <a:gd name="connsiteY86" fmla="*/ 1295400 h 1479550"/>
              <a:gd name="connsiteX87" fmla="*/ 609600 w 1008336"/>
              <a:gd name="connsiteY87" fmla="*/ 1289050 h 1479550"/>
              <a:gd name="connsiteX88" fmla="*/ 584200 w 1008336"/>
              <a:gd name="connsiteY88" fmla="*/ 1250950 h 1479550"/>
              <a:gd name="connsiteX89" fmla="*/ 558800 w 1008336"/>
              <a:gd name="connsiteY89" fmla="*/ 1244600 h 1479550"/>
              <a:gd name="connsiteX90" fmla="*/ 539750 w 1008336"/>
              <a:gd name="connsiteY90" fmla="*/ 1238250 h 1479550"/>
              <a:gd name="connsiteX91" fmla="*/ 469900 w 1008336"/>
              <a:gd name="connsiteY91" fmla="*/ 1231900 h 1479550"/>
              <a:gd name="connsiteX92" fmla="*/ 444500 w 1008336"/>
              <a:gd name="connsiteY92" fmla="*/ 1193800 h 1479550"/>
              <a:gd name="connsiteX93" fmla="*/ 431800 w 1008336"/>
              <a:gd name="connsiteY93" fmla="*/ 1174750 h 1479550"/>
              <a:gd name="connsiteX94" fmla="*/ 425450 w 1008336"/>
              <a:gd name="connsiteY94" fmla="*/ 1155700 h 1479550"/>
              <a:gd name="connsiteX95" fmla="*/ 387350 w 1008336"/>
              <a:gd name="connsiteY95" fmla="*/ 1130300 h 1479550"/>
              <a:gd name="connsiteX96" fmla="*/ 381000 w 1008336"/>
              <a:gd name="connsiteY96" fmla="*/ 1041400 h 1479550"/>
              <a:gd name="connsiteX97" fmla="*/ 368300 w 1008336"/>
              <a:gd name="connsiteY97" fmla="*/ 1003300 h 1479550"/>
              <a:gd name="connsiteX98" fmla="*/ 361950 w 1008336"/>
              <a:gd name="connsiteY98" fmla="*/ 984250 h 1479550"/>
              <a:gd name="connsiteX99" fmla="*/ 355600 w 1008336"/>
              <a:gd name="connsiteY99" fmla="*/ 965200 h 1479550"/>
              <a:gd name="connsiteX100" fmla="*/ 330200 w 1008336"/>
              <a:gd name="connsiteY100" fmla="*/ 927100 h 1479550"/>
              <a:gd name="connsiteX101" fmla="*/ 311150 w 1008336"/>
              <a:gd name="connsiteY101" fmla="*/ 882650 h 1479550"/>
              <a:gd name="connsiteX102" fmla="*/ 266700 w 1008336"/>
              <a:gd name="connsiteY102" fmla="*/ 825500 h 1479550"/>
              <a:gd name="connsiteX103" fmla="*/ 247650 w 1008336"/>
              <a:gd name="connsiteY103" fmla="*/ 787400 h 1479550"/>
              <a:gd name="connsiteX104" fmla="*/ 228600 w 1008336"/>
              <a:gd name="connsiteY104" fmla="*/ 730250 h 1479550"/>
              <a:gd name="connsiteX105" fmla="*/ 222250 w 1008336"/>
              <a:gd name="connsiteY105" fmla="*/ 711200 h 1479550"/>
              <a:gd name="connsiteX106" fmla="*/ 209550 w 1008336"/>
              <a:gd name="connsiteY106" fmla="*/ 692150 h 1479550"/>
              <a:gd name="connsiteX107" fmla="*/ 203200 w 1008336"/>
              <a:gd name="connsiteY107" fmla="*/ 673100 h 1479550"/>
              <a:gd name="connsiteX108" fmla="*/ 177800 w 1008336"/>
              <a:gd name="connsiteY108" fmla="*/ 635000 h 1479550"/>
              <a:gd name="connsiteX109" fmla="*/ 146050 w 1008336"/>
              <a:gd name="connsiteY109" fmla="*/ 590550 h 1479550"/>
              <a:gd name="connsiteX110" fmla="*/ 127000 w 1008336"/>
              <a:gd name="connsiteY110" fmla="*/ 571500 h 1479550"/>
              <a:gd name="connsiteX111" fmla="*/ 101600 w 1008336"/>
              <a:gd name="connsiteY111" fmla="*/ 546100 h 1479550"/>
              <a:gd name="connsiteX112" fmla="*/ 63500 w 1008336"/>
              <a:gd name="connsiteY112" fmla="*/ 514350 h 1479550"/>
              <a:gd name="connsiteX113" fmla="*/ 25400 w 1008336"/>
              <a:gd name="connsiteY113" fmla="*/ 501650 h 1479550"/>
              <a:gd name="connsiteX114" fmla="*/ 19050 w 1008336"/>
              <a:gd name="connsiteY114" fmla="*/ 482600 h 1479550"/>
              <a:gd name="connsiteX115" fmla="*/ 31750 w 1008336"/>
              <a:gd name="connsiteY115" fmla="*/ 444500 h 1479550"/>
              <a:gd name="connsiteX116" fmla="*/ 12700 w 1008336"/>
              <a:gd name="connsiteY116" fmla="*/ 381000 h 1479550"/>
              <a:gd name="connsiteX117" fmla="*/ 0 w 1008336"/>
              <a:gd name="connsiteY117" fmla="*/ 342900 h 1479550"/>
              <a:gd name="connsiteX118" fmla="*/ 31750 w 1008336"/>
              <a:gd name="connsiteY118" fmla="*/ 317500 h 1479550"/>
              <a:gd name="connsiteX119" fmla="*/ 69850 w 1008336"/>
              <a:gd name="connsiteY119" fmla="*/ 298450 h 1479550"/>
              <a:gd name="connsiteX120" fmla="*/ 69850 w 1008336"/>
              <a:gd name="connsiteY120" fmla="*/ 285750 h 14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</a:cxnLst>
            <a:rect l="l" t="t" r="r" b="b"/>
            <a:pathLst>
              <a:path w="1008336" h="1479550">
                <a:moveTo>
                  <a:pt x="69850" y="285750"/>
                </a:moveTo>
                <a:cubicBezTo>
                  <a:pt x="69850" y="294217"/>
                  <a:pt x="79257" y="311620"/>
                  <a:pt x="69850" y="349250"/>
                </a:cubicBezTo>
                <a:cubicBezTo>
                  <a:pt x="68227" y="355744"/>
                  <a:pt x="58767" y="363567"/>
                  <a:pt x="63500" y="368300"/>
                </a:cubicBezTo>
                <a:cubicBezTo>
                  <a:pt x="68233" y="373033"/>
                  <a:pt x="76200" y="364067"/>
                  <a:pt x="82550" y="361950"/>
                </a:cubicBezTo>
                <a:cubicBezTo>
                  <a:pt x="97367" y="364067"/>
                  <a:pt x="113323" y="362221"/>
                  <a:pt x="127000" y="368300"/>
                </a:cubicBezTo>
                <a:cubicBezTo>
                  <a:pt x="133974" y="371400"/>
                  <a:pt x="133228" y="383305"/>
                  <a:pt x="139700" y="387350"/>
                </a:cubicBezTo>
                <a:cubicBezTo>
                  <a:pt x="151052" y="394445"/>
                  <a:pt x="177800" y="400050"/>
                  <a:pt x="177800" y="400050"/>
                </a:cubicBezTo>
                <a:cubicBezTo>
                  <a:pt x="222826" y="385041"/>
                  <a:pt x="177767" y="406499"/>
                  <a:pt x="203200" y="330200"/>
                </a:cubicBezTo>
                <a:cubicBezTo>
                  <a:pt x="205613" y="322960"/>
                  <a:pt x="215900" y="321733"/>
                  <a:pt x="222250" y="317500"/>
                </a:cubicBezTo>
                <a:cubicBezTo>
                  <a:pt x="226483" y="311150"/>
                  <a:pt x="231850" y="305424"/>
                  <a:pt x="234950" y="298450"/>
                </a:cubicBezTo>
                <a:cubicBezTo>
                  <a:pt x="240387" y="286217"/>
                  <a:pt x="234950" y="264583"/>
                  <a:pt x="247650" y="260350"/>
                </a:cubicBezTo>
                <a:cubicBezTo>
                  <a:pt x="254000" y="258233"/>
                  <a:pt x="260849" y="257251"/>
                  <a:pt x="266700" y="254000"/>
                </a:cubicBezTo>
                <a:cubicBezTo>
                  <a:pt x="280043" y="246587"/>
                  <a:pt x="289833" y="231593"/>
                  <a:pt x="304800" y="228600"/>
                </a:cubicBezTo>
                <a:cubicBezTo>
                  <a:pt x="357409" y="218078"/>
                  <a:pt x="325811" y="223324"/>
                  <a:pt x="400050" y="215900"/>
                </a:cubicBezTo>
                <a:cubicBezTo>
                  <a:pt x="404283" y="209550"/>
                  <a:pt x="409337" y="203676"/>
                  <a:pt x="412750" y="196850"/>
                </a:cubicBezTo>
                <a:cubicBezTo>
                  <a:pt x="415743" y="190863"/>
                  <a:pt x="415849" y="183651"/>
                  <a:pt x="419100" y="177800"/>
                </a:cubicBezTo>
                <a:cubicBezTo>
                  <a:pt x="426513" y="164457"/>
                  <a:pt x="436033" y="152400"/>
                  <a:pt x="444500" y="139700"/>
                </a:cubicBezTo>
                <a:cubicBezTo>
                  <a:pt x="448733" y="133350"/>
                  <a:pt x="450850" y="124883"/>
                  <a:pt x="457200" y="120650"/>
                </a:cubicBezTo>
                <a:lnTo>
                  <a:pt x="476250" y="107950"/>
                </a:lnTo>
                <a:cubicBezTo>
                  <a:pt x="491067" y="63500"/>
                  <a:pt x="493183" y="82550"/>
                  <a:pt x="482600" y="50800"/>
                </a:cubicBezTo>
                <a:cubicBezTo>
                  <a:pt x="478844" y="24506"/>
                  <a:pt x="460468" y="0"/>
                  <a:pt x="495300" y="0"/>
                </a:cubicBezTo>
                <a:cubicBezTo>
                  <a:pt x="501993" y="0"/>
                  <a:pt x="508499" y="3099"/>
                  <a:pt x="514350" y="6350"/>
                </a:cubicBezTo>
                <a:cubicBezTo>
                  <a:pt x="527693" y="13763"/>
                  <a:pt x="552450" y="31750"/>
                  <a:pt x="552450" y="31750"/>
                </a:cubicBezTo>
                <a:cubicBezTo>
                  <a:pt x="556683" y="38100"/>
                  <a:pt x="561737" y="43974"/>
                  <a:pt x="565150" y="50800"/>
                </a:cubicBezTo>
                <a:cubicBezTo>
                  <a:pt x="576730" y="73960"/>
                  <a:pt x="566867" y="87928"/>
                  <a:pt x="596900" y="107950"/>
                </a:cubicBezTo>
                <a:lnTo>
                  <a:pt x="615950" y="120650"/>
                </a:lnTo>
                <a:cubicBezTo>
                  <a:pt x="620183" y="127000"/>
                  <a:pt x="625550" y="132726"/>
                  <a:pt x="628650" y="139700"/>
                </a:cubicBezTo>
                <a:cubicBezTo>
                  <a:pt x="634538" y="152948"/>
                  <a:pt x="639184" y="184957"/>
                  <a:pt x="654050" y="196850"/>
                </a:cubicBezTo>
                <a:cubicBezTo>
                  <a:pt x="659277" y="201031"/>
                  <a:pt x="666750" y="201083"/>
                  <a:pt x="673100" y="203200"/>
                </a:cubicBezTo>
                <a:cubicBezTo>
                  <a:pt x="696383" y="198967"/>
                  <a:pt x="719810" y="195459"/>
                  <a:pt x="742950" y="190500"/>
                </a:cubicBezTo>
                <a:cubicBezTo>
                  <a:pt x="749495" y="189098"/>
                  <a:pt x="755307" y="184150"/>
                  <a:pt x="762000" y="184150"/>
                </a:cubicBezTo>
                <a:cubicBezTo>
                  <a:pt x="783272" y="184150"/>
                  <a:pt x="804333" y="188383"/>
                  <a:pt x="825500" y="190500"/>
                </a:cubicBezTo>
                <a:cubicBezTo>
                  <a:pt x="870840" y="205613"/>
                  <a:pt x="852461" y="195774"/>
                  <a:pt x="882650" y="215900"/>
                </a:cubicBezTo>
                <a:cubicBezTo>
                  <a:pt x="882585" y="216290"/>
                  <a:pt x="876532" y="264823"/>
                  <a:pt x="869950" y="273050"/>
                </a:cubicBezTo>
                <a:cubicBezTo>
                  <a:pt x="865182" y="279009"/>
                  <a:pt x="857250" y="281517"/>
                  <a:pt x="850900" y="285750"/>
                </a:cubicBezTo>
                <a:cubicBezTo>
                  <a:pt x="864755" y="327314"/>
                  <a:pt x="845512" y="286520"/>
                  <a:pt x="876300" y="311150"/>
                </a:cubicBezTo>
                <a:cubicBezTo>
                  <a:pt x="882259" y="315918"/>
                  <a:pt x="884767" y="323850"/>
                  <a:pt x="889000" y="330200"/>
                </a:cubicBezTo>
                <a:cubicBezTo>
                  <a:pt x="878603" y="361390"/>
                  <a:pt x="890235" y="344872"/>
                  <a:pt x="850900" y="355600"/>
                </a:cubicBezTo>
                <a:cubicBezTo>
                  <a:pt x="837985" y="359122"/>
                  <a:pt x="825927" y="365675"/>
                  <a:pt x="812800" y="368300"/>
                </a:cubicBezTo>
                <a:cubicBezTo>
                  <a:pt x="767923" y="377275"/>
                  <a:pt x="791289" y="371237"/>
                  <a:pt x="742950" y="387350"/>
                </a:cubicBezTo>
                <a:cubicBezTo>
                  <a:pt x="736600" y="389467"/>
                  <a:pt x="729469" y="389987"/>
                  <a:pt x="723900" y="393700"/>
                </a:cubicBezTo>
                <a:lnTo>
                  <a:pt x="704850" y="406400"/>
                </a:lnTo>
                <a:cubicBezTo>
                  <a:pt x="699685" y="421894"/>
                  <a:pt x="698110" y="432190"/>
                  <a:pt x="685800" y="444500"/>
                </a:cubicBezTo>
                <a:cubicBezTo>
                  <a:pt x="680404" y="449896"/>
                  <a:pt x="673100" y="452967"/>
                  <a:pt x="666750" y="457200"/>
                </a:cubicBezTo>
                <a:cubicBezTo>
                  <a:pt x="664633" y="463550"/>
                  <a:pt x="662239" y="469814"/>
                  <a:pt x="660400" y="476250"/>
                </a:cubicBezTo>
                <a:cubicBezTo>
                  <a:pt x="658002" y="484641"/>
                  <a:pt x="659797" y="495082"/>
                  <a:pt x="654050" y="501650"/>
                </a:cubicBezTo>
                <a:cubicBezTo>
                  <a:pt x="643999" y="513137"/>
                  <a:pt x="615950" y="527050"/>
                  <a:pt x="615950" y="527050"/>
                </a:cubicBezTo>
                <a:cubicBezTo>
                  <a:pt x="606142" y="576088"/>
                  <a:pt x="606180" y="560263"/>
                  <a:pt x="615950" y="628650"/>
                </a:cubicBezTo>
                <a:cubicBezTo>
                  <a:pt x="617672" y="640701"/>
                  <a:pt x="626616" y="658366"/>
                  <a:pt x="635000" y="666750"/>
                </a:cubicBezTo>
                <a:cubicBezTo>
                  <a:pt x="640396" y="672146"/>
                  <a:pt x="647700" y="675217"/>
                  <a:pt x="654050" y="679450"/>
                </a:cubicBezTo>
                <a:cubicBezTo>
                  <a:pt x="660471" y="689082"/>
                  <a:pt x="673100" y="704405"/>
                  <a:pt x="673100" y="717550"/>
                </a:cubicBezTo>
                <a:cubicBezTo>
                  <a:pt x="673100" y="724243"/>
                  <a:pt x="668867" y="730250"/>
                  <a:pt x="666750" y="736600"/>
                </a:cubicBezTo>
                <a:cubicBezTo>
                  <a:pt x="678624" y="772222"/>
                  <a:pt x="663704" y="746168"/>
                  <a:pt x="711200" y="762000"/>
                </a:cubicBezTo>
                <a:cubicBezTo>
                  <a:pt x="718440" y="764413"/>
                  <a:pt x="723424" y="771287"/>
                  <a:pt x="730250" y="774700"/>
                </a:cubicBezTo>
                <a:cubicBezTo>
                  <a:pt x="736237" y="777693"/>
                  <a:pt x="742950" y="778933"/>
                  <a:pt x="749300" y="781050"/>
                </a:cubicBezTo>
                <a:cubicBezTo>
                  <a:pt x="759883" y="778933"/>
                  <a:pt x="770944" y="778490"/>
                  <a:pt x="781050" y="774700"/>
                </a:cubicBezTo>
                <a:cubicBezTo>
                  <a:pt x="816909" y="761253"/>
                  <a:pt x="785408" y="764864"/>
                  <a:pt x="812800" y="742950"/>
                </a:cubicBezTo>
                <a:cubicBezTo>
                  <a:pt x="818027" y="738769"/>
                  <a:pt x="825500" y="738717"/>
                  <a:pt x="831850" y="736600"/>
                </a:cubicBezTo>
                <a:cubicBezTo>
                  <a:pt x="851976" y="766789"/>
                  <a:pt x="842137" y="748410"/>
                  <a:pt x="857250" y="793750"/>
                </a:cubicBezTo>
                <a:lnTo>
                  <a:pt x="863600" y="812800"/>
                </a:lnTo>
                <a:cubicBezTo>
                  <a:pt x="865717" y="833967"/>
                  <a:pt x="853711" y="862559"/>
                  <a:pt x="869950" y="876300"/>
                </a:cubicBezTo>
                <a:cubicBezTo>
                  <a:pt x="889407" y="892764"/>
                  <a:pt x="927421" y="865362"/>
                  <a:pt x="946150" y="882650"/>
                </a:cubicBezTo>
                <a:cubicBezTo>
                  <a:pt x="963329" y="898508"/>
                  <a:pt x="949194" y="929356"/>
                  <a:pt x="952500" y="952500"/>
                </a:cubicBezTo>
                <a:cubicBezTo>
                  <a:pt x="953447" y="959126"/>
                  <a:pt x="955599" y="965699"/>
                  <a:pt x="958850" y="971550"/>
                </a:cubicBezTo>
                <a:cubicBezTo>
                  <a:pt x="966263" y="984893"/>
                  <a:pt x="984250" y="1009650"/>
                  <a:pt x="984250" y="1009650"/>
                </a:cubicBezTo>
                <a:lnTo>
                  <a:pt x="971550" y="1047750"/>
                </a:lnTo>
                <a:lnTo>
                  <a:pt x="965200" y="1066800"/>
                </a:lnTo>
                <a:cubicBezTo>
                  <a:pt x="967317" y="1077383"/>
                  <a:pt x="966195" y="1089179"/>
                  <a:pt x="971550" y="1098550"/>
                </a:cubicBezTo>
                <a:cubicBezTo>
                  <a:pt x="985564" y="1123074"/>
                  <a:pt x="1008336" y="1099426"/>
                  <a:pt x="971550" y="1123950"/>
                </a:cubicBezTo>
                <a:cubicBezTo>
                  <a:pt x="967317" y="1132417"/>
                  <a:pt x="960833" y="1140094"/>
                  <a:pt x="958850" y="1149350"/>
                </a:cubicBezTo>
                <a:cubicBezTo>
                  <a:pt x="954393" y="1170150"/>
                  <a:pt x="952500" y="1191578"/>
                  <a:pt x="952500" y="1212850"/>
                </a:cubicBezTo>
                <a:cubicBezTo>
                  <a:pt x="952500" y="1287946"/>
                  <a:pt x="950993" y="1278180"/>
                  <a:pt x="965200" y="1320800"/>
                </a:cubicBezTo>
                <a:cubicBezTo>
                  <a:pt x="963083" y="1327150"/>
                  <a:pt x="960689" y="1333414"/>
                  <a:pt x="958850" y="1339850"/>
                </a:cubicBezTo>
                <a:cubicBezTo>
                  <a:pt x="956452" y="1348241"/>
                  <a:pt x="957341" y="1357988"/>
                  <a:pt x="952500" y="1365250"/>
                </a:cubicBezTo>
                <a:cubicBezTo>
                  <a:pt x="948267" y="1371600"/>
                  <a:pt x="939800" y="1373717"/>
                  <a:pt x="933450" y="1377950"/>
                </a:cubicBezTo>
                <a:cubicBezTo>
                  <a:pt x="919535" y="1398822"/>
                  <a:pt x="920973" y="1393046"/>
                  <a:pt x="914400" y="1416050"/>
                </a:cubicBezTo>
                <a:cubicBezTo>
                  <a:pt x="912002" y="1424441"/>
                  <a:pt x="913797" y="1434882"/>
                  <a:pt x="908050" y="1441450"/>
                </a:cubicBezTo>
                <a:cubicBezTo>
                  <a:pt x="897999" y="1452937"/>
                  <a:pt x="882650" y="1458383"/>
                  <a:pt x="869950" y="1466850"/>
                </a:cubicBezTo>
                <a:lnTo>
                  <a:pt x="850900" y="1479550"/>
                </a:lnTo>
                <a:cubicBezTo>
                  <a:pt x="833967" y="1477433"/>
                  <a:pt x="815945" y="1479538"/>
                  <a:pt x="800100" y="1473200"/>
                </a:cubicBezTo>
                <a:cubicBezTo>
                  <a:pt x="793014" y="1470366"/>
                  <a:pt x="789251" y="1461554"/>
                  <a:pt x="787400" y="1454150"/>
                </a:cubicBezTo>
                <a:cubicBezTo>
                  <a:pt x="782751" y="1435555"/>
                  <a:pt x="791340" y="1413171"/>
                  <a:pt x="781050" y="1397000"/>
                </a:cubicBezTo>
                <a:cubicBezTo>
                  <a:pt x="773863" y="1385706"/>
                  <a:pt x="755650" y="1388533"/>
                  <a:pt x="742950" y="1384300"/>
                </a:cubicBezTo>
                <a:cubicBezTo>
                  <a:pt x="716660" y="1375537"/>
                  <a:pt x="729469" y="1381663"/>
                  <a:pt x="704850" y="1365250"/>
                </a:cubicBezTo>
                <a:cubicBezTo>
                  <a:pt x="700617" y="1356783"/>
                  <a:pt x="695879" y="1348551"/>
                  <a:pt x="692150" y="1339850"/>
                </a:cubicBezTo>
                <a:cubicBezTo>
                  <a:pt x="686148" y="1325846"/>
                  <a:pt x="686364" y="1312361"/>
                  <a:pt x="673100" y="1301750"/>
                </a:cubicBezTo>
                <a:cubicBezTo>
                  <a:pt x="667873" y="1297569"/>
                  <a:pt x="660614" y="1296713"/>
                  <a:pt x="654050" y="1295400"/>
                </a:cubicBezTo>
                <a:cubicBezTo>
                  <a:pt x="639374" y="1292465"/>
                  <a:pt x="624417" y="1291167"/>
                  <a:pt x="609600" y="1289050"/>
                </a:cubicBezTo>
                <a:cubicBezTo>
                  <a:pt x="601133" y="1276350"/>
                  <a:pt x="599008" y="1254652"/>
                  <a:pt x="584200" y="1250950"/>
                </a:cubicBezTo>
                <a:cubicBezTo>
                  <a:pt x="575733" y="1248833"/>
                  <a:pt x="567191" y="1246998"/>
                  <a:pt x="558800" y="1244600"/>
                </a:cubicBezTo>
                <a:cubicBezTo>
                  <a:pt x="552364" y="1242761"/>
                  <a:pt x="546376" y="1239197"/>
                  <a:pt x="539750" y="1238250"/>
                </a:cubicBezTo>
                <a:cubicBezTo>
                  <a:pt x="516606" y="1234944"/>
                  <a:pt x="493183" y="1234017"/>
                  <a:pt x="469900" y="1231900"/>
                </a:cubicBezTo>
                <a:lnTo>
                  <a:pt x="444500" y="1193800"/>
                </a:lnTo>
                <a:cubicBezTo>
                  <a:pt x="440267" y="1187450"/>
                  <a:pt x="434213" y="1181990"/>
                  <a:pt x="431800" y="1174750"/>
                </a:cubicBezTo>
                <a:cubicBezTo>
                  <a:pt x="429683" y="1168400"/>
                  <a:pt x="430183" y="1160433"/>
                  <a:pt x="425450" y="1155700"/>
                </a:cubicBezTo>
                <a:cubicBezTo>
                  <a:pt x="414657" y="1144907"/>
                  <a:pt x="387350" y="1130300"/>
                  <a:pt x="387350" y="1130300"/>
                </a:cubicBezTo>
                <a:cubicBezTo>
                  <a:pt x="385233" y="1100667"/>
                  <a:pt x="385407" y="1070780"/>
                  <a:pt x="381000" y="1041400"/>
                </a:cubicBezTo>
                <a:cubicBezTo>
                  <a:pt x="379014" y="1028161"/>
                  <a:pt x="372533" y="1016000"/>
                  <a:pt x="368300" y="1003300"/>
                </a:cubicBezTo>
                <a:lnTo>
                  <a:pt x="361950" y="984250"/>
                </a:lnTo>
                <a:cubicBezTo>
                  <a:pt x="359833" y="977900"/>
                  <a:pt x="359313" y="970769"/>
                  <a:pt x="355600" y="965200"/>
                </a:cubicBezTo>
                <a:lnTo>
                  <a:pt x="330200" y="927100"/>
                </a:lnTo>
                <a:cubicBezTo>
                  <a:pt x="324148" y="902893"/>
                  <a:pt x="326812" y="901444"/>
                  <a:pt x="311150" y="882650"/>
                </a:cubicBezTo>
                <a:cubicBezTo>
                  <a:pt x="292887" y="860734"/>
                  <a:pt x="277399" y="857598"/>
                  <a:pt x="266700" y="825500"/>
                </a:cubicBezTo>
                <a:cubicBezTo>
                  <a:pt x="243542" y="756025"/>
                  <a:pt x="280476" y="861258"/>
                  <a:pt x="247650" y="787400"/>
                </a:cubicBezTo>
                <a:lnTo>
                  <a:pt x="228600" y="730250"/>
                </a:lnTo>
                <a:cubicBezTo>
                  <a:pt x="226483" y="723900"/>
                  <a:pt x="225963" y="716769"/>
                  <a:pt x="222250" y="711200"/>
                </a:cubicBezTo>
                <a:cubicBezTo>
                  <a:pt x="218017" y="704850"/>
                  <a:pt x="212963" y="698976"/>
                  <a:pt x="209550" y="692150"/>
                </a:cubicBezTo>
                <a:cubicBezTo>
                  <a:pt x="206557" y="686163"/>
                  <a:pt x="206451" y="678951"/>
                  <a:pt x="203200" y="673100"/>
                </a:cubicBezTo>
                <a:cubicBezTo>
                  <a:pt x="195787" y="659757"/>
                  <a:pt x="186267" y="647700"/>
                  <a:pt x="177800" y="635000"/>
                </a:cubicBezTo>
                <a:cubicBezTo>
                  <a:pt x="167749" y="619923"/>
                  <a:pt x="157865" y="604334"/>
                  <a:pt x="146050" y="590550"/>
                </a:cubicBezTo>
                <a:cubicBezTo>
                  <a:pt x="140206" y="583732"/>
                  <a:pt x="133350" y="577850"/>
                  <a:pt x="127000" y="571500"/>
                </a:cubicBezTo>
                <a:cubicBezTo>
                  <a:pt x="114905" y="535214"/>
                  <a:pt x="130629" y="565452"/>
                  <a:pt x="101600" y="546100"/>
                </a:cubicBezTo>
                <a:cubicBezTo>
                  <a:pt x="71692" y="526161"/>
                  <a:pt x="94663" y="528200"/>
                  <a:pt x="63500" y="514350"/>
                </a:cubicBezTo>
                <a:cubicBezTo>
                  <a:pt x="51267" y="508913"/>
                  <a:pt x="25400" y="501650"/>
                  <a:pt x="25400" y="501650"/>
                </a:cubicBezTo>
                <a:cubicBezTo>
                  <a:pt x="23283" y="495300"/>
                  <a:pt x="18311" y="489253"/>
                  <a:pt x="19050" y="482600"/>
                </a:cubicBezTo>
                <a:cubicBezTo>
                  <a:pt x="20528" y="469295"/>
                  <a:pt x="31750" y="444500"/>
                  <a:pt x="31750" y="444500"/>
                </a:cubicBezTo>
                <a:cubicBezTo>
                  <a:pt x="7182" y="407649"/>
                  <a:pt x="27122" y="443493"/>
                  <a:pt x="12700" y="381000"/>
                </a:cubicBezTo>
                <a:cubicBezTo>
                  <a:pt x="9690" y="367956"/>
                  <a:pt x="0" y="342900"/>
                  <a:pt x="0" y="342900"/>
                </a:cubicBezTo>
                <a:cubicBezTo>
                  <a:pt x="37086" y="330538"/>
                  <a:pt x="3027" y="346223"/>
                  <a:pt x="31750" y="317500"/>
                </a:cubicBezTo>
                <a:cubicBezTo>
                  <a:pt x="49948" y="299302"/>
                  <a:pt x="49192" y="308779"/>
                  <a:pt x="69850" y="298450"/>
                </a:cubicBezTo>
                <a:cubicBezTo>
                  <a:pt x="72527" y="297111"/>
                  <a:pt x="69850" y="277283"/>
                  <a:pt x="69850" y="285750"/>
                </a:cubicBezTo>
                <a:close/>
              </a:path>
            </a:pathLst>
          </a:custGeom>
          <a:solidFill>
            <a:srgbClr val="FF66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 rot="2530185">
            <a:off x="2690813" y="1818223"/>
            <a:ext cx="742950" cy="289983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600" dirty="0" err="1">
                <a:latin typeface="Ramabhadra" pitchFamily="2" charset="0"/>
                <a:ea typeface="+mj-ea"/>
                <a:cs typeface="Ramabhadra" pitchFamily="2" charset="0"/>
              </a:rPr>
              <a:t>పెరూ</a:t>
            </a:r>
            <a:endParaRPr lang="en-IN" sz="16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27" name="Freeform 26"/>
          <p:cNvSpPr/>
          <p:nvPr/>
        </p:nvSpPr>
        <p:spPr>
          <a:xfrm>
            <a:off x="2568581" y="1244600"/>
            <a:ext cx="485775" cy="457200"/>
          </a:xfrm>
          <a:custGeom>
            <a:avLst/>
            <a:gdLst>
              <a:gd name="connsiteX0" fmla="*/ 467011 w 486061"/>
              <a:gd name="connsiteY0" fmla="*/ 64081 h 457781"/>
              <a:gd name="connsiteX1" fmla="*/ 460661 w 486061"/>
              <a:gd name="connsiteY1" fmla="*/ 95831 h 457781"/>
              <a:gd name="connsiteX2" fmla="*/ 479711 w 486061"/>
              <a:gd name="connsiteY2" fmla="*/ 108531 h 457781"/>
              <a:gd name="connsiteX3" fmla="*/ 486061 w 486061"/>
              <a:gd name="connsiteY3" fmla="*/ 127581 h 457781"/>
              <a:gd name="connsiteX4" fmla="*/ 479711 w 486061"/>
              <a:gd name="connsiteY4" fmla="*/ 159331 h 457781"/>
              <a:gd name="connsiteX5" fmla="*/ 454311 w 486061"/>
              <a:gd name="connsiteY5" fmla="*/ 197431 h 457781"/>
              <a:gd name="connsiteX6" fmla="*/ 441611 w 486061"/>
              <a:gd name="connsiteY6" fmla="*/ 216481 h 457781"/>
              <a:gd name="connsiteX7" fmla="*/ 428911 w 486061"/>
              <a:gd name="connsiteY7" fmla="*/ 235531 h 457781"/>
              <a:gd name="connsiteX8" fmla="*/ 390811 w 486061"/>
              <a:gd name="connsiteY8" fmla="*/ 260931 h 457781"/>
              <a:gd name="connsiteX9" fmla="*/ 371761 w 486061"/>
              <a:gd name="connsiteY9" fmla="*/ 273631 h 457781"/>
              <a:gd name="connsiteX10" fmla="*/ 314611 w 486061"/>
              <a:gd name="connsiteY10" fmla="*/ 305381 h 457781"/>
              <a:gd name="connsiteX11" fmla="*/ 295561 w 486061"/>
              <a:gd name="connsiteY11" fmla="*/ 318081 h 457781"/>
              <a:gd name="connsiteX12" fmla="*/ 276511 w 486061"/>
              <a:gd name="connsiteY12" fmla="*/ 330781 h 457781"/>
              <a:gd name="connsiteX13" fmla="*/ 238411 w 486061"/>
              <a:gd name="connsiteY13" fmla="*/ 343481 h 457781"/>
              <a:gd name="connsiteX14" fmla="*/ 206661 w 486061"/>
              <a:gd name="connsiteY14" fmla="*/ 400631 h 457781"/>
              <a:gd name="connsiteX15" fmla="*/ 193961 w 486061"/>
              <a:gd name="connsiteY15" fmla="*/ 419681 h 457781"/>
              <a:gd name="connsiteX16" fmla="*/ 181261 w 486061"/>
              <a:gd name="connsiteY16" fmla="*/ 457781 h 457781"/>
              <a:gd name="connsiteX17" fmla="*/ 143161 w 486061"/>
              <a:gd name="connsiteY17" fmla="*/ 451431 h 457781"/>
              <a:gd name="connsiteX18" fmla="*/ 124111 w 486061"/>
              <a:gd name="connsiteY18" fmla="*/ 438731 h 457781"/>
              <a:gd name="connsiteX19" fmla="*/ 60611 w 486061"/>
              <a:gd name="connsiteY19" fmla="*/ 432381 h 457781"/>
              <a:gd name="connsiteX20" fmla="*/ 66961 w 486061"/>
              <a:gd name="connsiteY20" fmla="*/ 375231 h 457781"/>
              <a:gd name="connsiteX21" fmla="*/ 73311 w 486061"/>
              <a:gd name="connsiteY21" fmla="*/ 343481 h 457781"/>
              <a:gd name="connsiteX22" fmla="*/ 92361 w 486061"/>
              <a:gd name="connsiteY22" fmla="*/ 337131 h 457781"/>
              <a:gd name="connsiteX23" fmla="*/ 111411 w 486061"/>
              <a:gd name="connsiteY23" fmla="*/ 324431 h 457781"/>
              <a:gd name="connsiteX24" fmla="*/ 98711 w 486061"/>
              <a:gd name="connsiteY24" fmla="*/ 279981 h 457781"/>
              <a:gd name="connsiteX25" fmla="*/ 79661 w 486061"/>
              <a:gd name="connsiteY25" fmla="*/ 273631 h 457781"/>
              <a:gd name="connsiteX26" fmla="*/ 60611 w 486061"/>
              <a:gd name="connsiteY26" fmla="*/ 286331 h 457781"/>
              <a:gd name="connsiteX27" fmla="*/ 22511 w 486061"/>
              <a:gd name="connsiteY27" fmla="*/ 260931 h 457781"/>
              <a:gd name="connsiteX28" fmla="*/ 16161 w 486061"/>
              <a:gd name="connsiteY28" fmla="*/ 203781 h 457781"/>
              <a:gd name="connsiteX29" fmla="*/ 22511 w 486061"/>
              <a:gd name="connsiteY29" fmla="*/ 165681 h 457781"/>
              <a:gd name="connsiteX30" fmla="*/ 41561 w 486061"/>
              <a:gd name="connsiteY30" fmla="*/ 159331 h 457781"/>
              <a:gd name="connsiteX31" fmla="*/ 60611 w 486061"/>
              <a:gd name="connsiteY31" fmla="*/ 146631 h 457781"/>
              <a:gd name="connsiteX32" fmla="*/ 73311 w 486061"/>
              <a:gd name="connsiteY32" fmla="*/ 127581 h 457781"/>
              <a:gd name="connsiteX33" fmla="*/ 86011 w 486061"/>
              <a:gd name="connsiteY33" fmla="*/ 89481 h 457781"/>
              <a:gd name="connsiteX34" fmla="*/ 92361 w 486061"/>
              <a:gd name="connsiteY34" fmla="*/ 25981 h 457781"/>
              <a:gd name="connsiteX35" fmla="*/ 98711 w 486061"/>
              <a:gd name="connsiteY35" fmla="*/ 6931 h 457781"/>
              <a:gd name="connsiteX36" fmla="*/ 149511 w 486061"/>
              <a:gd name="connsiteY36" fmla="*/ 581 h 457781"/>
              <a:gd name="connsiteX37" fmla="*/ 238411 w 486061"/>
              <a:gd name="connsiteY37" fmla="*/ 6931 h 457781"/>
              <a:gd name="connsiteX38" fmla="*/ 257461 w 486061"/>
              <a:gd name="connsiteY38" fmla="*/ 13281 h 457781"/>
              <a:gd name="connsiteX39" fmla="*/ 276511 w 486061"/>
              <a:gd name="connsiteY39" fmla="*/ 32331 h 457781"/>
              <a:gd name="connsiteX40" fmla="*/ 295561 w 486061"/>
              <a:gd name="connsiteY40" fmla="*/ 38681 h 457781"/>
              <a:gd name="connsiteX41" fmla="*/ 352711 w 486061"/>
              <a:gd name="connsiteY41" fmla="*/ 64081 h 457781"/>
              <a:gd name="connsiteX42" fmla="*/ 371761 w 486061"/>
              <a:gd name="connsiteY42" fmla="*/ 70431 h 457781"/>
              <a:gd name="connsiteX43" fmla="*/ 467011 w 486061"/>
              <a:gd name="connsiteY43" fmla="*/ 64081 h 457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486061" h="457781">
                <a:moveTo>
                  <a:pt x="467011" y="64081"/>
                </a:moveTo>
                <a:cubicBezTo>
                  <a:pt x="481828" y="68314"/>
                  <a:pt x="457696" y="85453"/>
                  <a:pt x="460661" y="95831"/>
                </a:cubicBezTo>
                <a:cubicBezTo>
                  <a:pt x="462758" y="103169"/>
                  <a:pt x="474943" y="102572"/>
                  <a:pt x="479711" y="108531"/>
                </a:cubicBezTo>
                <a:cubicBezTo>
                  <a:pt x="483892" y="113758"/>
                  <a:pt x="483944" y="121231"/>
                  <a:pt x="486061" y="127581"/>
                </a:cubicBezTo>
                <a:cubicBezTo>
                  <a:pt x="483944" y="138164"/>
                  <a:pt x="484177" y="149505"/>
                  <a:pt x="479711" y="159331"/>
                </a:cubicBezTo>
                <a:cubicBezTo>
                  <a:pt x="473395" y="173226"/>
                  <a:pt x="462778" y="184731"/>
                  <a:pt x="454311" y="197431"/>
                </a:cubicBezTo>
                <a:lnTo>
                  <a:pt x="441611" y="216481"/>
                </a:lnTo>
                <a:cubicBezTo>
                  <a:pt x="437378" y="222831"/>
                  <a:pt x="435261" y="231298"/>
                  <a:pt x="428911" y="235531"/>
                </a:cubicBezTo>
                <a:lnTo>
                  <a:pt x="390811" y="260931"/>
                </a:lnTo>
                <a:cubicBezTo>
                  <a:pt x="384461" y="265164"/>
                  <a:pt x="379001" y="271218"/>
                  <a:pt x="371761" y="273631"/>
                </a:cubicBezTo>
                <a:cubicBezTo>
                  <a:pt x="338231" y="284808"/>
                  <a:pt x="358280" y="276268"/>
                  <a:pt x="314611" y="305381"/>
                </a:cubicBezTo>
                <a:lnTo>
                  <a:pt x="295561" y="318081"/>
                </a:lnTo>
                <a:cubicBezTo>
                  <a:pt x="289211" y="322314"/>
                  <a:pt x="283751" y="328368"/>
                  <a:pt x="276511" y="330781"/>
                </a:cubicBezTo>
                <a:lnTo>
                  <a:pt x="238411" y="343481"/>
                </a:lnTo>
                <a:cubicBezTo>
                  <a:pt x="227234" y="377011"/>
                  <a:pt x="235774" y="356962"/>
                  <a:pt x="206661" y="400631"/>
                </a:cubicBezTo>
                <a:cubicBezTo>
                  <a:pt x="202428" y="406981"/>
                  <a:pt x="196374" y="412441"/>
                  <a:pt x="193961" y="419681"/>
                </a:cubicBezTo>
                <a:lnTo>
                  <a:pt x="181261" y="457781"/>
                </a:lnTo>
                <a:cubicBezTo>
                  <a:pt x="168561" y="455664"/>
                  <a:pt x="155375" y="455502"/>
                  <a:pt x="143161" y="451431"/>
                </a:cubicBezTo>
                <a:cubicBezTo>
                  <a:pt x="135921" y="449018"/>
                  <a:pt x="131547" y="440447"/>
                  <a:pt x="124111" y="438731"/>
                </a:cubicBezTo>
                <a:cubicBezTo>
                  <a:pt x="103384" y="433948"/>
                  <a:pt x="81778" y="434498"/>
                  <a:pt x="60611" y="432381"/>
                </a:cubicBezTo>
                <a:cubicBezTo>
                  <a:pt x="62728" y="413331"/>
                  <a:pt x="64250" y="394206"/>
                  <a:pt x="66961" y="375231"/>
                </a:cubicBezTo>
                <a:cubicBezTo>
                  <a:pt x="68487" y="364547"/>
                  <a:pt x="67324" y="352461"/>
                  <a:pt x="73311" y="343481"/>
                </a:cubicBezTo>
                <a:cubicBezTo>
                  <a:pt x="77024" y="337912"/>
                  <a:pt x="86374" y="340124"/>
                  <a:pt x="92361" y="337131"/>
                </a:cubicBezTo>
                <a:cubicBezTo>
                  <a:pt x="99187" y="333718"/>
                  <a:pt x="105061" y="328664"/>
                  <a:pt x="111411" y="324431"/>
                </a:cubicBezTo>
                <a:cubicBezTo>
                  <a:pt x="111356" y="324211"/>
                  <a:pt x="101748" y="283018"/>
                  <a:pt x="98711" y="279981"/>
                </a:cubicBezTo>
                <a:cubicBezTo>
                  <a:pt x="93978" y="275248"/>
                  <a:pt x="86011" y="275748"/>
                  <a:pt x="79661" y="273631"/>
                </a:cubicBezTo>
                <a:cubicBezTo>
                  <a:pt x="73311" y="277864"/>
                  <a:pt x="68166" y="285252"/>
                  <a:pt x="60611" y="286331"/>
                </a:cubicBezTo>
                <a:cubicBezTo>
                  <a:pt x="35652" y="289897"/>
                  <a:pt x="33192" y="276953"/>
                  <a:pt x="22511" y="260931"/>
                </a:cubicBezTo>
                <a:cubicBezTo>
                  <a:pt x="20394" y="241881"/>
                  <a:pt x="19312" y="222687"/>
                  <a:pt x="16161" y="203781"/>
                </a:cubicBezTo>
                <a:cubicBezTo>
                  <a:pt x="12746" y="183289"/>
                  <a:pt x="0" y="183689"/>
                  <a:pt x="22511" y="165681"/>
                </a:cubicBezTo>
                <a:cubicBezTo>
                  <a:pt x="27738" y="161500"/>
                  <a:pt x="35574" y="162324"/>
                  <a:pt x="41561" y="159331"/>
                </a:cubicBezTo>
                <a:cubicBezTo>
                  <a:pt x="48387" y="155918"/>
                  <a:pt x="54261" y="150864"/>
                  <a:pt x="60611" y="146631"/>
                </a:cubicBezTo>
                <a:cubicBezTo>
                  <a:pt x="64844" y="140281"/>
                  <a:pt x="72232" y="135136"/>
                  <a:pt x="73311" y="127581"/>
                </a:cubicBezTo>
                <a:cubicBezTo>
                  <a:pt x="79354" y="85281"/>
                  <a:pt x="47244" y="115326"/>
                  <a:pt x="86011" y="89481"/>
                </a:cubicBezTo>
                <a:cubicBezTo>
                  <a:pt x="88128" y="68314"/>
                  <a:pt x="89126" y="47006"/>
                  <a:pt x="92361" y="25981"/>
                </a:cubicBezTo>
                <a:cubicBezTo>
                  <a:pt x="93379" y="19365"/>
                  <a:pt x="92594" y="9649"/>
                  <a:pt x="98711" y="6931"/>
                </a:cubicBezTo>
                <a:cubicBezTo>
                  <a:pt x="114305" y="0"/>
                  <a:pt x="132578" y="2698"/>
                  <a:pt x="149511" y="581"/>
                </a:cubicBezTo>
                <a:cubicBezTo>
                  <a:pt x="179144" y="2698"/>
                  <a:pt x="208906" y="3460"/>
                  <a:pt x="238411" y="6931"/>
                </a:cubicBezTo>
                <a:cubicBezTo>
                  <a:pt x="245059" y="7713"/>
                  <a:pt x="251892" y="9568"/>
                  <a:pt x="257461" y="13281"/>
                </a:cubicBezTo>
                <a:cubicBezTo>
                  <a:pt x="264933" y="18262"/>
                  <a:pt x="269039" y="27350"/>
                  <a:pt x="276511" y="32331"/>
                </a:cubicBezTo>
                <a:cubicBezTo>
                  <a:pt x="282080" y="36044"/>
                  <a:pt x="289574" y="35688"/>
                  <a:pt x="295561" y="38681"/>
                </a:cubicBezTo>
                <a:cubicBezTo>
                  <a:pt x="355938" y="68870"/>
                  <a:pt x="254417" y="31316"/>
                  <a:pt x="352711" y="64081"/>
                </a:cubicBezTo>
                <a:cubicBezTo>
                  <a:pt x="359061" y="66198"/>
                  <a:pt x="365091" y="69875"/>
                  <a:pt x="371761" y="70431"/>
                </a:cubicBezTo>
                <a:cubicBezTo>
                  <a:pt x="452678" y="77174"/>
                  <a:pt x="452194" y="59848"/>
                  <a:pt x="467011" y="64081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857375" y="1350437"/>
            <a:ext cx="774700" cy="364067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100" dirty="0" err="1">
                <a:latin typeface="Ramabhadra" pitchFamily="2" charset="0"/>
                <a:ea typeface="+mj-ea"/>
                <a:cs typeface="Ramabhadra" pitchFamily="2" charset="0"/>
              </a:rPr>
              <a:t>ఈక్వెడార్</a:t>
            </a:r>
            <a:endParaRPr lang="en-IN" sz="11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2762251" y="347137"/>
            <a:ext cx="952500" cy="1278467"/>
          </a:xfrm>
          <a:custGeom>
            <a:avLst/>
            <a:gdLst>
              <a:gd name="connsiteX0" fmla="*/ 0 w 952500"/>
              <a:gd name="connsiteY0" fmla="*/ 878252 h 1278302"/>
              <a:gd name="connsiteX1" fmla="*/ 6350 w 952500"/>
              <a:gd name="connsiteY1" fmla="*/ 846502 h 1278302"/>
              <a:gd name="connsiteX2" fmla="*/ 12700 w 952500"/>
              <a:gd name="connsiteY2" fmla="*/ 827452 h 1278302"/>
              <a:gd name="connsiteX3" fmla="*/ 19050 w 952500"/>
              <a:gd name="connsiteY3" fmla="*/ 789352 h 1278302"/>
              <a:gd name="connsiteX4" fmla="*/ 38100 w 952500"/>
              <a:gd name="connsiteY4" fmla="*/ 776652 h 1278302"/>
              <a:gd name="connsiteX5" fmla="*/ 101600 w 952500"/>
              <a:gd name="connsiteY5" fmla="*/ 757602 h 1278302"/>
              <a:gd name="connsiteX6" fmla="*/ 120650 w 952500"/>
              <a:gd name="connsiteY6" fmla="*/ 751252 h 1278302"/>
              <a:gd name="connsiteX7" fmla="*/ 146050 w 952500"/>
              <a:gd name="connsiteY7" fmla="*/ 694102 h 1278302"/>
              <a:gd name="connsiteX8" fmla="*/ 139700 w 952500"/>
              <a:gd name="connsiteY8" fmla="*/ 675052 h 1278302"/>
              <a:gd name="connsiteX9" fmla="*/ 120650 w 952500"/>
              <a:gd name="connsiteY9" fmla="*/ 636952 h 1278302"/>
              <a:gd name="connsiteX10" fmla="*/ 120650 w 952500"/>
              <a:gd name="connsiteY10" fmla="*/ 598852 h 1278302"/>
              <a:gd name="connsiteX11" fmla="*/ 101600 w 952500"/>
              <a:gd name="connsiteY11" fmla="*/ 592502 h 1278302"/>
              <a:gd name="connsiteX12" fmla="*/ 95250 w 952500"/>
              <a:gd name="connsiteY12" fmla="*/ 535352 h 1278302"/>
              <a:gd name="connsiteX13" fmla="*/ 82550 w 952500"/>
              <a:gd name="connsiteY13" fmla="*/ 516302 h 1278302"/>
              <a:gd name="connsiteX14" fmla="*/ 101600 w 952500"/>
              <a:gd name="connsiteY14" fmla="*/ 503602 h 1278302"/>
              <a:gd name="connsiteX15" fmla="*/ 107950 w 952500"/>
              <a:gd name="connsiteY15" fmla="*/ 484552 h 1278302"/>
              <a:gd name="connsiteX16" fmla="*/ 88900 w 952500"/>
              <a:gd name="connsiteY16" fmla="*/ 446452 h 1278302"/>
              <a:gd name="connsiteX17" fmla="*/ 76200 w 952500"/>
              <a:gd name="connsiteY17" fmla="*/ 408352 h 1278302"/>
              <a:gd name="connsiteX18" fmla="*/ 69850 w 952500"/>
              <a:gd name="connsiteY18" fmla="*/ 389302 h 1278302"/>
              <a:gd name="connsiteX19" fmla="*/ 63500 w 952500"/>
              <a:gd name="connsiteY19" fmla="*/ 370252 h 1278302"/>
              <a:gd name="connsiteX20" fmla="*/ 101600 w 952500"/>
              <a:gd name="connsiteY20" fmla="*/ 363902 h 1278302"/>
              <a:gd name="connsiteX21" fmla="*/ 120650 w 952500"/>
              <a:gd name="connsiteY21" fmla="*/ 300402 h 1278302"/>
              <a:gd name="connsiteX22" fmla="*/ 158750 w 952500"/>
              <a:gd name="connsiteY22" fmla="*/ 306752 h 1278302"/>
              <a:gd name="connsiteX23" fmla="*/ 165100 w 952500"/>
              <a:gd name="connsiteY23" fmla="*/ 332152 h 1278302"/>
              <a:gd name="connsiteX24" fmla="*/ 177800 w 952500"/>
              <a:gd name="connsiteY24" fmla="*/ 294052 h 1278302"/>
              <a:gd name="connsiteX25" fmla="*/ 196850 w 952500"/>
              <a:gd name="connsiteY25" fmla="*/ 243252 h 1278302"/>
              <a:gd name="connsiteX26" fmla="*/ 228600 w 952500"/>
              <a:gd name="connsiteY26" fmla="*/ 236902 h 1278302"/>
              <a:gd name="connsiteX27" fmla="*/ 247650 w 952500"/>
              <a:gd name="connsiteY27" fmla="*/ 230552 h 1278302"/>
              <a:gd name="connsiteX28" fmla="*/ 254000 w 952500"/>
              <a:gd name="connsiteY28" fmla="*/ 211502 h 1278302"/>
              <a:gd name="connsiteX29" fmla="*/ 260350 w 952500"/>
              <a:gd name="connsiteY29" fmla="*/ 141652 h 1278302"/>
              <a:gd name="connsiteX30" fmla="*/ 273050 w 952500"/>
              <a:gd name="connsiteY30" fmla="*/ 122602 h 1278302"/>
              <a:gd name="connsiteX31" fmla="*/ 311150 w 952500"/>
              <a:gd name="connsiteY31" fmla="*/ 109902 h 1278302"/>
              <a:gd name="connsiteX32" fmla="*/ 317500 w 952500"/>
              <a:gd name="connsiteY32" fmla="*/ 90852 h 1278302"/>
              <a:gd name="connsiteX33" fmla="*/ 368300 w 952500"/>
              <a:gd name="connsiteY33" fmla="*/ 84502 h 1278302"/>
              <a:gd name="connsiteX34" fmla="*/ 393700 w 952500"/>
              <a:gd name="connsiteY34" fmla="*/ 78152 h 1278302"/>
              <a:gd name="connsiteX35" fmla="*/ 444500 w 952500"/>
              <a:gd name="connsiteY35" fmla="*/ 71802 h 1278302"/>
              <a:gd name="connsiteX36" fmla="*/ 469900 w 952500"/>
              <a:gd name="connsiteY36" fmla="*/ 59102 h 1278302"/>
              <a:gd name="connsiteX37" fmla="*/ 488950 w 952500"/>
              <a:gd name="connsiteY37" fmla="*/ 52752 h 1278302"/>
              <a:gd name="connsiteX38" fmla="*/ 501650 w 952500"/>
              <a:gd name="connsiteY38" fmla="*/ 33702 h 1278302"/>
              <a:gd name="connsiteX39" fmla="*/ 558800 w 952500"/>
              <a:gd name="connsiteY39" fmla="*/ 1952 h 1278302"/>
              <a:gd name="connsiteX40" fmla="*/ 603250 w 952500"/>
              <a:gd name="connsiteY40" fmla="*/ 8302 h 1278302"/>
              <a:gd name="connsiteX41" fmla="*/ 596900 w 952500"/>
              <a:gd name="connsiteY41" fmla="*/ 27352 h 1278302"/>
              <a:gd name="connsiteX42" fmla="*/ 558800 w 952500"/>
              <a:gd name="connsiteY42" fmla="*/ 59102 h 1278302"/>
              <a:gd name="connsiteX43" fmla="*/ 520700 w 952500"/>
              <a:gd name="connsiteY43" fmla="*/ 71802 h 1278302"/>
              <a:gd name="connsiteX44" fmla="*/ 482600 w 952500"/>
              <a:gd name="connsiteY44" fmla="*/ 128952 h 1278302"/>
              <a:gd name="connsiteX45" fmla="*/ 469900 w 952500"/>
              <a:gd name="connsiteY45" fmla="*/ 148002 h 1278302"/>
              <a:gd name="connsiteX46" fmla="*/ 457200 w 952500"/>
              <a:gd name="connsiteY46" fmla="*/ 186102 h 1278302"/>
              <a:gd name="connsiteX47" fmla="*/ 476250 w 952500"/>
              <a:gd name="connsiteY47" fmla="*/ 275002 h 1278302"/>
              <a:gd name="connsiteX48" fmla="*/ 495300 w 952500"/>
              <a:gd name="connsiteY48" fmla="*/ 281352 h 1278302"/>
              <a:gd name="connsiteX49" fmla="*/ 508000 w 952500"/>
              <a:gd name="connsiteY49" fmla="*/ 344852 h 1278302"/>
              <a:gd name="connsiteX50" fmla="*/ 514350 w 952500"/>
              <a:gd name="connsiteY50" fmla="*/ 376602 h 1278302"/>
              <a:gd name="connsiteX51" fmla="*/ 533400 w 952500"/>
              <a:gd name="connsiteY51" fmla="*/ 389302 h 1278302"/>
              <a:gd name="connsiteX52" fmla="*/ 603250 w 952500"/>
              <a:gd name="connsiteY52" fmla="*/ 408352 h 1278302"/>
              <a:gd name="connsiteX53" fmla="*/ 647700 w 952500"/>
              <a:gd name="connsiteY53" fmla="*/ 421052 h 1278302"/>
              <a:gd name="connsiteX54" fmla="*/ 704850 w 952500"/>
              <a:gd name="connsiteY54" fmla="*/ 446452 h 1278302"/>
              <a:gd name="connsiteX55" fmla="*/ 711200 w 952500"/>
              <a:gd name="connsiteY55" fmla="*/ 465502 h 1278302"/>
              <a:gd name="connsiteX56" fmla="*/ 717550 w 952500"/>
              <a:gd name="connsiteY56" fmla="*/ 490902 h 1278302"/>
              <a:gd name="connsiteX57" fmla="*/ 755650 w 952500"/>
              <a:gd name="connsiteY57" fmla="*/ 503602 h 1278302"/>
              <a:gd name="connsiteX58" fmla="*/ 831850 w 952500"/>
              <a:gd name="connsiteY58" fmla="*/ 497252 h 1278302"/>
              <a:gd name="connsiteX59" fmla="*/ 869950 w 952500"/>
              <a:gd name="connsiteY59" fmla="*/ 484552 h 1278302"/>
              <a:gd name="connsiteX60" fmla="*/ 889000 w 952500"/>
              <a:gd name="connsiteY60" fmla="*/ 478202 h 1278302"/>
              <a:gd name="connsiteX61" fmla="*/ 908050 w 952500"/>
              <a:gd name="connsiteY61" fmla="*/ 484552 h 1278302"/>
              <a:gd name="connsiteX62" fmla="*/ 882650 w 952500"/>
              <a:gd name="connsiteY62" fmla="*/ 541702 h 1278302"/>
              <a:gd name="connsiteX63" fmla="*/ 869950 w 952500"/>
              <a:gd name="connsiteY63" fmla="*/ 579802 h 1278302"/>
              <a:gd name="connsiteX64" fmla="*/ 889000 w 952500"/>
              <a:gd name="connsiteY64" fmla="*/ 681402 h 1278302"/>
              <a:gd name="connsiteX65" fmla="*/ 908050 w 952500"/>
              <a:gd name="connsiteY65" fmla="*/ 694102 h 1278302"/>
              <a:gd name="connsiteX66" fmla="*/ 908050 w 952500"/>
              <a:gd name="connsiteY66" fmla="*/ 744902 h 1278302"/>
              <a:gd name="connsiteX67" fmla="*/ 889000 w 952500"/>
              <a:gd name="connsiteY67" fmla="*/ 757602 h 1278302"/>
              <a:gd name="connsiteX68" fmla="*/ 895350 w 952500"/>
              <a:gd name="connsiteY68" fmla="*/ 776652 h 1278302"/>
              <a:gd name="connsiteX69" fmla="*/ 939800 w 952500"/>
              <a:gd name="connsiteY69" fmla="*/ 827452 h 1278302"/>
              <a:gd name="connsiteX70" fmla="*/ 952500 w 952500"/>
              <a:gd name="connsiteY70" fmla="*/ 865552 h 1278302"/>
              <a:gd name="connsiteX71" fmla="*/ 927100 w 952500"/>
              <a:gd name="connsiteY71" fmla="*/ 890952 h 1278302"/>
              <a:gd name="connsiteX72" fmla="*/ 914400 w 952500"/>
              <a:gd name="connsiteY72" fmla="*/ 871902 h 1278302"/>
              <a:gd name="connsiteX73" fmla="*/ 908050 w 952500"/>
              <a:gd name="connsiteY73" fmla="*/ 833802 h 1278302"/>
              <a:gd name="connsiteX74" fmla="*/ 889000 w 952500"/>
              <a:gd name="connsiteY74" fmla="*/ 827452 h 1278302"/>
              <a:gd name="connsiteX75" fmla="*/ 812800 w 952500"/>
              <a:gd name="connsiteY75" fmla="*/ 833802 h 1278302"/>
              <a:gd name="connsiteX76" fmla="*/ 793750 w 952500"/>
              <a:gd name="connsiteY76" fmla="*/ 840152 h 1278302"/>
              <a:gd name="connsiteX77" fmla="*/ 704850 w 952500"/>
              <a:gd name="connsiteY77" fmla="*/ 846502 h 1278302"/>
              <a:gd name="connsiteX78" fmla="*/ 692150 w 952500"/>
              <a:gd name="connsiteY78" fmla="*/ 865552 h 1278302"/>
              <a:gd name="connsiteX79" fmla="*/ 742950 w 952500"/>
              <a:gd name="connsiteY79" fmla="*/ 903652 h 1278302"/>
              <a:gd name="connsiteX80" fmla="*/ 736600 w 952500"/>
              <a:gd name="connsiteY80" fmla="*/ 929052 h 1278302"/>
              <a:gd name="connsiteX81" fmla="*/ 711200 w 952500"/>
              <a:gd name="connsiteY81" fmla="*/ 935402 h 1278302"/>
              <a:gd name="connsiteX82" fmla="*/ 692150 w 952500"/>
              <a:gd name="connsiteY82" fmla="*/ 941752 h 1278302"/>
              <a:gd name="connsiteX83" fmla="*/ 698500 w 952500"/>
              <a:gd name="connsiteY83" fmla="*/ 998902 h 1278302"/>
              <a:gd name="connsiteX84" fmla="*/ 717550 w 952500"/>
              <a:gd name="connsiteY84" fmla="*/ 1011602 h 1278302"/>
              <a:gd name="connsiteX85" fmla="*/ 736600 w 952500"/>
              <a:gd name="connsiteY85" fmla="*/ 1030652 h 1278302"/>
              <a:gd name="connsiteX86" fmla="*/ 749300 w 952500"/>
              <a:gd name="connsiteY86" fmla="*/ 1068752 h 1278302"/>
              <a:gd name="connsiteX87" fmla="*/ 755650 w 952500"/>
              <a:gd name="connsiteY87" fmla="*/ 1087802 h 1278302"/>
              <a:gd name="connsiteX88" fmla="*/ 742950 w 952500"/>
              <a:gd name="connsiteY88" fmla="*/ 1132252 h 1278302"/>
              <a:gd name="connsiteX89" fmla="*/ 730250 w 952500"/>
              <a:gd name="connsiteY89" fmla="*/ 1151302 h 1278302"/>
              <a:gd name="connsiteX90" fmla="*/ 711200 w 952500"/>
              <a:gd name="connsiteY90" fmla="*/ 1221152 h 1278302"/>
              <a:gd name="connsiteX91" fmla="*/ 698500 w 952500"/>
              <a:gd name="connsiteY91" fmla="*/ 1259252 h 1278302"/>
              <a:gd name="connsiteX92" fmla="*/ 692150 w 952500"/>
              <a:gd name="connsiteY92" fmla="*/ 1278302 h 1278302"/>
              <a:gd name="connsiteX93" fmla="*/ 660400 w 952500"/>
              <a:gd name="connsiteY93" fmla="*/ 1271952 h 1278302"/>
              <a:gd name="connsiteX94" fmla="*/ 654050 w 952500"/>
              <a:gd name="connsiteY94" fmla="*/ 1252902 h 1278302"/>
              <a:gd name="connsiteX95" fmla="*/ 685800 w 952500"/>
              <a:gd name="connsiteY95" fmla="*/ 1221152 h 1278302"/>
              <a:gd name="connsiteX96" fmla="*/ 679450 w 952500"/>
              <a:gd name="connsiteY96" fmla="*/ 1189402 h 1278302"/>
              <a:gd name="connsiteX97" fmla="*/ 641350 w 952500"/>
              <a:gd name="connsiteY97" fmla="*/ 1176702 h 1278302"/>
              <a:gd name="connsiteX98" fmla="*/ 596900 w 952500"/>
              <a:gd name="connsiteY98" fmla="*/ 1164002 h 1278302"/>
              <a:gd name="connsiteX99" fmla="*/ 565150 w 952500"/>
              <a:gd name="connsiteY99" fmla="*/ 1157652 h 1278302"/>
              <a:gd name="connsiteX100" fmla="*/ 482600 w 952500"/>
              <a:gd name="connsiteY100" fmla="*/ 1151302 h 1278302"/>
              <a:gd name="connsiteX101" fmla="*/ 425450 w 952500"/>
              <a:gd name="connsiteY101" fmla="*/ 1119552 h 1278302"/>
              <a:gd name="connsiteX102" fmla="*/ 406400 w 952500"/>
              <a:gd name="connsiteY102" fmla="*/ 1094152 h 1278302"/>
              <a:gd name="connsiteX103" fmla="*/ 393700 w 952500"/>
              <a:gd name="connsiteY103" fmla="*/ 1056052 h 1278302"/>
              <a:gd name="connsiteX104" fmla="*/ 387350 w 952500"/>
              <a:gd name="connsiteY104" fmla="*/ 1037002 h 1278302"/>
              <a:gd name="connsiteX105" fmla="*/ 368300 w 952500"/>
              <a:gd name="connsiteY105" fmla="*/ 1024302 h 1278302"/>
              <a:gd name="connsiteX106" fmla="*/ 361950 w 952500"/>
              <a:gd name="connsiteY106" fmla="*/ 1005252 h 1278302"/>
              <a:gd name="connsiteX107" fmla="*/ 323850 w 952500"/>
              <a:gd name="connsiteY107" fmla="*/ 979852 h 1278302"/>
              <a:gd name="connsiteX108" fmla="*/ 285750 w 952500"/>
              <a:gd name="connsiteY108" fmla="*/ 960802 h 1278302"/>
              <a:gd name="connsiteX109" fmla="*/ 260350 w 952500"/>
              <a:gd name="connsiteY109" fmla="*/ 954452 h 1278302"/>
              <a:gd name="connsiteX110" fmla="*/ 222250 w 952500"/>
              <a:gd name="connsiteY110" fmla="*/ 941752 h 1278302"/>
              <a:gd name="connsiteX111" fmla="*/ 107950 w 952500"/>
              <a:gd name="connsiteY111" fmla="*/ 941752 h 1278302"/>
              <a:gd name="connsiteX112" fmla="*/ 69850 w 952500"/>
              <a:gd name="connsiteY112" fmla="*/ 916352 h 1278302"/>
              <a:gd name="connsiteX113" fmla="*/ 6350 w 952500"/>
              <a:gd name="connsiteY113" fmla="*/ 903652 h 1278302"/>
              <a:gd name="connsiteX114" fmla="*/ 0 w 952500"/>
              <a:gd name="connsiteY114" fmla="*/ 878252 h 1278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952500" h="1278302">
                <a:moveTo>
                  <a:pt x="0" y="878252"/>
                </a:moveTo>
                <a:cubicBezTo>
                  <a:pt x="2117" y="867669"/>
                  <a:pt x="3732" y="856973"/>
                  <a:pt x="6350" y="846502"/>
                </a:cubicBezTo>
                <a:cubicBezTo>
                  <a:pt x="7973" y="840008"/>
                  <a:pt x="11248" y="833986"/>
                  <a:pt x="12700" y="827452"/>
                </a:cubicBezTo>
                <a:cubicBezTo>
                  <a:pt x="15493" y="814883"/>
                  <a:pt x="13292" y="800868"/>
                  <a:pt x="19050" y="789352"/>
                </a:cubicBezTo>
                <a:cubicBezTo>
                  <a:pt x="22463" y="782526"/>
                  <a:pt x="31126" y="779752"/>
                  <a:pt x="38100" y="776652"/>
                </a:cubicBezTo>
                <a:cubicBezTo>
                  <a:pt x="65263" y="764580"/>
                  <a:pt x="75741" y="764990"/>
                  <a:pt x="101600" y="757602"/>
                </a:cubicBezTo>
                <a:cubicBezTo>
                  <a:pt x="108036" y="755763"/>
                  <a:pt x="114300" y="753369"/>
                  <a:pt x="120650" y="751252"/>
                </a:cubicBezTo>
                <a:cubicBezTo>
                  <a:pt x="135763" y="705912"/>
                  <a:pt x="125924" y="724291"/>
                  <a:pt x="146050" y="694102"/>
                </a:cubicBezTo>
                <a:cubicBezTo>
                  <a:pt x="143933" y="687752"/>
                  <a:pt x="142693" y="681039"/>
                  <a:pt x="139700" y="675052"/>
                </a:cubicBezTo>
                <a:cubicBezTo>
                  <a:pt x="115081" y="625813"/>
                  <a:pt x="136611" y="684835"/>
                  <a:pt x="120650" y="636952"/>
                </a:cubicBezTo>
                <a:cubicBezTo>
                  <a:pt x="124883" y="624252"/>
                  <a:pt x="133350" y="611552"/>
                  <a:pt x="120650" y="598852"/>
                </a:cubicBezTo>
                <a:cubicBezTo>
                  <a:pt x="115917" y="594119"/>
                  <a:pt x="107950" y="594619"/>
                  <a:pt x="101600" y="592502"/>
                </a:cubicBezTo>
                <a:cubicBezTo>
                  <a:pt x="99483" y="573452"/>
                  <a:pt x="99899" y="553947"/>
                  <a:pt x="95250" y="535352"/>
                </a:cubicBezTo>
                <a:cubicBezTo>
                  <a:pt x="93399" y="527948"/>
                  <a:pt x="81053" y="523786"/>
                  <a:pt x="82550" y="516302"/>
                </a:cubicBezTo>
                <a:cubicBezTo>
                  <a:pt x="84047" y="508818"/>
                  <a:pt x="95250" y="507835"/>
                  <a:pt x="101600" y="503602"/>
                </a:cubicBezTo>
                <a:cubicBezTo>
                  <a:pt x="103717" y="497252"/>
                  <a:pt x="107950" y="491245"/>
                  <a:pt x="107950" y="484552"/>
                </a:cubicBezTo>
                <a:cubicBezTo>
                  <a:pt x="107950" y="467183"/>
                  <a:pt x="95321" y="460899"/>
                  <a:pt x="88900" y="446452"/>
                </a:cubicBezTo>
                <a:cubicBezTo>
                  <a:pt x="83463" y="434219"/>
                  <a:pt x="80433" y="421052"/>
                  <a:pt x="76200" y="408352"/>
                </a:cubicBezTo>
                <a:lnTo>
                  <a:pt x="69850" y="389302"/>
                </a:lnTo>
                <a:lnTo>
                  <a:pt x="63500" y="370252"/>
                </a:lnTo>
                <a:cubicBezTo>
                  <a:pt x="76200" y="368135"/>
                  <a:pt x="90084" y="369660"/>
                  <a:pt x="101600" y="363902"/>
                </a:cubicBezTo>
                <a:cubicBezTo>
                  <a:pt x="119371" y="355016"/>
                  <a:pt x="119557" y="308050"/>
                  <a:pt x="120650" y="300402"/>
                </a:cubicBezTo>
                <a:cubicBezTo>
                  <a:pt x="133350" y="302519"/>
                  <a:pt x="148273" y="299268"/>
                  <a:pt x="158750" y="306752"/>
                </a:cubicBezTo>
                <a:cubicBezTo>
                  <a:pt x="165852" y="311825"/>
                  <a:pt x="157838" y="336993"/>
                  <a:pt x="165100" y="332152"/>
                </a:cubicBezTo>
                <a:cubicBezTo>
                  <a:pt x="176239" y="324726"/>
                  <a:pt x="175175" y="307179"/>
                  <a:pt x="177800" y="294052"/>
                </a:cubicBezTo>
                <a:cubicBezTo>
                  <a:pt x="180106" y="282524"/>
                  <a:pt x="182081" y="251691"/>
                  <a:pt x="196850" y="243252"/>
                </a:cubicBezTo>
                <a:cubicBezTo>
                  <a:pt x="206221" y="237897"/>
                  <a:pt x="218129" y="239520"/>
                  <a:pt x="228600" y="236902"/>
                </a:cubicBezTo>
                <a:cubicBezTo>
                  <a:pt x="235094" y="235279"/>
                  <a:pt x="241300" y="232669"/>
                  <a:pt x="247650" y="230552"/>
                </a:cubicBezTo>
                <a:cubicBezTo>
                  <a:pt x="249767" y="224202"/>
                  <a:pt x="253053" y="218128"/>
                  <a:pt x="254000" y="211502"/>
                </a:cubicBezTo>
                <a:cubicBezTo>
                  <a:pt x="257306" y="188358"/>
                  <a:pt x="255451" y="164512"/>
                  <a:pt x="260350" y="141652"/>
                </a:cubicBezTo>
                <a:cubicBezTo>
                  <a:pt x="261949" y="134190"/>
                  <a:pt x="266578" y="126647"/>
                  <a:pt x="273050" y="122602"/>
                </a:cubicBezTo>
                <a:cubicBezTo>
                  <a:pt x="284402" y="115507"/>
                  <a:pt x="311150" y="109902"/>
                  <a:pt x="311150" y="109902"/>
                </a:cubicBezTo>
                <a:cubicBezTo>
                  <a:pt x="313267" y="103552"/>
                  <a:pt x="311383" y="93570"/>
                  <a:pt x="317500" y="90852"/>
                </a:cubicBezTo>
                <a:cubicBezTo>
                  <a:pt x="333094" y="83921"/>
                  <a:pt x="351467" y="87307"/>
                  <a:pt x="368300" y="84502"/>
                </a:cubicBezTo>
                <a:cubicBezTo>
                  <a:pt x="376908" y="83067"/>
                  <a:pt x="385092" y="79587"/>
                  <a:pt x="393700" y="78152"/>
                </a:cubicBezTo>
                <a:cubicBezTo>
                  <a:pt x="410533" y="75347"/>
                  <a:pt x="427567" y="73919"/>
                  <a:pt x="444500" y="71802"/>
                </a:cubicBezTo>
                <a:cubicBezTo>
                  <a:pt x="452967" y="67569"/>
                  <a:pt x="461199" y="62831"/>
                  <a:pt x="469900" y="59102"/>
                </a:cubicBezTo>
                <a:cubicBezTo>
                  <a:pt x="476052" y="56465"/>
                  <a:pt x="483723" y="56933"/>
                  <a:pt x="488950" y="52752"/>
                </a:cubicBezTo>
                <a:cubicBezTo>
                  <a:pt x="494909" y="47984"/>
                  <a:pt x="495907" y="38728"/>
                  <a:pt x="501650" y="33702"/>
                </a:cubicBezTo>
                <a:cubicBezTo>
                  <a:pt x="528523" y="10188"/>
                  <a:pt x="532635" y="10674"/>
                  <a:pt x="558800" y="1952"/>
                </a:cubicBezTo>
                <a:cubicBezTo>
                  <a:pt x="573617" y="4069"/>
                  <a:pt x="590797" y="0"/>
                  <a:pt x="603250" y="8302"/>
                </a:cubicBezTo>
                <a:cubicBezTo>
                  <a:pt x="608819" y="12015"/>
                  <a:pt x="600613" y="21783"/>
                  <a:pt x="596900" y="27352"/>
                </a:cubicBezTo>
                <a:cubicBezTo>
                  <a:pt x="590604" y="36797"/>
                  <a:pt x="569897" y="54170"/>
                  <a:pt x="558800" y="59102"/>
                </a:cubicBezTo>
                <a:cubicBezTo>
                  <a:pt x="546567" y="64539"/>
                  <a:pt x="520700" y="71802"/>
                  <a:pt x="520700" y="71802"/>
                </a:cubicBezTo>
                <a:lnTo>
                  <a:pt x="482600" y="128952"/>
                </a:lnTo>
                <a:cubicBezTo>
                  <a:pt x="478367" y="135302"/>
                  <a:pt x="472313" y="140762"/>
                  <a:pt x="469900" y="148002"/>
                </a:cubicBezTo>
                <a:lnTo>
                  <a:pt x="457200" y="186102"/>
                </a:lnTo>
                <a:cubicBezTo>
                  <a:pt x="458845" y="204192"/>
                  <a:pt x="452343" y="255876"/>
                  <a:pt x="476250" y="275002"/>
                </a:cubicBezTo>
                <a:cubicBezTo>
                  <a:pt x="481477" y="279183"/>
                  <a:pt x="488950" y="279235"/>
                  <a:pt x="495300" y="281352"/>
                </a:cubicBezTo>
                <a:cubicBezTo>
                  <a:pt x="507743" y="356010"/>
                  <a:pt x="495370" y="288016"/>
                  <a:pt x="508000" y="344852"/>
                </a:cubicBezTo>
                <a:cubicBezTo>
                  <a:pt x="510341" y="355388"/>
                  <a:pt x="508995" y="367231"/>
                  <a:pt x="514350" y="376602"/>
                </a:cubicBezTo>
                <a:cubicBezTo>
                  <a:pt x="518136" y="383228"/>
                  <a:pt x="526426" y="386202"/>
                  <a:pt x="533400" y="389302"/>
                </a:cubicBezTo>
                <a:cubicBezTo>
                  <a:pt x="563136" y="402518"/>
                  <a:pt x="573371" y="401712"/>
                  <a:pt x="603250" y="408352"/>
                </a:cubicBezTo>
                <a:cubicBezTo>
                  <a:pt x="627170" y="413668"/>
                  <a:pt x="626486" y="413981"/>
                  <a:pt x="647700" y="421052"/>
                </a:cubicBezTo>
                <a:cubicBezTo>
                  <a:pt x="662263" y="464740"/>
                  <a:pt x="640228" y="417731"/>
                  <a:pt x="704850" y="446452"/>
                </a:cubicBezTo>
                <a:cubicBezTo>
                  <a:pt x="710967" y="449170"/>
                  <a:pt x="709361" y="459066"/>
                  <a:pt x="711200" y="465502"/>
                </a:cubicBezTo>
                <a:cubicBezTo>
                  <a:pt x="713598" y="473893"/>
                  <a:pt x="710924" y="485222"/>
                  <a:pt x="717550" y="490902"/>
                </a:cubicBezTo>
                <a:cubicBezTo>
                  <a:pt x="727714" y="499614"/>
                  <a:pt x="755650" y="503602"/>
                  <a:pt x="755650" y="503602"/>
                </a:cubicBezTo>
                <a:cubicBezTo>
                  <a:pt x="781050" y="501485"/>
                  <a:pt x="806709" y="501442"/>
                  <a:pt x="831850" y="497252"/>
                </a:cubicBezTo>
                <a:cubicBezTo>
                  <a:pt x="845055" y="495051"/>
                  <a:pt x="857250" y="488785"/>
                  <a:pt x="869950" y="484552"/>
                </a:cubicBezTo>
                <a:lnTo>
                  <a:pt x="889000" y="478202"/>
                </a:lnTo>
                <a:cubicBezTo>
                  <a:pt x="895350" y="480319"/>
                  <a:pt x="907103" y="477926"/>
                  <a:pt x="908050" y="484552"/>
                </a:cubicBezTo>
                <a:cubicBezTo>
                  <a:pt x="912138" y="513167"/>
                  <a:pt x="891829" y="521048"/>
                  <a:pt x="882650" y="541702"/>
                </a:cubicBezTo>
                <a:cubicBezTo>
                  <a:pt x="877213" y="553935"/>
                  <a:pt x="869950" y="579802"/>
                  <a:pt x="869950" y="579802"/>
                </a:cubicBezTo>
                <a:cubicBezTo>
                  <a:pt x="872665" y="615099"/>
                  <a:pt x="862158" y="654560"/>
                  <a:pt x="889000" y="681402"/>
                </a:cubicBezTo>
                <a:cubicBezTo>
                  <a:pt x="894396" y="686798"/>
                  <a:pt x="901700" y="689869"/>
                  <a:pt x="908050" y="694102"/>
                </a:cubicBezTo>
                <a:cubicBezTo>
                  <a:pt x="914562" y="713637"/>
                  <a:pt x="920956" y="722317"/>
                  <a:pt x="908050" y="744902"/>
                </a:cubicBezTo>
                <a:cubicBezTo>
                  <a:pt x="904264" y="751528"/>
                  <a:pt x="895350" y="753369"/>
                  <a:pt x="889000" y="757602"/>
                </a:cubicBezTo>
                <a:cubicBezTo>
                  <a:pt x="891117" y="763952"/>
                  <a:pt x="891169" y="771425"/>
                  <a:pt x="895350" y="776652"/>
                </a:cubicBezTo>
                <a:cubicBezTo>
                  <a:pt x="924983" y="813694"/>
                  <a:pt x="914400" y="751252"/>
                  <a:pt x="939800" y="827452"/>
                </a:cubicBezTo>
                <a:lnTo>
                  <a:pt x="952500" y="865552"/>
                </a:lnTo>
                <a:cubicBezTo>
                  <a:pt x="949512" y="874517"/>
                  <a:pt x="947022" y="898921"/>
                  <a:pt x="927100" y="890952"/>
                </a:cubicBezTo>
                <a:cubicBezTo>
                  <a:pt x="920014" y="888118"/>
                  <a:pt x="918633" y="878252"/>
                  <a:pt x="914400" y="871902"/>
                </a:cubicBezTo>
                <a:cubicBezTo>
                  <a:pt x="912283" y="859202"/>
                  <a:pt x="914438" y="844981"/>
                  <a:pt x="908050" y="833802"/>
                </a:cubicBezTo>
                <a:cubicBezTo>
                  <a:pt x="904729" y="827990"/>
                  <a:pt x="895693" y="827452"/>
                  <a:pt x="889000" y="827452"/>
                </a:cubicBezTo>
                <a:cubicBezTo>
                  <a:pt x="863512" y="827452"/>
                  <a:pt x="838200" y="831685"/>
                  <a:pt x="812800" y="833802"/>
                </a:cubicBezTo>
                <a:cubicBezTo>
                  <a:pt x="806450" y="835919"/>
                  <a:pt x="800398" y="839370"/>
                  <a:pt x="793750" y="840152"/>
                </a:cubicBezTo>
                <a:cubicBezTo>
                  <a:pt x="764245" y="843623"/>
                  <a:pt x="733672" y="839297"/>
                  <a:pt x="704850" y="846502"/>
                </a:cubicBezTo>
                <a:cubicBezTo>
                  <a:pt x="697446" y="848353"/>
                  <a:pt x="696383" y="859202"/>
                  <a:pt x="692150" y="865552"/>
                </a:cubicBezTo>
                <a:cubicBezTo>
                  <a:pt x="708024" y="944921"/>
                  <a:pt x="678679" y="850093"/>
                  <a:pt x="742950" y="903652"/>
                </a:cubicBezTo>
                <a:cubicBezTo>
                  <a:pt x="749654" y="909239"/>
                  <a:pt x="742771" y="922881"/>
                  <a:pt x="736600" y="929052"/>
                </a:cubicBezTo>
                <a:cubicBezTo>
                  <a:pt x="730429" y="935223"/>
                  <a:pt x="719591" y="933004"/>
                  <a:pt x="711200" y="935402"/>
                </a:cubicBezTo>
                <a:cubicBezTo>
                  <a:pt x="704764" y="937241"/>
                  <a:pt x="698500" y="939635"/>
                  <a:pt x="692150" y="941752"/>
                </a:cubicBezTo>
                <a:cubicBezTo>
                  <a:pt x="694267" y="960802"/>
                  <a:pt x="691950" y="980889"/>
                  <a:pt x="698500" y="998902"/>
                </a:cubicBezTo>
                <a:cubicBezTo>
                  <a:pt x="701108" y="1006074"/>
                  <a:pt x="711687" y="1006716"/>
                  <a:pt x="717550" y="1011602"/>
                </a:cubicBezTo>
                <a:cubicBezTo>
                  <a:pt x="724449" y="1017351"/>
                  <a:pt x="730250" y="1024302"/>
                  <a:pt x="736600" y="1030652"/>
                </a:cubicBezTo>
                <a:lnTo>
                  <a:pt x="749300" y="1068752"/>
                </a:lnTo>
                <a:lnTo>
                  <a:pt x="755650" y="1087802"/>
                </a:lnTo>
                <a:cubicBezTo>
                  <a:pt x="753615" y="1095940"/>
                  <a:pt x="747505" y="1123142"/>
                  <a:pt x="742950" y="1132252"/>
                </a:cubicBezTo>
                <a:cubicBezTo>
                  <a:pt x="739537" y="1139078"/>
                  <a:pt x="733350" y="1144328"/>
                  <a:pt x="730250" y="1151302"/>
                </a:cubicBezTo>
                <a:cubicBezTo>
                  <a:pt x="712190" y="1191938"/>
                  <a:pt x="721745" y="1182486"/>
                  <a:pt x="711200" y="1221152"/>
                </a:cubicBezTo>
                <a:cubicBezTo>
                  <a:pt x="707678" y="1234067"/>
                  <a:pt x="702733" y="1246552"/>
                  <a:pt x="698500" y="1259252"/>
                </a:cubicBezTo>
                <a:lnTo>
                  <a:pt x="692150" y="1278302"/>
                </a:lnTo>
                <a:cubicBezTo>
                  <a:pt x="681567" y="1276185"/>
                  <a:pt x="669380" y="1277939"/>
                  <a:pt x="660400" y="1271952"/>
                </a:cubicBezTo>
                <a:cubicBezTo>
                  <a:pt x="654831" y="1268239"/>
                  <a:pt x="652950" y="1259504"/>
                  <a:pt x="654050" y="1252902"/>
                </a:cubicBezTo>
                <a:cubicBezTo>
                  <a:pt x="656696" y="1237027"/>
                  <a:pt x="674688" y="1228560"/>
                  <a:pt x="685800" y="1221152"/>
                </a:cubicBezTo>
                <a:cubicBezTo>
                  <a:pt x="683683" y="1210569"/>
                  <a:pt x="687082" y="1197034"/>
                  <a:pt x="679450" y="1189402"/>
                </a:cubicBezTo>
                <a:cubicBezTo>
                  <a:pt x="669984" y="1179936"/>
                  <a:pt x="654050" y="1180935"/>
                  <a:pt x="641350" y="1176702"/>
                </a:cubicBezTo>
                <a:cubicBezTo>
                  <a:pt x="620136" y="1169631"/>
                  <a:pt x="620820" y="1169318"/>
                  <a:pt x="596900" y="1164002"/>
                </a:cubicBezTo>
                <a:cubicBezTo>
                  <a:pt x="586364" y="1161661"/>
                  <a:pt x="575877" y="1158844"/>
                  <a:pt x="565150" y="1157652"/>
                </a:cubicBezTo>
                <a:cubicBezTo>
                  <a:pt x="537721" y="1154604"/>
                  <a:pt x="510117" y="1153419"/>
                  <a:pt x="482600" y="1151302"/>
                </a:cubicBezTo>
                <a:cubicBezTo>
                  <a:pt x="444482" y="1138596"/>
                  <a:pt x="448263" y="1146167"/>
                  <a:pt x="425450" y="1119552"/>
                </a:cubicBezTo>
                <a:cubicBezTo>
                  <a:pt x="418562" y="1111517"/>
                  <a:pt x="412750" y="1102619"/>
                  <a:pt x="406400" y="1094152"/>
                </a:cubicBezTo>
                <a:lnTo>
                  <a:pt x="393700" y="1056052"/>
                </a:lnTo>
                <a:cubicBezTo>
                  <a:pt x="391583" y="1049702"/>
                  <a:pt x="392919" y="1040715"/>
                  <a:pt x="387350" y="1037002"/>
                </a:cubicBezTo>
                <a:lnTo>
                  <a:pt x="368300" y="1024302"/>
                </a:lnTo>
                <a:cubicBezTo>
                  <a:pt x="366183" y="1017952"/>
                  <a:pt x="366683" y="1009985"/>
                  <a:pt x="361950" y="1005252"/>
                </a:cubicBezTo>
                <a:cubicBezTo>
                  <a:pt x="351157" y="994459"/>
                  <a:pt x="336550" y="988319"/>
                  <a:pt x="323850" y="979852"/>
                </a:cubicBezTo>
                <a:cubicBezTo>
                  <a:pt x="302978" y="965937"/>
                  <a:pt x="308754" y="967375"/>
                  <a:pt x="285750" y="960802"/>
                </a:cubicBezTo>
                <a:cubicBezTo>
                  <a:pt x="277359" y="958404"/>
                  <a:pt x="268709" y="956960"/>
                  <a:pt x="260350" y="954452"/>
                </a:cubicBezTo>
                <a:cubicBezTo>
                  <a:pt x="247528" y="950605"/>
                  <a:pt x="222250" y="941752"/>
                  <a:pt x="222250" y="941752"/>
                </a:cubicBezTo>
                <a:cubicBezTo>
                  <a:pt x="179445" y="956020"/>
                  <a:pt x="179300" y="958740"/>
                  <a:pt x="107950" y="941752"/>
                </a:cubicBezTo>
                <a:cubicBezTo>
                  <a:pt x="93102" y="938217"/>
                  <a:pt x="84817" y="919345"/>
                  <a:pt x="69850" y="916352"/>
                </a:cubicBezTo>
                <a:lnTo>
                  <a:pt x="6350" y="903652"/>
                </a:lnTo>
                <a:lnTo>
                  <a:pt x="0" y="878252"/>
                </a:lnTo>
                <a:close/>
              </a:path>
            </a:pathLst>
          </a:custGeom>
          <a:solidFill>
            <a:srgbClr val="3399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IN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2051056" y="766233"/>
            <a:ext cx="1065213" cy="289984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కొలంబియా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179394" y="1333500"/>
            <a:ext cx="1762125" cy="7620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0° 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అక్షాంశం</a:t>
            </a: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భూమధ్య</a:t>
            </a: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రేఖ</a:t>
            </a:r>
            <a:endParaRPr lang="en-IN" dirty="0">
              <a:solidFill>
                <a:srgbClr val="C000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34" name="Title 1"/>
          <p:cNvSpPr txBox="1">
            <a:spLocks/>
          </p:cNvSpPr>
          <p:nvPr/>
        </p:nvSpPr>
        <p:spPr>
          <a:xfrm>
            <a:off x="71444" y="3619500"/>
            <a:ext cx="2143125" cy="762000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23 ½°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దక్షిణ</a:t>
            </a: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అక్షాంశం</a:t>
            </a: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మకర</a:t>
            </a:r>
            <a:r>
              <a:rPr lang="en-US" dirty="0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 </a:t>
            </a:r>
            <a:r>
              <a:rPr lang="en-US" dirty="0" err="1">
                <a:solidFill>
                  <a:srgbClr val="C00000"/>
                </a:solidFill>
                <a:latin typeface="Ramabhadra" pitchFamily="2" charset="0"/>
                <a:ea typeface="Calibri" pitchFamily="34" charset="0"/>
                <a:cs typeface="Ramabhadra" pitchFamily="2" charset="0"/>
              </a:rPr>
              <a:t>రేఖ</a:t>
            </a:r>
            <a:endParaRPr lang="en-IN" dirty="0">
              <a:solidFill>
                <a:srgbClr val="C000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2071692" y="6381751"/>
            <a:ext cx="1500187" cy="381000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మాజిలాన్</a:t>
            </a:r>
            <a:r>
              <a:rPr lang="en-IN" sz="120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జలసంధి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-642938" y="1284821"/>
            <a:ext cx="9931401" cy="48683"/>
          </a:xfrm>
          <a:prstGeom prst="line">
            <a:avLst/>
          </a:prstGeom>
          <a:ln w="381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-642938" y="3500971"/>
            <a:ext cx="9786938" cy="118533"/>
          </a:xfrm>
          <a:prstGeom prst="line">
            <a:avLst/>
          </a:prstGeom>
          <a:ln w="381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1"/>
          <p:cNvSpPr>
            <a:spLocks noChangeArrowheads="1"/>
          </p:cNvSpPr>
          <p:nvPr/>
        </p:nvSpPr>
        <p:spPr bwMode="auto">
          <a:xfrm>
            <a:off x="357194" y="4762506"/>
            <a:ext cx="21431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n-US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సిఫిక్</a:t>
            </a:r>
            <a:r>
              <a:rPr lang="en-US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pc="300" dirty="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3" name="Rectangle 1"/>
          <p:cNvSpPr>
            <a:spLocks noChangeArrowheads="1"/>
          </p:cNvSpPr>
          <p:nvPr/>
        </p:nvSpPr>
        <p:spPr bwMode="auto">
          <a:xfrm>
            <a:off x="5929313" y="476255"/>
            <a:ext cx="28575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ఉత్తర</a:t>
            </a:r>
            <a:r>
              <a:rPr lang="en-US" sz="1600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అట్లాంటిక్</a:t>
            </a:r>
            <a:r>
              <a:rPr lang="en-US" sz="1600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1600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1600" spc="300" dirty="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4" name="Rectangle 1"/>
          <p:cNvSpPr>
            <a:spLocks noChangeArrowheads="1"/>
          </p:cNvSpPr>
          <p:nvPr/>
        </p:nvSpPr>
        <p:spPr bwMode="auto">
          <a:xfrm>
            <a:off x="4337050" y="6477006"/>
            <a:ext cx="43068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n-US" sz="1400" spc="600" dirty="0" err="1">
                <a:latin typeface="Ramabhadra" pitchFamily="2" charset="0"/>
                <a:cs typeface="Ramabhadra" pitchFamily="2" charset="0"/>
              </a:rPr>
              <a:t>దక్షిణ</a:t>
            </a:r>
            <a:r>
              <a:rPr lang="en-US" sz="14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400" spc="600" dirty="0" err="1"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1400" spc="600" dirty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1400" spc="600" dirty="0" err="1"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1400" spc="600" dirty="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45" name="Rectangle 2"/>
          <p:cNvSpPr>
            <a:spLocks noChangeArrowheads="1"/>
          </p:cNvSpPr>
          <p:nvPr/>
        </p:nvSpPr>
        <p:spPr bwMode="auto">
          <a:xfrm>
            <a:off x="2857500" y="52922"/>
            <a:ext cx="134778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r>
              <a:rPr lang="en-US" sz="1000">
                <a:latin typeface="Ramabhadra" pitchFamily="2" charset="0"/>
                <a:cs typeface="Ramabhadra" pitchFamily="2" charset="0"/>
              </a:rPr>
              <a:t>పనామాకాలువ</a:t>
            </a:r>
          </a:p>
        </p:txBody>
      </p:sp>
      <p:sp>
        <p:nvSpPr>
          <p:cNvPr id="49" name="Title 1"/>
          <p:cNvSpPr txBox="1">
            <a:spLocks/>
          </p:cNvSpPr>
          <p:nvPr/>
        </p:nvSpPr>
        <p:spPr>
          <a:xfrm>
            <a:off x="4500563" y="2667004"/>
            <a:ext cx="1079500" cy="33866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400" dirty="0" err="1">
                <a:latin typeface="Ramabhadra" pitchFamily="2" charset="0"/>
                <a:ea typeface="+mj-ea"/>
                <a:cs typeface="Ramabhadra" pitchFamily="2" charset="0"/>
              </a:rPr>
              <a:t>బ్రెసిలియా</a:t>
            </a:r>
            <a:endParaRPr lang="en-IN" sz="14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1" name="5-Point Star 50"/>
          <p:cNvSpPr/>
          <p:nvPr/>
        </p:nvSpPr>
        <p:spPr>
          <a:xfrm>
            <a:off x="5072069" y="2571757"/>
            <a:ext cx="71437" cy="95249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2" name="Title 1"/>
          <p:cNvSpPr txBox="1">
            <a:spLocks/>
          </p:cNvSpPr>
          <p:nvPr/>
        </p:nvSpPr>
        <p:spPr>
          <a:xfrm>
            <a:off x="4786319" y="762006"/>
            <a:ext cx="1285875" cy="243417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ఫ్రెంచ్</a:t>
            </a:r>
            <a:r>
              <a:rPr lang="en-IN" sz="120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గినియా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3" name="Title 1"/>
          <p:cNvSpPr txBox="1">
            <a:spLocks/>
          </p:cNvSpPr>
          <p:nvPr/>
        </p:nvSpPr>
        <p:spPr>
          <a:xfrm rot="19468935">
            <a:off x="4387850" y="258233"/>
            <a:ext cx="1239838" cy="340784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సురినామ్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 rot="19076114">
            <a:off x="4225925" y="402171"/>
            <a:ext cx="763588" cy="148167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గయానా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5" name="Title 1"/>
          <p:cNvSpPr txBox="1">
            <a:spLocks/>
          </p:cNvSpPr>
          <p:nvPr/>
        </p:nvSpPr>
        <p:spPr>
          <a:xfrm>
            <a:off x="3286125" y="190504"/>
            <a:ext cx="1079500" cy="33866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dirty="0" err="1">
                <a:latin typeface="Ramabhadra" pitchFamily="2" charset="0"/>
                <a:ea typeface="+mj-ea"/>
                <a:cs typeface="Ramabhadra" pitchFamily="2" charset="0"/>
              </a:rPr>
              <a:t>కారకస్</a:t>
            </a:r>
            <a:endParaRPr lang="en-IN" sz="12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56" name="5-Point Star 55"/>
          <p:cNvSpPr/>
          <p:nvPr/>
        </p:nvSpPr>
        <p:spPr>
          <a:xfrm>
            <a:off x="3571875" y="381002"/>
            <a:ext cx="71438" cy="95251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7" name="Rectangle 1"/>
          <p:cNvSpPr>
            <a:spLocks noChangeArrowheads="1"/>
          </p:cNvSpPr>
          <p:nvPr/>
        </p:nvSpPr>
        <p:spPr bwMode="auto">
          <a:xfrm>
            <a:off x="6000751" y="3602571"/>
            <a:ext cx="28575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దక్షిణ</a:t>
            </a:r>
            <a:r>
              <a:rPr lang="en-US" sz="1600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అట్లాంటిక్</a:t>
            </a:r>
            <a:r>
              <a:rPr lang="en-US" sz="1600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మహా</a:t>
            </a:r>
            <a:r>
              <a:rPr lang="en-US" sz="1600" spc="300" dirty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1600" spc="300" dirty="0" err="1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సముద్రము</a:t>
            </a:r>
            <a:endParaRPr lang="en-US" sz="1600" spc="300" dirty="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59" name="Title 1"/>
          <p:cNvSpPr txBox="1">
            <a:spLocks/>
          </p:cNvSpPr>
          <p:nvPr/>
        </p:nvSpPr>
        <p:spPr>
          <a:xfrm>
            <a:off x="3286125" y="2762253"/>
            <a:ext cx="1079500" cy="33866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000" dirty="0" err="1">
                <a:solidFill>
                  <a:schemeClr val="bg1"/>
                </a:solidFill>
                <a:latin typeface="Ramabhadra" pitchFamily="2" charset="0"/>
                <a:ea typeface="+mj-ea"/>
                <a:cs typeface="Ramabhadra" pitchFamily="2" charset="0"/>
              </a:rPr>
              <a:t>లాపాజ్</a:t>
            </a:r>
            <a:endParaRPr lang="en-IN" sz="1000" dirty="0">
              <a:solidFill>
                <a:schemeClr val="bg1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60" name="5-Point Star 59"/>
          <p:cNvSpPr/>
          <p:nvPr/>
        </p:nvSpPr>
        <p:spPr>
          <a:xfrm>
            <a:off x="3635375" y="2709337"/>
            <a:ext cx="71438" cy="95251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1" name="Title 1"/>
          <p:cNvSpPr txBox="1">
            <a:spLocks/>
          </p:cNvSpPr>
          <p:nvPr/>
        </p:nvSpPr>
        <p:spPr>
          <a:xfrm>
            <a:off x="2571750" y="2042588"/>
            <a:ext cx="1079500" cy="33866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000" dirty="0" err="1">
                <a:latin typeface="Ramabhadra" pitchFamily="2" charset="0"/>
                <a:ea typeface="+mj-ea"/>
                <a:cs typeface="Ramabhadra" pitchFamily="2" charset="0"/>
              </a:rPr>
              <a:t>లిమా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62" name="5-Point Star 61"/>
          <p:cNvSpPr/>
          <p:nvPr/>
        </p:nvSpPr>
        <p:spPr>
          <a:xfrm>
            <a:off x="2857500" y="2233089"/>
            <a:ext cx="71438" cy="95249"/>
          </a:xfrm>
          <a:prstGeom prst="star5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4429126" y="4328588"/>
            <a:ext cx="928688" cy="338667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050" dirty="0" err="1">
                <a:latin typeface="Ramabhadra" pitchFamily="2" charset="0"/>
                <a:ea typeface="+mj-ea"/>
                <a:cs typeface="Ramabhadra" pitchFamily="2" charset="0"/>
              </a:rPr>
              <a:t>బ్యూనస్</a:t>
            </a:r>
            <a:r>
              <a:rPr lang="en-IN" sz="1050" dirty="0"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lang="en-IN" sz="1050" dirty="0" err="1">
                <a:latin typeface="Ramabhadra" pitchFamily="2" charset="0"/>
                <a:ea typeface="+mj-ea"/>
                <a:cs typeface="Ramabhadra" pitchFamily="2" charset="0"/>
              </a:rPr>
              <a:t>ఎయిర్స్</a:t>
            </a:r>
            <a:endParaRPr lang="en-IN" sz="105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64" name="5-Point Star 63"/>
          <p:cNvSpPr/>
          <p:nvPr/>
        </p:nvSpPr>
        <p:spPr>
          <a:xfrm>
            <a:off x="4421194" y="4328590"/>
            <a:ext cx="71437" cy="95249"/>
          </a:xfrm>
          <a:prstGeom prst="star5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1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65" name="Title 1"/>
          <p:cNvSpPr txBox="1">
            <a:spLocks/>
          </p:cNvSpPr>
          <p:nvPr/>
        </p:nvSpPr>
        <p:spPr>
          <a:xfrm>
            <a:off x="2214563" y="3905253"/>
            <a:ext cx="1079500" cy="338667"/>
          </a:xfrm>
          <a:prstGeom prst="rect">
            <a:avLst/>
          </a:prstGeom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000" dirty="0" err="1">
                <a:latin typeface="Ramabhadra" pitchFamily="2" charset="0"/>
                <a:ea typeface="+mj-ea"/>
                <a:cs typeface="Ramabhadra" pitchFamily="2" charset="0"/>
              </a:rPr>
              <a:t>శాంటియాగో</a:t>
            </a:r>
            <a:endParaRPr lang="en-IN" sz="1000" dirty="0"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66" name="5-Point Star 65"/>
          <p:cNvSpPr/>
          <p:nvPr/>
        </p:nvSpPr>
        <p:spPr>
          <a:xfrm>
            <a:off x="3286131" y="4000503"/>
            <a:ext cx="142875" cy="190500"/>
          </a:xfrm>
          <a:prstGeom prst="star5">
            <a:avLst/>
          </a:prstGeom>
          <a:solidFill>
            <a:srgbClr val="FFFF00"/>
          </a:solidFill>
          <a:ln w="3175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en-US" sz="1100"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 rot="17334657">
            <a:off x="2718334" y="4185184"/>
            <a:ext cx="2173817" cy="161925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000" dirty="0" err="1">
                <a:solidFill>
                  <a:srgbClr val="FFFF00"/>
                </a:solidFill>
                <a:latin typeface="Ramabhadra" pitchFamily="2" charset="0"/>
                <a:ea typeface="+mj-ea"/>
                <a:cs typeface="Ramabhadra" pitchFamily="2" charset="0"/>
              </a:rPr>
              <a:t>అర్జంటీనా</a:t>
            </a:r>
            <a:endParaRPr lang="en-IN" sz="2000" dirty="0">
              <a:solidFill>
                <a:srgbClr val="FFFF00"/>
              </a:solidFill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214283" y="307570"/>
            <a:ext cx="2000264" cy="769441"/>
          </a:xfrm>
          <a:prstGeom prst="rect">
            <a:avLst/>
          </a:prstGeom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IN" sz="2400" spc="50" dirty="0" err="1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దక్షిణ</a:t>
            </a:r>
            <a:r>
              <a:rPr lang="en-IN" sz="2400" spc="50" dirty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IN" sz="2400" spc="50" dirty="0" err="1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అమెరికా</a:t>
            </a:r>
            <a:r>
              <a:rPr lang="en-IN" sz="2400" spc="50" dirty="0">
                <a:ln w="11430"/>
                <a:solidFill>
                  <a:srgbClr val="0000FF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IN" sz="2000" b="1" cap="all" dirty="0" err="1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latin typeface="NTR" pitchFamily="2" charset="0"/>
                <a:ea typeface="Ponnala" pitchFamily="2" charset="0"/>
                <a:cs typeface="NTR" pitchFamily="2" charset="0"/>
              </a:rPr>
              <a:t>రాజకీయ</a:t>
            </a:r>
            <a:r>
              <a:rPr lang="en-IN" sz="2000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latin typeface="NTR" pitchFamily="2" charset="0"/>
                <a:ea typeface="Ponnala" pitchFamily="2" charset="0"/>
                <a:cs typeface="NTR" pitchFamily="2" charset="0"/>
              </a:rPr>
              <a:t> </a:t>
            </a:r>
            <a:r>
              <a:rPr lang="en-IN" sz="2000" b="1" cap="all" dirty="0" err="1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FF0000"/>
                </a:solidFill>
                <a:effectLst>
                  <a:reflection blurRad="12700" stA="28000" endPos="45000" dist="1000" dir="5400000" sy="-100000" algn="bl" rotWithShape="0"/>
                </a:effectLst>
                <a:latin typeface="NTR" pitchFamily="2" charset="0"/>
                <a:ea typeface="Ponnala" pitchFamily="2" charset="0"/>
                <a:cs typeface="NTR" pitchFamily="2" charset="0"/>
              </a:rPr>
              <a:t>విభాగం</a:t>
            </a:r>
            <a:endParaRPr lang="en-US" sz="20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FF0000"/>
              </a:solidFill>
              <a:effectLst>
                <a:reflection blurRad="12700" stA="28000" endPos="45000" dist="1000" dir="5400000" sy="-100000" algn="bl" rotWithShape="0"/>
              </a:effectLst>
              <a:latin typeface="NTR" pitchFamily="2" charset="0"/>
              <a:ea typeface="Ponnala" pitchFamily="2" charset="0"/>
              <a:cs typeface="NTR" pitchFamily="2" charset="0"/>
            </a:endParaRPr>
          </a:p>
        </p:txBody>
      </p:sp>
    </p:spTree>
  </p:cSld>
  <p:clrMapOvr>
    <a:masterClrMapping/>
  </p:clrMapOvr>
  <p:transition advTm="51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7" dur="1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8" dur="10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9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10" dur="2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925" decel="100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1925" decel="100000"/>
                                        <p:tgtEl>
                                          <p:spTgt spid="2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8" dur="192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0" dur="1925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925" decel="100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7" dur="1925" decel="100000"/>
                                        <p:tgtEl>
                                          <p:spTgt spid="37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9" dur="1925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1" dur="1925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3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3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3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925" decel="100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1925" decel="100000"/>
                                        <p:tgtEl>
                                          <p:spTgt spid="5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5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60" dur="1925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6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62" dur="1925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6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925" decel="100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5" dur="1925" decel="100000"/>
                                        <p:tgtEl>
                                          <p:spTgt spid="5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7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77" dur="1925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7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79" dur="1925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8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925" decel="100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6" dur="1925" decel="100000"/>
                                        <p:tgtEl>
                                          <p:spTgt spid="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8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88" dur="1925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8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90" dur="1925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9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925" decel="100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7" dur="1925" decel="100000"/>
                                        <p:tgtEl>
                                          <p:spTgt spid="5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9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99" dur="1925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0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01" dur="1925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0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925" decel="100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8" dur="1925" decel="100000"/>
                                        <p:tgtEl>
                                          <p:spTgt spid="1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0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10" dur="1925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1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12" dur="1925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1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925" decel="100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9" dur="1925" decel="100000"/>
                                        <p:tgtEl>
                                          <p:spTgt spid="1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2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21" dur="1925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2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23" dur="1925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2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3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3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3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3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1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1925" decel="100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0" dur="1925" decel="100000"/>
                                        <p:tgtEl>
                                          <p:spTgt spid="1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5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52" dur="1925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5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54" dur="1925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5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0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1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925" decel="100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9" dur="1925" decel="100000"/>
                                        <p:tgtEl>
                                          <p:spTgt spid="1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17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171" dur="1925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17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173" dur="1925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17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5" fill="hold">
                      <p:stCondLst>
                        <p:cond delay="indefinite"/>
                      </p:stCondLst>
                      <p:childTnLst>
                        <p:par>
                          <p:cTn id="176" fill="hold">
                            <p:stCondLst>
                              <p:cond delay="0"/>
                            </p:stCondLst>
                            <p:childTnLst>
                              <p:par>
                                <p:cTn id="17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9" dur="3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3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5" dur="3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3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7" fill="hold">
                      <p:stCondLst>
                        <p:cond delay="indefinite"/>
                      </p:stCondLst>
                      <p:childTnLst>
                        <p:par>
                          <p:cTn id="188" fill="hold">
                            <p:stCondLst>
                              <p:cond delay="0"/>
                            </p:stCondLst>
                            <p:childTnLst>
                              <p:par>
                                <p:cTn id="189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1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2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5" fill="hold">
                      <p:stCondLst>
                        <p:cond delay="indefinite"/>
                      </p:stCondLst>
                      <p:childTnLst>
                        <p:par>
                          <p:cTn id="196" fill="hold">
                            <p:stCondLst>
                              <p:cond delay="0"/>
                            </p:stCondLst>
                            <p:childTnLst>
                              <p:par>
                                <p:cTn id="197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9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0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1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3" fill="hold">
                      <p:stCondLst>
                        <p:cond delay="indefinite"/>
                      </p:stCondLst>
                      <p:childTnLst>
                        <p:par>
                          <p:cTn id="204" fill="hold">
                            <p:stCondLst>
                              <p:cond delay="0"/>
                            </p:stCondLst>
                            <p:childTnLst>
                              <p:par>
                                <p:cTn id="205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7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9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0" dur="5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1" fill="hold">
                      <p:stCondLst>
                        <p:cond delay="indefinite"/>
                      </p:stCondLst>
                      <p:childTnLst>
                        <p:par>
                          <p:cTn id="212" fill="hold">
                            <p:stCondLst>
                              <p:cond delay="0"/>
                            </p:stCondLst>
                            <p:childTnLst>
                              <p:par>
                                <p:cTn id="213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5" dur="1925" decel="100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6" dur="1925" decel="100000"/>
                                        <p:tgtEl>
                                          <p:spTgt spid="2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1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18" dur="1925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1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20" dur="1925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2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2" fill="hold">
                      <p:stCondLst>
                        <p:cond delay="indefinite"/>
                      </p:stCondLst>
                      <p:childTnLst>
                        <p:par>
                          <p:cTn id="223" fill="hold">
                            <p:stCondLst>
                              <p:cond delay="0"/>
                            </p:stCondLst>
                            <p:childTnLst>
                              <p:par>
                                <p:cTn id="224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6" dur="3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7" dur="3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8" fill="hold">
                      <p:stCondLst>
                        <p:cond delay="indefinite"/>
                      </p:stCondLst>
                      <p:childTnLst>
                        <p:par>
                          <p:cTn id="229" fill="hold">
                            <p:stCondLst>
                              <p:cond delay="0"/>
                            </p:stCondLst>
                            <p:childTnLst>
                              <p:par>
                                <p:cTn id="230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2" dur="3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3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4" fill="hold">
                      <p:stCondLst>
                        <p:cond delay="indefinite"/>
                      </p:stCondLst>
                      <p:childTnLst>
                        <p:par>
                          <p:cTn id="235" fill="hold">
                            <p:stCondLst>
                              <p:cond delay="0"/>
                            </p:stCondLst>
                            <p:childTnLst>
                              <p:par>
                                <p:cTn id="236" presetID="1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8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0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1" dur="5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2" fill="hold">
                      <p:stCondLst>
                        <p:cond delay="indefinite"/>
                      </p:stCondLst>
                      <p:childTnLst>
                        <p:par>
                          <p:cTn id="243" fill="hold">
                            <p:stCondLst>
                              <p:cond delay="0"/>
                            </p:stCondLst>
                            <p:childTnLst>
                              <p:par>
                                <p:cTn id="24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6" dur="1925" decel="100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7" dur="1925" decel="100000"/>
                                        <p:tgtEl>
                                          <p:spTgt spid="22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4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49" dur="1925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5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51" dur="1925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5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3" fill="hold">
                      <p:stCondLst>
                        <p:cond delay="indefinite"/>
                      </p:stCondLst>
                      <p:childTnLst>
                        <p:par>
                          <p:cTn id="254" fill="hold">
                            <p:stCondLst>
                              <p:cond delay="0"/>
                            </p:stCondLst>
                            <p:childTnLst>
                              <p:par>
                                <p:cTn id="255" presetID="5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7" dur="1155" decel="100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8" dur="1155" decel="100000"/>
                                        <p:tgtEl>
                                          <p:spTgt spid="2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59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60" dur="1155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61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62" dur="1155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63" dur="1845" accel="100000" fill="hold">
                                          <p:stCondLst>
                                            <p:cond delay="1155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4" fill="hold">
                      <p:stCondLst>
                        <p:cond delay="indefinite"/>
                      </p:stCondLst>
                      <p:childTnLst>
                        <p:par>
                          <p:cTn id="265" fill="hold">
                            <p:stCondLst>
                              <p:cond delay="0"/>
                            </p:stCondLst>
                            <p:childTnLst>
                              <p:par>
                                <p:cTn id="266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8" dur="770" decel="100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9" dur="770" decel="100000"/>
                                        <p:tgtEl>
                                          <p:spTgt spid="2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7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271" dur="77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272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273" dur="77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27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5" fill="hold">
                      <p:stCondLst>
                        <p:cond delay="indefinite"/>
                      </p:stCondLst>
                      <p:childTnLst>
                        <p:par>
                          <p:cTn id="276" fill="hold">
                            <p:stCondLst>
                              <p:cond delay="0"/>
                            </p:stCondLst>
                            <p:childTnLst>
                              <p:par>
                                <p:cTn id="277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9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1" fill="hold">
                      <p:stCondLst>
                        <p:cond delay="indefinite"/>
                      </p:stCondLst>
                      <p:childTnLst>
                        <p:par>
                          <p:cTn id="282" fill="hold">
                            <p:stCondLst>
                              <p:cond delay="0"/>
                            </p:stCondLst>
                            <p:childTnLst>
                              <p:par>
                                <p:cTn id="283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5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6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7" fill="hold">
                      <p:stCondLst>
                        <p:cond delay="indefinite"/>
                      </p:stCondLst>
                      <p:childTnLst>
                        <p:par>
                          <p:cTn id="288" fill="hold">
                            <p:stCondLst>
                              <p:cond delay="0"/>
                            </p:stCondLst>
                            <p:childTnLst>
                              <p:par>
                                <p:cTn id="28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1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2" dur="5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3" fill="hold">
                      <p:stCondLst>
                        <p:cond delay="indefinite"/>
                      </p:stCondLst>
                      <p:childTnLst>
                        <p:par>
                          <p:cTn id="294" fill="hold">
                            <p:stCondLst>
                              <p:cond delay="0"/>
                            </p:stCondLst>
                            <p:childTnLst>
                              <p:par>
                                <p:cTn id="295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7" dur="1925" decel="100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8" dur="1925" decel="100000"/>
                                        <p:tgtEl>
                                          <p:spTgt spid="26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29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00" dur="1925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01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02" dur="1925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03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4" fill="hold">
                      <p:stCondLst>
                        <p:cond delay="indefinite"/>
                      </p:stCondLst>
                      <p:childTnLst>
                        <p:par>
                          <p:cTn id="305" fill="hold">
                            <p:stCondLst>
                              <p:cond delay="0"/>
                            </p:stCondLst>
                            <p:childTnLst>
                              <p:par>
                                <p:cTn id="306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8" dur="3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9" dur="3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0" fill="hold">
                      <p:stCondLst>
                        <p:cond delay="indefinite"/>
                      </p:stCondLst>
                      <p:childTnLst>
                        <p:par>
                          <p:cTn id="311" fill="hold">
                            <p:stCondLst>
                              <p:cond delay="0"/>
                            </p:stCondLst>
                            <p:childTnLst>
                              <p:par>
                                <p:cTn id="31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4" dur="3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5" dur="3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6" fill="hold">
                      <p:stCondLst>
                        <p:cond delay="indefinite"/>
                      </p:stCondLst>
                      <p:childTnLst>
                        <p:par>
                          <p:cTn id="317" fill="hold">
                            <p:stCondLst>
                              <p:cond delay="0"/>
                            </p:stCondLst>
                            <p:childTnLst>
                              <p:par>
                                <p:cTn id="318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0" dur="14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1" dur="4555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2" dur="166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3" dur="1660" tmFilter="0, 0; 0.125,0.2665; 0.25,0.4; 0.375,0.465; 0.5,0.5;  0.625,0.535; 0.75,0.6; 0.875,0.7335; 1,1">
                                          <p:stCondLst>
                                            <p:cond delay="166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4" dur="830" tmFilter="0, 0; 0.125,0.2665; 0.25,0.4; 0.375,0.465; 0.5,0.5;  0.625,0.535; 0.75,0.6; 0.875,0.7335; 1,1">
                                          <p:stCondLst>
                                            <p:cond delay="331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5" dur="410" tmFilter="0, 0; 0.125,0.2665; 0.25,0.4; 0.375,0.465; 0.5,0.5;  0.625,0.535; 0.75,0.6; 0.875,0.7335; 1,1">
                                          <p:stCondLst>
                                            <p:cond delay="414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26" dur="65">
                                          <p:stCondLst>
                                            <p:cond delay="162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27" dur="415" decel="50000">
                                          <p:stCondLst>
                                            <p:cond delay="169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8" dur="65">
                                          <p:stCondLst>
                                            <p:cond delay="328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9" dur="415" decel="50000">
                                          <p:stCondLst>
                                            <p:cond delay="334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0" dur="65">
                                          <p:stCondLst>
                                            <p:cond delay="410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31" dur="415" decel="50000">
                                          <p:stCondLst>
                                            <p:cond delay="417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2" dur="65">
                                          <p:stCondLst>
                                            <p:cond delay="452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33" dur="415" decel="50000">
                                          <p:stCondLst>
                                            <p:cond delay="4585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4" fill="hold">
                      <p:stCondLst>
                        <p:cond delay="indefinite"/>
                      </p:stCondLst>
                      <p:childTnLst>
                        <p:par>
                          <p:cTn id="335" fill="hold">
                            <p:stCondLst>
                              <p:cond delay="0"/>
                            </p:stCondLst>
                            <p:childTnLst>
                              <p:par>
                                <p:cTn id="336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4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4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5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2" fill="hold">
                      <p:stCondLst>
                        <p:cond delay="indefinite"/>
                      </p:stCondLst>
                      <p:childTnLst>
                        <p:par>
                          <p:cTn id="353" fill="hold">
                            <p:stCondLst>
                              <p:cond delay="0"/>
                            </p:stCondLst>
                            <p:childTnLst>
                              <p:par>
                                <p:cTn id="354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6" dur="145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7" dur="4555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8" dur="1660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9" dur="1660" tmFilter="0, 0; 0.125,0.2665; 0.25,0.4; 0.375,0.465; 0.5,0.5;  0.625,0.535; 0.75,0.6; 0.875,0.7335; 1,1">
                                          <p:stCondLst>
                                            <p:cond delay="166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0" dur="830" tmFilter="0, 0; 0.125,0.2665; 0.25,0.4; 0.375,0.465; 0.5,0.5;  0.625,0.535; 0.75,0.6; 0.875,0.7335; 1,1">
                                          <p:stCondLst>
                                            <p:cond delay="331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1" dur="410" tmFilter="0, 0; 0.125,0.2665; 0.25,0.4; 0.375,0.465; 0.5,0.5;  0.625,0.535; 0.75,0.6; 0.875,0.7335; 1,1">
                                          <p:stCondLst>
                                            <p:cond delay="414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62" dur="65">
                                          <p:stCondLst>
                                            <p:cond delay="162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63" dur="415" decel="50000">
                                          <p:stCondLst>
                                            <p:cond delay="169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4" dur="65">
                                          <p:stCondLst>
                                            <p:cond delay="328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65" dur="415" decel="50000">
                                          <p:stCondLst>
                                            <p:cond delay="334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6" dur="65">
                                          <p:stCondLst>
                                            <p:cond delay="410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67" dur="415" decel="50000">
                                          <p:stCondLst>
                                            <p:cond delay="417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8" dur="65">
                                          <p:stCondLst>
                                            <p:cond delay="452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9" dur="415" decel="50000">
                                          <p:stCondLst>
                                            <p:cond delay="4585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0" fill="hold">
                      <p:stCondLst>
                        <p:cond delay="indefinite"/>
                      </p:stCondLst>
                      <p:childTnLst>
                        <p:par>
                          <p:cTn id="371" fill="hold">
                            <p:stCondLst>
                              <p:cond delay="0"/>
                            </p:stCondLst>
                            <p:childTnLst>
                              <p:par>
                                <p:cTn id="372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4" dur="770" decel="100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5" dur="770" decel="100000"/>
                                        <p:tgtEl>
                                          <p:spTgt spid="31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7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77" dur="77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7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79" dur="77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80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1" fill="hold">
                      <p:stCondLst>
                        <p:cond delay="indefinite"/>
                      </p:stCondLst>
                      <p:childTnLst>
                        <p:par>
                          <p:cTn id="382" fill="hold">
                            <p:stCondLst>
                              <p:cond delay="0"/>
                            </p:stCondLst>
                            <p:childTnLst>
                              <p:par>
                                <p:cTn id="38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5" dur="5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6" fill="hold">
                      <p:stCondLst>
                        <p:cond delay="indefinite"/>
                      </p:stCondLst>
                      <p:childTnLst>
                        <p:par>
                          <p:cTn id="387" fill="hold">
                            <p:stCondLst>
                              <p:cond delay="0"/>
                            </p:stCondLst>
                            <p:childTnLst>
                              <p:par>
                                <p:cTn id="388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0" dur="1925" decel="100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91" dur="1925" decel="100000"/>
                                        <p:tgtEl>
                                          <p:spTgt spid="33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39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393" dur="1925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394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395" dur="1925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396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7" fill="hold">
                      <p:stCondLst>
                        <p:cond delay="indefinite"/>
                      </p:stCondLst>
                      <p:childTnLst>
                        <p:par>
                          <p:cTn id="398" fill="hold">
                            <p:stCondLst>
                              <p:cond delay="0"/>
                            </p:stCondLst>
                            <p:childTnLst>
                              <p:par>
                                <p:cTn id="39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1" dur="5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2" fill="hold">
                      <p:stCondLst>
                        <p:cond delay="indefinite"/>
                      </p:stCondLst>
                      <p:childTnLst>
                        <p:par>
                          <p:cTn id="403" fill="hold">
                            <p:stCondLst>
                              <p:cond delay="0"/>
                            </p:stCondLst>
                            <p:childTnLst>
                              <p:par>
                                <p:cTn id="404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6" dur="1925" decel="100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7" dur="1925" decel="100000"/>
                                        <p:tgtEl>
                                          <p:spTgt spid="34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08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09" dur="1925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10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11" dur="1925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12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3" fill="hold">
                      <p:stCondLst>
                        <p:cond delay="indefinite"/>
                      </p:stCondLst>
                      <p:childTnLst>
                        <p:par>
                          <p:cTn id="414" fill="hold">
                            <p:stCondLst>
                              <p:cond delay="0"/>
                            </p:stCondLst>
                            <p:childTnLst>
                              <p:par>
                                <p:cTn id="41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7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8" dur="2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9" fill="hold">
                      <p:stCondLst>
                        <p:cond delay="indefinite"/>
                      </p:stCondLst>
                      <p:childTnLst>
                        <p:par>
                          <p:cTn id="420" fill="hold">
                            <p:stCondLst>
                              <p:cond delay="0"/>
                            </p:stCondLst>
                            <p:childTnLst>
                              <p:par>
                                <p:cTn id="421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3" dur="1925" decel="100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4" dur="1925" decel="100000"/>
                                        <p:tgtEl>
                                          <p:spTgt spid="38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25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26" dur="1925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27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28" dur="1925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29" dur="3075" accel="100000" fill="hold">
                                          <p:stCondLst>
                                            <p:cond delay="1925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0" fill="hold">
                      <p:stCondLst>
                        <p:cond delay="indefinite"/>
                      </p:stCondLst>
                      <p:childTnLst>
                        <p:par>
                          <p:cTn id="431" fill="hold">
                            <p:stCondLst>
                              <p:cond delay="0"/>
                            </p:stCondLst>
                            <p:childTnLst>
                              <p:par>
                                <p:cTn id="432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4" dur="3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5" dur="3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6" fill="hold">
                      <p:stCondLst>
                        <p:cond delay="indefinite"/>
                      </p:stCondLst>
                      <p:childTnLst>
                        <p:par>
                          <p:cTn id="437" fill="hold">
                            <p:stCondLst>
                              <p:cond delay="0"/>
                            </p:stCondLst>
                            <p:childTnLst>
                              <p:par>
                                <p:cTn id="438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0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1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2" fill="hold">
                      <p:stCondLst>
                        <p:cond delay="indefinite"/>
                      </p:stCondLst>
                      <p:childTnLst>
                        <p:par>
                          <p:cTn id="443" fill="hold">
                            <p:stCondLst>
                              <p:cond delay="0"/>
                            </p:stCondLst>
                            <p:childTnLst>
                              <p:par>
                                <p:cTn id="444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6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7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8" fill="hold">
                      <p:stCondLst>
                        <p:cond delay="indefinite"/>
                      </p:stCondLst>
                      <p:childTnLst>
                        <p:par>
                          <p:cTn id="449" fill="hold">
                            <p:stCondLst>
                              <p:cond delay="0"/>
                            </p:stCondLst>
                            <p:childTnLst>
                              <p:par>
                                <p:cTn id="450" presetID="5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2" dur="770" decel="100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53" dur="770" decel="100000"/>
                                        <p:tgtEl>
                                          <p:spTgt spid="45"/>
                                        </p:tgtEl>
                                      </p:cBhvr>
                                      <p:from x="10000" y="10000"/>
                                      <p:to x="200000" y="450000"/>
                                    </p:animScale>
                                    <p:animScale>
                                      <p:cBhvr>
                                        <p:cTn id="454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</p:cBhvr>
                                      <p:from x="200000" y="450000"/>
                                      <p:to x="100000" y="100000"/>
                                    </p:animScale>
                                    <p:set>
                                      <p:cBhvr>
                                        <p:cTn id="455" dur="77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o>
                                        <p:strVal val="(0.5)"/>
                                      </p:to>
                                    </p:set>
                                    <p:anim from="(0.5)" to="(#ppt_x)" calcmode="lin" valueType="num">
                                      <p:cBhvr>
                                        <p:cTn id="456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set>
                                      <p:cBhvr>
                                        <p:cTn id="457" dur="77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o>
                                        <p:strVal val="(#ppt_y+0.4)"/>
                                      </p:to>
                                    </p:set>
                                    <p:anim from="(#ppt_y+0.4)" to="(#ppt_y)" calcmode="lin" valueType="num">
                                      <p:cBhvr>
                                        <p:cTn id="458" dur="1230" accel="100000" fill="hold">
                                          <p:stCondLst>
                                            <p:cond delay="77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12" grpId="0"/>
      <p:bldP spid="14" grpId="0"/>
      <p:bldP spid="21" grpId="0"/>
      <p:bldP spid="22" grpId="0"/>
      <p:bldP spid="24" grpId="0"/>
      <p:bldP spid="26" grpId="0"/>
      <p:bldP spid="29" grpId="0"/>
      <p:bldP spid="31" grpId="0"/>
      <p:bldP spid="33" grpId="0"/>
      <p:bldP spid="34" grpId="0"/>
      <p:bldP spid="38" grpId="0"/>
      <p:bldP spid="42" grpId="0"/>
      <p:bldP spid="43" grpId="0"/>
      <p:bldP spid="44" grpId="0"/>
      <p:bldP spid="45" grpId="0"/>
      <p:bldP spid="49" grpId="0"/>
      <p:bldP spid="51" grpId="0" animBg="1"/>
      <p:bldP spid="52" grpId="0"/>
      <p:bldP spid="53" grpId="0"/>
      <p:bldP spid="54" grpId="0"/>
      <p:bldP spid="55" grpId="0"/>
      <p:bldP spid="56" grpId="0" animBg="1"/>
      <p:bldP spid="57" grpId="0"/>
      <p:bldP spid="59" grpId="0"/>
      <p:bldP spid="60" grpId="0" animBg="1"/>
      <p:bldP spid="61" grpId="0"/>
      <p:bldP spid="62" grpId="0" animBg="1"/>
      <p:bldP spid="63" grpId="0"/>
      <p:bldP spid="64" grpId="0" animBg="1"/>
      <p:bldP spid="65" grpId="0"/>
      <p:bldP spid="66" grpId="0" animBg="1"/>
      <p:bldP spid="1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MAPS\WORLD\political-world-map-white-thin-b6a - Copy (13)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" y="1535800"/>
            <a:ext cx="9119359" cy="4572000"/>
          </a:xfrm>
          <a:prstGeom prst="rect">
            <a:avLst/>
          </a:prstGeom>
          <a:noFill/>
        </p:spPr>
      </p:pic>
      <p:sp>
        <p:nvSpPr>
          <p:cNvPr id="3" name="Subtitle 2"/>
          <p:cNvSpPr txBox="1">
            <a:spLocks/>
          </p:cNvSpPr>
          <p:nvPr/>
        </p:nvSpPr>
        <p:spPr bwMode="auto">
          <a:xfrm>
            <a:off x="3938954" y="3136011"/>
            <a:ext cx="562708" cy="325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700" dirty="0" err="1">
                <a:latin typeface="Mandali" pitchFamily="2" charset="0"/>
                <a:cs typeface="Mandali" pitchFamily="2" charset="0"/>
              </a:rPr>
              <a:t>లిబి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4360993" y="3231255"/>
            <a:ext cx="424207" cy="361949"/>
          </a:xfrm>
        </p:spPr>
        <p:txBody>
          <a:bodyPr>
            <a:normAutofit/>
          </a:bodyPr>
          <a:lstStyle/>
          <a:p>
            <a:pPr algn="l" eaLnBrk="1" hangingPunct="1"/>
            <a:r>
              <a:rPr lang="en-IN" sz="700" dirty="0" err="1" smtClean="0">
                <a:solidFill>
                  <a:schemeClr val="tx1"/>
                </a:solidFill>
                <a:latin typeface="Mandali" pitchFamily="2" charset="0"/>
                <a:cs typeface="Mandali" pitchFamily="2" charset="0"/>
              </a:rPr>
              <a:t>ఈజిప్ట్</a:t>
            </a:r>
            <a:endParaRPr lang="en-IN" sz="700" dirty="0" smtClean="0">
              <a:solidFill>
                <a:schemeClr val="tx1"/>
              </a:solidFill>
              <a:latin typeface="Mandali" pitchFamily="2" charset="0"/>
              <a:cs typeface="Mandali" pitchFamily="2" charset="0"/>
            </a:endParaRPr>
          </a:p>
        </p:txBody>
      </p:sp>
      <p:sp>
        <p:nvSpPr>
          <p:cNvPr id="5" name="Subtitle 2"/>
          <p:cNvSpPr txBox="1">
            <a:spLocks/>
          </p:cNvSpPr>
          <p:nvPr/>
        </p:nvSpPr>
        <p:spPr bwMode="auto">
          <a:xfrm>
            <a:off x="3516923" y="3152936"/>
            <a:ext cx="562708" cy="28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700" dirty="0" err="1">
                <a:latin typeface="Mandali" pitchFamily="2" charset="0"/>
                <a:cs typeface="Mandali" pitchFamily="2" charset="0"/>
              </a:rPr>
              <a:t>అల్జీరి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 bwMode="auto">
          <a:xfrm rot="5400000">
            <a:off x="4167111" y="3575173"/>
            <a:ext cx="626135" cy="324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సూడాన్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" name="TextBox 42"/>
          <p:cNvSpPr txBox="1">
            <a:spLocks noChangeArrowheads="1"/>
          </p:cNvSpPr>
          <p:nvPr/>
        </p:nvSpPr>
        <p:spPr bwMode="auto">
          <a:xfrm rot="5400000">
            <a:off x="3953510" y="3586858"/>
            <a:ext cx="558711" cy="21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700" dirty="0" err="1">
                <a:latin typeface="Mandali" pitchFamily="2" charset="0"/>
                <a:cs typeface="Mandali" pitchFamily="2" charset="0"/>
              </a:rPr>
              <a:t>చాద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" name="TextBox 43"/>
          <p:cNvSpPr txBox="1">
            <a:spLocks noChangeArrowheads="1"/>
          </p:cNvSpPr>
          <p:nvPr/>
        </p:nvSpPr>
        <p:spPr bwMode="auto">
          <a:xfrm>
            <a:off x="3798281" y="3483386"/>
            <a:ext cx="521677" cy="21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700" dirty="0" err="1">
                <a:latin typeface="Mandali" pitchFamily="2" charset="0"/>
                <a:cs typeface="Mandali" pitchFamily="2" charset="0"/>
              </a:rPr>
              <a:t>నైజర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9" name="TextBox 46"/>
          <p:cNvSpPr txBox="1">
            <a:spLocks noChangeArrowheads="1"/>
          </p:cNvSpPr>
          <p:nvPr/>
        </p:nvSpPr>
        <p:spPr bwMode="auto">
          <a:xfrm>
            <a:off x="3516933" y="3483386"/>
            <a:ext cx="469777" cy="21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700" dirty="0" err="1">
                <a:latin typeface="Mandali" pitchFamily="2" charset="0"/>
                <a:cs typeface="Mandali" pitchFamily="2" charset="0"/>
              </a:rPr>
              <a:t>మాలి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0" name="Subtitle 2"/>
          <p:cNvSpPr txBox="1">
            <a:spLocks/>
          </p:cNvSpPr>
          <p:nvPr/>
        </p:nvSpPr>
        <p:spPr bwMode="auto">
          <a:xfrm rot="-2759937">
            <a:off x="4695048" y="3919083"/>
            <a:ext cx="736415" cy="122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సోమాలి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 bwMode="auto">
          <a:xfrm rot="207447">
            <a:off x="4649030" y="3808343"/>
            <a:ext cx="491473" cy="256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ఇథియోపి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 bwMode="auto">
          <a:xfrm>
            <a:off x="3737244" y="3755080"/>
            <a:ext cx="553411" cy="287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నైజీరి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3" name="Subtitle 2"/>
          <p:cNvSpPr txBox="1">
            <a:spLocks/>
          </p:cNvSpPr>
          <p:nvPr/>
        </p:nvSpPr>
        <p:spPr bwMode="auto">
          <a:xfrm rot="18703798">
            <a:off x="3993827" y="4475351"/>
            <a:ext cx="573307" cy="3888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700" dirty="0" err="1">
                <a:latin typeface="Mandali" pitchFamily="2" charset="0"/>
                <a:cs typeface="Mandali" pitchFamily="2" charset="0"/>
              </a:rPr>
              <a:t>అంగోల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4" name="Subtitle 2"/>
          <p:cNvSpPr txBox="1">
            <a:spLocks/>
          </p:cNvSpPr>
          <p:nvPr/>
        </p:nvSpPr>
        <p:spPr bwMode="auto">
          <a:xfrm>
            <a:off x="3989754" y="4107562"/>
            <a:ext cx="863600" cy="2899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జైరీ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5" name="Subtitle 2"/>
          <p:cNvSpPr txBox="1">
            <a:spLocks/>
          </p:cNvSpPr>
          <p:nvPr/>
        </p:nvSpPr>
        <p:spPr bwMode="auto">
          <a:xfrm rot="18241823">
            <a:off x="4405357" y="4609545"/>
            <a:ext cx="689384" cy="159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700" dirty="0" err="1">
                <a:latin typeface="Mandali" pitchFamily="2" charset="0"/>
                <a:cs typeface="Mandali" pitchFamily="2" charset="0"/>
              </a:rPr>
              <a:t>మొజాంబిక్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6" name="Subtitle 2"/>
          <p:cNvSpPr txBox="1">
            <a:spLocks/>
          </p:cNvSpPr>
          <p:nvPr/>
        </p:nvSpPr>
        <p:spPr bwMode="auto">
          <a:xfrm rot="-3887848">
            <a:off x="4730917" y="4626280"/>
            <a:ext cx="729327" cy="218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మలగసి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7" name="TextBox 49"/>
          <p:cNvSpPr txBox="1">
            <a:spLocks noChangeArrowheads="1"/>
          </p:cNvSpPr>
          <p:nvPr/>
        </p:nvSpPr>
        <p:spPr bwMode="auto">
          <a:xfrm>
            <a:off x="4524043" y="4260774"/>
            <a:ext cx="751342" cy="21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700" dirty="0" err="1">
                <a:latin typeface="Mandali" pitchFamily="2" charset="0"/>
                <a:cs typeface="Mandali" pitchFamily="2" charset="0"/>
              </a:rPr>
              <a:t>టాంజానియా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8" name="Subtitle 2"/>
          <p:cNvSpPr txBox="1">
            <a:spLocks/>
          </p:cNvSpPr>
          <p:nvPr/>
        </p:nvSpPr>
        <p:spPr bwMode="auto">
          <a:xfrm>
            <a:off x="4642339" y="4050400"/>
            <a:ext cx="422031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కెన్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9" name="Subtitle 2"/>
          <p:cNvSpPr txBox="1">
            <a:spLocks/>
          </p:cNvSpPr>
          <p:nvPr/>
        </p:nvSpPr>
        <p:spPr bwMode="auto">
          <a:xfrm>
            <a:off x="4360992" y="4736200"/>
            <a:ext cx="492369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500" dirty="0" err="1">
                <a:latin typeface="Mandali" pitchFamily="2" charset="0"/>
                <a:cs typeface="Mandali" pitchFamily="2" charset="0"/>
              </a:rPr>
              <a:t>జింబాబ్వే</a:t>
            </a:r>
            <a:endParaRPr lang="en-IN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0" name="Subtitle 2"/>
          <p:cNvSpPr txBox="1">
            <a:spLocks/>
          </p:cNvSpPr>
          <p:nvPr/>
        </p:nvSpPr>
        <p:spPr bwMode="auto">
          <a:xfrm rot="19786375">
            <a:off x="4290650" y="4526655"/>
            <a:ext cx="492369" cy="285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జాంబియ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1" name="Subtitle 2"/>
          <p:cNvSpPr txBox="1">
            <a:spLocks/>
          </p:cNvSpPr>
          <p:nvPr/>
        </p:nvSpPr>
        <p:spPr bwMode="auto">
          <a:xfrm rot="-1672027">
            <a:off x="4222994" y="5011359"/>
            <a:ext cx="599240" cy="499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700" dirty="0" err="1">
                <a:latin typeface="Mandali" pitchFamily="2" charset="0"/>
                <a:cs typeface="Mandali" pitchFamily="2" charset="0"/>
              </a:rPr>
              <a:t>దక్షిణాఫ్రికా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2" name="TextBox 53"/>
          <p:cNvSpPr txBox="1">
            <a:spLocks noChangeArrowheads="1"/>
          </p:cNvSpPr>
          <p:nvPr/>
        </p:nvSpPr>
        <p:spPr bwMode="auto">
          <a:xfrm rot="-1694920">
            <a:off x="4233952" y="4795406"/>
            <a:ext cx="394251" cy="169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400" dirty="0" err="1">
                <a:latin typeface="Mandali" pitchFamily="2" charset="0"/>
                <a:cs typeface="Mandali" pitchFamily="2" charset="0"/>
              </a:rPr>
              <a:t>బోట్స్వానా</a:t>
            </a:r>
            <a:endParaRPr lang="en-US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3" name="Subtitle 2"/>
          <p:cNvSpPr txBox="1">
            <a:spLocks/>
          </p:cNvSpPr>
          <p:nvPr/>
        </p:nvSpPr>
        <p:spPr bwMode="auto">
          <a:xfrm rot="-5675605">
            <a:off x="3521541" y="3857937"/>
            <a:ext cx="379777" cy="146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r">
              <a:spcBef>
                <a:spcPct val="20000"/>
              </a:spcBef>
              <a:buFont typeface="Arial" pitchFamily="34" charset="0"/>
              <a:buNone/>
            </a:pPr>
            <a:r>
              <a:rPr lang="en-IN" sz="600" dirty="0" err="1">
                <a:latin typeface="Mandali" pitchFamily="2" charset="0"/>
                <a:cs typeface="Mandali" pitchFamily="2" charset="0"/>
              </a:rPr>
              <a:t>ఘనా</a:t>
            </a:r>
            <a:endParaRPr lang="en-IN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4" name="TextBox 48"/>
          <p:cNvSpPr txBox="1">
            <a:spLocks noChangeArrowheads="1"/>
          </p:cNvSpPr>
          <p:nvPr/>
        </p:nvSpPr>
        <p:spPr bwMode="auto">
          <a:xfrm rot="-5400000">
            <a:off x="3322435" y="3931830"/>
            <a:ext cx="588433" cy="215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pPr algn="r"/>
            <a:r>
              <a:rPr lang="en-US" sz="700" dirty="0" err="1">
                <a:latin typeface="Mandali" pitchFamily="2" charset="0"/>
                <a:cs typeface="Mandali" pitchFamily="2" charset="0"/>
              </a:rPr>
              <a:t>ఐవరి</a:t>
            </a:r>
            <a:r>
              <a:rPr lang="en-US" sz="7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700" dirty="0" err="1">
                <a:latin typeface="Mandali" pitchFamily="2" charset="0"/>
                <a:cs typeface="Mandali" pitchFamily="2" charset="0"/>
              </a:rPr>
              <a:t>కోస్ట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5" name="Subtitle 2"/>
          <p:cNvSpPr txBox="1">
            <a:spLocks/>
          </p:cNvSpPr>
          <p:nvPr/>
        </p:nvSpPr>
        <p:spPr bwMode="auto">
          <a:xfrm rot="-3355008">
            <a:off x="3930827" y="4146246"/>
            <a:ext cx="420979" cy="97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>
              <a:spcBef>
                <a:spcPct val="20000"/>
              </a:spcBef>
              <a:buFont typeface="Arial" pitchFamily="34" charset="0"/>
              <a:buNone/>
            </a:pPr>
            <a:r>
              <a:rPr lang="en-IN" sz="600" dirty="0" err="1">
                <a:latin typeface="Mandali" pitchFamily="2" charset="0"/>
                <a:cs typeface="Mandali" pitchFamily="2" charset="0"/>
              </a:rPr>
              <a:t>కాంగో</a:t>
            </a:r>
            <a:endParaRPr lang="en-IN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6" name="Subtitle 2"/>
          <p:cNvSpPr txBox="1">
            <a:spLocks/>
          </p:cNvSpPr>
          <p:nvPr/>
        </p:nvSpPr>
        <p:spPr bwMode="auto">
          <a:xfrm rot="5037467">
            <a:off x="3928094" y="4849826"/>
            <a:ext cx="533399" cy="140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 sz="600" dirty="0" err="1">
                <a:latin typeface="Mandali" pitchFamily="2" charset="0"/>
                <a:cs typeface="Mandali" pitchFamily="2" charset="0"/>
              </a:rPr>
              <a:t>నమీబియా</a:t>
            </a:r>
            <a:endParaRPr lang="en-IN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7" name="TextBox 52"/>
          <p:cNvSpPr txBox="1">
            <a:spLocks noChangeArrowheads="1"/>
          </p:cNvSpPr>
          <p:nvPr/>
        </p:nvSpPr>
        <p:spPr bwMode="auto">
          <a:xfrm rot="20267194">
            <a:off x="4064818" y="3835179"/>
            <a:ext cx="479210" cy="231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pPr algn="ctr">
              <a:defRPr/>
            </a:pPr>
            <a:r>
              <a:rPr lang="en-US" sz="400" dirty="0" err="1">
                <a:latin typeface="Mandali" pitchFamily="2" charset="0"/>
                <a:cs typeface="Mandali" pitchFamily="2" charset="0"/>
              </a:rPr>
              <a:t>మధ్య</a:t>
            </a:r>
            <a:r>
              <a:rPr lang="en-US" sz="4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400" dirty="0" err="1">
                <a:latin typeface="Mandali" pitchFamily="2" charset="0"/>
                <a:cs typeface="Mandali" pitchFamily="2" charset="0"/>
              </a:rPr>
              <a:t>ఆఫ్రికన్</a:t>
            </a:r>
            <a:r>
              <a:rPr lang="en-US" sz="4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400" dirty="0" err="1">
                <a:latin typeface="Mandali" pitchFamily="2" charset="0"/>
                <a:cs typeface="Mandali" pitchFamily="2" charset="0"/>
              </a:rPr>
              <a:t>రిపబ్లిక్</a:t>
            </a:r>
            <a:endParaRPr lang="en-US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8" name="Subtitle 2"/>
          <p:cNvSpPr txBox="1">
            <a:spLocks/>
          </p:cNvSpPr>
          <p:nvPr/>
        </p:nvSpPr>
        <p:spPr bwMode="auto">
          <a:xfrm rot="19178174">
            <a:off x="3243624" y="3033498"/>
            <a:ext cx="755650" cy="334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US" sz="700" dirty="0" err="1">
                <a:latin typeface="Mandali" pitchFamily="2" charset="0"/>
                <a:cs typeface="Mandali" pitchFamily="2" charset="0"/>
              </a:rPr>
              <a:t>మొరాకో</a:t>
            </a:r>
            <a:endParaRPr lang="en-IN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 rot="-2559008">
            <a:off x="3165071" y="3350761"/>
            <a:ext cx="657398" cy="2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600" dirty="0" err="1">
                <a:latin typeface="Mandali" pitchFamily="2" charset="0"/>
                <a:cs typeface="Mandali" pitchFamily="2" charset="0"/>
              </a:rPr>
              <a:t>మారిటేనియా</a:t>
            </a:r>
            <a:endParaRPr lang="en-US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0" name="Rectangle 1"/>
          <p:cNvSpPr>
            <a:spLocks noChangeArrowheads="1"/>
          </p:cNvSpPr>
          <p:nvPr/>
        </p:nvSpPr>
        <p:spPr bwMode="auto">
          <a:xfrm rot="307583">
            <a:off x="3999411" y="2983633"/>
            <a:ext cx="924291" cy="2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 anchor="ctr">
            <a:spAutoFit/>
          </a:bodyPr>
          <a:lstStyle/>
          <a:p>
            <a:pPr eaLnBrk="0" hangingPunct="0"/>
            <a:r>
              <a:rPr lang="en-US" sz="600" dirty="0" err="1">
                <a:latin typeface="Mandali" pitchFamily="2" charset="0"/>
                <a:cs typeface="Mandali" pitchFamily="2" charset="0"/>
              </a:rPr>
              <a:t>మధ్యధరా</a:t>
            </a:r>
            <a:r>
              <a:rPr lang="en-US" sz="6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600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US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1" name="Rectangle 2"/>
          <p:cNvSpPr>
            <a:spLocks noChangeArrowheads="1"/>
          </p:cNvSpPr>
          <p:nvPr/>
        </p:nvSpPr>
        <p:spPr bwMode="auto">
          <a:xfrm rot="3525688">
            <a:off x="4542960" y="3404629"/>
            <a:ext cx="521463" cy="169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 anchor="ctr">
            <a:spAutoFit/>
          </a:bodyPr>
          <a:lstStyle/>
          <a:p>
            <a:pPr eaLnBrk="0" hangingPunct="0"/>
            <a:r>
              <a:rPr lang="en-US" sz="400" dirty="0" err="1">
                <a:latin typeface="Mandali" pitchFamily="2" charset="0"/>
                <a:cs typeface="Mandali" pitchFamily="2" charset="0"/>
              </a:rPr>
              <a:t>ఎర్ర</a:t>
            </a:r>
            <a:r>
              <a:rPr lang="en-US" sz="4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400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US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2" name="Rectangle 2"/>
          <p:cNvSpPr>
            <a:spLocks noChangeArrowheads="1"/>
          </p:cNvSpPr>
          <p:nvPr/>
        </p:nvSpPr>
        <p:spPr bwMode="auto">
          <a:xfrm>
            <a:off x="3024555" y="2907403"/>
            <a:ext cx="644646" cy="185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 anchor="ctr">
            <a:spAutoFit/>
          </a:bodyPr>
          <a:lstStyle/>
          <a:p>
            <a:pPr algn="r" eaLnBrk="0" hangingPunct="0"/>
            <a:r>
              <a:rPr lang="en-US" sz="500" dirty="0" err="1">
                <a:latin typeface="Mandali" pitchFamily="2" charset="0"/>
                <a:cs typeface="Mandali" pitchFamily="2" charset="0"/>
              </a:rPr>
              <a:t>జీబ్రాల్టర్</a:t>
            </a:r>
            <a:r>
              <a:rPr lang="en-US" sz="5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500" dirty="0" err="1">
                <a:latin typeface="Mandali" pitchFamily="2" charset="0"/>
                <a:cs typeface="Mandali" pitchFamily="2" charset="0"/>
              </a:rPr>
              <a:t>జలసంధి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3" name="Subtitle 2"/>
          <p:cNvSpPr txBox="1">
            <a:spLocks/>
          </p:cNvSpPr>
          <p:nvPr/>
        </p:nvSpPr>
        <p:spPr bwMode="auto">
          <a:xfrm rot="-2854732">
            <a:off x="3829199" y="3915384"/>
            <a:ext cx="517507" cy="157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en-IN" sz="400" dirty="0" err="1">
                <a:latin typeface="Mandali" pitchFamily="2" charset="0"/>
                <a:cs typeface="Mandali" pitchFamily="2" charset="0"/>
              </a:rPr>
              <a:t>కామెరూన్</a:t>
            </a:r>
            <a:endParaRPr lang="en-IN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4" name="Rectangle 2"/>
          <p:cNvSpPr>
            <a:spLocks noChangeArrowheads="1"/>
          </p:cNvSpPr>
          <p:nvPr/>
        </p:nvSpPr>
        <p:spPr bwMode="auto">
          <a:xfrm rot="-201903">
            <a:off x="3800236" y="4128847"/>
            <a:ext cx="415410" cy="185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 anchor="ctr">
            <a:spAutoFit/>
          </a:bodyPr>
          <a:lstStyle/>
          <a:p>
            <a:pPr algn="r" eaLnBrk="0" hangingPunct="0"/>
            <a:r>
              <a:rPr lang="en-US" sz="500" dirty="0" err="1">
                <a:latin typeface="Mandali" pitchFamily="2" charset="0"/>
                <a:cs typeface="Mandali" pitchFamily="2" charset="0"/>
              </a:rPr>
              <a:t>గబన్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5" name="TextBox 50"/>
          <p:cNvSpPr txBox="1">
            <a:spLocks noChangeArrowheads="1"/>
          </p:cNvSpPr>
          <p:nvPr/>
        </p:nvSpPr>
        <p:spPr bwMode="auto">
          <a:xfrm>
            <a:off x="2870697" y="3300950"/>
            <a:ext cx="646235" cy="323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>
            <a:spAutoFit/>
          </a:bodyPr>
          <a:lstStyle/>
          <a:p>
            <a:r>
              <a:rPr lang="en-US" sz="700" dirty="0" err="1">
                <a:latin typeface="Mandali" pitchFamily="2" charset="0"/>
                <a:cs typeface="Mandali" pitchFamily="2" charset="0"/>
              </a:rPr>
              <a:t>పశ్చిమ</a:t>
            </a:r>
            <a:r>
              <a:rPr lang="en-US" sz="7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700" dirty="0" err="1">
                <a:latin typeface="Mandali" pitchFamily="2" charset="0"/>
                <a:cs typeface="Mandali" pitchFamily="2" charset="0"/>
              </a:rPr>
              <a:t>సహారా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6" name="Rectangle 2"/>
          <p:cNvSpPr>
            <a:spLocks noChangeArrowheads="1"/>
          </p:cNvSpPr>
          <p:nvPr/>
        </p:nvSpPr>
        <p:spPr bwMode="auto">
          <a:xfrm rot="-201903">
            <a:off x="2953477" y="3760928"/>
            <a:ext cx="487258" cy="231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26" tIns="53610" rIns="107226" bIns="53610" anchor="ctr">
            <a:spAutoFit/>
          </a:bodyPr>
          <a:lstStyle/>
          <a:p>
            <a:pPr algn="r"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గినియా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7" name="Rectangle 1"/>
          <p:cNvSpPr>
            <a:spLocks noChangeArrowheads="1"/>
          </p:cNvSpPr>
          <p:nvPr/>
        </p:nvSpPr>
        <p:spPr bwMode="auto">
          <a:xfrm>
            <a:off x="5204015" y="4202810"/>
            <a:ext cx="1407806" cy="477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107226" tIns="53610" rIns="107226" bIns="53610" anchor="ctr">
            <a:spAutoFit/>
          </a:bodyPr>
          <a:lstStyle/>
          <a:p>
            <a:pPr algn="ctr" eaLnBrk="0" hangingPunct="0">
              <a:defRPr/>
            </a:pPr>
            <a:r>
              <a:rPr lang="en-US" sz="1200" dirty="0" err="1">
                <a:latin typeface="Mandali" pitchFamily="2" charset="0"/>
                <a:cs typeface="Mandali" pitchFamily="2" charset="0"/>
              </a:rPr>
              <a:t>హిందూ</a:t>
            </a:r>
            <a:r>
              <a:rPr lang="en-US" sz="12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200" dirty="0" err="1">
                <a:latin typeface="Mandali" pitchFamily="2" charset="0"/>
                <a:cs typeface="Mandali" pitchFamily="2" charset="0"/>
              </a:rPr>
              <a:t>మహా</a:t>
            </a:r>
            <a:r>
              <a:rPr lang="en-US" sz="12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200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US" sz="12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8" name="Rectangle 1"/>
          <p:cNvSpPr>
            <a:spLocks noChangeArrowheads="1"/>
          </p:cNvSpPr>
          <p:nvPr/>
        </p:nvSpPr>
        <p:spPr bwMode="auto">
          <a:xfrm rot="3883631">
            <a:off x="2358467" y="4342288"/>
            <a:ext cx="1673676" cy="292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7226" tIns="53610" rIns="107226" bIns="53610" anchor="ctr">
            <a:spAutoFit/>
          </a:bodyPr>
          <a:lstStyle/>
          <a:p>
            <a:pPr eaLnBrk="0" hangingPunct="0">
              <a:defRPr/>
            </a:pPr>
            <a:r>
              <a:rPr lang="en-US" sz="1200" dirty="0" err="1">
                <a:latin typeface="Mandali" pitchFamily="2" charset="0"/>
                <a:cs typeface="Mandali" pitchFamily="2" charset="0"/>
              </a:rPr>
              <a:t>అట్లాంటిక్</a:t>
            </a:r>
            <a:r>
              <a:rPr lang="en-US" sz="12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200" dirty="0" err="1">
                <a:latin typeface="Mandali" pitchFamily="2" charset="0"/>
                <a:cs typeface="Mandali" pitchFamily="2" charset="0"/>
              </a:rPr>
              <a:t>మహా</a:t>
            </a:r>
            <a:r>
              <a:rPr lang="en-US" sz="12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200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US" sz="12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39" name="Rectangle 2"/>
          <p:cNvSpPr>
            <a:spLocks noChangeArrowheads="1"/>
          </p:cNvSpPr>
          <p:nvPr/>
        </p:nvSpPr>
        <p:spPr bwMode="auto">
          <a:xfrm>
            <a:off x="3906968" y="5312179"/>
            <a:ext cx="1368425" cy="277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26" tIns="53610" rIns="107226" bIns="53610" anchor="ctr">
            <a:spAutoFit/>
          </a:bodyPr>
          <a:lstStyle/>
          <a:p>
            <a:pPr eaLnBrk="0" hangingPunct="0"/>
            <a:r>
              <a:rPr lang="en-US" sz="1100" dirty="0" err="1">
                <a:latin typeface="Mandali" pitchFamily="2" charset="0"/>
                <a:cs typeface="Mandali" pitchFamily="2" charset="0"/>
              </a:rPr>
              <a:t>గుడ్</a:t>
            </a:r>
            <a:r>
              <a:rPr lang="en-US" sz="11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100" dirty="0" err="1">
                <a:latin typeface="Mandali" pitchFamily="2" charset="0"/>
                <a:cs typeface="Mandali" pitchFamily="2" charset="0"/>
              </a:rPr>
              <a:t>హోప్</a:t>
            </a:r>
            <a:r>
              <a:rPr lang="en-US" sz="11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100" dirty="0" err="1">
                <a:latin typeface="Mandali" pitchFamily="2" charset="0"/>
                <a:cs typeface="Mandali" pitchFamily="2" charset="0"/>
              </a:rPr>
              <a:t>అగ్రము</a:t>
            </a:r>
            <a:endParaRPr lang="en-US" sz="11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2" name="Rectangle 4"/>
          <p:cNvSpPr>
            <a:spLocks noChangeArrowheads="1"/>
          </p:cNvSpPr>
          <p:nvPr/>
        </p:nvSpPr>
        <p:spPr bwMode="auto">
          <a:xfrm>
            <a:off x="4994035" y="1993000"/>
            <a:ext cx="2192337" cy="277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>
            <a:spAutoFit/>
          </a:bodyPr>
          <a:lstStyle/>
          <a:p>
            <a:pPr algn="ctr" eaLnBrk="0" hangingPunct="0"/>
            <a:r>
              <a:rPr lang="en-US" sz="1100" dirty="0" err="1">
                <a:latin typeface="Mandali" pitchFamily="2" charset="0"/>
                <a:cs typeface="Mandali" pitchFamily="2" charset="0"/>
              </a:rPr>
              <a:t>రష్యా</a:t>
            </a:r>
            <a:endParaRPr lang="en-US" sz="11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3" name="Title 7"/>
          <p:cNvSpPr txBox="1">
            <a:spLocks/>
          </p:cNvSpPr>
          <p:nvPr/>
        </p:nvSpPr>
        <p:spPr bwMode="auto">
          <a:xfrm>
            <a:off x="6119447" y="2907400"/>
            <a:ext cx="63304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pPr algn="ctr"/>
            <a:r>
              <a:rPr lang="en-US" sz="800" dirty="0" err="1">
                <a:latin typeface="Mandali" pitchFamily="2" charset="0"/>
                <a:cs typeface="Mandali" pitchFamily="2" charset="0"/>
              </a:rPr>
              <a:t>చైనా</a:t>
            </a:r>
            <a:endParaRPr lang="en-IN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4" name="Title 7"/>
          <p:cNvSpPr txBox="1">
            <a:spLocks/>
          </p:cNvSpPr>
          <p:nvPr/>
        </p:nvSpPr>
        <p:spPr bwMode="auto">
          <a:xfrm>
            <a:off x="5627077" y="3288400"/>
            <a:ext cx="615090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pPr algn="ctr"/>
            <a:r>
              <a:rPr lang="en-US" sz="800" dirty="0" err="1">
                <a:latin typeface="Mandali" pitchFamily="2" charset="0"/>
                <a:cs typeface="Mandali" pitchFamily="2" charset="0"/>
              </a:rPr>
              <a:t>ఇండియా</a:t>
            </a:r>
            <a:endParaRPr lang="en-IN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auto">
          <a:xfrm>
            <a:off x="6893170" y="2752211"/>
            <a:ext cx="492369" cy="262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500" dirty="0" err="1">
                <a:latin typeface="Mandali" pitchFamily="2" charset="0"/>
                <a:cs typeface="Mandali" pitchFamily="2" charset="0"/>
              </a:rPr>
              <a:t>ఉత్తర</a:t>
            </a:r>
            <a:r>
              <a:rPr lang="en-US" sz="5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500" dirty="0" err="1">
                <a:latin typeface="Mandali" pitchFamily="2" charset="0"/>
                <a:cs typeface="Mandali" pitchFamily="2" charset="0"/>
              </a:rPr>
              <a:t>కొరియా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6" name="Title 7"/>
          <p:cNvSpPr txBox="1">
            <a:spLocks/>
          </p:cNvSpPr>
          <p:nvPr/>
        </p:nvSpPr>
        <p:spPr bwMode="auto">
          <a:xfrm flipH="1">
            <a:off x="6822835" y="2901048"/>
            <a:ext cx="569177" cy="234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pPr algn="r"/>
            <a:r>
              <a:rPr lang="en-US" sz="600" dirty="0" err="1">
                <a:latin typeface="Mandali" pitchFamily="2" charset="0"/>
                <a:cs typeface="Mandali" pitchFamily="2" charset="0"/>
              </a:rPr>
              <a:t>దక్షిణ</a:t>
            </a:r>
            <a:r>
              <a:rPr lang="en-US" sz="6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600" dirty="0" err="1">
                <a:latin typeface="Mandali" pitchFamily="2" charset="0"/>
                <a:cs typeface="Mandali" pitchFamily="2" charset="0"/>
              </a:rPr>
              <a:t>కొరియా</a:t>
            </a:r>
            <a:endParaRPr lang="en-IN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7" name="Title 7"/>
          <p:cNvSpPr txBox="1">
            <a:spLocks/>
          </p:cNvSpPr>
          <p:nvPr/>
        </p:nvSpPr>
        <p:spPr bwMode="auto">
          <a:xfrm rot="3907942">
            <a:off x="7069201" y="2519472"/>
            <a:ext cx="586765" cy="163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pPr algn="ctr"/>
            <a:r>
              <a:rPr lang="en-US" sz="800" dirty="0" err="1">
                <a:latin typeface="Mandali" pitchFamily="2" charset="0"/>
                <a:cs typeface="Mandali" pitchFamily="2" charset="0"/>
              </a:rPr>
              <a:t>జపాన్</a:t>
            </a:r>
            <a:endParaRPr lang="en-IN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48" name="TextBox 81"/>
          <p:cNvSpPr txBox="1">
            <a:spLocks noChangeArrowheads="1"/>
          </p:cNvSpPr>
          <p:nvPr/>
        </p:nvSpPr>
        <p:spPr bwMode="auto">
          <a:xfrm>
            <a:off x="7112738" y="3742808"/>
            <a:ext cx="567987" cy="231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pPr algn="ctr"/>
            <a:r>
              <a:rPr lang="en-US" sz="800">
                <a:latin typeface="Mandali" pitchFamily="2" charset="0"/>
                <a:cs typeface="Mandali" pitchFamily="2" charset="0"/>
              </a:rPr>
              <a:t>ఫిలిప్పైన్స్</a:t>
            </a:r>
          </a:p>
        </p:txBody>
      </p:sp>
      <p:sp>
        <p:nvSpPr>
          <p:cNvPr id="49" name="Rectangle 4"/>
          <p:cNvSpPr>
            <a:spLocks noChangeArrowheads="1"/>
          </p:cNvSpPr>
          <p:nvPr/>
        </p:nvSpPr>
        <p:spPr bwMode="auto">
          <a:xfrm>
            <a:off x="6963509" y="3289842"/>
            <a:ext cx="422030" cy="35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తైవాన్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0" name="Title 7"/>
          <p:cNvSpPr txBox="1">
            <a:spLocks/>
          </p:cNvSpPr>
          <p:nvPr/>
        </p:nvSpPr>
        <p:spPr bwMode="auto">
          <a:xfrm rot="724044" flipH="1">
            <a:off x="6636329" y="4200382"/>
            <a:ext cx="683947" cy="332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r>
              <a:rPr lang="en-US" sz="800" dirty="0" err="1">
                <a:latin typeface="Mandali" pitchFamily="2" charset="0"/>
                <a:cs typeface="Mandali" pitchFamily="2" charset="0"/>
              </a:rPr>
              <a:t>ఇండోనేషియా</a:t>
            </a:r>
            <a:endParaRPr lang="en-IN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1" name="Rectangle 4"/>
          <p:cNvSpPr>
            <a:spLocks noChangeArrowheads="1"/>
          </p:cNvSpPr>
          <p:nvPr/>
        </p:nvSpPr>
        <p:spPr bwMode="auto">
          <a:xfrm>
            <a:off x="6541477" y="3910601"/>
            <a:ext cx="537340" cy="21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700" dirty="0" err="1">
                <a:latin typeface="Mandali" pitchFamily="2" charset="0"/>
                <a:cs typeface="Mandali" pitchFamily="2" charset="0"/>
              </a:rPr>
              <a:t>మలేషియా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2" name="Rectangle 4"/>
          <p:cNvSpPr>
            <a:spLocks noChangeArrowheads="1"/>
          </p:cNvSpPr>
          <p:nvPr/>
        </p:nvSpPr>
        <p:spPr bwMode="auto">
          <a:xfrm>
            <a:off x="6541482" y="4050404"/>
            <a:ext cx="592027" cy="16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400" dirty="0" err="1">
                <a:latin typeface="Mandali" pitchFamily="2" charset="0"/>
                <a:cs typeface="Mandali" pitchFamily="2" charset="0"/>
              </a:rPr>
              <a:t>సింగపూర్</a:t>
            </a:r>
            <a:endParaRPr lang="en-US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auto">
          <a:xfrm>
            <a:off x="6492617" y="3666608"/>
            <a:ext cx="330214" cy="200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300" dirty="0" err="1">
                <a:latin typeface="Mandali" pitchFamily="2" charset="0"/>
                <a:cs typeface="Mandali" pitchFamily="2" charset="0"/>
              </a:rPr>
              <a:t>కాంబోడియా</a:t>
            </a:r>
            <a:endParaRPr lang="en-US" sz="3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4" name="Rectangle 4"/>
          <p:cNvSpPr>
            <a:spLocks noChangeArrowheads="1"/>
          </p:cNvSpPr>
          <p:nvPr/>
        </p:nvSpPr>
        <p:spPr bwMode="auto">
          <a:xfrm rot="20506337">
            <a:off x="6400800" y="3517003"/>
            <a:ext cx="351692" cy="262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500" dirty="0" err="1">
                <a:latin typeface="Mandali" pitchFamily="2" charset="0"/>
                <a:cs typeface="Mandali" pitchFamily="2" charset="0"/>
              </a:rPr>
              <a:t>థాయిలాండ్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5" name="Rectangle 4"/>
          <p:cNvSpPr>
            <a:spLocks noChangeArrowheads="1"/>
          </p:cNvSpPr>
          <p:nvPr/>
        </p:nvSpPr>
        <p:spPr bwMode="auto">
          <a:xfrm rot="6290819">
            <a:off x="6475979" y="3665126"/>
            <a:ext cx="626269" cy="21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700" dirty="0" err="1">
                <a:latin typeface="Mandali" pitchFamily="2" charset="0"/>
                <a:cs typeface="Mandali" pitchFamily="2" charset="0"/>
              </a:rPr>
              <a:t>వియత్నాం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6" name="Rectangle 4"/>
          <p:cNvSpPr>
            <a:spLocks noChangeArrowheads="1"/>
          </p:cNvSpPr>
          <p:nvPr/>
        </p:nvSpPr>
        <p:spPr bwMode="auto">
          <a:xfrm rot="16728190">
            <a:off x="5928225" y="3015095"/>
            <a:ext cx="544551" cy="200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600" dirty="0" err="1">
                <a:latin typeface="Mandali" pitchFamily="2" charset="0"/>
                <a:cs typeface="Mandali" pitchFamily="2" charset="0"/>
              </a:rPr>
              <a:t>భూటాన్</a:t>
            </a:r>
            <a:endParaRPr lang="en-US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7" name="Rectangle 4"/>
          <p:cNvSpPr>
            <a:spLocks noChangeArrowheads="1"/>
          </p:cNvSpPr>
          <p:nvPr/>
        </p:nvSpPr>
        <p:spPr bwMode="auto">
          <a:xfrm rot="5400000">
            <a:off x="5921443" y="3553704"/>
            <a:ext cx="609599" cy="231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బంగ్లాదేశ్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 rot="5191633">
            <a:off x="6030852" y="3389853"/>
            <a:ext cx="696515" cy="200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>
            <a:spAutoFit/>
          </a:bodyPr>
          <a:lstStyle/>
          <a:p>
            <a:pPr algn="ctr" eaLnBrk="0" hangingPunct="0"/>
            <a:r>
              <a:rPr lang="te-IN" sz="600" dirty="0">
                <a:latin typeface="Mandali" pitchFamily="2" charset="0"/>
                <a:cs typeface="Mandali" pitchFamily="2" charset="0"/>
              </a:rPr>
              <a:t>మయన్మార్ </a:t>
            </a:r>
            <a:endParaRPr lang="en-US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59" name="Rectangle 4"/>
          <p:cNvSpPr>
            <a:spLocks noChangeArrowheads="1"/>
          </p:cNvSpPr>
          <p:nvPr/>
        </p:nvSpPr>
        <p:spPr bwMode="auto">
          <a:xfrm rot="-2165363">
            <a:off x="5283916" y="2921317"/>
            <a:ext cx="566720" cy="21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700" dirty="0" err="1">
                <a:latin typeface="Mandali" pitchFamily="2" charset="0"/>
                <a:cs typeface="Mandali" pitchFamily="2" charset="0"/>
              </a:rPr>
              <a:t>ఆఫ్గనిస్తాన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0" name="Rectangle 4"/>
          <p:cNvSpPr>
            <a:spLocks noChangeArrowheads="1"/>
          </p:cNvSpPr>
          <p:nvPr/>
        </p:nvSpPr>
        <p:spPr bwMode="auto">
          <a:xfrm rot="18865138">
            <a:off x="5377103" y="3061460"/>
            <a:ext cx="527743" cy="21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700" dirty="0" err="1">
                <a:latin typeface="Mandali" pitchFamily="2" charset="0"/>
                <a:cs typeface="Mandali" pitchFamily="2" charset="0"/>
              </a:rPr>
              <a:t>పాకిస్తాన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1" name="Title 7"/>
          <p:cNvSpPr txBox="1">
            <a:spLocks/>
          </p:cNvSpPr>
          <p:nvPr/>
        </p:nvSpPr>
        <p:spPr>
          <a:xfrm rot="16953756">
            <a:off x="5888480" y="3007796"/>
            <a:ext cx="386057" cy="142461"/>
          </a:xfrm>
          <a:prstGeom prst="rect">
            <a:avLst/>
          </a:prstGeom>
        </p:spPr>
        <p:txBody>
          <a:bodyPr lIns="107238" tIns="53617" rIns="107238" bIns="53617" anchor="ctr"/>
          <a:lstStyle/>
          <a:p>
            <a:pPr>
              <a:defRPr/>
            </a:pPr>
            <a:r>
              <a:rPr lang="en-US" sz="600" dirty="0" err="1">
                <a:latin typeface="Mandali" pitchFamily="2" charset="0"/>
                <a:ea typeface="+mj-ea"/>
                <a:cs typeface="Mandali" pitchFamily="2" charset="0"/>
              </a:rPr>
              <a:t>నేపాల్</a:t>
            </a:r>
            <a:endParaRPr lang="en-IN" sz="6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62" name="TextBox 105"/>
          <p:cNvSpPr txBox="1">
            <a:spLocks noChangeArrowheads="1"/>
          </p:cNvSpPr>
          <p:nvPr/>
        </p:nvSpPr>
        <p:spPr bwMode="auto">
          <a:xfrm>
            <a:off x="6049108" y="2526400"/>
            <a:ext cx="726594" cy="231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r>
              <a:rPr lang="en-US" sz="800" dirty="0" err="1">
                <a:latin typeface="Mandali" pitchFamily="2" charset="0"/>
                <a:cs typeface="Mandali" pitchFamily="2" charset="0"/>
              </a:rPr>
              <a:t>మంగోలియా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3" name="TextBox 104"/>
          <p:cNvSpPr txBox="1">
            <a:spLocks noChangeArrowheads="1"/>
          </p:cNvSpPr>
          <p:nvPr/>
        </p:nvSpPr>
        <p:spPr bwMode="auto">
          <a:xfrm>
            <a:off x="5078532" y="2527844"/>
            <a:ext cx="714497" cy="231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pPr algn="ctr"/>
            <a:r>
              <a:rPr lang="en-US" sz="800" dirty="0" err="1">
                <a:latin typeface="Mandali" pitchFamily="2" charset="0"/>
                <a:cs typeface="Mandali" pitchFamily="2" charset="0"/>
              </a:rPr>
              <a:t>కజకిస్థాన్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4" name="Title 7"/>
          <p:cNvSpPr txBox="1">
            <a:spLocks/>
          </p:cNvSpPr>
          <p:nvPr/>
        </p:nvSpPr>
        <p:spPr>
          <a:xfrm rot="2043686">
            <a:off x="4514198" y="3208205"/>
            <a:ext cx="938212" cy="359833"/>
          </a:xfrm>
          <a:prstGeom prst="rect">
            <a:avLst/>
          </a:prstGeom>
        </p:spPr>
        <p:txBody>
          <a:bodyPr lIns="107238" tIns="53617" rIns="107238" bIns="53617" anchor="ctr"/>
          <a:lstStyle/>
          <a:p>
            <a:pPr algn="ctr">
              <a:defRPr/>
            </a:pPr>
            <a:r>
              <a:rPr lang="en-US" sz="700" dirty="0" err="1">
                <a:latin typeface="Mandali" pitchFamily="2" charset="0"/>
                <a:ea typeface="+mj-ea"/>
                <a:cs typeface="Mandali" pitchFamily="2" charset="0"/>
              </a:rPr>
              <a:t>సౌదీ</a:t>
            </a:r>
            <a:r>
              <a:rPr lang="en-US" sz="7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US" sz="700" dirty="0" err="1">
                <a:latin typeface="Mandali" pitchFamily="2" charset="0"/>
                <a:ea typeface="+mj-ea"/>
                <a:cs typeface="Mandali" pitchFamily="2" charset="0"/>
              </a:rPr>
              <a:t>అరేబియా</a:t>
            </a:r>
            <a:endParaRPr lang="en-IN" sz="7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65" name="Rectangle 4"/>
          <p:cNvSpPr>
            <a:spLocks noChangeArrowheads="1"/>
          </p:cNvSpPr>
          <p:nvPr/>
        </p:nvSpPr>
        <p:spPr bwMode="auto">
          <a:xfrm>
            <a:off x="4789977" y="2983603"/>
            <a:ext cx="766762" cy="21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>
            <a:spAutoFit/>
          </a:bodyPr>
          <a:lstStyle/>
          <a:p>
            <a:pPr algn="ctr" eaLnBrk="0" hangingPunct="0"/>
            <a:r>
              <a:rPr lang="en-US" sz="700" dirty="0" err="1">
                <a:latin typeface="Mandali" pitchFamily="2" charset="0"/>
                <a:cs typeface="Mandali" pitchFamily="2" charset="0"/>
              </a:rPr>
              <a:t>ఇరాన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6" name="TextBox 65"/>
          <p:cNvSpPr txBox="1">
            <a:spLocks noChangeArrowheads="1"/>
          </p:cNvSpPr>
          <p:nvPr/>
        </p:nvSpPr>
        <p:spPr bwMode="auto">
          <a:xfrm rot="-879276">
            <a:off x="4869292" y="3561378"/>
            <a:ext cx="460248" cy="200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r>
              <a:rPr lang="en-US" sz="600" dirty="0" err="1">
                <a:latin typeface="Mandali" pitchFamily="2" charset="0"/>
                <a:cs typeface="Mandali" pitchFamily="2" charset="0"/>
              </a:rPr>
              <a:t>యెమన్</a:t>
            </a:r>
            <a:endParaRPr lang="en-US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7" name="TextBox 66"/>
          <p:cNvSpPr txBox="1">
            <a:spLocks noChangeArrowheads="1"/>
          </p:cNvSpPr>
          <p:nvPr/>
        </p:nvSpPr>
        <p:spPr bwMode="auto">
          <a:xfrm rot="18650936">
            <a:off x="5086814" y="3431944"/>
            <a:ext cx="410971" cy="18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pPr algn="r"/>
            <a:r>
              <a:rPr lang="en-US" sz="500" dirty="0" err="1">
                <a:latin typeface="Mandali" pitchFamily="2" charset="0"/>
                <a:cs typeface="Mandali" pitchFamily="2" charset="0"/>
              </a:rPr>
              <a:t>ఒమన్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8" name="Rectangle 4"/>
          <p:cNvSpPr>
            <a:spLocks noChangeArrowheads="1"/>
          </p:cNvSpPr>
          <p:nvPr/>
        </p:nvSpPr>
        <p:spPr bwMode="auto">
          <a:xfrm>
            <a:off x="4431323" y="2755000"/>
            <a:ext cx="433626" cy="231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టర్కి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69" name="Rectangle 4"/>
          <p:cNvSpPr>
            <a:spLocks noChangeArrowheads="1"/>
          </p:cNvSpPr>
          <p:nvPr/>
        </p:nvSpPr>
        <p:spPr bwMode="auto">
          <a:xfrm rot="19111657">
            <a:off x="4602506" y="2929526"/>
            <a:ext cx="400538" cy="1621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350" dirty="0" err="1">
                <a:latin typeface="Mandali" pitchFamily="2" charset="0"/>
                <a:cs typeface="Mandali" pitchFamily="2" charset="0"/>
              </a:rPr>
              <a:t>ఇజ్రాయెల్</a:t>
            </a:r>
            <a:endParaRPr lang="en-US" sz="35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0" name="Rectangle 4"/>
          <p:cNvSpPr>
            <a:spLocks noChangeArrowheads="1"/>
          </p:cNvSpPr>
          <p:nvPr/>
        </p:nvSpPr>
        <p:spPr bwMode="auto">
          <a:xfrm rot="3463361">
            <a:off x="4640001" y="3089600"/>
            <a:ext cx="619125" cy="216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>
            <a:spAutoFit/>
          </a:bodyPr>
          <a:lstStyle/>
          <a:p>
            <a:pPr eaLnBrk="0" hangingPunct="0"/>
            <a:r>
              <a:rPr lang="en-US" sz="700" dirty="0" err="1">
                <a:latin typeface="Mandali" pitchFamily="2" charset="0"/>
                <a:cs typeface="Mandali" pitchFamily="2" charset="0"/>
              </a:rPr>
              <a:t>ఇరాక్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1" name="TextBox 110"/>
          <p:cNvSpPr txBox="1">
            <a:spLocks noChangeArrowheads="1"/>
          </p:cNvSpPr>
          <p:nvPr/>
        </p:nvSpPr>
        <p:spPr bwMode="auto">
          <a:xfrm rot="1020878">
            <a:off x="5063925" y="2796566"/>
            <a:ext cx="517758" cy="18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r>
              <a:rPr lang="en-US" sz="500" dirty="0" err="1">
                <a:latin typeface="Mandali" pitchFamily="2" charset="0"/>
                <a:cs typeface="Mandali" pitchFamily="2" charset="0"/>
              </a:rPr>
              <a:t>టర్కిమెనిస్తాన్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2" name="TextBox 109"/>
          <p:cNvSpPr txBox="1">
            <a:spLocks noChangeArrowheads="1"/>
          </p:cNvSpPr>
          <p:nvPr/>
        </p:nvSpPr>
        <p:spPr bwMode="auto">
          <a:xfrm rot="1470305">
            <a:off x="5152524" y="2747361"/>
            <a:ext cx="587958" cy="18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>
            <a:spAutoFit/>
          </a:bodyPr>
          <a:lstStyle/>
          <a:p>
            <a:r>
              <a:rPr lang="en-US" sz="500" dirty="0" err="1">
                <a:latin typeface="Mandali" pitchFamily="2" charset="0"/>
                <a:cs typeface="Mandali" pitchFamily="2" charset="0"/>
              </a:rPr>
              <a:t>ఉజ్బెకిస్థాన్</a:t>
            </a:r>
            <a:endParaRPr lang="en-US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3" name="Title 7"/>
          <p:cNvSpPr txBox="1">
            <a:spLocks/>
          </p:cNvSpPr>
          <p:nvPr/>
        </p:nvSpPr>
        <p:spPr bwMode="auto">
          <a:xfrm>
            <a:off x="5838097" y="3972083"/>
            <a:ext cx="513741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r>
              <a:rPr lang="en-US" sz="800" dirty="0" err="1">
                <a:latin typeface="Mandali" pitchFamily="2" charset="0"/>
                <a:cs typeface="Mandali" pitchFamily="2" charset="0"/>
              </a:rPr>
              <a:t>శ్రీలంక</a:t>
            </a:r>
            <a:endParaRPr lang="en-IN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4" name="Title 7"/>
          <p:cNvSpPr txBox="1">
            <a:spLocks/>
          </p:cNvSpPr>
          <p:nvPr/>
        </p:nvSpPr>
        <p:spPr bwMode="auto">
          <a:xfrm>
            <a:off x="5978773" y="3669402"/>
            <a:ext cx="492369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pPr algn="ctr"/>
            <a:r>
              <a:rPr lang="te-IN" sz="500" dirty="0">
                <a:latin typeface="Mandali" pitchFamily="2" charset="0"/>
                <a:cs typeface="Mandali" pitchFamily="2" charset="0"/>
              </a:rPr>
              <a:t>బంగాళాఖాతం</a:t>
            </a:r>
            <a:endParaRPr lang="en-IN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5" name="Title 7"/>
          <p:cNvSpPr txBox="1">
            <a:spLocks/>
          </p:cNvSpPr>
          <p:nvPr/>
        </p:nvSpPr>
        <p:spPr bwMode="auto">
          <a:xfrm>
            <a:off x="5275389" y="3593203"/>
            <a:ext cx="583589" cy="28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38" tIns="53617" rIns="107238" bIns="53617" anchor="ctr"/>
          <a:lstStyle/>
          <a:p>
            <a:pPr algn="ctr"/>
            <a:r>
              <a:rPr lang="te-IN" sz="500" dirty="0">
                <a:latin typeface="Mandali" pitchFamily="2" charset="0"/>
                <a:cs typeface="Mandali" pitchFamily="2" charset="0"/>
              </a:rPr>
              <a:t>అరేబియా సముద్రం</a:t>
            </a:r>
            <a:endParaRPr lang="en-IN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6" name="Rectangle 4"/>
          <p:cNvSpPr>
            <a:spLocks noChangeArrowheads="1"/>
          </p:cNvSpPr>
          <p:nvPr/>
        </p:nvSpPr>
        <p:spPr bwMode="auto">
          <a:xfrm rot="3235931">
            <a:off x="6167729" y="4073816"/>
            <a:ext cx="552740" cy="231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సుమత్రా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7" name="Rectangle 4"/>
          <p:cNvSpPr>
            <a:spLocks noChangeArrowheads="1"/>
          </p:cNvSpPr>
          <p:nvPr/>
        </p:nvSpPr>
        <p:spPr bwMode="auto">
          <a:xfrm rot="644587">
            <a:off x="6621335" y="4329810"/>
            <a:ext cx="378254" cy="35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జావా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8" name="Rectangle 172"/>
          <p:cNvSpPr>
            <a:spLocks noChangeArrowheads="1"/>
          </p:cNvSpPr>
          <p:nvPr/>
        </p:nvSpPr>
        <p:spPr bwMode="auto">
          <a:xfrm>
            <a:off x="6752497" y="4126604"/>
            <a:ext cx="380077" cy="16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38" tIns="53617" rIns="107238" bIns="53617">
            <a:spAutoFit/>
          </a:bodyPr>
          <a:lstStyle/>
          <a:p>
            <a:r>
              <a:rPr lang="te-IN" sz="400" dirty="0">
                <a:latin typeface="Mandali" pitchFamily="2" charset="0"/>
                <a:cs typeface="Mandali" pitchFamily="2" charset="0"/>
              </a:rPr>
              <a:t>బోర్నియో</a:t>
            </a:r>
            <a:endParaRPr lang="en-US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79" name="Rectangle 173"/>
          <p:cNvSpPr>
            <a:spLocks noChangeArrowheads="1"/>
          </p:cNvSpPr>
          <p:nvPr/>
        </p:nvSpPr>
        <p:spPr bwMode="auto">
          <a:xfrm>
            <a:off x="6963508" y="4202804"/>
            <a:ext cx="356032" cy="16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38" tIns="53617" rIns="107238" bIns="53617">
            <a:spAutoFit/>
          </a:bodyPr>
          <a:lstStyle/>
          <a:p>
            <a:r>
              <a:rPr lang="en-US" sz="400" dirty="0" err="1">
                <a:latin typeface="Mandali" pitchFamily="2" charset="0"/>
                <a:cs typeface="Mandali" pitchFamily="2" charset="0"/>
              </a:rPr>
              <a:t>సు</a:t>
            </a:r>
            <a:r>
              <a:rPr lang="te-IN" sz="400" dirty="0">
                <a:latin typeface="Mandali" pitchFamily="2" charset="0"/>
                <a:cs typeface="Mandali" pitchFamily="2" charset="0"/>
              </a:rPr>
              <a:t>లవెసి</a:t>
            </a:r>
            <a:endParaRPr lang="en-US" sz="4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0" name="Rectangle 4"/>
          <p:cNvSpPr>
            <a:spLocks noChangeArrowheads="1"/>
          </p:cNvSpPr>
          <p:nvPr/>
        </p:nvSpPr>
        <p:spPr bwMode="auto">
          <a:xfrm>
            <a:off x="7344874" y="3974200"/>
            <a:ext cx="533034" cy="3545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38" tIns="53617" rIns="107238" bIns="53617" anchor="ctr">
            <a:spAutoFit/>
          </a:bodyPr>
          <a:lstStyle/>
          <a:p>
            <a:pPr algn="ctr" eaLnBrk="0" hangingPunct="0"/>
            <a:r>
              <a:rPr lang="en-US" sz="800" dirty="0" err="1">
                <a:latin typeface="Mandali" pitchFamily="2" charset="0"/>
                <a:cs typeface="Mandali" pitchFamily="2" charset="0"/>
              </a:rPr>
              <a:t>న్యూ</a:t>
            </a:r>
            <a:r>
              <a:rPr lang="en-US" sz="8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800" dirty="0" err="1">
                <a:latin typeface="Mandali" pitchFamily="2" charset="0"/>
                <a:cs typeface="Mandali" pitchFamily="2" charset="0"/>
              </a:rPr>
              <a:t>గినియా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1" name="Rectangle 1"/>
          <p:cNvSpPr>
            <a:spLocks noChangeArrowheads="1"/>
          </p:cNvSpPr>
          <p:nvPr/>
        </p:nvSpPr>
        <p:spPr bwMode="auto">
          <a:xfrm rot="5249399">
            <a:off x="7032897" y="3263895"/>
            <a:ext cx="1588171" cy="292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51" tIns="53623" rIns="107251" bIns="53623" anchor="ctr">
            <a:spAutoFit/>
          </a:bodyPr>
          <a:lstStyle/>
          <a:p>
            <a:pPr algn="ctr" eaLnBrk="0" hangingPunct="0"/>
            <a:r>
              <a:rPr lang="te-IN" sz="1200" dirty="0" smtClean="0">
                <a:latin typeface="Mandali" pitchFamily="2" charset="0"/>
                <a:cs typeface="Mandali" pitchFamily="2" charset="0"/>
              </a:rPr>
              <a:t>పసిఫిక్ మహా సముద్రము</a:t>
            </a:r>
            <a:endParaRPr lang="en-US" sz="12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3" name="Title 8"/>
          <p:cNvSpPr txBox="1">
            <a:spLocks/>
          </p:cNvSpPr>
          <p:nvPr/>
        </p:nvSpPr>
        <p:spPr>
          <a:xfrm>
            <a:off x="6893170" y="4888602"/>
            <a:ext cx="1082914" cy="250500"/>
          </a:xfrm>
          <a:prstGeom prst="rect">
            <a:avLst/>
          </a:prstGeom>
        </p:spPr>
        <p:txBody>
          <a:bodyPr vert="horz" lIns="91387" tIns="45694" rIns="91387" bIns="45694" rtlCol="0" anchor="ctr">
            <a:noAutofit/>
          </a:bodyPr>
          <a:lstStyle/>
          <a:p>
            <a:pPr marL="0" marR="0" lvl="0" indent="0" algn="ctr" defTabSz="91388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andali" pitchFamily="2" charset="0"/>
                <a:ea typeface="Ponnala" pitchFamily="2" charset="0"/>
                <a:cs typeface="Mandali" pitchFamily="2" charset="0"/>
              </a:rPr>
              <a:t>ఆస్ట్రేలియా</a:t>
            </a:r>
            <a:endParaRPr kumimoji="0" lang="en-US" sz="800" b="0" i="1" u="none" strike="noStrike" kern="1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andali" pitchFamily="2" charset="0"/>
              <a:ea typeface="Ponnala" pitchFamily="2" charset="0"/>
              <a:cs typeface="Mandali" pitchFamily="2" charset="0"/>
            </a:endParaRPr>
          </a:p>
        </p:txBody>
      </p:sp>
      <p:sp>
        <p:nvSpPr>
          <p:cNvPr id="84" name="Rectangle 1"/>
          <p:cNvSpPr>
            <a:spLocks noChangeArrowheads="1"/>
          </p:cNvSpPr>
          <p:nvPr/>
        </p:nvSpPr>
        <p:spPr bwMode="auto">
          <a:xfrm rot="5249399">
            <a:off x="-322840" y="4059730"/>
            <a:ext cx="1672657" cy="2929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51" tIns="53623" rIns="107251" bIns="53623" anchor="ctr">
            <a:spAutoFit/>
          </a:bodyPr>
          <a:lstStyle/>
          <a:p>
            <a:pPr algn="ctr" eaLnBrk="0" hangingPunct="0"/>
            <a:r>
              <a:rPr lang="te-IN" sz="1200" dirty="0" smtClean="0">
                <a:latin typeface="Mandali" pitchFamily="2" charset="0"/>
                <a:cs typeface="Mandali" pitchFamily="2" charset="0"/>
              </a:rPr>
              <a:t>పసిఫిక్ మహా సముద్రము</a:t>
            </a:r>
            <a:endParaRPr lang="en-US" sz="12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5" name="Title 8"/>
          <p:cNvSpPr txBox="1">
            <a:spLocks/>
          </p:cNvSpPr>
          <p:nvPr/>
        </p:nvSpPr>
        <p:spPr>
          <a:xfrm>
            <a:off x="7104189" y="5538260"/>
            <a:ext cx="661451" cy="264741"/>
          </a:xfrm>
          <a:prstGeom prst="rect">
            <a:avLst/>
          </a:prstGeom>
        </p:spPr>
        <p:txBody>
          <a:bodyPr lIns="107251" tIns="53623" rIns="107251" bIns="53623" anchor="ctr"/>
          <a:lstStyle/>
          <a:p>
            <a:pPr>
              <a:defRPr/>
            </a:pPr>
            <a:r>
              <a:rPr lang="te-IN" sz="800" dirty="0" smtClean="0">
                <a:latin typeface="Mandali" pitchFamily="2" charset="0"/>
                <a:ea typeface="+mj-ea"/>
                <a:cs typeface="Mandali" pitchFamily="2" charset="0"/>
              </a:rPr>
              <a:t>టాస్మానియా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86" name="Title 8"/>
          <p:cNvSpPr txBox="1">
            <a:spLocks/>
          </p:cNvSpPr>
          <p:nvPr/>
        </p:nvSpPr>
        <p:spPr>
          <a:xfrm rot="20073821">
            <a:off x="7901452" y="5555994"/>
            <a:ext cx="632911" cy="273495"/>
          </a:xfrm>
          <a:prstGeom prst="rect">
            <a:avLst/>
          </a:prstGeom>
        </p:spPr>
        <p:txBody>
          <a:bodyPr lIns="107251" tIns="53623" rIns="107251" bIns="53623" anchor="ctr"/>
          <a:lstStyle/>
          <a:p>
            <a:pPr algn="ctr">
              <a:defRPr/>
            </a:pPr>
            <a:r>
              <a:rPr lang="te-IN" sz="800" dirty="0" smtClean="0">
                <a:latin typeface="Mandali" pitchFamily="2" charset="0"/>
                <a:ea typeface="+mj-ea"/>
                <a:cs typeface="Mandali" pitchFamily="2" charset="0"/>
              </a:rPr>
              <a:t>న్యూజిలాండ్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87" name="Rectangle 2"/>
          <p:cNvSpPr>
            <a:spLocks noChangeArrowheads="1"/>
          </p:cNvSpPr>
          <p:nvPr/>
        </p:nvSpPr>
        <p:spPr bwMode="auto">
          <a:xfrm rot="678441">
            <a:off x="7315200" y="4439097"/>
            <a:ext cx="786342" cy="21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51" tIns="53623" rIns="107251" bIns="53623" anchor="ctr">
            <a:spAutoFit/>
          </a:bodyPr>
          <a:lstStyle/>
          <a:p>
            <a:pPr algn="ctr" eaLnBrk="0" hangingPunct="0"/>
            <a:r>
              <a:rPr lang="te-IN" sz="700" dirty="0" smtClean="0">
                <a:latin typeface="Mandali" pitchFamily="2" charset="0"/>
                <a:cs typeface="Mandali" pitchFamily="2" charset="0"/>
              </a:rPr>
              <a:t>టోరస్ జలసంధి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8" name="Rectangle 2"/>
          <p:cNvSpPr>
            <a:spLocks noChangeArrowheads="1"/>
          </p:cNvSpPr>
          <p:nvPr/>
        </p:nvSpPr>
        <p:spPr bwMode="auto">
          <a:xfrm rot="459980">
            <a:off x="6985167" y="5422389"/>
            <a:ext cx="1236663" cy="216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7251" tIns="53623" rIns="107251" bIns="53623" anchor="ctr">
            <a:spAutoFit/>
          </a:bodyPr>
          <a:lstStyle/>
          <a:p>
            <a:pPr eaLnBrk="0" hangingPunct="0"/>
            <a:r>
              <a:rPr lang="te-IN" sz="700" dirty="0" smtClean="0">
                <a:latin typeface="Mandali" pitchFamily="2" charset="0"/>
                <a:cs typeface="Mandali" pitchFamily="2" charset="0"/>
              </a:rPr>
              <a:t>బాస్ జలసంధి</a:t>
            </a:r>
            <a:endParaRPr lang="en-US" sz="7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89" name="Title 1"/>
          <p:cNvSpPr txBox="1">
            <a:spLocks/>
          </p:cNvSpPr>
          <p:nvPr/>
        </p:nvSpPr>
        <p:spPr>
          <a:xfrm rot="17654323">
            <a:off x="3919702" y="2105065"/>
            <a:ext cx="494373" cy="140198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ctr">
              <a:defRPr/>
            </a:pPr>
            <a:r>
              <a:rPr lang="en-US" sz="800" dirty="0" err="1">
                <a:latin typeface="Mandali" pitchFamily="2" charset="0"/>
                <a:ea typeface="+mj-ea"/>
                <a:cs typeface="Mandali" pitchFamily="2" charset="0"/>
              </a:rPr>
              <a:t>స్వీడన్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0" name="Title 1"/>
          <p:cNvSpPr txBox="1">
            <a:spLocks/>
          </p:cNvSpPr>
          <p:nvPr/>
        </p:nvSpPr>
        <p:spPr>
          <a:xfrm>
            <a:off x="3727942" y="2145400"/>
            <a:ext cx="422031" cy="76200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r">
              <a:defRPr/>
            </a:pPr>
            <a:r>
              <a:rPr lang="en-US" sz="600" dirty="0" err="1">
                <a:latin typeface="Mandali" pitchFamily="2" charset="0"/>
                <a:ea typeface="+mj-ea"/>
                <a:cs typeface="Mandali" pitchFamily="2" charset="0"/>
              </a:rPr>
              <a:t>నార్వే</a:t>
            </a:r>
            <a:endParaRPr lang="en-IN" sz="6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1" name="Title 1"/>
          <p:cNvSpPr txBox="1">
            <a:spLocks/>
          </p:cNvSpPr>
          <p:nvPr/>
        </p:nvSpPr>
        <p:spPr>
          <a:xfrm rot="16895363">
            <a:off x="3962219" y="2139869"/>
            <a:ext cx="551440" cy="191247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ctr">
              <a:defRPr/>
            </a:pPr>
            <a:r>
              <a:rPr lang="en-US" sz="400" dirty="0" err="1">
                <a:latin typeface="Mandali" pitchFamily="2" charset="0"/>
                <a:ea typeface="+mj-ea"/>
                <a:cs typeface="Mandali" pitchFamily="2" charset="0"/>
              </a:rPr>
              <a:t>బాల్టిక్</a:t>
            </a:r>
            <a:r>
              <a:rPr lang="en-US" sz="4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US" sz="400" dirty="0" err="1">
                <a:latin typeface="Mandali" pitchFamily="2" charset="0"/>
                <a:ea typeface="+mj-ea"/>
                <a:cs typeface="Mandali" pitchFamily="2" charset="0"/>
              </a:rPr>
              <a:t>సముద్రము</a:t>
            </a:r>
            <a:endParaRPr lang="en-IN" sz="4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2" name="Rectangle 1"/>
          <p:cNvSpPr>
            <a:spLocks noChangeArrowheads="1"/>
          </p:cNvSpPr>
          <p:nvPr/>
        </p:nvSpPr>
        <p:spPr bwMode="auto">
          <a:xfrm>
            <a:off x="3708679" y="2221600"/>
            <a:ext cx="370952" cy="200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63" tIns="53630" rIns="107263" bIns="53630" anchor="ctr">
            <a:spAutoFit/>
          </a:bodyPr>
          <a:lstStyle/>
          <a:p>
            <a:pPr algn="ctr" eaLnBrk="0" hangingPunct="0"/>
            <a:r>
              <a:rPr lang="en-US" sz="300" dirty="0" err="1">
                <a:latin typeface="Mandali" pitchFamily="2" charset="0"/>
                <a:ea typeface="Calibri" pitchFamily="34" charset="0"/>
                <a:cs typeface="Mandali" pitchFamily="2" charset="0"/>
              </a:rPr>
              <a:t>ఉత్తర</a:t>
            </a:r>
            <a:r>
              <a:rPr lang="en-US" sz="300" dirty="0">
                <a:latin typeface="Mandali" pitchFamily="2" charset="0"/>
                <a:ea typeface="Calibri" pitchFamily="34" charset="0"/>
                <a:cs typeface="Mandali" pitchFamily="2" charset="0"/>
              </a:rPr>
              <a:t> </a:t>
            </a:r>
            <a:r>
              <a:rPr lang="en-US" sz="300" dirty="0" err="1">
                <a:latin typeface="Mandali" pitchFamily="2" charset="0"/>
                <a:ea typeface="Calibri" pitchFamily="34" charset="0"/>
                <a:cs typeface="Mandali" pitchFamily="2" charset="0"/>
              </a:rPr>
              <a:t>సముద్రము</a:t>
            </a:r>
            <a:endParaRPr lang="en-US" sz="300" dirty="0">
              <a:latin typeface="Mandali" pitchFamily="2" charset="0"/>
              <a:ea typeface="Calibri" pitchFamily="34" charset="0"/>
              <a:cs typeface="Mandali" pitchFamily="2" charset="0"/>
            </a:endParaRPr>
          </a:p>
        </p:txBody>
      </p:sp>
      <p:sp>
        <p:nvSpPr>
          <p:cNvPr id="93" name="Title 1"/>
          <p:cNvSpPr txBox="1">
            <a:spLocks/>
          </p:cNvSpPr>
          <p:nvPr/>
        </p:nvSpPr>
        <p:spPr>
          <a:xfrm>
            <a:off x="4079635" y="2374002"/>
            <a:ext cx="417143" cy="190500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>
              <a:defRPr/>
            </a:pPr>
            <a:r>
              <a:rPr lang="en-US" sz="400" dirty="0" err="1">
                <a:latin typeface="Mandali" pitchFamily="2" charset="0"/>
                <a:ea typeface="+mj-ea"/>
                <a:cs typeface="Mandali" pitchFamily="2" charset="0"/>
              </a:rPr>
              <a:t>పోలండ్</a:t>
            </a:r>
            <a:endParaRPr lang="en-IN" sz="4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4" name="Title 1"/>
          <p:cNvSpPr txBox="1">
            <a:spLocks/>
          </p:cNvSpPr>
          <p:nvPr/>
        </p:nvSpPr>
        <p:spPr>
          <a:xfrm>
            <a:off x="3868615" y="2374003"/>
            <a:ext cx="344256" cy="213783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>
              <a:defRPr/>
            </a:pPr>
            <a:r>
              <a:rPr lang="en-US" sz="600" dirty="0" err="1" smtClean="0">
                <a:latin typeface="Mandali" pitchFamily="2" charset="0"/>
                <a:cs typeface="Mandali" pitchFamily="2" charset="0"/>
              </a:rPr>
              <a:t>జర్మనీ</a:t>
            </a:r>
            <a:endParaRPr lang="en-IN" sz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95" name="Title 1"/>
          <p:cNvSpPr txBox="1">
            <a:spLocks/>
          </p:cNvSpPr>
          <p:nvPr/>
        </p:nvSpPr>
        <p:spPr>
          <a:xfrm>
            <a:off x="3657604" y="2602603"/>
            <a:ext cx="389667" cy="92269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ఫ్రాన్స్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6" name="Title 1"/>
          <p:cNvSpPr txBox="1">
            <a:spLocks/>
          </p:cNvSpPr>
          <p:nvPr/>
        </p:nvSpPr>
        <p:spPr>
          <a:xfrm rot="3553431">
            <a:off x="3517768" y="2309739"/>
            <a:ext cx="437331" cy="231016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>
              <a:defRPr/>
            </a:pPr>
            <a:r>
              <a:rPr lang="en-US" sz="400" dirty="0" err="1">
                <a:latin typeface="Mandali" pitchFamily="2" charset="0"/>
                <a:ea typeface="+mj-ea"/>
                <a:cs typeface="Mandali" pitchFamily="2" charset="0"/>
              </a:rPr>
              <a:t>ఇంగ్లాండ్</a:t>
            </a:r>
            <a:endParaRPr lang="en-IN" sz="4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7" name="Title 1"/>
          <p:cNvSpPr txBox="1">
            <a:spLocks/>
          </p:cNvSpPr>
          <p:nvPr/>
        </p:nvSpPr>
        <p:spPr>
          <a:xfrm rot="21321597">
            <a:off x="3171009" y="2392623"/>
            <a:ext cx="431371" cy="173567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r">
              <a:defRPr/>
            </a:pPr>
            <a:r>
              <a:rPr lang="en-IN" sz="600" dirty="0" err="1">
                <a:latin typeface="Mandali" pitchFamily="2" charset="0"/>
                <a:ea typeface="+mj-ea"/>
                <a:cs typeface="Mandali" pitchFamily="2" charset="0"/>
              </a:rPr>
              <a:t>ఐర్లాండ్</a:t>
            </a:r>
            <a:endParaRPr lang="en-IN" sz="6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98" name="Title 1"/>
          <p:cNvSpPr>
            <a:spLocks noGrp="1"/>
          </p:cNvSpPr>
          <p:nvPr>
            <p:ph type="ctrTitle"/>
          </p:nvPr>
        </p:nvSpPr>
        <p:spPr>
          <a:xfrm>
            <a:off x="3126491" y="2825045"/>
            <a:ext cx="460775" cy="158555"/>
          </a:xfrm>
        </p:spPr>
        <p:txBody>
          <a:bodyPr>
            <a:noAutofit/>
          </a:bodyPr>
          <a:lstStyle/>
          <a:p>
            <a:pPr algn="r" eaLnBrk="1" hangingPunct="1"/>
            <a:r>
              <a:rPr lang="en-US" sz="600" dirty="0" err="1" smtClean="0">
                <a:latin typeface="Mandali" pitchFamily="2" charset="0"/>
                <a:cs typeface="Mandali" pitchFamily="2" charset="0"/>
              </a:rPr>
              <a:t>పోర్చుగల్</a:t>
            </a:r>
            <a:endParaRPr lang="en-IN" sz="600" dirty="0" smtClean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3376246" y="2755001"/>
            <a:ext cx="524608" cy="100067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r">
              <a:defRPr/>
            </a:pPr>
            <a:r>
              <a:rPr lang="en-US" sz="600" dirty="0" err="1">
                <a:latin typeface="Mandali" pitchFamily="2" charset="0"/>
                <a:ea typeface="+mj-ea"/>
                <a:cs typeface="Mandali" pitchFamily="2" charset="0"/>
              </a:rPr>
              <a:t>స్పెయిన్</a:t>
            </a:r>
            <a:endParaRPr lang="en-IN" sz="6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0" name="Title 1"/>
          <p:cNvSpPr txBox="1">
            <a:spLocks/>
          </p:cNvSpPr>
          <p:nvPr/>
        </p:nvSpPr>
        <p:spPr>
          <a:xfrm rot="2854171">
            <a:off x="3819901" y="2679933"/>
            <a:ext cx="452123" cy="99051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ctr">
              <a:defRPr/>
            </a:pPr>
            <a:r>
              <a:rPr lang="en-US" sz="500" dirty="0" err="1">
                <a:latin typeface="Mandali" pitchFamily="2" charset="0"/>
                <a:ea typeface="+mj-ea"/>
                <a:cs typeface="Mandali" pitchFamily="2" charset="0"/>
              </a:rPr>
              <a:t>ఇటలీ</a:t>
            </a:r>
            <a:endParaRPr lang="en-IN" sz="5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1" name="Title 1"/>
          <p:cNvSpPr txBox="1">
            <a:spLocks/>
          </p:cNvSpPr>
          <p:nvPr/>
        </p:nvSpPr>
        <p:spPr>
          <a:xfrm>
            <a:off x="4431323" y="2678801"/>
            <a:ext cx="731790" cy="164075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>
              <a:defRPr/>
            </a:pPr>
            <a:r>
              <a:rPr lang="en-US" sz="400" dirty="0" err="1">
                <a:latin typeface="Mandali" pitchFamily="2" charset="0"/>
                <a:ea typeface="+mj-ea"/>
                <a:cs typeface="Mandali" pitchFamily="2" charset="0"/>
              </a:rPr>
              <a:t>నల్ల</a:t>
            </a:r>
            <a:r>
              <a:rPr lang="en-US" sz="4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US" sz="400" dirty="0" err="1">
                <a:latin typeface="Mandali" pitchFamily="2" charset="0"/>
                <a:ea typeface="+mj-ea"/>
                <a:cs typeface="Mandali" pitchFamily="2" charset="0"/>
              </a:rPr>
              <a:t>సముద్రము</a:t>
            </a:r>
            <a:endParaRPr lang="en-IN" sz="4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2" name="Title 1"/>
          <p:cNvSpPr txBox="1">
            <a:spLocks/>
          </p:cNvSpPr>
          <p:nvPr/>
        </p:nvSpPr>
        <p:spPr>
          <a:xfrm rot="3822127">
            <a:off x="4795760" y="2759341"/>
            <a:ext cx="535335" cy="67518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ctr">
              <a:defRPr/>
            </a:pPr>
            <a:r>
              <a:rPr lang="en-US" sz="300" dirty="0" err="1">
                <a:latin typeface="Mandali" pitchFamily="2" charset="0"/>
                <a:ea typeface="+mj-ea"/>
                <a:cs typeface="Mandali" pitchFamily="2" charset="0"/>
              </a:rPr>
              <a:t>కాస్పియన్</a:t>
            </a:r>
            <a:r>
              <a:rPr lang="en-US" sz="3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US" sz="300" dirty="0" err="1">
                <a:latin typeface="Mandali" pitchFamily="2" charset="0"/>
                <a:ea typeface="+mj-ea"/>
                <a:cs typeface="Mandali" pitchFamily="2" charset="0"/>
              </a:rPr>
              <a:t>సముద్రము</a:t>
            </a:r>
            <a:endParaRPr lang="en-IN" sz="3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3" name="Title 1"/>
          <p:cNvSpPr txBox="1">
            <a:spLocks/>
          </p:cNvSpPr>
          <p:nvPr/>
        </p:nvSpPr>
        <p:spPr>
          <a:xfrm rot="16518141">
            <a:off x="4074157" y="2019392"/>
            <a:ext cx="596307" cy="239713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r">
              <a:defRPr/>
            </a:pPr>
            <a:r>
              <a:rPr lang="en-IN" sz="500" dirty="0" err="1">
                <a:latin typeface="Mandali" pitchFamily="2" charset="0"/>
                <a:ea typeface="+mj-ea"/>
                <a:cs typeface="Mandali" pitchFamily="2" charset="0"/>
              </a:rPr>
              <a:t>ఫిన్</a:t>
            </a:r>
            <a:r>
              <a:rPr lang="en-IN" sz="5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IN" sz="500" dirty="0" err="1">
                <a:latin typeface="Mandali" pitchFamily="2" charset="0"/>
                <a:ea typeface="+mj-ea"/>
                <a:cs typeface="Mandali" pitchFamily="2" charset="0"/>
              </a:rPr>
              <a:t>లాండ్</a:t>
            </a:r>
            <a:endParaRPr lang="en-IN" sz="5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4" name="Title 1"/>
          <p:cNvSpPr txBox="1">
            <a:spLocks/>
          </p:cNvSpPr>
          <p:nvPr/>
        </p:nvSpPr>
        <p:spPr>
          <a:xfrm rot="21418112">
            <a:off x="4086887" y="2815430"/>
            <a:ext cx="410418" cy="309033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 algn="ctr">
              <a:defRPr/>
            </a:pPr>
            <a:r>
              <a:rPr lang="en-IN" sz="400" dirty="0" err="1">
                <a:latin typeface="Mandali" pitchFamily="2" charset="0"/>
                <a:ea typeface="+mj-ea"/>
                <a:cs typeface="Mandali" pitchFamily="2" charset="0"/>
              </a:rPr>
              <a:t>గ్రీస్</a:t>
            </a:r>
            <a:endParaRPr lang="en-IN" sz="4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5" name="Title 1"/>
          <p:cNvSpPr txBox="1">
            <a:spLocks/>
          </p:cNvSpPr>
          <p:nvPr/>
        </p:nvSpPr>
        <p:spPr>
          <a:xfrm>
            <a:off x="3165231" y="2081902"/>
            <a:ext cx="792162" cy="215900"/>
          </a:xfrm>
          <a:prstGeom prst="rect">
            <a:avLst/>
          </a:prstGeom>
        </p:spPr>
        <p:txBody>
          <a:bodyPr lIns="107263" tIns="53630" rIns="107263" bIns="53630" anchor="ctr"/>
          <a:lstStyle/>
          <a:p>
            <a:pPr>
              <a:defRPr/>
            </a:pPr>
            <a:r>
              <a:rPr lang="en-US" sz="800" dirty="0" err="1">
                <a:latin typeface="Mandali" pitchFamily="2" charset="0"/>
                <a:ea typeface="+mj-ea"/>
                <a:cs typeface="Mandali" pitchFamily="2" charset="0"/>
              </a:rPr>
              <a:t>ఐస్</a:t>
            </a:r>
            <a:r>
              <a:rPr lang="en-US" sz="8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US" sz="800" dirty="0" err="1">
                <a:latin typeface="Mandali" pitchFamily="2" charset="0"/>
                <a:ea typeface="+mj-ea"/>
                <a:cs typeface="Mandali" pitchFamily="2" charset="0"/>
              </a:rPr>
              <a:t>లాండ్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06" name="Rectangle 5"/>
          <p:cNvSpPr>
            <a:spLocks noChangeArrowheads="1"/>
          </p:cNvSpPr>
          <p:nvPr/>
        </p:nvSpPr>
        <p:spPr bwMode="auto">
          <a:xfrm>
            <a:off x="984739" y="2145400"/>
            <a:ext cx="473126" cy="262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75" tIns="53637" rIns="107275" bIns="53637" anchor="ctr">
            <a:spAutoFit/>
          </a:bodyPr>
          <a:lstStyle/>
          <a:p>
            <a:pPr algn="ctr"/>
            <a:r>
              <a:rPr lang="en-IN" sz="1000" dirty="0" err="1">
                <a:latin typeface="Mandali" pitchFamily="2" charset="0"/>
                <a:cs typeface="Mandali" pitchFamily="2" charset="0"/>
              </a:rPr>
              <a:t>కెనడా</a:t>
            </a:r>
            <a:endParaRPr lang="en-US" sz="10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07" name="TextBox 33"/>
          <p:cNvSpPr txBox="1">
            <a:spLocks noChangeArrowheads="1"/>
          </p:cNvSpPr>
          <p:nvPr/>
        </p:nvSpPr>
        <p:spPr bwMode="auto">
          <a:xfrm>
            <a:off x="2743200" y="1688203"/>
            <a:ext cx="620632" cy="385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75" tIns="53637" rIns="107275" bIns="53637">
            <a:spAutoFit/>
          </a:bodyPr>
          <a:lstStyle/>
          <a:p>
            <a:pPr algn="ctr"/>
            <a:r>
              <a:rPr lang="en-US" sz="900" dirty="0" err="1">
                <a:latin typeface="Mandali" pitchFamily="2" charset="0"/>
                <a:cs typeface="Mandali" pitchFamily="2" charset="0"/>
              </a:rPr>
              <a:t>గ్రీన్</a:t>
            </a:r>
            <a:r>
              <a:rPr lang="en-US" sz="9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900" dirty="0" err="1">
                <a:latin typeface="Mandali" pitchFamily="2" charset="0"/>
                <a:cs typeface="Mandali" pitchFamily="2" charset="0"/>
              </a:rPr>
              <a:t>లాండ్</a:t>
            </a:r>
            <a:endParaRPr lang="en-US" sz="9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08" name="Rectangle 5"/>
          <p:cNvSpPr>
            <a:spLocks noChangeArrowheads="1"/>
          </p:cNvSpPr>
          <p:nvPr/>
        </p:nvSpPr>
        <p:spPr bwMode="auto">
          <a:xfrm>
            <a:off x="633051" y="2755004"/>
            <a:ext cx="1055077" cy="385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75" tIns="53637" rIns="107275" bIns="53637" anchor="ctr">
            <a:spAutoFit/>
          </a:bodyPr>
          <a:lstStyle/>
          <a:p>
            <a:pPr algn="ctr"/>
            <a:r>
              <a:rPr lang="en-IN" sz="900" dirty="0" err="1">
                <a:latin typeface="Mandali" pitchFamily="2" charset="0"/>
                <a:cs typeface="Mandali" pitchFamily="2" charset="0"/>
              </a:rPr>
              <a:t>అమెరికా</a:t>
            </a:r>
            <a:r>
              <a:rPr lang="en-IN" sz="900" dirty="0">
                <a:latin typeface="Mandali" pitchFamily="2" charset="0"/>
                <a:cs typeface="Mandali" pitchFamily="2" charset="0"/>
              </a:rPr>
              <a:t> </a:t>
            </a:r>
            <a:r>
              <a:rPr lang="en-IN" sz="900" dirty="0" err="1">
                <a:latin typeface="Mandali" pitchFamily="2" charset="0"/>
                <a:cs typeface="Mandali" pitchFamily="2" charset="0"/>
              </a:rPr>
              <a:t>సంయుక్త</a:t>
            </a:r>
            <a:r>
              <a:rPr lang="en-IN" sz="900" dirty="0">
                <a:latin typeface="Mandali" pitchFamily="2" charset="0"/>
                <a:cs typeface="Mandali" pitchFamily="2" charset="0"/>
              </a:rPr>
              <a:t> </a:t>
            </a:r>
            <a:r>
              <a:rPr lang="en-IN" sz="900" dirty="0" err="1">
                <a:latin typeface="Mandali" pitchFamily="2" charset="0"/>
                <a:cs typeface="Mandali" pitchFamily="2" charset="0"/>
              </a:rPr>
              <a:t>రాష్ట్రాలు</a:t>
            </a:r>
            <a:endParaRPr lang="en-IN" sz="9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09" name="Rectangle 5"/>
          <p:cNvSpPr>
            <a:spLocks noChangeArrowheads="1"/>
          </p:cNvSpPr>
          <p:nvPr/>
        </p:nvSpPr>
        <p:spPr bwMode="auto">
          <a:xfrm>
            <a:off x="286481" y="1993004"/>
            <a:ext cx="487242" cy="385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75" tIns="53637" rIns="107275" bIns="53637" anchor="ctr">
            <a:spAutoFit/>
          </a:bodyPr>
          <a:lstStyle/>
          <a:p>
            <a:pPr algn="ctr"/>
            <a:r>
              <a:rPr lang="en-IN" sz="900" dirty="0" err="1">
                <a:latin typeface="Mandali" pitchFamily="2" charset="0"/>
                <a:cs typeface="Mandali" pitchFamily="2" charset="0"/>
              </a:rPr>
              <a:t>అలస్కా</a:t>
            </a:r>
            <a:endParaRPr lang="en-US" sz="9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0" name="Rectangle 5"/>
          <p:cNvSpPr>
            <a:spLocks noChangeArrowheads="1"/>
          </p:cNvSpPr>
          <p:nvPr/>
        </p:nvSpPr>
        <p:spPr bwMode="auto">
          <a:xfrm>
            <a:off x="1617785" y="3288400"/>
            <a:ext cx="518010" cy="231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07275" tIns="53637" rIns="107275" bIns="53637" anchor="ctr">
            <a:spAutoFit/>
          </a:bodyPr>
          <a:lstStyle/>
          <a:p>
            <a:r>
              <a:rPr lang="en-IN" sz="800" dirty="0" err="1">
                <a:latin typeface="Mandali" pitchFamily="2" charset="0"/>
                <a:cs typeface="Mandali" pitchFamily="2" charset="0"/>
              </a:rPr>
              <a:t>వెస్టిండీస్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1" name="Rectangle 5"/>
          <p:cNvSpPr>
            <a:spLocks noChangeArrowheads="1"/>
          </p:cNvSpPr>
          <p:nvPr/>
        </p:nvSpPr>
        <p:spPr bwMode="auto">
          <a:xfrm rot="20518433">
            <a:off x="863034" y="3198139"/>
            <a:ext cx="367323" cy="477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7275" tIns="53637" rIns="107275" bIns="53637" anchor="ctr">
            <a:spAutoFit/>
          </a:bodyPr>
          <a:lstStyle/>
          <a:p>
            <a:pPr>
              <a:defRPr/>
            </a:pPr>
            <a:r>
              <a:rPr lang="en-IN" sz="800" dirty="0" err="1">
                <a:latin typeface="Mandali" pitchFamily="2" charset="0"/>
                <a:cs typeface="Mandali" pitchFamily="2" charset="0"/>
              </a:rPr>
              <a:t>మె</a:t>
            </a:r>
            <a:r>
              <a:rPr lang="en-IN" sz="800" dirty="0">
                <a:latin typeface="Mandali" pitchFamily="2" charset="0"/>
                <a:cs typeface="Mandali" pitchFamily="2" charset="0"/>
              </a:rPr>
              <a:t> </a:t>
            </a:r>
            <a:r>
              <a:rPr lang="en-IN" sz="800" dirty="0" err="1">
                <a:latin typeface="Mandali" pitchFamily="2" charset="0"/>
                <a:cs typeface="Mandali" pitchFamily="2" charset="0"/>
              </a:rPr>
              <a:t>క్సి</a:t>
            </a:r>
            <a:r>
              <a:rPr lang="en-IN" sz="800" dirty="0">
                <a:latin typeface="Mandali" pitchFamily="2" charset="0"/>
                <a:cs typeface="Mandali" pitchFamily="2" charset="0"/>
              </a:rPr>
              <a:t> </a:t>
            </a:r>
            <a:r>
              <a:rPr lang="en-IN" sz="800" dirty="0" err="1">
                <a:latin typeface="Mandali" pitchFamily="2" charset="0"/>
                <a:cs typeface="Mandali" pitchFamily="2" charset="0"/>
              </a:rPr>
              <a:t>కో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3891085" y="1535815"/>
            <a:ext cx="3213100" cy="277599"/>
          </a:xfrm>
          <a:prstGeom prst="rect">
            <a:avLst/>
          </a:prstGeom>
          <a:noFill/>
        </p:spPr>
        <p:txBody>
          <a:bodyPr lIns="107275" tIns="53637" rIns="107275" bIns="53637">
            <a:spAutoFit/>
          </a:bodyPr>
          <a:lstStyle/>
          <a:p>
            <a:pPr algn="ctr">
              <a:defRPr/>
            </a:pPr>
            <a:r>
              <a:rPr lang="en-US" sz="1100" spc="704" dirty="0" err="1">
                <a:latin typeface="Mandali" pitchFamily="2" charset="0"/>
                <a:cs typeface="Mandali" pitchFamily="2" charset="0"/>
              </a:rPr>
              <a:t>ఆర్కిటిక్</a:t>
            </a:r>
            <a:r>
              <a:rPr lang="en-US" sz="1100" spc="704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100" spc="704" dirty="0" err="1">
                <a:latin typeface="Mandali" pitchFamily="2" charset="0"/>
                <a:cs typeface="Mandali" pitchFamily="2" charset="0"/>
              </a:rPr>
              <a:t>మహా</a:t>
            </a:r>
            <a:r>
              <a:rPr lang="en-US" sz="1100" spc="704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100" spc="704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US" sz="1100" spc="704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3" name="TextBox 29"/>
          <p:cNvSpPr txBox="1">
            <a:spLocks noChangeArrowheads="1"/>
          </p:cNvSpPr>
          <p:nvPr/>
        </p:nvSpPr>
        <p:spPr bwMode="auto">
          <a:xfrm rot="4440456">
            <a:off x="2159274" y="1997913"/>
            <a:ext cx="818779" cy="231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75" tIns="53637" rIns="107275" bIns="53637">
            <a:spAutoFit/>
          </a:bodyPr>
          <a:lstStyle/>
          <a:p>
            <a:pPr algn="ctr"/>
            <a:r>
              <a:rPr lang="en-US" sz="800" dirty="0" err="1">
                <a:latin typeface="Mandali" pitchFamily="2" charset="0"/>
                <a:cs typeface="Mandali" pitchFamily="2" charset="0"/>
              </a:rPr>
              <a:t>డేవిస్</a:t>
            </a:r>
            <a:r>
              <a:rPr lang="en-US" sz="8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800" dirty="0" err="1">
                <a:latin typeface="Mandali" pitchFamily="2" charset="0"/>
                <a:cs typeface="Mandali" pitchFamily="2" charset="0"/>
              </a:rPr>
              <a:t>జలసంఢి</a:t>
            </a:r>
            <a:endParaRPr lang="en-US" sz="8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4" name="Rectangle 5"/>
          <p:cNvSpPr>
            <a:spLocks noChangeArrowheads="1"/>
          </p:cNvSpPr>
          <p:nvPr/>
        </p:nvSpPr>
        <p:spPr bwMode="auto">
          <a:xfrm rot="784664">
            <a:off x="1425702" y="3619764"/>
            <a:ext cx="727194" cy="185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75" tIns="53637" rIns="107275" bIns="53637" anchor="ctr">
            <a:spAutoFit/>
          </a:bodyPr>
          <a:lstStyle/>
          <a:p>
            <a:r>
              <a:rPr lang="en-IN" sz="500" dirty="0" err="1">
                <a:latin typeface="Mandali" pitchFamily="2" charset="0"/>
                <a:cs typeface="Mandali" pitchFamily="2" charset="0"/>
              </a:rPr>
              <a:t>కరేబియన్</a:t>
            </a:r>
            <a:r>
              <a:rPr lang="en-IN" sz="500" dirty="0">
                <a:latin typeface="Mandali" pitchFamily="2" charset="0"/>
                <a:cs typeface="Mandali" pitchFamily="2" charset="0"/>
              </a:rPr>
              <a:t> </a:t>
            </a:r>
            <a:r>
              <a:rPr lang="en-IN" sz="500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IN" sz="5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15" name="Title 1"/>
          <p:cNvSpPr txBox="1">
            <a:spLocks/>
          </p:cNvSpPr>
          <p:nvPr/>
        </p:nvSpPr>
        <p:spPr>
          <a:xfrm>
            <a:off x="1726346" y="4230927"/>
            <a:ext cx="1079500" cy="433917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 algn="ctr"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బ్రెజిల్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16" name="Title 1"/>
          <p:cNvSpPr txBox="1">
            <a:spLocks/>
          </p:cNvSpPr>
          <p:nvPr/>
        </p:nvSpPr>
        <p:spPr>
          <a:xfrm rot="16200000">
            <a:off x="1776922" y="5146314"/>
            <a:ext cx="556004" cy="251140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 algn="ctr"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అర్జంటీనా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17" name="Title 1"/>
          <p:cNvSpPr txBox="1">
            <a:spLocks/>
          </p:cNvSpPr>
          <p:nvPr/>
        </p:nvSpPr>
        <p:spPr>
          <a:xfrm>
            <a:off x="1758466" y="4598621"/>
            <a:ext cx="492369" cy="289983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 algn="r">
              <a:defRPr/>
            </a:pPr>
            <a:r>
              <a:rPr lang="en-IN" sz="600" dirty="0" err="1">
                <a:latin typeface="Mandali" pitchFamily="2" charset="0"/>
                <a:ea typeface="+mj-ea"/>
                <a:cs typeface="Mandali" pitchFamily="2" charset="0"/>
              </a:rPr>
              <a:t>బొలీవియా</a:t>
            </a:r>
            <a:endParaRPr lang="en-IN" sz="6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18" name="Title 1"/>
          <p:cNvSpPr txBox="1">
            <a:spLocks/>
          </p:cNvSpPr>
          <p:nvPr/>
        </p:nvSpPr>
        <p:spPr>
          <a:xfrm rot="4215854">
            <a:off x="1366482" y="4327990"/>
            <a:ext cx="483123" cy="267677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పెరూ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19" name="Title 1"/>
          <p:cNvSpPr txBox="1">
            <a:spLocks/>
          </p:cNvSpPr>
          <p:nvPr/>
        </p:nvSpPr>
        <p:spPr>
          <a:xfrm rot="1190752">
            <a:off x="2127485" y="5222561"/>
            <a:ext cx="457670" cy="197339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ఉరుగ్వే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0" name="Title 1"/>
          <p:cNvSpPr txBox="1">
            <a:spLocks/>
          </p:cNvSpPr>
          <p:nvPr/>
        </p:nvSpPr>
        <p:spPr>
          <a:xfrm rot="16797956">
            <a:off x="1509649" y="5083901"/>
            <a:ext cx="728133" cy="258763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చిలీ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1" name="Title 1"/>
          <p:cNvSpPr txBox="1">
            <a:spLocks/>
          </p:cNvSpPr>
          <p:nvPr/>
        </p:nvSpPr>
        <p:spPr>
          <a:xfrm>
            <a:off x="843085" y="4050401"/>
            <a:ext cx="774700" cy="364067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 algn="r"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ఈక్వెడార్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2" name="Title 1"/>
          <p:cNvSpPr txBox="1">
            <a:spLocks/>
          </p:cNvSpPr>
          <p:nvPr/>
        </p:nvSpPr>
        <p:spPr>
          <a:xfrm>
            <a:off x="1108076" y="3912816"/>
            <a:ext cx="580048" cy="289984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కొలంబియా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3" name="Title 1"/>
          <p:cNvSpPr txBox="1">
            <a:spLocks/>
          </p:cNvSpPr>
          <p:nvPr/>
        </p:nvSpPr>
        <p:spPr>
          <a:xfrm>
            <a:off x="1617785" y="3821800"/>
            <a:ext cx="650630" cy="254000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 algn="ctr">
              <a:defRPr/>
            </a:pPr>
            <a:r>
              <a:rPr lang="en-IN" sz="600" dirty="0" err="1">
                <a:latin typeface="Mandali" pitchFamily="2" charset="0"/>
                <a:ea typeface="+mj-ea"/>
                <a:cs typeface="Mandali" pitchFamily="2" charset="0"/>
              </a:rPr>
              <a:t>వెనిజులా</a:t>
            </a:r>
            <a:endParaRPr lang="en-IN" sz="6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4" name="Title 1"/>
          <p:cNvSpPr txBox="1">
            <a:spLocks/>
          </p:cNvSpPr>
          <p:nvPr/>
        </p:nvSpPr>
        <p:spPr>
          <a:xfrm rot="18593085">
            <a:off x="1891617" y="3644591"/>
            <a:ext cx="827220" cy="136770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500" dirty="0" err="1" smtClean="0">
                <a:latin typeface="Mandali" pitchFamily="2" charset="0"/>
                <a:ea typeface="+mj-ea"/>
                <a:cs typeface="Mandali" pitchFamily="2" charset="0"/>
              </a:rPr>
              <a:t>గయానా</a:t>
            </a:r>
            <a:endParaRPr lang="en-IN" sz="5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5" name="Title 1"/>
          <p:cNvSpPr txBox="1">
            <a:spLocks/>
          </p:cNvSpPr>
          <p:nvPr/>
        </p:nvSpPr>
        <p:spPr>
          <a:xfrm>
            <a:off x="703389" y="5803000"/>
            <a:ext cx="1500187" cy="381000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 algn="r">
              <a:defRPr/>
            </a:pP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మాజిలాన్</a:t>
            </a:r>
            <a:r>
              <a:rPr lang="en-IN" sz="8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IN" sz="800" dirty="0" err="1">
                <a:latin typeface="Mandali" pitchFamily="2" charset="0"/>
                <a:ea typeface="+mj-ea"/>
                <a:cs typeface="Mandali" pitchFamily="2" charset="0"/>
              </a:rPr>
              <a:t>జలసంధి</a:t>
            </a:r>
            <a:endParaRPr lang="en-IN" sz="8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6" name="Rectangle 1"/>
          <p:cNvSpPr>
            <a:spLocks noChangeArrowheads="1"/>
          </p:cNvSpPr>
          <p:nvPr/>
        </p:nvSpPr>
        <p:spPr bwMode="auto">
          <a:xfrm>
            <a:off x="1125419" y="6184000"/>
            <a:ext cx="6541477" cy="29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7287" tIns="53643" rIns="107287" bIns="53643" anchor="ctr">
            <a:spAutoFit/>
          </a:bodyPr>
          <a:lstStyle/>
          <a:p>
            <a:pPr algn="ctr" eaLnBrk="0" hangingPunct="0">
              <a:defRPr/>
            </a:pPr>
            <a:r>
              <a:rPr lang="en-US" sz="1200" spc="600" dirty="0" err="1">
                <a:latin typeface="Mandali" pitchFamily="2" charset="0"/>
                <a:cs typeface="Mandali" pitchFamily="2" charset="0"/>
              </a:rPr>
              <a:t>దక్షిణ</a:t>
            </a:r>
            <a:r>
              <a:rPr lang="en-US" sz="1200" spc="6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200" spc="600" dirty="0" err="1">
                <a:latin typeface="Mandali" pitchFamily="2" charset="0"/>
                <a:cs typeface="Mandali" pitchFamily="2" charset="0"/>
              </a:rPr>
              <a:t>మహా</a:t>
            </a:r>
            <a:r>
              <a:rPr lang="en-US" sz="1200" spc="600" dirty="0">
                <a:latin typeface="Mandali" pitchFamily="2" charset="0"/>
                <a:cs typeface="Mandali" pitchFamily="2" charset="0"/>
              </a:rPr>
              <a:t> </a:t>
            </a:r>
            <a:r>
              <a:rPr lang="en-US" sz="1200" spc="600" dirty="0" err="1">
                <a:latin typeface="Mandali" pitchFamily="2" charset="0"/>
                <a:cs typeface="Mandali" pitchFamily="2" charset="0"/>
              </a:rPr>
              <a:t>సముద్రము</a:t>
            </a:r>
            <a:endParaRPr lang="en-US" sz="1200" spc="600" dirty="0">
              <a:latin typeface="Mandali" pitchFamily="2" charset="0"/>
              <a:cs typeface="Mandali" pitchFamily="2" charset="0"/>
            </a:endParaRPr>
          </a:p>
        </p:txBody>
      </p:sp>
      <p:sp>
        <p:nvSpPr>
          <p:cNvPr id="127" name="Title 1"/>
          <p:cNvSpPr txBox="1">
            <a:spLocks/>
          </p:cNvSpPr>
          <p:nvPr/>
        </p:nvSpPr>
        <p:spPr>
          <a:xfrm rot="19913386">
            <a:off x="2087254" y="3645566"/>
            <a:ext cx="1285875" cy="243417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500" dirty="0" err="1">
                <a:latin typeface="Mandali" pitchFamily="2" charset="0"/>
                <a:ea typeface="+mj-ea"/>
                <a:cs typeface="Mandali" pitchFamily="2" charset="0"/>
              </a:rPr>
              <a:t>ఫ్రెంచ్</a:t>
            </a:r>
            <a:r>
              <a:rPr lang="en-IN" sz="500" dirty="0">
                <a:latin typeface="Mandali" pitchFamily="2" charset="0"/>
                <a:ea typeface="+mj-ea"/>
                <a:cs typeface="Mandali" pitchFamily="2" charset="0"/>
              </a:rPr>
              <a:t> </a:t>
            </a:r>
            <a:r>
              <a:rPr lang="en-IN" sz="500" dirty="0" err="1">
                <a:latin typeface="Mandali" pitchFamily="2" charset="0"/>
                <a:ea typeface="+mj-ea"/>
                <a:cs typeface="Mandali" pitchFamily="2" charset="0"/>
              </a:rPr>
              <a:t>గినియా</a:t>
            </a:r>
            <a:endParaRPr lang="en-IN" sz="5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8" name="Title 1"/>
          <p:cNvSpPr txBox="1">
            <a:spLocks/>
          </p:cNvSpPr>
          <p:nvPr/>
        </p:nvSpPr>
        <p:spPr>
          <a:xfrm rot="19468935">
            <a:off x="2015847" y="3455615"/>
            <a:ext cx="1239838" cy="340784"/>
          </a:xfrm>
          <a:prstGeom prst="rect">
            <a:avLst/>
          </a:prstGeom>
        </p:spPr>
        <p:txBody>
          <a:bodyPr lIns="107287" tIns="53643" rIns="107287" bIns="53643" anchor="ctr"/>
          <a:lstStyle/>
          <a:p>
            <a:pPr>
              <a:defRPr/>
            </a:pPr>
            <a:r>
              <a:rPr lang="en-IN" sz="500" dirty="0" err="1">
                <a:latin typeface="Mandali" pitchFamily="2" charset="0"/>
                <a:ea typeface="+mj-ea"/>
                <a:cs typeface="Mandali" pitchFamily="2" charset="0"/>
              </a:rPr>
              <a:t>సురినామ్</a:t>
            </a:r>
            <a:endParaRPr lang="en-IN" sz="500" dirty="0">
              <a:latin typeface="Mandali" pitchFamily="2" charset="0"/>
              <a:ea typeface="+mj-ea"/>
              <a:cs typeface="Mandali" pitchFamily="2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0" y="533400"/>
            <a:ext cx="9144000" cy="416098"/>
          </a:xfrm>
          <a:prstGeom prst="rect">
            <a:avLst/>
          </a:prstGeom>
          <a:noFill/>
        </p:spPr>
        <p:txBody>
          <a:bodyPr wrap="square" lIns="107275" tIns="53637" rIns="107275" bIns="53637">
            <a:spAutoFit/>
          </a:bodyPr>
          <a:lstStyle/>
          <a:p>
            <a:pPr algn="ctr">
              <a:defRPr/>
            </a:pPr>
            <a:r>
              <a:rPr lang="en-US" sz="2000" spc="704" dirty="0" err="1" smtClean="0">
                <a:latin typeface="Ramabhadra" pitchFamily="2" charset="0"/>
                <a:cs typeface="Ramabhadra" pitchFamily="2" charset="0"/>
              </a:rPr>
              <a:t>ప్రపంచ</a:t>
            </a:r>
            <a:r>
              <a:rPr lang="en-US" sz="2000" spc="704" dirty="0" smtClean="0">
                <a:latin typeface="Ramabhadra" pitchFamily="2" charset="0"/>
                <a:cs typeface="Ramabhadra" pitchFamily="2" charset="0"/>
              </a:rPr>
              <a:t> </a:t>
            </a:r>
            <a:r>
              <a:rPr lang="en-US" sz="2000" spc="704" dirty="0" err="1" smtClean="0">
                <a:latin typeface="Ramabhadra" pitchFamily="2" charset="0"/>
                <a:cs typeface="Ramabhadra" pitchFamily="2" charset="0"/>
              </a:rPr>
              <a:t>పటము</a:t>
            </a:r>
            <a:endParaRPr lang="en-US" sz="2000" spc="704" dirty="0"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" dur="1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" dur="1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6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9" dur="1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5" dur="1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8" dur="1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1" dur="1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4" dur="1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" dur="1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40" dur="1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4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43" dur="1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4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46" dur="1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4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49" dur="1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5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52" dur="1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5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55" dur="1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5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58" dur="1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5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1" dur="1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6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4" dur="1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6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67" dur="1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6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0" dur="1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7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3" dur="1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7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6" dur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7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9" dur="1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82" dur="1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85" dur="1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88" dur="1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8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91" dur="1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9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94" dur="1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9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97" dur="1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9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0" dur="1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0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3" dur="1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0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6" dur="1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0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09" dur="1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1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12" dur="1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1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15" dur="1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1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18" dur="1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1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1" dur="1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2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4" dur="1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2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7" dur="1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2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0" dur="1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3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3" dur="1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3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6" dur="1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3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39" dur="1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42" dur="1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45" dur="1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48" dur="1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4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51" dur="1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5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54" dur="1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5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57" dur="1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5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60" dur="1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6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63" dur="1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6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66" dur="1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6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69" dur="1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7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2" dur="1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7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5" dur="1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7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8" dur="1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7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81" dur="1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8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84" dur="1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8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87" dur="1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8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90" dur="1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9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93" dur="1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9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96" dur="1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19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99" dur="1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0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02" dur="1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0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05" dur="1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0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08" dur="1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0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11" dur="1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1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14" dur="1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1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17" dur="1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1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0" dur="1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2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3" dur="1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2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6" dur="1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2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9" dur="1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3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32" dur="1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3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35" dur="1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3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38" dur="1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3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41" dur="1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4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44" dur="1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4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47" dur="1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4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50" dur="1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5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53" dur="1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5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56" dur="1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5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59" dur="1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6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62" dur="1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6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65" dur="1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6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68" dur="1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6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1" dur="1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7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4" dur="1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7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7" dur="1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7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80" dur="1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8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83" dur="1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8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86" dur="1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8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89" dur="1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9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92" dur="1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9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95" dur="1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9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98" dur="1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29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01" dur="1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0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04" dur="1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0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07" dur="1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0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10" dur="1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1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13" dur="1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1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16" dur="1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1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19" dur="1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2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2" dur="1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2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5" dur="1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2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8" dur="1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2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31" dur="1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3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34" dur="1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3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37" dur="1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3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40" dur="1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4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43" dur="1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4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46" dur="1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4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49" dur="1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50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52" dur="1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53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55" dur="1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56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58" dur="1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59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61" dur="1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62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64" dur="1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65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67" dur="1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68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0" dur="1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71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3" dur="1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74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6" dur="1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  <p:par>
                                <p:cTn id="377" presetID="2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79" dur="1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/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  <p:bldP spid="36" grpId="0"/>
      <p:bldP spid="37" grpId="0"/>
      <p:bldP spid="38" grpId="0"/>
      <p:bldP spid="39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  <p:bldP spid="54" grpId="0"/>
      <p:bldP spid="55" grpId="0"/>
      <p:bldP spid="56" grpId="0"/>
      <p:bldP spid="57" grpId="0"/>
      <p:bldP spid="58" grpId="0"/>
      <p:bldP spid="59" grpId="0"/>
      <p:bldP spid="60" grpId="0"/>
      <p:bldP spid="61" grpId="0"/>
      <p:bldP spid="62" grpId="0"/>
      <p:bldP spid="63" grpId="0"/>
      <p:bldP spid="64" grpId="0"/>
      <p:bldP spid="65" grpId="0"/>
      <p:bldP spid="66" grpId="0"/>
      <p:bldP spid="67" grpId="0"/>
      <p:bldP spid="68" grpId="0"/>
      <p:bldP spid="69" grpId="0"/>
      <p:bldP spid="70" grpId="0"/>
      <p:bldP spid="71" grpId="0"/>
      <p:bldP spid="72" grpId="0"/>
      <p:bldP spid="73" grpId="0"/>
      <p:bldP spid="74" grpId="0"/>
      <p:bldP spid="75" grpId="0"/>
      <p:bldP spid="76" grpId="0"/>
      <p:bldP spid="77" grpId="0"/>
      <p:bldP spid="78" grpId="0"/>
      <p:bldP spid="79" grpId="0"/>
      <p:bldP spid="80" grpId="0"/>
      <p:bldP spid="81" grpId="0"/>
      <p:bldP spid="83" grpId="0"/>
      <p:bldP spid="84" grpId="0"/>
      <p:bldP spid="85" grpId="0"/>
      <p:bldP spid="86" grpId="0"/>
      <p:bldP spid="87" grpId="0"/>
      <p:bldP spid="88" grpId="0"/>
      <p:bldP spid="89" grpId="0"/>
      <p:bldP spid="90" grpId="0"/>
      <p:bldP spid="91" grpId="0"/>
      <p:bldP spid="92" grpId="0"/>
      <p:bldP spid="93" grpId="0"/>
      <p:bldP spid="94" grpId="0"/>
      <p:bldP spid="95" grpId="0"/>
      <p:bldP spid="96" grpId="0"/>
      <p:bldP spid="97" grpId="0"/>
      <p:bldP spid="98" grpId="0"/>
      <p:bldP spid="99" grpId="0"/>
      <p:bldP spid="100" grpId="0"/>
      <p:bldP spid="101" grpId="0"/>
      <p:bldP spid="102" grpId="0"/>
      <p:bldP spid="103" grpId="0"/>
      <p:bldP spid="104" grpId="0"/>
      <p:bldP spid="105" grpId="0"/>
      <p:bldP spid="106" grpId="0"/>
      <p:bldP spid="107" grpId="0"/>
      <p:bldP spid="108" grpId="0"/>
      <p:bldP spid="109" grpId="0"/>
      <p:bldP spid="110" grpId="0"/>
      <p:bldP spid="111" grpId="0"/>
      <p:bldP spid="112" grpId="0"/>
      <p:bldP spid="113" grpId="0"/>
      <p:bldP spid="114" grpId="0"/>
      <p:bldP spid="115" grpId="0"/>
      <p:bldP spid="116" grpId="0"/>
      <p:bldP spid="117" grpId="0"/>
      <p:bldP spid="118" grpId="0"/>
      <p:bldP spid="119" grpId="0"/>
      <p:bldP spid="120" grpId="0"/>
      <p:bldP spid="121" grpId="0"/>
      <p:bldP spid="122" grpId="0"/>
      <p:bldP spid="123" grpId="0"/>
      <p:bldP spid="124" grpId="0"/>
      <p:bldP spid="125" grpId="0"/>
      <p:bldP spid="126" grpId="0"/>
      <p:bldP spid="127" grpId="0"/>
      <p:bldP spid="128" grpId="0"/>
      <p:bldP spid="129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2" descr="J:\1 SOCIAL SURESH\MAPS\india states map\INDIA without states outline map DRAWN BY ME.pn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00388" y="381000"/>
            <a:ext cx="6553200" cy="73914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sp>
        <p:nvSpPr>
          <p:cNvPr id="83" name="Freeform 82"/>
          <p:cNvSpPr/>
          <p:nvPr/>
        </p:nvSpPr>
        <p:spPr>
          <a:xfrm>
            <a:off x="2357717" y="604841"/>
            <a:ext cx="1895475" cy="1354137"/>
          </a:xfrm>
          <a:custGeom>
            <a:avLst/>
            <a:gdLst>
              <a:gd name="connsiteX0" fmla="*/ 1895408 w 1895408"/>
              <a:gd name="connsiteY0" fmla="*/ 1354949 h 1354949"/>
              <a:gd name="connsiteX1" fmla="*/ 1873463 w 1895408"/>
              <a:gd name="connsiteY1" fmla="*/ 1340319 h 1354949"/>
              <a:gd name="connsiteX2" fmla="*/ 1844202 w 1895408"/>
              <a:gd name="connsiteY2" fmla="*/ 1311058 h 1354949"/>
              <a:gd name="connsiteX3" fmla="*/ 1836887 w 1895408"/>
              <a:gd name="connsiteY3" fmla="*/ 1289113 h 1354949"/>
              <a:gd name="connsiteX4" fmla="*/ 1822256 w 1895408"/>
              <a:gd name="connsiteY4" fmla="*/ 1274482 h 1354949"/>
              <a:gd name="connsiteX5" fmla="*/ 1800311 w 1895408"/>
              <a:gd name="connsiteY5" fmla="*/ 1245221 h 1354949"/>
              <a:gd name="connsiteX6" fmla="*/ 1785680 w 1895408"/>
              <a:gd name="connsiteY6" fmla="*/ 1194015 h 1354949"/>
              <a:gd name="connsiteX7" fmla="*/ 1771050 w 1895408"/>
              <a:gd name="connsiteY7" fmla="*/ 1142809 h 1354949"/>
              <a:gd name="connsiteX8" fmla="*/ 1763735 w 1895408"/>
              <a:gd name="connsiteY8" fmla="*/ 1069657 h 1354949"/>
              <a:gd name="connsiteX9" fmla="*/ 1741789 w 1895408"/>
              <a:gd name="connsiteY9" fmla="*/ 1062341 h 1354949"/>
              <a:gd name="connsiteX10" fmla="*/ 1719843 w 1895408"/>
              <a:gd name="connsiteY10" fmla="*/ 1018450 h 1354949"/>
              <a:gd name="connsiteX11" fmla="*/ 1712528 w 1895408"/>
              <a:gd name="connsiteY11" fmla="*/ 981874 h 1354949"/>
              <a:gd name="connsiteX12" fmla="*/ 1690583 w 1895408"/>
              <a:gd name="connsiteY12" fmla="*/ 967244 h 1354949"/>
              <a:gd name="connsiteX13" fmla="*/ 1558909 w 1895408"/>
              <a:gd name="connsiteY13" fmla="*/ 974559 h 1354949"/>
              <a:gd name="connsiteX14" fmla="*/ 1536963 w 1895408"/>
              <a:gd name="connsiteY14" fmla="*/ 981874 h 1354949"/>
              <a:gd name="connsiteX15" fmla="*/ 1485757 w 1895408"/>
              <a:gd name="connsiteY15" fmla="*/ 974559 h 1354949"/>
              <a:gd name="connsiteX16" fmla="*/ 1383344 w 1895408"/>
              <a:gd name="connsiteY16" fmla="*/ 967244 h 1354949"/>
              <a:gd name="connsiteX17" fmla="*/ 1346768 w 1895408"/>
              <a:gd name="connsiteY17" fmla="*/ 945298 h 1354949"/>
              <a:gd name="connsiteX18" fmla="*/ 1288247 w 1895408"/>
              <a:gd name="connsiteY18" fmla="*/ 930668 h 1354949"/>
              <a:gd name="connsiteX19" fmla="*/ 1244355 w 1895408"/>
              <a:gd name="connsiteY19" fmla="*/ 916037 h 1354949"/>
              <a:gd name="connsiteX20" fmla="*/ 1222410 w 1895408"/>
              <a:gd name="connsiteY20" fmla="*/ 908722 h 1354949"/>
              <a:gd name="connsiteX21" fmla="*/ 1178519 w 1895408"/>
              <a:gd name="connsiteY21" fmla="*/ 886777 h 1354949"/>
              <a:gd name="connsiteX22" fmla="*/ 1163888 w 1895408"/>
              <a:gd name="connsiteY22" fmla="*/ 872146 h 1354949"/>
              <a:gd name="connsiteX23" fmla="*/ 1119997 w 1895408"/>
              <a:gd name="connsiteY23" fmla="*/ 857516 h 1354949"/>
              <a:gd name="connsiteX24" fmla="*/ 1061475 w 1895408"/>
              <a:gd name="connsiteY24" fmla="*/ 842885 h 1354949"/>
              <a:gd name="connsiteX25" fmla="*/ 1054160 w 1895408"/>
              <a:gd name="connsiteY25" fmla="*/ 820940 h 1354949"/>
              <a:gd name="connsiteX26" fmla="*/ 995639 w 1895408"/>
              <a:gd name="connsiteY26" fmla="*/ 784364 h 1354949"/>
              <a:gd name="connsiteX27" fmla="*/ 981008 w 1895408"/>
              <a:gd name="connsiteY27" fmla="*/ 725842 h 1354949"/>
              <a:gd name="connsiteX28" fmla="*/ 973693 w 1895408"/>
              <a:gd name="connsiteY28" fmla="*/ 689266 h 1354949"/>
              <a:gd name="connsiteX29" fmla="*/ 959063 w 1895408"/>
              <a:gd name="connsiteY29" fmla="*/ 667321 h 1354949"/>
              <a:gd name="connsiteX30" fmla="*/ 937117 w 1895408"/>
              <a:gd name="connsiteY30" fmla="*/ 660005 h 1354949"/>
              <a:gd name="connsiteX31" fmla="*/ 915171 w 1895408"/>
              <a:gd name="connsiteY31" fmla="*/ 645375 h 1354949"/>
              <a:gd name="connsiteX32" fmla="*/ 907856 w 1895408"/>
              <a:gd name="connsiteY32" fmla="*/ 623429 h 1354949"/>
              <a:gd name="connsiteX33" fmla="*/ 885911 w 1895408"/>
              <a:gd name="connsiteY33" fmla="*/ 616114 h 1354949"/>
              <a:gd name="connsiteX34" fmla="*/ 834704 w 1895408"/>
              <a:gd name="connsiteY34" fmla="*/ 601484 h 1354949"/>
              <a:gd name="connsiteX35" fmla="*/ 820074 w 1895408"/>
              <a:gd name="connsiteY35" fmla="*/ 586853 h 1354949"/>
              <a:gd name="connsiteX36" fmla="*/ 798128 w 1895408"/>
              <a:gd name="connsiteY36" fmla="*/ 579538 h 1354949"/>
              <a:gd name="connsiteX37" fmla="*/ 783498 w 1895408"/>
              <a:gd name="connsiteY37" fmla="*/ 535647 h 1354949"/>
              <a:gd name="connsiteX38" fmla="*/ 776183 w 1895408"/>
              <a:gd name="connsiteY38" fmla="*/ 513701 h 1354949"/>
              <a:gd name="connsiteX39" fmla="*/ 761552 w 1895408"/>
              <a:gd name="connsiteY39" fmla="*/ 499071 h 1354949"/>
              <a:gd name="connsiteX40" fmla="*/ 732291 w 1895408"/>
              <a:gd name="connsiteY40" fmla="*/ 462495 h 1354949"/>
              <a:gd name="connsiteX41" fmla="*/ 703031 w 1895408"/>
              <a:gd name="connsiteY41" fmla="*/ 455180 h 1354949"/>
              <a:gd name="connsiteX42" fmla="*/ 644509 w 1895408"/>
              <a:gd name="connsiteY42" fmla="*/ 425919 h 1354949"/>
              <a:gd name="connsiteX43" fmla="*/ 622563 w 1895408"/>
              <a:gd name="connsiteY43" fmla="*/ 418604 h 1354949"/>
              <a:gd name="connsiteX44" fmla="*/ 607933 w 1895408"/>
              <a:gd name="connsiteY44" fmla="*/ 403973 h 1354949"/>
              <a:gd name="connsiteX45" fmla="*/ 585987 w 1895408"/>
              <a:gd name="connsiteY45" fmla="*/ 396658 h 1354949"/>
              <a:gd name="connsiteX46" fmla="*/ 571357 w 1895408"/>
              <a:gd name="connsiteY46" fmla="*/ 352767 h 1354949"/>
              <a:gd name="connsiteX47" fmla="*/ 542096 w 1895408"/>
              <a:gd name="connsiteY47" fmla="*/ 286930 h 1354949"/>
              <a:gd name="connsiteX48" fmla="*/ 534781 w 1895408"/>
              <a:gd name="connsiteY48" fmla="*/ 264985 h 1354949"/>
              <a:gd name="connsiteX49" fmla="*/ 520151 w 1895408"/>
              <a:gd name="connsiteY49" fmla="*/ 250354 h 1354949"/>
              <a:gd name="connsiteX50" fmla="*/ 490890 w 1895408"/>
              <a:gd name="connsiteY50" fmla="*/ 213778 h 1354949"/>
              <a:gd name="connsiteX51" fmla="*/ 454314 w 1895408"/>
              <a:gd name="connsiteY51" fmla="*/ 184517 h 1354949"/>
              <a:gd name="connsiteX52" fmla="*/ 439683 w 1895408"/>
              <a:gd name="connsiteY52" fmla="*/ 140626 h 1354949"/>
              <a:gd name="connsiteX53" fmla="*/ 432368 w 1895408"/>
              <a:gd name="connsiteY53" fmla="*/ 118681 h 1354949"/>
              <a:gd name="connsiteX54" fmla="*/ 425053 w 1895408"/>
              <a:gd name="connsiteY54" fmla="*/ 96735 h 1354949"/>
              <a:gd name="connsiteX55" fmla="*/ 410423 w 1895408"/>
              <a:gd name="connsiteY55" fmla="*/ 74789 h 1354949"/>
              <a:gd name="connsiteX56" fmla="*/ 395792 w 1895408"/>
              <a:gd name="connsiteY56" fmla="*/ 60159 h 1354949"/>
              <a:gd name="connsiteX57" fmla="*/ 351901 w 1895408"/>
              <a:gd name="connsiteY57" fmla="*/ 30898 h 1354949"/>
              <a:gd name="connsiteX58" fmla="*/ 322640 w 1895408"/>
              <a:gd name="connsiteY58" fmla="*/ 38213 h 1354949"/>
              <a:gd name="connsiteX59" fmla="*/ 278749 w 1895408"/>
              <a:gd name="connsiteY59" fmla="*/ 52844 h 1354949"/>
              <a:gd name="connsiteX60" fmla="*/ 271434 w 1895408"/>
              <a:gd name="connsiteY60" fmla="*/ 30898 h 1354949"/>
              <a:gd name="connsiteX61" fmla="*/ 242173 w 1895408"/>
              <a:gd name="connsiteY61" fmla="*/ 1637 h 1354949"/>
              <a:gd name="connsiteX62" fmla="*/ 125130 w 1895408"/>
              <a:gd name="connsiteY62" fmla="*/ 8953 h 1354949"/>
              <a:gd name="connsiteX63" fmla="*/ 117815 w 1895408"/>
              <a:gd name="connsiteY63" fmla="*/ 30898 h 1354949"/>
              <a:gd name="connsiteX64" fmla="*/ 95869 w 1895408"/>
              <a:gd name="connsiteY64" fmla="*/ 38213 h 1354949"/>
              <a:gd name="connsiteX65" fmla="*/ 30032 w 1895408"/>
              <a:gd name="connsiteY65" fmla="*/ 45529 h 1354949"/>
              <a:gd name="connsiteX66" fmla="*/ 15402 w 1895408"/>
              <a:gd name="connsiteY66" fmla="*/ 67474 h 1354949"/>
              <a:gd name="connsiteX67" fmla="*/ 771 w 1895408"/>
              <a:gd name="connsiteY67" fmla="*/ 118681 h 1354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1895408" h="1354949">
                <a:moveTo>
                  <a:pt x="1895408" y="1354949"/>
                </a:moveTo>
                <a:cubicBezTo>
                  <a:pt x="1888093" y="1350072"/>
                  <a:pt x="1880138" y="1346040"/>
                  <a:pt x="1873463" y="1340319"/>
                </a:cubicBezTo>
                <a:cubicBezTo>
                  <a:pt x="1862990" y="1331342"/>
                  <a:pt x="1844202" y="1311058"/>
                  <a:pt x="1844202" y="1311058"/>
                </a:cubicBezTo>
                <a:cubicBezTo>
                  <a:pt x="1841764" y="1303743"/>
                  <a:pt x="1840854" y="1295725"/>
                  <a:pt x="1836887" y="1289113"/>
                </a:cubicBezTo>
                <a:cubicBezTo>
                  <a:pt x="1833338" y="1283199"/>
                  <a:pt x="1826671" y="1279781"/>
                  <a:pt x="1822256" y="1274482"/>
                </a:cubicBezTo>
                <a:cubicBezTo>
                  <a:pt x="1814451" y="1265116"/>
                  <a:pt x="1807626" y="1254975"/>
                  <a:pt x="1800311" y="1245221"/>
                </a:cubicBezTo>
                <a:cubicBezTo>
                  <a:pt x="1782778" y="1192631"/>
                  <a:pt x="1804040" y="1258278"/>
                  <a:pt x="1785680" y="1194015"/>
                </a:cubicBezTo>
                <a:cubicBezTo>
                  <a:pt x="1764689" y="1120544"/>
                  <a:pt x="1793921" y="1234293"/>
                  <a:pt x="1771050" y="1142809"/>
                </a:cubicBezTo>
                <a:cubicBezTo>
                  <a:pt x="1768612" y="1118425"/>
                  <a:pt x="1772110" y="1092687"/>
                  <a:pt x="1763735" y="1069657"/>
                </a:cubicBezTo>
                <a:cubicBezTo>
                  <a:pt x="1761100" y="1062410"/>
                  <a:pt x="1747810" y="1067158"/>
                  <a:pt x="1741789" y="1062341"/>
                </a:cubicBezTo>
                <a:cubicBezTo>
                  <a:pt x="1730616" y="1053402"/>
                  <a:pt x="1723156" y="1031701"/>
                  <a:pt x="1719843" y="1018450"/>
                </a:cubicBezTo>
                <a:cubicBezTo>
                  <a:pt x="1716827" y="1006388"/>
                  <a:pt x="1718697" y="992669"/>
                  <a:pt x="1712528" y="981874"/>
                </a:cubicBezTo>
                <a:cubicBezTo>
                  <a:pt x="1708166" y="974241"/>
                  <a:pt x="1697898" y="972121"/>
                  <a:pt x="1690583" y="967244"/>
                </a:cubicBezTo>
                <a:cubicBezTo>
                  <a:pt x="1646692" y="969682"/>
                  <a:pt x="1602670" y="970391"/>
                  <a:pt x="1558909" y="974559"/>
                </a:cubicBezTo>
                <a:cubicBezTo>
                  <a:pt x="1551233" y="975290"/>
                  <a:pt x="1544674" y="981874"/>
                  <a:pt x="1536963" y="981874"/>
                </a:cubicBezTo>
                <a:cubicBezTo>
                  <a:pt x="1519721" y="981874"/>
                  <a:pt x="1502921" y="976194"/>
                  <a:pt x="1485757" y="974559"/>
                </a:cubicBezTo>
                <a:cubicBezTo>
                  <a:pt x="1451687" y="971314"/>
                  <a:pt x="1417482" y="969682"/>
                  <a:pt x="1383344" y="967244"/>
                </a:cubicBezTo>
                <a:cubicBezTo>
                  <a:pt x="1321180" y="946523"/>
                  <a:pt x="1396974" y="975422"/>
                  <a:pt x="1346768" y="945298"/>
                </a:cubicBezTo>
                <a:cubicBezTo>
                  <a:pt x="1334437" y="937899"/>
                  <a:pt x="1297861" y="933290"/>
                  <a:pt x="1288247" y="930668"/>
                </a:cubicBezTo>
                <a:cubicBezTo>
                  <a:pt x="1273368" y="926610"/>
                  <a:pt x="1258986" y="920914"/>
                  <a:pt x="1244355" y="916037"/>
                </a:cubicBezTo>
                <a:lnTo>
                  <a:pt x="1222410" y="908722"/>
                </a:lnTo>
                <a:cubicBezTo>
                  <a:pt x="1188336" y="874650"/>
                  <a:pt x="1232449" y="913743"/>
                  <a:pt x="1178519" y="886777"/>
                </a:cubicBezTo>
                <a:cubicBezTo>
                  <a:pt x="1172350" y="883692"/>
                  <a:pt x="1170057" y="875230"/>
                  <a:pt x="1163888" y="872146"/>
                </a:cubicBezTo>
                <a:cubicBezTo>
                  <a:pt x="1150094" y="865249"/>
                  <a:pt x="1134627" y="862393"/>
                  <a:pt x="1119997" y="857516"/>
                </a:cubicBezTo>
                <a:cubicBezTo>
                  <a:pt x="1086257" y="846270"/>
                  <a:pt x="1105610" y="851713"/>
                  <a:pt x="1061475" y="842885"/>
                </a:cubicBezTo>
                <a:cubicBezTo>
                  <a:pt x="1059037" y="835570"/>
                  <a:pt x="1058642" y="827214"/>
                  <a:pt x="1054160" y="820940"/>
                </a:cubicBezTo>
                <a:cubicBezTo>
                  <a:pt x="1030440" y="787733"/>
                  <a:pt x="1029061" y="792719"/>
                  <a:pt x="995639" y="784364"/>
                </a:cubicBezTo>
                <a:cubicBezTo>
                  <a:pt x="990762" y="764857"/>
                  <a:pt x="984951" y="745559"/>
                  <a:pt x="981008" y="725842"/>
                </a:cubicBezTo>
                <a:cubicBezTo>
                  <a:pt x="978570" y="713650"/>
                  <a:pt x="978059" y="700908"/>
                  <a:pt x="973693" y="689266"/>
                </a:cubicBezTo>
                <a:cubicBezTo>
                  <a:pt x="970606" y="681034"/>
                  <a:pt x="965928" y="672813"/>
                  <a:pt x="959063" y="667321"/>
                </a:cubicBezTo>
                <a:cubicBezTo>
                  <a:pt x="953042" y="662504"/>
                  <a:pt x="944014" y="663454"/>
                  <a:pt x="937117" y="660005"/>
                </a:cubicBezTo>
                <a:cubicBezTo>
                  <a:pt x="929253" y="656073"/>
                  <a:pt x="922486" y="650252"/>
                  <a:pt x="915171" y="645375"/>
                </a:cubicBezTo>
                <a:cubicBezTo>
                  <a:pt x="912733" y="638060"/>
                  <a:pt x="913308" y="628882"/>
                  <a:pt x="907856" y="623429"/>
                </a:cubicBezTo>
                <a:cubicBezTo>
                  <a:pt x="902404" y="617977"/>
                  <a:pt x="893325" y="618232"/>
                  <a:pt x="885911" y="616114"/>
                </a:cubicBezTo>
                <a:cubicBezTo>
                  <a:pt x="821605" y="597741"/>
                  <a:pt x="887329" y="619025"/>
                  <a:pt x="834704" y="601484"/>
                </a:cubicBezTo>
                <a:cubicBezTo>
                  <a:pt x="829827" y="596607"/>
                  <a:pt x="825988" y="590401"/>
                  <a:pt x="820074" y="586853"/>
                </a:cubicBezTo>
                <a:cubicBezTo>
                  <a:pt x="813462" y="582886"/>
                  <a:pt x="802610" y="585813"/>
                  <a:pt x="798128" y="579538"/>
                </a:cubicBezTo>
                <a:cubicBezTo>
                  <a:pt x="789164" y="566989"/>
                  <a:pt x="788375" y="550277"/>
                  <a:pt x="783498" y="535647"/>
                </a:cubicBezTo>
                <a:cubicBezTo>
                  <a:pt x="781060" y="528332"/>
                  <a:pt x="781636" y="519153"/>
                  <a:pt x="776183" y="513701"/>
                </a:cubicBezTo>
                <a:cubicBezTo>
                  <a:pt x="771306" y="508824"/>
                  <a:pt x="765860" y="504457"/>
                  <a:pt x="761552" y="499071"/>
                </a:cubicBezTo>
                <a:cubicBezTo>
                  <a:pt x="754658" y="490453"/>
                  <a:pt x="744069" y="468384"/>
                  <a:pt x="732291" y="462495"/>
                </a:cubicBezTo>
                <a:cubicBezTo>
                  <a:pt x="723299" y="457999"/>
                  <a:pt x="712784" y="457618"/>
                  <a:pt x="703031" y="455180"/>
                </a:cubicBezTo>
                <a:cubicBezTo>
                  <a:pt x="677495" y="429644"/>
                  <a:pt x="694943" y="442730"/>
                  <a:pt x="644509" y="425919"/>
                </a:cubicBezTo>
                <a:lnTo>
                  <a:pt x="622563" y="418604"/>
                </a:lnTo>
                <a:cubicBezTo>
                  <a:pt x="617686" y="413727"/>
                  <a:pt x="613847" y="407521"/>
                  <a:pt x="607933" y="403973"/>
                </a:cubicBezTo>
                <a:cubicBezTo>
                  <a:pt x="601321" y="400006"/>
                  <a:pt x="590469" y="402933"/>
                  <a:pt x="585987" y="396658"/>
                </a:cubicBezTo>
                <a:cubicBezTo>
                  <a:pt x="577023" y="384109"/>
                  <a:pt x="579911" y="365599"/>
                  <a:pt x="571357" y="352767"/>
                </a:cubicBezTo>
                <a:cubicBezTo>
                  <a:pt x="548173" y="317990"/>
                  <a:pt x="559507" y="339161"/>
                  <a:pt x="542096" y="286930"/>
                </a:cubicBezTo>
                <a:cubicBezTo>
                  <a:pt x="539658" y="279615"/>
                  <a:pt x="540233" y="270437"/>
                  <a:pt x="534781" y="264985"/>
                </a:cubicBezTo>
                <a:cubicBezTo>
                  <a:pt x="529904" y="260108"/>
                  <a:pt x="524459" y="255740"/>
                  <a:pt x="520151" y="250354"/>
                </a:cubicBezTo>
                <a:cubicBezTo>
                  <a:pt x="503258" y="229238"/>
                  <a:pt x="510509" y="229474"/>
                  <a:pt x="490890" y="213778"/>
                </a:cubicBezTo>
                <a:cubicBezTo>
                  <a:pt x="444750" y="176866"/>
                  <a:pt x="489638" y="219844"/>
                  <a:pt x="454314" y="184517"/>
                </a:cubicBezTo>
                <a:lnTo>
                  <a:pt x="439683" y="140626"/>
                </a:lnTo>
                <a:lnTo>
                  <a:pt x="432368" y="118681"/>
                </a:lnTo>
                <a:cubicBezTo>
                  <a:pt x="429930" y="111366"/>
                  <a:pt x="429330" y="103151"/>
                  <a:pt x="425053" y="96735"/>
                </a:cubicBezTo>
                <a:cubicBezTo>
                  <a:pt x="420176" y="89420"/>
                  <a:pt x="415915" y="81654"/>
                  <a:pt x="410423" y="74789"/>
                </a:cubicBezTo>
                <a:cubicBezTo>
                  <a:pt x="406115" y="69403"/>
                  <a:pt x="401310" y="64297"/>
                  <a:pt x="395792" y="60159"/>
                </a:cubicBezTo>
                <a:cubicBezTo>
                  <a:pt x="381725" y="49609"/>
                  <a:pt x="351901" y="30898"/>
                  <a:pt x="351901" y="30898"/>
                </a:cubicBezTo>
                <a:cubicBezTo>
                  <a:pt x="342147" y="33336"/>
                  <a:pt x="330491" y="31932"/>
                  <a:pt x="322640" y="38213"/>
                </a:cubicBezTo>
                <a:cubicBezTo>
                  <a:pt x="286649" y="67006"/>
                  <a:pt x="362784" y="69651"/>
                  <a:pt x="278749" y="52844"/>
                </a:cubicBezTo>
                <a:cubicBezTo>
                  <a:pt x="276311" y="45529"/>
                  <a:pt x="275916" y="37173"/>
                  <a:pt x="271434" y="30898"/>
                </a:cubicBezTo>
                <a:cubicBezTo>
                  <a:pt x="263417" y="19674"/>
                  <a:pt x="242173" y="1637"/>
                  <a:pt x="242173" y="1637"/>
                </a:cubicBezTo>
                <a:cubicBezTo>
                  <a:pt x="203159" y="4076"/>
                  <a:pt x="163181" y="0"/>
                  <a:pt x="125130" y="8953"/>
                </a:cubicBezTo>
                <a:cubicBezTo>
                  <a:pt x="117624" y="10719"/>
                  <a:pt x="123267" y="25446"/>
                  <a:pt x="117815" y="30898"/>
                </a:cubicBezTo>
                <a:cubicBezTo>
                  <a:pt x="112362" y="36350"/>
                  <a:pt x="103475" y="36945"/>
                  <a:pt x="95869" y="38213"/>
                </a:cubicBezTo>
                <a:cubicBezTo>
                  <a:pt x="74089" y="41843"/>
                  <a:pt x="51978" y="43090"/>
                  <a:pt x="30032" y="45529"/>
                </a:cubicBezTo>
                <a:cubicBezTo>
                  <a:pt x="25155" y="52844"/>
                  <a:pt x="18973" y="59440"/>
                  <a:pt x="15402" y="67474"/>
                </a:cubicBezTo>
                <a:cubicBezTo>
                  <a:pt x="0" y="102128"/>
                  <a:pt x="771" y="97770"/>
                  <a:pt x="771" y="118681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4" name="Freeform 83"/>
          <p:cNvSpPr/>
          <p:nvPr/>
        </p:nvSpPr>
        <p:spPr>
          <a:xfrm>
            <a:off x="1662391" y="1747841"/>
            <a:ext cx="2378075" cy="409575"/>
          </a:xfrm>
          <a:custGeom>
            <a:avLst/>
            <a:gdLst>
              <a:gd name="connsiteX0" fmla="*/ 2421331 w 2421331"/>
              <a:gd name="connsiteY0" fmla="*/ 248716 h 409651"/>
              <a:gd name="connsiteX1" fmla="*/ 2245766 w 2421331"/>
              <a:gd name="connsiteY1" fmla="*/ 241401 h 409651"/>
              <a:gd name="connsiteX2" fmla="*/ 2201875 w 2421331"/>
              <a:gd name="connsiteY2" fmla="*/ 204825 h 409651"/>
              <a:gd name="connsiteX3" fmla="*/ 2179929 w 2421331"/>
              <a:gd name="connsiteY3" fmla="*/ 190195 h 409651"/>
              <a:gd name="connsiteX4" fmla="*/ 2165299 w 2421331"/>
              <a:gd name="connsiteY4" fmla="*/ 175564 h 409651"/>
              <a:gd name="connsiteX5" fmla="*/ 2150669 w 2421331"/>
              <a:gd name="connsiteY5" fmla="*/ 153619 h 409651"/>
              <a:gd name="connsiteX6" fmla="*/ 2128723 w 2421331"/>
              <a:gd name="connsiteY6" fmla="*/ 146304 h 409651"/>
              <a:gd name="connsiteX7" fmla="*/ 2077517 w 2421331"/>
              <a:gd name="connsiteY7" fmla="*/ 124358 h 409651"/>
              <a:gd name="connsiteX8" fmla="*/ 2055571 w 2421331"/>
              <a:gd name="connsiteY8" fmla="*/ 109728 h 409651"/>
              <a:gd name="connsiteX9" fmla="*/ 2011680 w 2421331"/>
              <a:gd name="connsiteY9" fmla="*/ 95097 h 409651"/>
              <a:gd name="connsiteX10" fmla="*/ 1945843 w 2421331"/>
              <a:gd name="connsiteY10" fmla="*/ 102412 h 409651"/>
              <a:gd name="connsiteX11" fmla="*/ 1916582 w 2421331"/>
              <a:gd name="connsiteY11" fmla="*/ 109728 h 409651"/>
              <a:gd name="connsiteX12" fmla="*/ 1814169 w 2421331"/>
              <a:gd name="connsiteY12" fmla="*/ 102412 h 409651"/>
              <a:gd name="connsiteX13" fmla="*/ 1762963 w 2421331"/>
              <a:gd name="connsiteY13" fmla="*/ 87782 h 409651"/>
              <a:gd name="connsiteX14" fmla="*/ 1741017 w 2421331"/>
              <a:gd name="connsiteY14" fmla="*/ 80467 h 409651"/>
              <a:gd name="connsiteX15" fmla="*/ 1558137 w 2421331"/>
              <a:gd name="connsiteY15" fmla="*/ 73152 h 409651"/>
              <a:gd name="connsiteX16" fmla="*/ 1477670 w 2421331"/>
              <a:gd name="connsiteY16" fmla="*/ 51206 h 409651"/>
              <a:gd name="connsiteX17" fmla="*/ 1455725 w 2421331"/>
              <a:gd name="connsiteY17" fmla="*/ 36576 h 409651"/>
              <a:gd name="connsiteX18" fmla="*/ 1367942 w 2421331"/>
              <a:gd name="connsiteY18" fmla="*/ 51206 h 409651"/>
              <a:gd name="connsiteX19" fmla="*/ 1345997 w 2421331"/>
              <a:gd name="connsiteY19" fmla="*/ 65836 h 409651"/>
              <a:gd name="connsiteX20" fmla="*/ 1243584 w 2421331"/>
              <a:gd name="connsiteY20" fmla="*/ 65836 h 409651"/>
              <a:gd name="connsiteX21" fmla="*/ 1185062 w 2421331"/>
              <a:gd name="connsiteY21" fmla="*/ 51206 h 409651"/>
              <a:gd name="connsiteX22" fmla="*/ 1163117 w 2421331"/>
              <a:gd name="connsiteY22" fmla="*/ 43891 h 409651"/>
              <a:gd name="connsiteX23" fmla="*/ 1111910 w 2421331"/>
              <a:gd name="connsiteY23" fmla="*/ 29260 h 409651"/>
              <a:gd name="connsiteX24" fmla="*/ 1089965 w 2421331"/>
              <a:gd name="connsiteY24" fmla="*/ 14630 h 409651"/>
              <a:gd name="connsiteX25" fmla="*/ 1060704 w 2421331"/>
              <a:gd name="connsiteY25" fmla="*/ 7315 h 409651"/>
              <a:gd name="connsiteX26" fmla="*/ 1038758 w 2421331"/>
              <a:gd name="connsiteY26" fmla="*/ 0 h 409651"/>
              <a:gd name="connsiteX27" fmla="*/ 1002182 w 2421331"/>
              <a:gd name="connsiteY27" fmla="*/ 7315 h 409651"/>
              <a:gd name="connsiteX28" fmla="*/ 980237 w 2421331"/>
              <a:gd name="connsiteY28" fmla="*/ 21945 h 409651"/>
              <a:gd name="connsiteX29" fmla="*/ 958291 w 2421331"/>
              <a:gd name="connsiteY29" fmla="*/ 29260 h 409651"/>
              <a:gd name="connsiteX30" fmla="*/ 929030 w 2421331"/>
              <a:gd name="connsiteY30" fmla="*/ 21945 h 409651"/>
              <a:gd name="connsiteX31" fmla="*/ 885139 w 2421331"/>
              <a:gd name="connsiteY31" fmla="*/ 7315 h 409651"/>
              <a:gd name="connsiteX32" fmla="*/ 746150 w 2421331"/>
              <a:gd name="connsiteY32" fmla="*/ 21945 h 409651"/>
              <a:gd name="connsiteX33" fmla="*/ 724205 w 2421331"/>
              <a:gd name="connsiteY33" fmla="*/ 58521 h 409651"/>
              <a:gd name="connsiteX34" fmla="*/ 716889 w 2421331"/>
              <a:gd name="connsiteY34" fmla="*/ 102412 h 409651"/>
              <a:gd name="connsiteX35" fmla="*/ 709574 w 2421331"/>
              <a:gd name="connsiteY35" fmla="*/ 131673 h 409651"/>
              <a:gd name="connsiteX36" fmla="*/ 687629 w 2421331"/>
              <a:gd name="connsiteY36" fmla="*/ 138988 h 409651"/>
              <a:gd name="connsiteX37" fmla="*/ 665683 w 2421331"/>
              <a:gd name="connsiteY37" fmla="*/ 153619 h 409651"/>
              <a:gd name="connsiteX38" fmla="*/ 643737 w 2421331"/>
              <a:gd name="connsiteY38" fmla="*/ 160934 h 409651"/>
              <a:gd name="connsiteX39" fmla="*/ 599846 w 2421331"/>
              <a:gd name="connsiteY39" fmla="*/ 197510 h 409651"/>
              <a:gd name="connsiteX40" fmla="*/ 592531 w 2421331"/>
              <a:gd name="connsiteY40" fmla="*/ 219456 h 409651"/>
              <a:gd name="connsiteX41" fmla="*/ 570585 w 2421331"/>
              <a:gd name="connsiteY41" fmla="*/ 234086 h 409651"/>
              <a:gd name="connsiteX42" fmla="*/ 526694 w 2421331"/>
              <a:gd name="connsiteY42" fmla="*/ 248716 h 409651"/>
              <a:gd name="connsiteX43" fmla="*/ 504749 w 2421331"/>
              <a:gd name="connsiteY43" fmla="*/ 256032 h 409651"/>
              <a:gd name="connsiteX44" fmla="*/ 446227 w 2421331"/>
              <a:gd name="connsiteY44" fmla="*/ 263347 h 409651"/>
              <a:gd name="connsiteX45" fmla="*/ 424281 w 2421331"/>
              <a:gd name="connsiteY45" fmla="*/ 277977 h 409651"/>
              <a:gd name="connsiteX46" fmla="*/ 416966 w 2421331"/>
              <a:gd name="connsiteY46" fmla="*/ 299923 h 409651"/>
              <a:gd name="connsiteX47" fmla="*/ 373075 w 2421331"/>
              <a:gd name="connsiteY47" fmla="*/ 343814 h 409651"/>
              <a:gd name="connsiteX48" fmla="*/ 373075 w 2421331"/>
              <a:gd name="connsiteY48" fmla="*/ 343814 h 409651"/>
              <a:gd name="connsiteX49" fmla="*/ 314553 w 2421331"/>
              <a:gd name="connsiteY49" fmla="*/ 365760 h 409651"/>
              <a:gd name="connsiteX50" fmla="*/ 138989 w 2421331"/>
              <a:gd name="connsiteY50" fmla="*/ 387705 h 409651"/>
              <a:gd name="connsiteX51" fmla="*/ 124358 w 2421331"/>
              <a:gd name="connsiteY51" fmla="*/ 402336 h 409651"/>
              <a:gd name="connsiteX52" fmla="*/ 102413 w 2421331"/>
              <a:gd name="connsiteY52" fmla="*/ 409651 h 409651"/>
              <a:gd name="connsiteX53" fmla="*/ 14630 w 2421331"/>
              <a:gd name="connsiteY53" fmla="*/ 402336 h 409651"/>
              <a:gd name="connsiteX54" fmla="*/ 0 w 2421331"/>
              <a:gd name="connsiteY54" fmla="*/ 402336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421331" h="409651">
                <a:moveTo>
                  <a:pt x="2421331" y="248716"/>
                </a:moveTo>
                <a:cubicBezTo>
                  <a:pt x="2362809" y="246278"/>
                  <a:pt x="2303980" y="247869"/>
                  <a:pt x="2245766" y="241401"/>
                </a:cubicBezTo>
                <a:cubicBezTo>
                  <a:pt x="2233192" y="240004"/>
                  <a:pt x="2208880" y="210663"/>
                  <a:pt x="2201875" y="204825"/>
                </a:cubicBezTo>
                <a:cubicBezTo>
                  <a:pt x="2195121" y="199197"/>
                  <a:pt x="2186794" y="195687"/>
                  <a:pt x="2179929" y="190195"/>
                </a:cubicBezTo>
                <a:cubicBezTo>
                  <a:pt x="2174543" y="185887"/>
                  <a:pt x="2169607" y="180950"/>
                  <a:pt x="2165299" y="175564"/>
                </a:cubicBezTo>
                <a:cubicBezTo>
                  <a:pt x="2159807" y="168699"/>
                  <a:pt x="2157534" y="159111"/>
                  <a:pt x="2150669" y="153619"/>
                </a:cubicBezTo>
                <a:cubicBezTo>
                  <a:pt x="2144648" y="148802"/>
                  <a:pt x="2136038" y="148742"/>
                  <a:pt x="2128723" y="146304"/>
                </a:cubicBezTo>
                <a:cubicBezTo>
                  <a:pt x="2098571" y="116150"/>
                  <a:pt x="2132989" y="145159"/>
                  <a:pt x="2077517" y="124358"/>
                </a:cubicBezTo>
                <a:cubicBezTo>
                  <a:pt x="2069285" y="121271"/>
                  <a:pt x="2063605" y="113299"/>
                  <a:pt x="2055571" y="109728"/>
                </a:cubicBezTo>
                <a:cubicBezTo>
                  <a:pt x="2041478" y="103465"/>
                  <a:pt x="2011680" y="95097"/>
                  <a:pt x="2011680" y="95097"/>
                </a:cubicBezTo>
                <a:cubicBezTo>
                  <a:pt x="1989734" y="97535"/>
                  <a:pt x="1967667" y="99054"/>
                  <a:pt x="1945843" y="102412"/>
                </a:cubicBezTo>
                <a:cubicBezTo>
                  <a:pt x="1935906" y="103941"/>
                  <a:pt x="1926636" y="109728"/>
                  <a:pt x="1916582" y="109728"/>
                </a:cubicBezTo>
                <a:cubicBezTo>
                  <a:pt x="1882357" y="109728"/>
                  <a:pt x="1848307" y="104851"/>
                  <a:pt x="1814169" y="102412"/>
                </a:cubicBezTo>
                <a:cubicBezTo>
                  <a:pt x="1761559" y="84875"/>
                  <a:pt x="1827252" y="106150"/>
                  <a:pt x="1762963" y="87782"/>
                </a:cubicBezTo>
                <a:cubicBezTo>
                  <a:pt x="1755549" y="85664"/>
                  <a:pt x="1748708" y="81016"/>
                  <a:pt x="1741017" y="80467"/>
                </a:cubicBezTo>
                <a:cubicBezTo>
                  <a:pt x="1680163" y="76120"/>
                  <a:pt x="1619097" y="75590"/>
                  <a:pt x="1558137" y="73152"/>
                </a:cubicBezTo>
                <a:cubicBezTo>
                  <a:pt x="1492135" y="56651"/>
                  <a:pt x="1518692" y="64879"/>
                  <a:pt x="1477670" y="51206"/>
                </a:cubicBezTo>
                <a:cubicBezTo>
                  <a:pt x="1470355" y="46329"/>
                  <a:pt x="1464486" y="37306"/>
                  <a:pt x="1455725" y="36576"/>
                </a:cubicBezTo>
                <a:cubicBezTo>
                  <a:pt x="1416525" y="33309"/>
                  <a:pt x="1398857" y="40901"/>
                  <a:pt x="1367942" y="51206"/>
                </a:cubicBezTo>
                <a:cubicBezTo>
                  <a:pt x="1360627" y="56083"/>
                  <a:pt x="1354078" y="62373"/>
                  <a:pt x="1345997" y="65836"/>
                </a:cubicBezTo>
                <a:cubicBezTo>
                  <a:pt x="1310877" y="80888"/>
                  <a:pt x="1283074" y="69785"/>
                  <a:pt x="1243584" y="65836"/>
                </a:cubicBezTo>
                <a:cubicBezTo>
                  <a:pt x="1224077" y="60959"/>
                  <a:pt x="1204138" y="57565"/>
                  <a:pt x="1185062" y="51206"/>
                </a:cubicBezTo>
                <a:cubicBezTo>
                  <a:pt x="1177747" y="48768"/>
                  <a:pt x="1170531" y="46009"/>
                  <a:pt x="1163117" y="43891"/>
                </a:cubicBezTo>
                <a:cubicBezTo>
                  <a:pt x="1152172" y="40764"/>
                  <a:pt x="1123608" y="35109"/>
                  <a:pt x="1111910" y="29260"/>
                </a:cubicBezTo>
                <a:cubicBezTo>
                  <a:pt x="1104047" y="25328"/>
                  <a:pt x="1098046" y="18093"/>
                  <a:pt x="1089965" y="14630"/>
                </a:cubicBezTo>
                <a:cubicBezTo>
                  <a:pt x="1080724" y="10670"/>
                  <a:pt x="1070371" y="10077"/>
                  <a:pt x="1060704" y="7315"/>
                </a:cubicBezTo>
                <a:cubicBezTo>
                  <a:pt x="1053290" y="5197"/>
                  <a:pt x="1046073" y="2438"/>
                  <a:pt x="1038758" y="0"/>
                </a:cubicBezTo>
                <a:cubicBezTo>
                  <a:pt x="1026566" y="2438"/>
                  <a:pt x="1013824" y="2949"/>
                  <a:pt x="1002182" y="7315"/>
                </a:cubicBezTo>
                <a:cubicBezTo>
                  <a:pt x="993950" y="10402"/>
                  <a:pt x="988100" y="18013"/>
                  <a:pt x="980237" y="21945"/>
                </a:cubicBezTo>
                <a:cubicBezTo>
                  <a:pt x="973340" y="25393"/>
                  <a:pt x="965606" y="26822"/>
                  <a:pt x="958291" y="29260"/>
                </a:cubicBezTo>
                <a:cubicBezTo>
                  <a:pt x="948537" y="26822"/>
                  <a:pt x="938660" y="24834"/>
                  <a:pt x="929030" y="21945"/>
                </a:cubicBezTo>
                <a:cubicBezTo>
                  <a:pt x="914259" y="17514"/>
                  <a:pt x="885139" y="7315"/>
                  <a:pt x="885139" y="7315"/>
                </a:cubicBezTo>
                <a:cubicBezTo>
                  <a:pt x="838809" y="12192"/>
                  <a:pt x="791913" y="13228"/>
                  <a:pt x="746150" y="21945"/>
                </a:cubicBezTo>
                <a:cubicBezTo>
                  <a:pt x="732797" y="24488"/>
                  <a:pt x="726178" y="49643"/>
                  <a:pt x="724205" y="58521"/>
                </a:cubicBezTo>
                <a:cubicBezTo>
                  <a:pt x="720987" y="73000"/>
                  <a:pt x="719798" y="87868"/>
                  <a:pt x="716889" y="102412"/>
                </a:cubicBezTo>
                <a:cubicBezTo>
                  <a:pt x="714917" y="112271"/>
                  <a:pt x="715854" y="123822"/>
                  <a:pt x="709574" y="131673"/>
                </a:cubicBezTo>
                <a:cubicBezTo>
                  <a:pt x="704757" y="137694"/>
                  <a:pt x="694944" y="136550"/>
                  <a:pt x="687629" y="138988"/>
                </a:cubicBezTo>
                <a:cubicBezTo>
                  <a:pt x="680314" y="143865"/>
                  <a:pt x="673547" y="149687"/>
                  <a:pt x="665683" y="153619"/>
                </a:cubicBezTo>
                <a:cubicBezTo>
                  <a:pt x="658786" y="157067"/>
                  <a:pt x="650432" y="157108"/>
                  <a:pt x="643737" y="160934"/>
                </a:cubicBezTo>
                <a:cubicBezTo>
                  <a:pt x="623455" y="172524"/>
                  <a:pt x="614898" y="182459"/>
                  <a:pt x="599846" y="197510"/>
                </a:cubicBezTo>
                <a:cubicBezTo>
                  <a:pt x="597408" y="204825"/>
                  <a:pt x="597348" y="213435"/>
                  <a:pt x="592531" y="219456"/>
                </a:cubicBezTo>
                <a:cubicBezTo>
                  <a:pt x="587039" y="226321"/>
                  <a:pt x="578619" y="230515"/>
                  <a:pt x="570585" y="234086"/>
                </a:cubicBezTo>
                <a:cubicBezTo>
                  <a:pt x="556492" y="240349"/>
                  <a:pt x="541324" y="243839"/>
                  <a:pt x="526694" y="248716"/>
                </a:cubicBezTo>
                <a:cubicBezTo>
                  <a:pt x="519379" y="251154"/>
                  <a:pt x="512400" y="255076"/>
                  <a:pt x="504749" y="256032"/>
                </a:cubicBezTo>
                <a:lnTo>
                  <a:pt x="446227" y="263347"/>
                </a:lnTo>
                <a:cubicBezTo>
                  <a:pt x="438912" y="268224"/>
                  <a:pt x="429773" y="271112"/>
                  <a:pt x="424281" y="277977"/>
                </a:cubicBezTo>
                <a:cubicBezTo>
                  <a:pt x="419464" y="283998"/>
                  <a:pt x="421700" y="293836"/>
                  <a:pt x="416966" y="299923"/>
                </a:cubicBezTo>
                <a:cubicBezTo>
                  <a:pt x="404263" y="316255"/>
                  <a:pt x="387705" y="329184"/>
                  <a:pt x="373075" y="343814"/>
                </a:cubicBezTo>
                <a:lnTo>
                  <a:pt x="373075" y="343814"/>
                </a:lnTo>
                <a:cubicBezTo>
                  <a:pt x="334884" y="369273"/>
                  <a:pt x="368093" y="351158"/>
                  <a:pt x="314553" y="365760"/>
                </a:cubicBezTo>
                <a:cubicBezTo>
                  <a:pt x="205078" y="395617"/>
                  <a:pt x="354131" y="375753"/>
                  <a:pt x="138989" y="387705"/>
                </a:cubicBezTo>
                <a:cubicBezTo>
                  <a:pt x="134112" y="392582"/>
                  <a:pt x="130272" y="398787"/>
                  <a:pt x="124358" y="402336"/>
                </a:cubicBezTo>
                <a:cubicBezTo>
                  <a:pt x="117746" y="406303"/>
                  <a:pt x="110124" y="409651"/>
                  <a:pt x="102413" y="409651"/>
                </a:cubicBezTo>
                <a:cubicBezTo>
                  <a:pt x="73051" y="409651"/>
                  <a:pt x="43918" y="404428"/>
                  <a:pt x="14630" y="402336"/>
                </a:cubicBezTo>
                <a:cubicBezTo>
                  <a:pt x="9766" y="401989"/>
                  <a:pt x="4877" y="402336"/>
                  <a:pt x="0" y="402336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5" name="Freeform 84"/>
          <p:cNvSpPr/>
          <p:nvPr/>
        </p:nvSpPr>
        <p:spPr>
          <a:xfrm>
            <a:off x="1822726" y="854078"/>
            <a:ext cx="868362" cy="1281113"/>
          </a:xfrm>
          <a:custGeom>
            <a:avLst/>
            <a:gdLst>
              <a:gd name="connsiteX0" fmla="*/ 0 w 867253"/>
              <a:gd name="connsiteY0" fmla="*/ 1280160 h 1280160"/>
              <a:gd name="connsiteX1" fmla="*/ 21946 w 867253"/>
              <a:gd name="connsiteY1" fmla="*/ 1199693 h 1280160"/>
              <a:gd name="connsiteX2" fmla="*/ 36576 w 867253"/>
              <a:gd name="connsiteY2" fmla="*/ 1177747 h 1280160"/>
              <a:gd name="connsiteX3" fmla="*/ 43892 w 867253"/>
              <a:gd name="connsiteY3" fmla="*/ 1148487 h 1280160"/>
              <a:gd name="connsiteX4" fmla="*/ 51207 w 867253"/>
              <a:gd name="connsiteY4" fmla="*/ 1097280 h 1280160"/>
              <a:gd name="connsiteX5" fmla="*/ 65837 w 867253"/>
              <a:gd name="connsiteY5" fmla="*/ 1075335 h 1280160"/>
              <a:gd name="connsiteX6" fmla="*/ 87783 w 867253"/>
              <a:gd name="connsiteY6" fmla="*/ 1002183 h 1280160"/>
              <a:gd name="connsiteX7" fmla="*/ 87783 w 867253"/>
              <a:gd name="connsiteY7" fmla="*/ 929031 h 1280160"/>
              <a:gd name="connsiteX8" fmla="*/ 109728 w 867253"/>
              <a:gd name="connsiteY8" fmla="*/ 914400 h 1280160"/>
              <a:gd name="connsiteX9" fmla="*/ 117044 w 867253"/>
              <a:gd name="connsiteY9" fmla="*/ 790042 h 1280160"/>
              <a:gd name="connsiteX10" fmla="*/ 102413 w 867253"/>
              <a:gd name="connsiteY10" fmla="*/ 768096 h 1280160"/>
              <a:gd name="connsiteX11" fmla="*/ 109728 w 867253"/>
              <a:gd name="connsiteY11" fmla="*/ 709575 h 1280160"/>
              <a:gd name="connsiteX12" fmla="*/ 124359 w 867253"/>
              <a:gd name="connsiteY12" fmla="*/ 694944 h 1280160"/>
              <a:gd name="connsiteX13" fmla="*/ 138989 w 867253"/>
              <a:gd name="connsiteY13" fmla="*/ 672999 h 1280160"/>
              <a:gd name="connsiteX14" fmla="*/ 146304 w 867253"/>
              <a:gd name="connsiteY14" fmla="*/ 636423 h 1280160"/>
              <a:gd name="connsiteX15" fmla="*/ 160935 w 867253"/>
              <a:gd name="connsiteY15" fmla="*/ 621792 h 1280160"/>
              <a:gd name="connsiteX16" fmla="*/ 175565 w 867253"/>
              <a:gd name="connsiteY16" fmla="*/ 599847 h 1280160"/>
              <a:gd name="connsiteX17" fmla="*/ 190196 w 867253"/>
              <a:gd name="connsiteY17" fmla="*/ 512064 h 1280160"/>
              <a:gd name="connsiteX18" fmla="*/ 197511 w 867253"/>
              <a:gd name="connsiteY18" fmla="*/ 490119 h 1280160"/>
              <a:gd name="connsiteX19" fmla="*/ 212141 w 867253"/>
              <a:gd name="connsiteY19" fmla="*/ 438912 h 1280160"/>
              <a:gd name="connsiteX20" fmla="*/ 212141 w 867253"/>
              <a:gd name="connsiteY20" fmla="*/ 226771 h 1280160"/>
              <a:gd name="connsiteX21" fmla="*/ 234087 w 867253"/>
              <a:gd name="connsiteY21" fmla="*/ 219456 h 1280160"/>
              <a:gd name="connsiteX22" fmla="*/ 270663 w 867253"/>
              <a:gd name="connsiteY22" fmla="*/ 212141 h 1280160"/>
              <a:gd name="connsiteX23" fmla="*/ 292608 w 867253"/>
              <a:gd name="connsiteY23" fmla="*/ 168250 h 1280160"/>
              <a:gd name="connsiteX24" fmla="*/ 307239 w 867253"/>
              <a:gd name="connsiteY24" fmla="*/ 153619 h 1280160"/>
              <a:gd name="connsiteX25" fmla="*/ 321869 w 867253"/>
              <a:gd name="connsiteY25" fmla="*/ 131674 h 1280160"/>
              <a:gd name="connsiteX26" fmla="*/ 343815 w 867253"/>
              <a:gd name="connsiteY26" fmla="*/ 124359 h 1280160"/>
              <a:gd name="connsiteX27" fmla="*/ 409652 w 867253"/>
              <a:gd name="connsiteY27" fmla="*/ 117043 h 1280160"/>
              <a:gd name="connsiteX28" fmla="*/ 416967 w 867253"/>
              <a:gd name="connsiteY28" fmla="*/ 87783 h 1280160"/>
              <a:gd name="connsiteX29" fmla="*/ 490119 w 867253"/>
              <a:gd name="connsiteY29" fmla="*/ 80467 h 1280160"/>
              <a:gd name="connsiteX30" fmla="*/ 519380 w 867253"/>
              <a:gd name="connsiteY30" fmla="*/ 73152 h 1280160"/>
              <a:gd name="connsiteX31" fmla="*/ 563271 w 867253"/>
              <a:gd name="connsiteY31" fmla="*/ 58522 h 1280160"/>
              <a:gd name="connsiteX32" fmla="*/ 585216 w 867253"/>
              <a:gd name="connsiteY32" fmla="*/ 43891 h 1280160"/>
              <a:gd name="connsiteX33" fmla="*/ 621792 w 867253"/>
              <a:gd name="connsiteY33" fmla="*/ 36576 h 1280160"/>
              <a:gd name="connsiteX34" fmla="*/ 643738 w 867253"/>
              <a:gd name="connsiteY34" fmla="*/ 29261 h 1280160"/>
              <a:gd name="connsiteX35" fmla="*/ 680314 w 867253"/>
              <a:gd name="connsiteY35" fmla="*/ 36576 h 1280160"/>
              <a:gd name="connsiteX36" fmla="*/ 694944 w 867253"/>
              <a:gd name="connsiteY36" fmla="*/ 80467 h 1280160"/>
              <a:gd name="connsiteX37" fmla="*/ 702260 w 867253"/>
              <a:gd name="connsiteY37" fmla="*/ 102413 h 1280160"/>
              <a:gd name="connsiteX38" fmla="*/ 738836 w 867253"/>
              <a:gd name="connsiteY38" fmla="*/ 109728 h 1280160"/>
              <a:gd name="connsiteX39" fmla="*/ 790042 w 867253"/>
              <a:gd name="connsiteY39" fmla="*/ 102413 h 1280160"/>
              <a:gd name="connsiteX40" fmla="*/ 819303 w 867253"/>
              <a:gd name="connsiteY40" fmla="*/ 29261 h 1280160"/>
              <a:gd name="connsiteX41" fmla="*/ 833933 w 867253"/>
              <a:gd name="connsiteY41" fmla="*/ 0 h 1280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867253" h="1280160">
                <a:moveTo>
                  <a:pt x="0" y="1280160"/>
                </a:moveTo>
                <a:cubicBezTo>
                  <a:pt x="3926" y="1260532"/>
                  <a:pt x="11341" y="1215602"/>
                  <a:pt x="21946" y="1199693"/>
                </a:cubicBezTo>
                <a:lnTo>
                  <a:pt x="36576" y="1177747"/>
                </a:lnTo>
                <a:cubicBezTo>
                  <a:pt x="39015" y="1167994"/>
                  <a:pt x="42093" y="1158378"/>
                  <a:pt x="43892" y="1148487"/>
                </a:cubicBezTo>
                <a:cubicBezTo>
                  <a:pt x="46977" y="1131523"/>
                  <a:pt x="46253" y="1113795"/>
                  <a:pt x="51207" y="1097280"/>
                </a:cubicBezTo>
                <a:cubicBezTo>
                  <a:pt x="53733" y="1088859"/>
                  <a:pt x="60960" y="1082650"/>
                  <a:pt x="65837" y="1075335"/>
                </a:cubicBezTo>
                <a:cubicBezTo>
                  <a:pt x="83647" y="1021905"/>
                  <a:pt x="76728" y="1046405"/>
                  <a:pt x="87783" y="1002183"/>
                </a:cubicBezTo>
                <a:cubicBezTo>
                  <a:pt x="82726" y="976896"/>
                  <a:pt x="73334" y="954318"/>
                  <a:pt x="87783" y="929031"/>
                </a:cubicBezTo>
                <a:cubicBezTo>
                  <a:pt x="92145" y="921398"/>
                  <a:pt x="102413" y="919277"/>
                  <a:pt x="109728" y="914400"/>
                </a:cubicBezTo>
                <a:cubicBezTo>
                  <a:pt x="128755" y="857320"/>
                  <a:pt x="132952" y="864278"/>
                  <a:pt x="117044" y="790042"/>
                </a:cubicBezTo>
                <a:cubicBezTo>
                  <a:pt x="115202" y="781445"/>
                  <a:pt x="107290" y="775411"/>
                  <a:pt x="102413" y="768096"/>
                </a:cubicBezTo>
                <a:cubicBezTo>
                  <a:pt x="104851" y="748589"/>
                  <a:pt x="104079" y="728405"/>
                  <a:pt x="109728" y="709575"/>
                </a:cubicBezTo>
                <a:cubicBezTo>
                  <a:pt x="111710" y="702969"/>
                  <a:pt x="120050" y="700330"/>
                  <a:pt x="124359" y="694944"/>
                </a:cubicBezTo>
                <a:cubicBezTo>
                  <a:pt x="129851" y="688079"/>
                  <a:pt x="134112" y="680314"/>
                  <a:pt x="138989" y="672999"/>
                </a:cubicBezTo>
                <a:cubicBezTo>
                  <a:pt x="141427" y="660807"/>
                  <a:pt x="141406" y="647851"/>
                  <a:pt x="146304" y="636423"/>
                </a:cubicBezTo>
                <a:cubicBezTo>
                  <a:pt x="149021" y="630084"/>
                  <a:pt x="156626" y="627178"/>
                  <a:pt x="160935" y="621792"/>
                </a:cubicBezTo>
                <a:cubicBezTo>
                  <a:pt x="166427" y="614927"/>
                  <a:pt x="170688" y="607162"/>
                  <a:pt x="175565" y="599847"/>
                </a:cubicBezTo>
                <a:cubicBezTo>
                  <a:pt x="192714" y="548397"/>
                  <a:pt x="173861" y="610067"/>
                  <a:pt x="190196" y="512064"/>
                </a:cubicBezTo>
                <a:cubicBezTo>
                  <a:pt x="191464" y="504458"/>
                  <a:pt x="195393" y="497533"/>
                  <a:pt x="197511" y="490119"/>
                </a:cubicBezTo>
                <a:cubicBezTo>
                  <a:pt x="215884" y="425813"/>
                  <a:pt x="194600" y="491537"/>
                  <a:pt x="212141" y="438912"/>
                </a:cubicBezTo>
                <a:cubicBezTo>
                  <a:pt x="209679" y="397060"/>
                  <a:pt x="196727" y="276867"/>
                  <a:pt x="212141" y="226771"/>
                </a:cubicBezTo>
                <a:cubicBezTo>
                  <a:pt x="214409" y="219401"/>
                  <a:pt x="226606" y="221326"/>
                  <a:pt x="234087" y="219456"/>
                </a:cubicBezTo>
                <a:cubicBezTo>
                  <a:pt x="246149" y="216441"/>
                  <a:pt x="258471" y="214579"/>
                  <a:pt x="270663" y="212141"/>
                </a:cubicBezTo>
                <a:cubicBezTo>
                  <a:pt x="278389" y="188962"/>
                  <a:pt x="276402" y="188508"/>
                  <a:pt x="292608" y="168250"/>
                </a:cubicBezTo>
                <a:cubicBezTo>
                  <a:pt x="296917" y="162864"/>
                  <a:pt x="302930" y="159005"/>
                  <a:pt x="307239" y="153619"/>
                </a:cubicBezTo>
                <a:cubicBezTo>
                  <a:pt x="312731" y="146754"/>
                  <a:pt x="315004" y="137166"/>
                  <a:pt x="321869" y="131674"/>
                </a:cubicBezTo>
                <a:cubicBezTo>
                  <a:pt x="327890" y="126857"/>
                  <a:pt x="336209" y="125627"/>
                  <a:pt x="343815" y="124359"/>
                </a:cubicBezTo>
                <a:cubicBezTo>
                  <a:pt x="365595" y="120729"/>
                  <a:pt x="387706" y="119482"/>
                  <a:pt x="409652" y="117043"/>
                </a:cubicBezTo>
                <a:cubicBezTo>
                  <a:pt x="412090" y="107290"/>
                  <a:pt x="412471" y="96775"/>
                  <a:pt x="416967" y="87783"/>
                </a:cubicBezTo>
                <a:cubicBezTo>
                  <a:pt x="432072" y="57572"/>
                  <a:pt x="463022" y="77080"/>
                  <a:pt x="490119" y="80467"/>
                </a:cubicBezTo>
                <a:cubicBezTo>
                  <a:pt x="499873" y="78029"/>
                  <a:pt x="509750" y="76041"/>
                  <a:pt x="519380" y="73152"/>
                </a:cubicBezTo>
                <a:cubicBezTo>
                  <a:pt x="534151" y="68721"/>
                  <a:pt x="563271" y="58522"/>
                  <a:pt x="563271" y="58522"/>
                </a:cubicBezTo>
                <a:cubicBezTo>
                  <a:pt x="570586" y="53645"/>
                  <a:pt x="576984" y="46978"/>
                  <a:pt x="585216" y="43891"/>
                </a:cubicBezTo>
                <a:cubicBezTo>
                  <a:pt x="596858" y="39525"/>
                  <a:pt x="609730" y="39591"/>
                  <a:pt x="621792" y="36576"/>
                </a:cubicBezTo>
                <a:cubicBezTo>
                  <a:pt x="629273" y="34706"/>
                  <a:pt x="636423" y="31699"/>
                  <a:pt x="643738" y="29261"/>
                </a:cubicBezTo>
                <a:cubicBezTo>
                  <a:pt x="655930" y="31699"/>
                  <a:pt x="671522" y="27784"/>
                  <a:pt x="680314" y="36576"/>
                </a:cubicBezTo>
                <a:cubicBezTo>
                  <a:pt x="691219" y="47481"/>
                  <a:pt x="690067" y="65837"/>
                  <a:pt x="694944" y="80467"/>
                </a:cubicBezTo>
                <a:cubicBezTo>
                  <a:pt x="697383" y="87782"/>
                  <a:pt x="694699" y="100901"/>
                  <a:pt x="702260" y="102413"/>
                </a:cubicBezTo>
                <a:lnTo>
                  <a:pt x="738836" y="109728"/>
                </a:lnTo>
                <a:lnTo>
                  <a:pt x="790042" y="102413"/>
                </a:lnTo>
                <a:cubicBezTo>
                  <a:pt x="867253" y="5898"/>
                  <a:pt x="752298" y="51595"/>
                  <a:pt x="819303" y="29261"/>
                </a:cubicBezTo>
                <a:cubicBezTo>
                  <a:pt x="835286" y="5286"/>
                  <a:pt x="833933" y="16107"/>
                  <a:pt x="833933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6" name="Freeform 85"/>
          <p:cNvSpPr/>
          <p:nvPr/>
        </p:nvSpPr>
        <p:spPr>
          <a:xfrm>
            <a:off x="1903688" y="1497016"/>
            <a:ext cx="1155700" cy="301625"/>
          </a:xfrm>
          <a:custGeom>
            <a:avLst/>
            <a:gdLst>
              <a:gd name="connsiteX0" fmla="*/ 0 w 1155801"/>
              <a:gd name="connsiteY0" fmla="*/ 301454 h 301454"/>
              <a:gd name="connsiteX1" fmla="*/ 14630 w 1155801"/>
              <a:gd name="connsiteY1" fmla="*/ 279508 h 301454"/>
              <a:gd name="connsiteX2" fmla="*/ 36576 w 1155801"/>
              <a:gd name="connsiteY2" fmla="*/ 264878 h 301454"/>
              <a:gd name="connsiteX3" fmla="*/ 51206 w 1155801"/>
              <a:gd name="connsiteY3" fmla="*/ 220987 h 301454"/>
              <a:gd name="connsiteX4" fmla="*/ 58521 w 1155801"/>
              <a:gd name="connsiteY4" fmla="*/ 199041 h 301454"/>
              <a:gd name="connsiteX5" fmla="*/ 73152 w 1155801"/>
              <a:gd name="connsiteY5" fmla="*/ 184411 h 301454"/>
              <a:gd name="connsiteX6" fmla="*/ 182880 w 1155801"/>
              <a:gd name="connsiteY6" fmla="*/ 177096 h 301454"/>
              <a:gd name="connsiteX7" fmla="*/ 197510 w 1155801"/>
              <a:gd name="connsiteY7" fmla="*/ 162465 h 301454"/>
              <a:gd name="connsiteX8" fmla="*/ 212140 w 1155801"/>
              <a:gd name="connsiteY8" fmla="*/ 140520 h 301454"/>
              <a:gd name="connsiteX9" fmla="*/ 234086 w 1155801"/>
              <a:gd name="connsiteY9" fmla="*/ 133204 h 301454"/>
              <a:gd name="connsiteX10" fmla="*/ 424281 w 1155801"/>
              <a:gd name="connsiteY10" fmla="*/ 118574 h 301454"/>
              <a:gd name="connsiteX11" fmla="*/ 446227 w 1155801"/>
              <a:gd name="connsiteY11" fmla="*/ 103944 h 301454"/>
              <a:gd name="connsiteX12" fmla="*/ 468172 w 1155801"/>
              <a:gd name="connsiteY12" fmla="*/ 96628 h 301454"/>
              <a:gd name="connsiteX13" fmla="*/ 504748 w 1155801"/>
              <a:gd name="connsiteY13" fmla="*/ 74683 h 301454"/>
              <a:gd name="connsiteX14" fmla="*/ 599846 w 1155801"/>
              <a:gd name="connsiteY14" fmla="*/ 67368 h 301454"/>
              <a:gd name="connsiteX15" fmla="*/ 724204 w 1155801"/>
              <a:gd name="connsiteY15" fmla="*/ 60052 h 301454"/>
              <a:gd name="connsiteX16" fmla="*/ 760780 w 1155801"/>
              <a:gd name="connsiteY16" fmla="*/ 23476 h 301454"/>
              <a:gd name="connsiteX17" fmla="*/ 768096 w 1155801"/>
              <a:gd name="connsiteY17" fmla="*/ 1531 h 301454"/>
              <a:gd name="connsiteX18" fmla="*/ 870508 w 1155801"/>
              <a:gd name="connsiteY18" fmla="*/ 30792 h 301454"/>
              <a:gd name="connsiteX19" fmla="*/ 892454 w 1155801"/>
              <a:gd name="connsiteY19" fmla="*/ 38107 h 301454"/>
              <a:gd name="connsiteX20" fmla="*/ 1009497 w 1155801"/>
              <a:gd name="connsiteY20" fmla="*/ 45422 h 301454"/>
              <a:gd name="connsiteX21" fmla="*/ 1126540 w 1155801"/>
              <a:gd name="connsiteY21" fmla="*/ 23476 h 301454"/>
              <a:gd name="connsiteX22" fmla="*/ 1155801 w 1155801"/>
              <a:gd name="connsiteY22" fmla="*/ 8846 h 30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55801" h="301454">
                <a:moveTo>
                  <a:pt x="0" y="301454"/>
                </a:moveTo>
                <a:cubicBezTo>
                  <a:pt x="4877" y="294139"/>
                  <a:pt x="8413" y="285725"/>
                  <a:pt x="14630" y="279508"/>
                </a:cubicBezTo>
                <a:cubicBezTo>
                  <a:pt x="20847" y="273291"/>
                  <a:pt x="31916" y="272333"/>
                  <a:pt x="36576" y="264878"/>
                </a:cubicBezTo>
                <a:cubicBezTo>
                  <a:pt x="44750" y="251800"/>
                  <a:pt x="46329" y="235617"/>
                  <a:pt x="51206" y="220987"/>
                </a:cubicBezTo>
                <a:cubicBezTo>
                  <a:pt x="53644" y="213672"/>
                  <a:pt x="53068" y="204493"/>
                  <a:pt x="58521" y="199041"/>
                </a:cubicBezTo>
                <a:cubicBezTo>
                  <a:pt x="63398" y="194164"/>
                  <a:pt x="66360" y="185610"/>
                  <a:pt x="73152" y="184411"/>
                </a:cubicBezTo>
                <a:cubicBezTo>
                  <a:pt x="109251" y="178041"/>
                  <a:pt x="146304" y="179534"/>
                  <a:pt x="182880" y="177096"/>
                </a:cubicBezTo>
                <a:cubicBezTo>
                  <a:pt x="187757" y="172219"/>
                  <a:pt x="193202" y="167851"/>
                  <a:pt x="197510" y="162465"/>
                </a:cubicBezTo>
                <a:cubicBezTo>
                  <a:pt x="203002" y="155600"/>
                  <a:pt x="205275" y="146012"/>
                  <a:pt x="212140" y="140520"/>
                </a:cubicBezTo>
                <a:cubicBezTo>
                  <a:pt x="218161" y="135703"/>
                  <a:pt x="226416" y="133997"/>
                  <a:pt x="234086" y="133204"/>
                </a:cubicBezTo>
                <a:cubicBezTo>
                  <a:pt x="297334" y="126661"/>
                  <a:pt x="360883" y="123451"/>
                  <a:pt x="424281" y="118574"/>
                </a:cubicBezTo>
                <a:cubicBezTo>
                  <a:pt x="431596" y="113697"/>
                  <a:pt x="438363" y="107876"/>
                  <a:pt x="446227" y="103944"/>
                </a:cubicBezTo>
                <a:cubicBezTo>
                  <a:pt x="453124" y="100496"/>
                  <a:pt x="461560" y="100595"/>
                  <a:pt x="468172" y="96628"/>
                </a:cubicBezTo>
                <a:cubicBezTo>
                  <a:pt x="493988" y="81138"/>
                  <a:pt x="469851" y="79045"/>
                  <a:pt x="504748" y="74683"/>
                </a:cubicBezTo>
                <a:cubicBezTo>
                  <a:pt x="536295" y="70740"/>
                  <a:pt x="568147" y="69806"/>
                  <a:pt x="599846" y="67368"/>
                </a:cubicBezTo>
                <a:cubicBezTo>
                  <a:pt x="647629" y="73341"/>
                  <a:pt x="676966" y="83671"/>
                  <a:pt x="724204" y="60052"/>
                </a:cubicBezTo>
                <a:cubicBezTo>
                  <a:pt x="739626" y="52341"/>
                  <a:pt x="760780" y="23476"/>
                  <a:pt x="760780" y="23476"/>
                </a:cubicBezTo>
                <a:cubicBezTo>
                  <a:pt x="763219" y="16161"/>
                  <a:pt x="760432" y="2382"/>
                  <a:pt x="768096" y="1531"/>
                </a:cubicBezTo>
                <a:cubicBezTo>
                  <a:pt x="781877" y="0"/>
                  <a:pt x="853331" y="25066"/>
                  <a:pt x="870508" y="30792"/>
                </a:cubicBezTo>
                <a:cubicBezTo>
                  <a:pt x="877823" y="33230"/>
                  <a:pt x="884758" y="37626"/>
                  <a:pt x="892454" y="38107"/>
                </a:cubicBezTo>
                <a:lnTo>
                  <a:pt x="1009497" y="45422"/>
                </a:lnTo>
                <a:cubicBezTo>
                  <a:pt x="1097999" y="36572"/>
                  <a:pt x="1059398" y="45857"/>
                  <a:pt x="1126540" y="23476"/>
                </a:cubicBezTo>
                <a:cubicBezTo>
                  <a:pt x="1151758" y="15070"/>
                  <a:pt x="1143033" y="21614"/>
                  <a:pt x="1155801" y="8846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7" name="Freeform 86"/>
          <p:cNvSpPr/>
          <p:nvPr/>
        </p:nvSpPr>
        <p:spPr>
          <a:xfrm>
            <a:off x="1970367" y="1195389"/>
            <a:ext cx="1082675" cy="309563"/>
          </a:xfrm>
          <a:custGeom>
            <a:avLst/>
            <a:gdLst>
              <a:gd name="connsiteX0" fmla="*/ 0 w 1082650"/>
              <a:gd name="connsiteY0" fmla="*/ 309863 h 309863"/>
              <a:gd name="connsiteX1" fmla="*/ 95098 w 1082650"/>
              <a:gd name="connsiteY1" fmla="*/ 287917 h 309863"/>
              <a:gd name="connsiteX2" fmla="*/ 117044 w 1082650"/>
              <a:gd name="connsiteY2" fmla="*/ 280602 h 309863"/>
              <a:gd name="connsiteX3" fmla="*/ 138989 w 1082650"/>
              <a:gd name="connsiteY3" fmla="*/ 265972 h 309863"/>
              <a:gd name="connsiteX4" fmla="*/ 160935 w 1082650"/>
              <a:gd name="connsiteY4" fmla="*/ 258657 h 309863"/>
              <a:gd name="connsiteX5" fmla="*/ 299924 w 1082650"/>
              <a:gd name="connsiteY5" fmla="*/ 251341 h 309863"/>
              <a:gd name="connsiteX6" fmla="*/ 321869 w 1082650"/>
              <a:gd name="connsiteY6" fmla="*/ 244026 h 309863"/>
              <a:gd name="connsiteX7" fmla="*/ 431597 w 1082650"/>
              <a:gd name="connsiteY7" fmla="*/ 236711 h 309863"/>
              <a:gd name="connsiteX8" fmla="*/ 460858 w 1082650"/>
              <a:gd name="connsiteY8" fmla="*/ 207450 h 309863"/>
              <a:gd name="connsiteX9" fmla="*/ 482804 w 1082650"/>
              <a:gd name="connsiteY9" fmla="*/ 192820 h 309863"/>
              <a:gd name="connsiteX10" fmla="*/ 526695 w 1082650"/>
              <a:gd name="connsiteY10" fmla="*/ 178189 h 309863"/>
              <a:gd name="connsiteX11" fmla="*/ 534010 w 1082650"/>
              <a:gd name="connsiteY11" fmla="*/ 156244 h 309863"/>
              <a:gd name="connsiteX12" fmla="*/ 541325 w 1082650"/>
              <a:gd name="connsiteY12" fmla="*/ 119668 h 309863"/>
              <a:gd name="connsiteX13" fmla="*/ 563271 w 1082650"/>
              <a:gd name="connsiteY13" fmla="*/ 112353 h 309863"/>
              <a:gd name="connsiteX14" fmla="*/ 629108 w 1082650"/>
              <a:gd name="connsiteY14" fmla="*/ 119668 h 309863"/>
              <a:gd name="connsiteX15" fmla="*/ 651053 w 1082650"/>
              <a:gd name="connsiteY15" fmla="*/ 126983 h 309863"/>
              <a:gd name="connsiteX16" fmla="*/ 702260 w 1082650"/>
              <a:gd name="connsiteY16" fmla="*/ 119668 h 309863"/>
              <a:gd name="connsiteX17" fmla="*/ 709575 w 1082650"/>
              <a:gd name="connsiteY17" fmla="*/ 97722 h 309863"/>
              <a:gd name="connsiteX18" fmla="*/ 694944 w 1082650"/>
              <a:gd name="connsiteY18" fmla="*/ 46516 h 309863"/>
              <a:gd name="connsiteX19" fmla="*/ 680314 w 1082650"/>
              <a:gd name="connsiteY19" fmla="*/ 31885 h 309863"/>
              <a:gd name="connsiteX20" fmla="*/ 694944 w 1082650"/>
              <a:gd name="connsiteY20" fmla="*/ 9940 h 309863"/>
              <a:gd name="connsiteX21" fmla="*/ 775412 w 1082650"/>
              <a:gd name="connsiteY21" fmla="*/ 31885 h 309863"/>
              <a:gd name="connsiteX22" fmla="*/ 797357 w 1082650"/>
              <a:gd name="connsiteY22" fmla="*/ 75777 h 309863"/>
              <a:gd name="connsiteX23" fmla="*/ 833933 w 1082650"/>
              <a:gd name="connsiteY23" fmla="*/ 83092 h 309863"/>
              <a:gd name="connsiteX24" fmla="*/ 863194 w 1082650"/>
              <a:gd name="connsiteY24" fmla="*/ 112353 h 309863"/>
              <a:gd name="connsiteX25" fmla="*/ 877824 w 1082650"/>
              <a:gd name="connsiteY25" fmla="*/ 134298 h 309863"/>
              <a:gd name="connsiteX26" fmla="*/ 899770 w 1082650"/>
              <a:gd name="connsiteY26" fmla="*/ 148929 h 309863"/>
              <a:gd name="connsiteX27" fmla="*/ 980237 w 1082650"/>
              <a:gd name="connsiteY27" fmla="*/ 156244 h 309863"/>
              <a:gd name="connsiteX28" fmla="*/ 1038759 w 1082650"/>
              <a:gd name="connsiteY28" fmla="*/ 148929 h 309863"/>
              <a:gd name="connsiteX29" fmla="*/ 1060704 w 1082650"/>
              <a:gd name="connsiteY29" fmla="*/ 141613 h 309863"/>
              <a:gd name="connsiteX30" fmla="*/ 1082650 w 1082650"/>
              <a:gd name="connsiteY30" fmla="*/ 148929 h 309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82650" h="309863">
                <a:moveTo>
                  <a:pt x="0" y="309863"/>
                </a:moveTo>
                <a:cubicBezTo>
                  <a:pt x="29021" y="304059"/>
                  <a:pt x="68620" y="296743"/>
                  <a:pt x="95098" y="287917"/>
                </a:cubicBezTo>
                <a:lnTo>
                  <a:pt x="117044" y="280602"/>
                </a:lnTo>
                <a:cubicBezTo>
                  <a:pt x="124359" y="275725"/>
                  <a:pt x="131126" y="269904"/>
                  <a:pt x="138989" y="265972"/>
                </a:cubicBezTo>
                <a:cubicBezTo>
                  <a:pt x="145886" y="262524"/>
                  <a:pt x="153256" y="259355"/>
                  <a:pt x="160935" y="258657"/>
                </a:cubicBezTo>
                <a:cubicBezTo>
                  <a:pt x="207138" y="254457"/>
                  <a:pt x="253594" y="253780"/>
                  <a:pt x="299924" y="251341"/>
                </a:cubicBezTo>
                <a:cubicBezTo>
                  <a:pt x="307239" y="248903"/>
                  <a:pt x="314205" y="244877"/>
                  <a:pt x="321869" y="244026"/>
                </a:cubicBezTo>
                <a:cubicBezTo>
                  <a:pt x="358302" y="239978"/>
                  <a:pt x="396147" y="246040"/>
                  <a:pt x="431597" y="236711"/>
                </a:cubicBezTo>
                <a:cubicBezTo>
                  <a:pt x="444937" y="233201"/>
                  <a:pt x="449381" y="215101"/>
                  <a:pt x="460858" y="207450"/>
                </a:cubicBezTo>
                <a:cubicBezTo>
                  <a:pt x="468173" y="202573"/>
                  <a:pt x="474770" y="196391"/>
                  <a:pt x="482804" y="192820"/>
                </a:cubicBezTo>
                <a:cubicBezTo>
                  <a:pt x="496897" y="186557"/>
                  <a:pt x="526695" y="178189"/>
                  <a:pt x="526695" y="178189"/>
                </a:cubicBezTo>
                <a:cubicBezTo>
                  <a:pt x="529133" y="170874"/>
                  <a:pt x="532140" y="163724"/>
                  <a:pt x="534010" y="156244"/>
                </a:cubicBezTo>
                <a:cubicBezTo>
                  <a:pt x="537026" y="144182"/>
                  <a:pt x="534428" y="130013"/>
                  <a:pt x="541325" y="119668"/>
                </a:cubicBezTo>
                <a:cubicBezTo>
                  <a:pt x="545602" y="113252"/>
                  <a:pt x="555956" y="114791"/>
                  <a:pt x="563271" y="112353"/>
                </a:cubicBezTo>
                <a:cubicBezTo>
                  <a:pt x="585217" y="114791"/>
                  <a:pt x="607328" y="116038"/>
                  <a:pt x="629108" y="119668"/>
                </a:cubicBezTo>
                <a:cubicBezTo>
                  <a:pt x="636714" y="120936"/>
                  <a:pt x="643342" y="126983"/>
                  <a:pt x="651053" y="126983"/>
                </a:cubicBezTo>
                <a:cubicBezTo>
                  <a:pt x="668295" y="126983"/>
                  <a:pt x="685191" y="122106"/>
                  <a:pt x="702260" y="119668"/>
                </a:cubicBezTo>
                <a:cubicBezTo>
                  <a:pt x="704698" y="112353"/>
                  <a:pt x="709575" y="105433"/>
                  <a:pt x="709575" y="97722"/>
                </a:cubicBezTo>
                <a:cubicBezTo>
                  <a:pt x="709575" y="94530"/>
                  <a:pt x="698395" y="52268"/>
                  <a:pt x="694944" y="46516"/>
                </a:cubicBezTo>
                <a:cubicBezTo>
                  <a:pt x="691396" y="40602"/>
                  <a:pt x="685191" y="36762"/>
                  <a:pt x="680314" y="31885"/>
                </a:cubicBezTo>
                <a:cubicBezTo>
                  <a:pt x="685191" y="24570"/>
                  <a:pt x="686294" y="11513"/>
                  <a:pt x="694944" y="9940"/>
                </a:cubicBezTo>
                <a:cubicBezTo>
                  <a:pt x="749617" y="0"/>
                  <a:pt x="750795" y="7270"/>
                  <a:pt x="775412" y="31885"/>
                </a:cubicBezTo>
                <a:cubicBezTo>
                  <a:pt x="779167" y="43149"/>
                  <a:pt x="785679" y="69104"/>
                  <a:pt x="797357" y="75777"/>
                </a:cubicBezTo>
                <a:cubicBezTo>
                  <a:pt x="808152" y="81946"/>
                  <a:pt x="821741" y="80654"/>
                  <a:pt x="833933" y="83092"/>
                </a:cubicBezTo>
                <a:cubicBezTo>
                  <a:pt x="843687" y="92846"/>
                  <a:pt x="855543" y="100876"/>
                  <a:pt x="863194" y="112353"/>
                </a:cubicBezTo>
                <a:cubicBezTo>
                  <a:pt x="868071" y="119668"/>
                  <a:pt x="871607" y="128081"/>
                  <a:pt x="877824" y="134298"/>
                </a:cubicBezTo>
                <a:cubicBezTo>
                  <a:pt x="884041" y="140515"/>
                  <a:pt x="891173" y="147087"/>
                  <a:pt x="899770" y="148929"/>
                </a:cubicBezTo>
                <a:cubicBezTo>
                  <a:pt x="926105" y="154572"/>
                  <a:pt x="953415" y="153806"/>
                  <a:pt x="980237" y="156244"/>
                </a:cubicBezTo>
                <a:cubicBezTo>
                  <a:pt x="999744" y="153806"/>
                  <a:pt x="1019417" y="152446"/>
                  <a:pt x="1038759" y="148929"/>
                </a:cubicBezTo>
                <a:cubicBezTo>
                  <a:pt x="1046345" y="147550"/>
                  <a:pt x="1052993" y="141613"/>
                  <a:pt x="1060704" y="141613"/>
                </a:cubicBezTo>
                <a:cubicBezTo>
                  <a:pt x="1068415" y="141613"/>
                  <a:pt x="1082650" y="148929"/>
                  <a:pt x="1082650" y="14892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8" name="Rectangle 3"/>
          <p:cNvSpPr>
            <a:spLocks noChangeArrowheads="1"/>
          </p:cNvSpPr>
          <p:nvPr/>
        </p:nvSpPr>
        <p:spPr bwMode="auto">
          <a:xfrm rot="16822743">
            <a:off x="429696" y="2656652"/>
            <a:ext cx="1290637" cy="40011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2000">
                <a:solidFill>
                  <a:srgbClr val="009900"/>
                </a:solidFill>
                <a:latin typeface="Ponnala" pitchFamily="2" charset="0"/>
                <a:cs typeface="Ponnala" pitchFamily="2" charset="0"/>
              </a:rPr>
              <a:t>సింధూ నది</a:t>
            </a:r>
            <a:endParaRPr lang="en-US" sz="6000">
              <a:solidFill>
                <a:srgbClr val="009900"/>
              </a:solidFill>
              <a:latin typeface="Ponnala" pitchFamily="2" charset="0"/>
              <a:cs typeface="Ponnala" pitchFamily="2" charset="0"/>
            </a:endParaRPr>
          </a:p>
        </p:txBody>
      </p:sp>
      <p:sp>
        <p:nvSpPr>
          <p:cNvPr id="94" name="Rectangle 7"/>
          <p:cNvSpPr>
            <a:spLocks noChangeArrowheads="1"/>
          </p:cNvSpPr>
          <p:nvPr/>
        </p:nvSpPr>
        <p:spPr bwMode="auto">
          <a:xfrm rot="2368973">
            <a:off x="2859367" y="980559"/>
            <a:ext cx="969963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జీలం</a:t>
            </a:r>
          </a:p>
        </p:txBody>
      </p:sp>
      <p:sp>
        <p:nvSpPr>
          <p:cNvPr id="95" name="Rectangle 8"/>
          <p:cNvSpPr>
            <a:spLocks noChangeArrowheads="1"/>
          </p:cNvSpPr>
          <p:nvPr/>
        </p:nvSpPr>
        <p:spPr bwMode="auto">
          <a:xfrm rot="16805234">
            <a:off x="1577457" y="876580"/>
            <a:ext cx="823912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ీనాబ్</a:t>
            </a:r>
          </a:p>
        </p:txBody>
      </p:sp>
      <p:sp>
        <p:nvSpPr>
          <p:cNvPr id="96" name="Rectangle 9"/>
          <p:cNvSpPr>
            <a:spLocks noChangeArrowheads="1"/>
          </p:cNvSpPr>
          <p:nvPr/>
        </p:nvSpPr>
        <p:spPr bwMode="auto">
          <a:xfrm>
            <a:off x="2089426" y="982664"/>
            <a:ext cx="868362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>
                <a:solidFill>
                  <a:srgbClr val="FF00FF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వి</a:t>
            </a:r>
          </a:p>
        </p:txBody>
      </p:sp>
      <p:sp>
        <p:nvSpPr>
          <p:cNvPr id="97" name="Rectangle 10"/>
          <p:cNvSpPr>
            <a:spLocks noChangeArrowheads="1"/>
          </p:cNvSpPr>
          <p:nvPr/>
        </p:nvSpPr>
        <p:spPr bwMode="auto">
          <a:xfrm rot="216591">
            <a:off x="2546626" y="1308137"/>
            <a:ext cx="996950" cy="353943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7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ియాస్</a:t>
            </a:r>
          </a:p>
        </p:txBody>
      </p:sp>
      <p:sp>
        <p:nvSpPr>
          <p:cNvPr id="98" name="Rectangle 11"/>
          <p:cNvSpPr>
            <a:spLocks noChangeArrowheads="1"/>
          </p:cNvSpPr>
          <p:nvPr/>
        </p:nvSpPr>
        <p:spPr bwMode="auto">
          <a:xfrm rot="19645790">
            <a:off x="1859238" y="1644927"/>
            <a:ext cx="730250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>
                <a:solidFill>
                  <a:srgbClr val="32BADA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ట్లెజ్</a:t>
            </a:r>
          </a:p>
        </p:txBody>
      </p:sp>
      <p:sp>
        <p:nvSpPr>
          <p:cNvPr id="99" name="Freeform 98"/>
          <p:cNvSpPr/>
          <p:nvPr/>
        </p:nvSpPr>
        <p:spPr>
          <a:xfrm>
            <a:off x="1624292" y="693740"/>
            <a:ext cx="733425" cy="1482725"/>
          </a:xfrm>
          <a:custGeom>
            <a:avLst/>
            <a:gdLst>
              <a:gd name="connsiteX0" fmla="*/ 733425 w 733425"/>
              <a:gd name="connsiteY0" fmla="*/ 1970 h 1483629"/>
              <a:gd name="connsiteX1" fmla="*/ 523875 w 733425"/>
              <a:gd name="connsiteY1" fmla="*/ 11495 h 1483629"/>
              <a:gd name="connsiteX2" fmla="*/ 504825 w 733425"/>
              <a:gd name="connsiteY2" fmla="*/ 40070 h 1483629"/>
              <a:gd name="connsiteX3" fmla="*/ 466725 w 733425"/>
              <a:gd name="connsiteY3" fmla="*/ 97220 h 1483629"/>
              <a:gd name="connsiteX4" fmla="*/ 409575 w 733425"/>
              <a:gd name="connsiteY4" fmla="*/ 106745 h 1483629"/>
              <a:gd name="connsiteX5" fmla="*/ 238125 w 733425"/>
              <a:gd name="connsiteY5" fmla="*/ 116270 h 1483629"/>
              <a:gd name="connsiteX6" fmla="*/ 209550 w 733425"/>
              <a:gd name="connsiteY6" fmla="*/ 125795 h 1483629"/>
              <a:gd name="connsiteX7" fmla="*/ 200025 w 733425"/>
              <a:gd name="connsiteY7" fmla="*/ 163895 h 1483629"/>
              <a:gd name="connsiteX8" fmla="*/ 180975 w 733425"/>
              <a:gd name="connsiteY8" fmla="*/ 221045 h 1483629"/>
              <a:gd name="connsiteX9" fmla="*/ 171450 w 733425"/>
              <a:gd name="connsiteY9" fmla="*/ 249620 h 1483629"/>
              <a:gd name="connsiteX10" fmla="*/ 104775 w 733425"/>
              <a:gd name="connsiteY10" fmla="*/ 278195 h 1483629"/>
              <a:gd name="connsiteX11" fmla="*/ 66675 w 733425"/>
              <a:gd name="connsiteY11" fmla="*/ 325820 h 1483629"/>
              <a:gd name="connsiteX12" fmla="*/ 28575 w 733425"/>
              <a:gd name="connsiteY12" fmla="*/ 382970 h 1483629"/>
              <a:gd name="connsiteX13" fmla="*/ 28575 w 733425"/>
              <a:gd name="connsiteY13" fmla="*/ 478220 h 1483629"/>
              <a:gd name="connsiteX14" fmla="*/ 47625 w 733425"/>
              <a:gd name="connsiteY14" fmla="*/ 506795 h 1483629"/>
              <a:gd name="connsiteX15" fmla="*/ 66675 w 733425"/>
              <a:gd name="connsiteY15" fmla="*/ 563945 h 1483629"/>
              <a:gd name="connsiteX16" fmla="*/ 76200 w 733425"/>
              <a:gd name="connsiteY16" fmla="*/ 678245 h 1483629"/>
              <a:gd name="connsiteX17" fmla="*/ 85725 w 733425"/>
              <a:gd name="connsiteY17" fmla="*/ 706820 h 1483629"/>
              <a:gd name="connsiteX18" fmla="*/ 57150 w 733425"/>
              <a:gd name="connsiteY18" fmla="*/ 811595 h 1483629"/>
              <a:gd name="connsiteX19" fmla="*/ 47625 w 733425"/>
              <a:gd name="connsiteY19" fmla="*/ 859220 h 1483629"/>
              <a:gd name="connsiteX20" fmla="*/ 57150 w 733425"/>
              <a:gd name="connsiteY20" fmla="*/ 1059245 h 1483629"/>
              <a:gd name="connsiteX21" fmla="*/ 66675 w 733425"/>
              <a:gd name="connsiteY21" fmla="*/ 1087820 h 1483629"/>
              <a:gd name="connsiteX22" fmla="*/ 95250 w 733425"/>
              <a:gd name="connsiteY22" fmla="*/ 1202120 h 1483629"/>
              <a:gd name="connsiteX23" fmla="*/ 104775 w 733425"/>
              <a:gd name="connsiteY23" fmla="*/ 1230695 h 1483629"/>
              <a:gd name="connsiteX24" fmla="*/ 85725 w 733425"/>
              <a:gd name="connsiteY24" fmla="*/ 1364045 h 1483629"/>
              <a:gd name="connsiteX25" fmla="*/ 66675 w 733425"/>
              <a:gd name="connsiteY25" fmla="*/ 1392620 h 1483629"/>
              <a:gd name="connsiteX26" fmla="*/ 57150 w 733425"/>
              <a:gd name="connsiteY26" fmla="*/ 1421195 h 1483629"/>
              <a:gd name="connsiteX27" fmla="*/ 0 w 733425"/>
              <a:gd name="connsiteY27" fmla="*/ 1478345 h 1483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33425" h="1483629">
                <a:moveTo>
                  <a:pt x="733425" y="1970"/>
                </a:moveTo>
                <a:cubicBezTo>
                  <a:pt x="663575" y="5145"/>
                  <a:pt x="592846" y="0"/>
                  <a:pt x="523875" y="11495"/>
                </a:cubicBezTo>
                <a:cubicBezTo>
                  <a:pt x="512583" y="13377"/>
                  <a:pt x="509334" y="29548"/>
                  <a:pt x="504825" y="40070"/>
                </a:cubicBezTo>
                <a:cubicBezTo>
                  <a:pt x="489794" y="75141"/>
                  <a:pt x="508579" y="83269"/>
                  <a:pt x="466725" y="97220"/>
                </a:cubicBezTo>
                <a:cubicBezTo>
                  <a:pt x="448403" y="103327"/>
                  <a:pt x="428821" y="105141"/>
                  <a:pt x="409575" y="106745"/>
                </a:cubicBezTo>
                <a:cubicBezTo>
                  <a:pt x="352535" y="111498"/>
                  <a:pt x="295275" y="113095"/>
                  <a:pt x="238125" y="116270"/>
                </a:cubicBezTo>
                <a:cubicBezTo>
                  <a:pt x="228600" y="119445"/>
                  <a:pt x="215822" y="117955"/>
                  <a:pt x="209550" y="125795"/>
                </a:cubicBezTo>
                <a:cubicBezTo>
                  <a:pt x="201372" y="136017"/>
                  <a:pt x="203787" y="151356"/>
                  <a:pt x="200025" y="163895"/>
                </a:cubicBezTo>
                <a:cubicBezTo>
                  <a:pt x="194255" y="183129"/>
                  <a:pt x="187325" y="201995"/>
                  <a:pt x="180975" y="221045"/>
                </a:cubicBezTo>
                <a:cubicBezTo>
                  <a:pt x="177800" y="230570"/>
                  <a:pt x="179804" y="244051"/>
                  <a:pt x="171450" y="249620"/>
                </a:cubicBezTo>
                <a:cubicBezTo>
                  <a:pt x="131983" y="275932"/>
                  <a:pt x="153981" y="265894"/>
                  <a:pt x="104775" y="278195"/>
                </a:cubicBezTo>
                <a:cubicBezTo>
                  <a:pt x="51977" y="313394"/>
                  <a:pt x="93738" y="277106"/>
                  <a:pt x="66675" y="325820"/>
                </a:cubicBezTo>
                <a:cubicBezTo>
                  <a:pt x="55556" y="345834"/>
                  <a:pt x="28575" y="382970"/>
                  <a:pt x="28575" y="382970"/>
                </a:cubicBezTo>
                <a:cubicBezTo>
                  <a:pt x="19740" y="427144"/>
                  <a:pt x="12010" y="434046"/>
                  <a:pt x="28575" y="478220"/>
                </a:cubicBezTo>
                <a:cubicBezTo>
                  <a:pt x="32595" y="488939"/>
                  <a:pt x="42976" y="496334"/>
                  <a:pt x="47625" y="506795"/>
                </a:cubicBezTo>
                <a:cubicBezTo>
                  <a:pt x="55780" y="525145"/>
                  <a:pt x="66675" y="563945"/>
                  <a:pt x="66675" y="563945"/>
                </a:cubicBezTo>
                <a:cubicBezTo>
                  <a:pt x="69850" y="602045"/>
                  <a:pt x="71147" y="640348"/>
                  <a:pt x="76200" y="678245"/>
                </a:cubicBezTo>
                <a:cubicBezTo>
                  <a:pt x="77527" y="688197"/>
                  <a:pt x="85725" y="696780"/>
                  <a:pt x="85725" y="706820"/>
                </a:cubicBezTo>
                <a:cubicBezTo>
                  <a:pt x="85725" y="745792"/>
                  <a:pt x="64621" y="774242"/>
                  <a:pt x="57150" y="811595"/>
                </a:cubicBezTo>
                <a:lnTo>
                  <a:pt x="47625" y="859220"/>
                </a:lnTo>
                <a:cubicBezTo>
                  <a:pt x="50800" y="925895"/>
                  <a:pt x="51607" y="992725"/>
                  <a:pt x="57150" y="1059245"/>
                </a:cubicBezTo>
                <a:cubicBezTo>
                  <a:pt x="57984" y="1069251"/>
                  <a:pt x="64497" y="1078019"/>
                  <a:pt x="66675" y="1087820"/>
                </a:cubicBezTo>
                <a:cubicBezTo>
                  <a:pt x="92327" y="1203256"/>
                  <a:pt x="56757" y="1086640"/>
                  <a:pt x="95250" y="1202120"/>
                </a:cubicBezTo>
                <a:lnTo>
                  <a:pt x="104775" y="1230695"/>
                </a:lnTo>
                <a:cubicBezTo>
                  <a:pt x="103095" y="1247493"/>
                  <a:pt x="99236" y="1332520"/>
                  <a:pt x="85725" y="1364045"/>
                </a:cubicBezTo>
                <a:cubicBezTo>
                  <a:pt x="81216" y="1374567"/>
                  <a:pt x="71795" y="1382381"/>
                  <a:pt x="66675" y="1392620"/>
                </a:cubicBezTo>
                <a:cubicBezTo>
                  <a:pt x="62185" y="1401600"/>
                  <a:pt x="62026" y="1412418"/>
                  <a:pt x="57150" y="1421195"/>
                </a:cubicBezTo>
                <a:cubicBezTo>
                  <a:pt x="22465" y="1483629"/>
                  <a:pt x="40021" y="1478345"/>
                  <a:pt x="0" y="147834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2" name="Freeform 111"/>
          <p:cNvSpPr/>
          <p:nvPr/>
        </p:nvSpPr>
        <p:spPr>
          <a:xfrm>
            <a:off x="957538" y="2162178"/>
            <a:ext cx="704850" cy="1495425"/>
          </a:xfrm>
          <a:custGeom>
            <a:avLst/>
            <a:gdLst>
              <a:gd name="connsiteX0" fmla="*/ 704850 w 704850"/>
              <a:gd name="connsiteY0" fmla="*/ 0 h 1495425"/>
              <a:gd name="connsiteX1" fmla="*/ 676275 w 704850"/>
              <a:gd name="connsiteY1" fmla="*/ 9525 h 1495425"/>
              <a:gd name="connsiteX2" fmla="*/ 666750 w 704850"/>
              <a:gd name="connsiteY2" fmla="*/ 38100 h 1495425"/>
              <a:gd name="connsiteX3" fmla="*/ 628650 w 704850"/>
              <a:gd name="connsiteY3" fmla="*/ 95250 h 1495425"/>
              <a:gd name="connsiteX4" fmla="*/ 619125 w 704850"/>
              <a:gd name="connsiteY4" fmla="*/ 123825 h 1495425"/>
              <a:gd name="connsiteX5" fmla="*/ 571500 w 704850"/>
              <a:gd name="connsiteY5" fmla="*/ 171450 h 1495425"/>
              <a:gd name="connsiteX6" fmla="*/ 542925 w 704850"/>
              <a:gd name="connsiteY6" fmla="*/ 200025 h 1495425"/>
              <a:gd name="connsiteX7" fmla="*/ 504825 w 704850"/>
              <a:gd name="connsiteY7" fmla="*/ 219075 h 1495425"/>
              <a:gd name="connsiteX8" fmla="*/ 447675 w 704850"/>
              <a:gd name="connsiteY8" fmla="*/ 257175 h 1495425"/>
              <a:gd name="connsiteX9" fmla="*/ 419100 w 704850"/>
              <a:gd name="connsiteY9" fmla="*/ 285750 h 1495425"/>
              <a:gd name="connsiteX10" fmla="*/ 400050 w 704850"/>
              <a:gd name="connsiteY10" fmla="*/ 314325 h 1495425"/>
              <a:gd name="connsiteX11" fmla="*/ 304800 w 704850"/>
              <a:gd name="connsiteY11" fmla="*/ 371475 h 1495425"/>
              <a:gd name="connsiteX12" fmla="*/ 285750 w 704850"/>
              <a:gd name="connsiteY12" fmla="*/ 428625 h 1495425"/>
              <a:gd name="connsiteX13" fmla="*/ 276225 w 704850"/>
              <a:gd name="connsiteY13" fmla="*/ 485775 h 1495425"/>
              <a:gd name="connsiteX14" fmla="*/ 266700 w 704850"/>
              <a:gd name="connsiteY14" fmla="*/ 514350 h 1495425"/>
              <a:gd name="connsiteX15" fmla="*/ 257175 w 704850"/>
              <a:gd name="connsiteY15" fmla="*/ 561975 h 1495425"/>
              <a:gd name="connsiteX16" fmla="*/ 238125 w 704850"/>
              <a:gd name="connsiteY16" fmla="*/ 628650 h 1495425"/>
              <a:gd name="connsiteX17" fmla="*/ 228600 w 704850"/>
              <a:gd name="connsiteY17" fmla="*/ 800100 h 1495425"/>
              <a:gd name="connsiteX18" fmla="*/ 190500 w 704850"/>
              <a:gd name="connsiteY18" fmla="*/ 857250 h 1495425"/>
              <a:gd name="connsiteX19" fmla="*/ 171450 w 704850"/>
              <a:gd name="connsiteY19" fmla="*/ 914400 h 1495425"/>
              <a:gd name="connsiteX20" fmla="*/ 200025 w 704850"/>
              <a:gd name="connsiteY20" fmla="*/ 1009650 h 1495425"/>
              <a:gd name="connsiteX21" fmla="*/ 209550 w 704850"/>
              <a:gd name="connsiteY21" fmla="*/ 1038225 h 1495425"/>
              <a:gd name="connsiteX22" fmla="*/ 219075 w 704850"/>
              <a:gd name="connsiteY22" fmla="*/ 1066800 h 1495425"/>
              <a:gd name="connsiteX23" fmla="*/ 190500 w 704850"/>
              <a:gd name="connsiteY23" fmla="*/ 1162050 h 1495425"/>
              <a:gd name="connsiteX24" fmla="*/ 180975 w 704850"/>
              <a:gd name="connsiteY24" fmla="*/ 1190625 h 1495425"/>
              <a:gd name="connsiteX25" fmla="*/ 171450 w 704850"/>
              <a:gd name="connsiteY25" fmla="*/ 1238250 h 1495425"/>
              <a:gd name="connsiteX26" fmla="*/ 114300 w 704850"/>
              <a:gd name="connsiteY26" fmla="*/ 1276350 h 1495425"/>
              <a:gd name="connsiteX27" fmla="*/ 95250 w 704850"/>
              <a:gd name="connsiteY27" fmla="*/ 1304925 h 1495425"/>
              <a:gd name="connsiteX28" fmla="*/ 76200 w 704850"/>
              <a:gd name="connsiteY28" fmla="*/ 1362075 h 1495425"/>
              <a:gd name="connsiteX29" fmla="*/ 57150 w 704850"/>
              <a:gd name="connsiteY29" fmla="*/ 1390650 h 1495425"/>
              <a:gd name="connsiteX30" fmla="*/ 47625 w 704850"/>
              <a:gd name="connsiteY30" fmla="*/ 1419225 h 1495425"/>
              <a:gd name="connsiteX31" fmla="*/ 9525 w 704850"/>
              <a:gd name="connsiteY31" fmla="*/ 1476375 h 1495425"/>
              <a:gd name="connsiteX32" fmla="*/ 0 w 704850"/>
              <a:gd name="connsiteY32" fmla="*/ 1495425 h 149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04850" h="1495425">
                <a:moveTo>
                  <a:pt x="704850" y="0"/>
                </a:moveTo>
                <a:cubicBezTo>
                  <a:pt x="695325" y="3175"/>
                  <a:pt x="683375" y="2425"/>
                  <a:pt x="676275" y="9525"/>
                </a:cubicBezTo>
                <a:cubicBezTo>
                  <a:pt x="669175" y="16625"/>
                  <a:pt x="671626" y="29323"/>
                  <a:pt x="666750" y="38100"/>
                </a:cubicBezTo>
                <a:cubicBezTo>
                  <a:pt x="655631" y="58114"/>
                  <a:pt x="635890" y="73530"/>
                  <a:pt x="628650" y="95250"/>
                </a:cubicBezTo>
                <a:cubicBezTo>
                  <a:pt x="625475" y="104775"/>
                  <a:pt x="623615" y="114845"/>
                  <a:pt x="619125" y="123825"/>
                </a:cubicBezTo>
                <a:cubicBezTo>
                  <a:pt x="599168" y="163739"/>
                  <a:pt x="604157" y="144236"/>
                  <a:pt x="571500" y="171450"/>
                </a:cubicBezTo>
                <a:cubicBezTo>
                  <a:pt x="561152" y="180074"/>
                  <a:pt x="553886" y="192195"/>
                  <a:pt x="542925" y="200025"/>
                </a:cubicBezTo>
                <a:cubicBezTo>
                  <a:pt x="531371" y="208278"/>
                  <a:pt x="516379" y="210822"/>
                  <a:pt x="504825" y="219075"/>
                </a:cubicBezTo>
                <a:cubicBezTo>
                  <a:pt x="442395" y="263668"/>
                  <a:pt x="508972" y="236743"/>
                  <a:pt x="447675" y="257175"/>
                </a:cubicBezTo>
                <a:cubicBezTo>
                  <a:pt x="438150" y="266700"/>
                  <a:pt x="427724" y="275402"/>
                  <a:pt x="419100" y="285750"/>
                </a:cubicBezTo>
                <a:cubicBezTo>
                  <a:pt x="411771" y="294544"/>
                  <a:pt x="408665" y="306787"/>
                  <a:pt x="400050" y="314325"/>
                </a:cubicBezTo>
                <a:cubicBezTo>
                  <a:pt x="369399" y="341144"/>
                  <a:pt x="339617" y="354066"/>
                  <a:pt x="304800" y="371475"/>
                </a:cubicBezTo>
                <a:cubicBezTo>
                  <a:pt x="298450" y="390525"/>
                  <a:pt x="289051" y="408818"/>
                  <a:pt x="285750" y="428625"/>
                </a:cubicBezTo>
                <a:cubicBezTo>
                  <a:pt x="282575" y="447675"/>
                  <a:pt x="280415" y="466922"/>
                  <a:pt x="276225" y="485775"/>
                </a:cubicBezTo>
                <a:cubicBezTo>
                  <a:pt x="274047" y="495576"/>
                  <a:pt x="269135" y="504610"/>
                  <a:pt x="266700" y="514350"/>
                </a:cubicBezTo>
                <a:cubicBezTo>
                  <a:pt x="262773" y="530056"/>
                  <a:pt x="260687" y="546171"/>
                  <a:pt x="257175" y="561975"/>
                </a:cubicBezTo>
                <a:cubicBezTo>
                  <a:pt x="249202" y="597855"/>
                  <a:pt x="248732" y="596829"/>
                  <a:pt x="238125" y="628650"/>
                </a:cubicBezTo>
                <a:cubicBezTo>
                  <a:pt x="234950" y="685800"/>
                  <a:pt x="240274" y="744065"/>
                  <a:pt x="228600" y="800100"/>
                </a:cubicBezTo>
                <a:cubicBezTo>
                  <a:pt x="223930" y="822514"/>
                  <a:pt x="197740" y="835530"/>
                  <a:pt x="190500" y="857250"/>
                </a:cubicBezTo>
                <a:lnTo>
                  <a:pt x="171450" y="914400"/>
                </a:lnTo>
                <a:cubicBezTo>
                  <a:pt x="185845" y="971981"/>
                  <a:pt x="176835" y="940081"/>
                  <a:pt x="200025" y="1009650"/>
                </a:cubicBezTo>
                <a:lnTo>
                  <a:pt x="209550" y="1038225"/>
                </a:lnTo>
                <a:lnTo>
                  <a:pt x="219075" y="1066800"/>
                </a:lnTo>
                <a:cubicBezTo>
                  <a:pt x="204680" y="1124381"/>
                  <a:pt x="213690" y="1092481"/>
                  <a:pt x="190500" y="1162050"/>
                </a:cubicBezTo>
                <a:cubicBezTo>
                  <a:pt x="187325" y="1171575"/>
                  <a:pt x="182944" y="1180780"/>
                  <a:pt x="180975" y="1190625"/>
                </a:cubicBezTo>
                <a:cubicBezTo>
                  <a:pt x="177800" y="1206500"/>
                  <a:pt x="178690" y="1223770"/>
                  <a:pt x="171450" y="1238250"/>
                </a:cubicBezTo>
                <a:cubicBezTo>
                  <a:pt x="157180" y="1266790"/>
                  <a:pt x="139700" y="1267883"/>
                  <a:pt x="114300" y="1276350"/>
                </a:cubicBezTo>
                <a:cubicBezTo>
                  <a:pt x="107950" y="1285875"/>
                  <a:pt x="99899" y="1294464"/>
                  <a:pt x="95250" y="1304925"/>
                </a:cubicBezTo>
                <a:cubicBezTo>
                  <a:pt x="87095" y="1323275"/>
                  <a:pt x="87339" y="1345367"/>
                  <a:pt x="76200" y="1362075"/>
                </a:cubicBezTo>
                <a:cubicBezTo>
                  <a:pt x="69850" y="1371600"/>
                  <a:pt x="62270" y="1380411"/>
                  <a:pt x="57150" y="1390650"/>
                </a:cubicBezTo>
                <a:cubicBezTo>
                  <a:pt x="52660" y="1399630"/>
                  <a:pt x="52501" y="1410448"/>
                  <a:pt x="47625" y="1419225"/>
                </a:cubicBezTo>
                <a:cubicBezTo>
                  <a:pt x="36506" y="1439239"/>
                  <a:pt x="19764" y="1455897"/>
                  <a:pt x="9525" y="1476375"/>
                </a:cubicBezTo>
                <a:lnTo>
                  <a:pt x="0" y="1495425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4" name="Rectangle 3"/>
          <p:cNvSpPr>
            <a:spLocks noChangeArrowheads="1"/>
          </p:cNvSpPr>
          <p:nvPr/>
        </p:nvSpPr>
        <p:spPr bwMode="auto">
          <a:xfrm>
            <a:off x="4100788" y="666753"/>
            <a:ext cx="4343400" cy="64633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3600">
                <a:solidFill>
                  <a:srgbClr val="009900"/>
                </a:solidFill>
                <a:latin typeface="Ponnala" pitchFamily="2" charset="0"/>
                <a:cs typeface="Ponnala" pitchFamily="2" charset="0"/>
              </a:rPr>
              <a:t>భారతదేశం - </a:t>
            </a:r>
            <a:r>
              <a:rPr lang="en-US" sz="3600">
                <a:solidFill>
                  <a:srgbClr val="0033CC"/>
                </a:solidFill>
                <a:latin typeface="Ponnala" pitchFamily="2" charset="0"/>
                <a:cs typeface="Ponnala" pitchFamily="2" charset="0"/>
              </a:rPr>
              <a:t>నదులు</a:t>
            </a:r>
            <a:endParaRPr lang="en-US" sz="8800">
              <a:solidFill>
                <a:srgbClr val="0033CC"/>
              </a:solidFill>
              <a:latin typeface="Ponnala" pitchFamily="2" charset="0"/>
              <a:cs typeface="Ponnala" pitchFamily="2" charset="0"/>
            </a:endParaRPr>
          </a:p>
        </p:txBody>
      </p:sp>
      <p:sp>
        <p:nvSpPr>
          <p:cNvPr id="117" name="Freeform 116"/>
          <p:cNvSpPr/>
          <p:nvPr/>
        </p:nvSpPr>
        <p:spPr>
          <a:xfrm>
            <a:off x="3478488" y="3028951"/>
            <a:ext cx="2374900" cy="717551"/>
          </a:xfrm>
          <a:custGeom>
            <a:avLst/>
            <a:gdLst>
              <a:gd name="connsiteX0" fmla="*/ 2374900 w 2374900"/>
              <a:gd name="connsiteY0" fmla="*/ 717550 h 717550"/>
              <a:gd name="connsiteX1" fmla="*/ 2362200 w 2374900"/>
              <a:gd name="connsiteY1" fmla="*/ 698500 h 717550"/>
              <a:gd name="connsiteX2" fmla="*/ 2254250 w 2374900"/>
              <a:gd name="connsiteY2" fmla="*/ 666750 h 717550"/>
              <a:gd name="connsiteX3" fmla="*/ 2216150 w 2374900"/>
              <a:gd name="connsiteY3" fmla="*/ 654050 h 717550"/>
              <a:gd name="connsiteX4" fmla="*/ 2203450 w 2374900"/>
              <a:gd name="connsiteY4" fmla="*/ 635000 h 717550"/>
              <a:gd name="connsiteX5" fmla="*/ 2178050 w 2374900"/>
              <a:gd name="connsiteY5" fmla="*/ 596900 h 717550"/>
              <a:gd name="connsiteX6" fmla="*/ 2146300 w 2374900"/>
              <a:gd name="connsiteY6" fmla="*/ 590550 h 717550"/>
              <a:gd name="connsiteX7" fmla="*/ 2120900 w 2374900"/>
              <a:gd name="connsiteY7" fmla="*/ 546100 h 717550"/>
              <a:gd name="connsiteX8" fmla="*/ 2108200 w 2374900"/>
              <a:gd name="connsiteY8" fmla="*/ 508000 h 717550"/>
              <a:gd name="connsiteX9" fmla="*/ 2051050 w 2374900"/>
              <a:gd name="connsiteY9" fmla="*/ 495300 h 717550"/>
              <a:gd name="connsiteX10" fmla="*/ 2038350 w 2374900"/>
              <a:gd name="connsiteY10" fmla="*/ 476250 h 717550"/>
              <a:gd name="connsiteX11" fmla="*/ 2000250 w 2374900"/>
              <a:gd name="connsiteY11" fmla="*/ 457200 h 717550"/>
              <a:gd name="connsiteX12" fmla="*/ 1962150 w 2374900"/>
              <a:gd name="connsiteY12" fmla="*/ 450850 h 717550"/>
              <a:gd name="connsiteX13" fmla="*/ 1905000 w 2374900"/>
              <a:gd name="connsiteY13" fmla="*/ 431800 h 717550"/>
              <a:gd name="connsiteX14" fmla="*/ 1885950 w 2374900"/>
              <a:gd name="connsiteY14" fmla="*/ 425450 h 717550"/>
              <a:gd name="connsiteX15" fmla="*/ 1847850 w 2374900"/>
              <a:gd name="connsiteY15" fmla="*/ 406400 h 717550"/>
              <a:gd name="connsiteX16" fmla="*/ 1803400 w 2374900"/>
              <a:gd name="connsiteY16" fmla="*/ 412750 h 717550"/>
              <a:gd name="connsiteX17" fmla="*/ 1644650 w 2374900"/>
              <a:gd name="connsiteY17" fmla="*/ 400050 h 717550"/>
              <a:gd name="connsiteX18" fmla="*/ 1606550 w 2374900"/>
              <a:gd name="connsiteY18" fmla="*/ 387350 h 717550"/>
              <a:gd name="connsiteX19" fmla="*/ 1568450 w 2374900"/>
              <a:gd name="connsiteY19" fmla="*/ 368300 h 717550"/>
              <a:gd name="connsiteX20" fmla="*/ 1530350 w 2374900"/>
              <a:gd name="connsiteY20" fmla="*/ 342900 h 717550"/>
              <a:gd name="connsiteX21" fmla="*/ 1511300 w 2374900"/>
              <a:gd name="connsiteY21" fmla="*/ 330200 h 717550"/>
              <a:gd name="connsiteX22" fmla="*/ 1492250 w 2374900"/>
              <a:gd name="connsiteY22" fmla="*/ 323850 h 717550"/>
              <a:gd name="connsiteX23" fmla="*/ 1441450 w 2374900"/>
              <a:gd name="connsiteY23" fmla="*/ 304800 h 717550"/>
              <a:gd name="connsiteX24" fmla="*/ 1377950 w 2374900"/>
              <a:gd name="connsiteY24" fmla="*/ 311150 h 717550"/>
              <a:gd name="connsiteX25" fmla="*/ 1358900 w 2374900"/>
              <a:gd name="connsiteY25" fmla="*/ 330200 h 717550"/>
              <a:gd name="connsiteX26" fmla="*/ 1346200 w 2374900"/>
              <a:gd name="connsiteY26" fmla="*/ 349250 h 717550"/>
              <a:gd name="connsiteX27" fmla="*/ 1327150 w 2374900"/>
              <a:gd name="connsiteY27" fmla="*/ 368300 h 717550"/>
              <a:gd name="connsiteX28" fmla="*/ 1314450 w 2374900"/>
              <a:gd name="connsiteY28" fmla="*/ 387350 h 717550"/>
              <a:gd name="connsiteX29" fmla="*/ 1295400 w 2374900"/>
              <a:gd name="connsiteY29" fmla="*/ 393700 h 717550"/>
              <a:gd name="connsiteX30" fmla="*/ 1200150 w 2374900"/>
              <a:gd name="connsiteY30" fmla="*/ 400050 h 717550"/>
              <a:gd name="connsiteX31" fmla="*/ 1162050 w 2374900"/>
              <a:gd name="connsiteY31" fmla="*/ 412750 h 717550"/>
              <a:gd name="connsiteX32" fmla="*/ 1123950 w 2374900"/>
              <a:gd name="connsiteY32" fmla="*/ 406400 h 717550"/>
              <a:gd name="connsiteX33" fmla="*/ 1085850 w 2374900"/>
              <a:gd name="connsiteY33" fmla="*/ 393700 h 717550"/>
              <a:gd name="connsiteX34" fmla="*/ 1066800 w 2374900"/>
              <a:gd name="connsiteY34" fmla="*/ 387350 h 717550"/>
              <a:gd name="connsiteX35" fmla="*/ 1041400 w 2374900"/>
              <a:gd name="connsiteY35" fmla="*/ 381000 h 717550"/>
              <a:gd name="connsiteX36" fmla="*/ 1009650 w 2374900"/>
              <a:gd name="connsiteY36" fmla="*/ 374650 h 717550"/>
              <a:gd name="connsiteX37" fmla="*/ 990600 w 2374900"/>
              <a:gd name="connsiteY37" fmla="*/ 368300 h 717550"/>
              <a:gd name="connsiteX38" fmla="*/ 984250 w 2374900"/>
              <a:gd name="connsiteY38" fmla="*/ 349250 h 717550"/>
              <a:gd name="connsiteX39" fmla="*/ 965200 w 2374900"/>
              <a:gd name="connsiteY39" fmla="*/ 336550 h 717550"/>
              <a:gd name="connsiteX40" fmla="*/ 914400 w 2374900"/>
              <a:gd name="connsiteY40" fmla="*/ 323850 h 717550"/>
              <a:gd name="connsiteX41" fmla="*/ 882650 w 2374900"/>
              <a:gd name="connsiteY41" fmla="*/ 330200 h 717550"/>
              <a:gd name="connsiteX42" fmla="*/ 762000 w 2374900"/>
              <a:gd name="connsiteY42" fmla="*/ 317500 h 717550"/>
              <a:gd name="connsiteX43" fmla="*/ 520700 w 2374900"/>
              <a:gd name="connsiteY43" fmla="*/ 336550 h 717550"/>
              <a:gd name="connsiteX44" fmla="*/ 501650 w 2374900"/>
              <a:gd name="connsiteY44" fmla="*/ 342900 h 717550"/>
              <a:gd name="connsiteX45" fmla="*/ 482600 w 2374900"/>
              <a:gd name="connsiteY45" fmla="*/ 355600 h 717550"/>
              <a:gd name="connsiteX46" fmla="*/ 419100 w 2374900"/>
              <a:gd name="connsiteY46" fmla="*/ 349250 h 717550"/>
              <a:gd name="connsiteX47" fmla="*/ 400050 w 2374900"/>
              <a:gd name="connsiteY47" fmla="*/ 342900 h 717550"/>
              <a:gd name="connsiteX48" fmla="*/ 374650 w 2374900"/>
              <a:gd name="connsiteY48" fmla="*/ 336550 h 717550"/>
              <a:gd name="connsiteX49" fmla="*/ 349250 w 2374900"/>
              <a:gd name="connsiteY49" fmla="*/ 323850 h 717550"/>
              <a:gd name="connsiteX50" fmla="*/ 330200 w 2374900"/>
              <a:gd name="connsiteY50" fmla="*/ 317500 h 717550"/>
              <a:gd name="connsiteX51" fmla="*/ 304800 w 2374900"/>
              <a:gd name="connsiteY51" fmla="*/ 273050 h 717550"/>
              <a:gd name="connsiteX52" fmla="*/ 298450 w 2374900"/>
              <a:gd name="connsiteY52" fmla="*/ 247650 h 717550"/>
              <a:gd name="connsiteX53" fmla="*/ 292100 w 2374900"/>
              <a:gd name="connsiteY53" fmla="*/ 215900 h 717550"/>
              <a:gd name="connsiteX54" fmla="*/ 273050 w 2374900"/>
              <a:gd name="connsiteY54" fmla="*/ 190500 h 717550"/>
              <a:gd name="connsiteX55" fmla="*/ 196850 w 2374900"/>
              <a:gd name="connsiteY55" fmla="*/ 152400 h 717550"/>
              <a:gd name="connsiteX56" fmla="*/ 171450 w 2374900"/>
              <a:gd name="connsiteY56" fmla="*/ 146050 h 717550"/>
              <a:gd name="connsiteX57" fmla="*/ 146050 w 2374900"/>
              <a:gd name="connsiteY57" fmla="*/ 133350 h 717550"/>
              <a:gd name="connsiteX58" fmla="*/ 133350 w 2374900"/>
              <a:gd name="connsiteY58" fmla="*/ 114300 h 717550"/>
              <a:gd name="connsiteX59" fmla="*/ 114300 w 2374900"/>
              <a:gd name="connsiteY59" fmla="*/ 63500 h 717550"/>
              <a:gd name="connsiteX60" fmla="*/ 57150 w 2374900"/>
              <a:gd name="connsiteY60" fmla="*/ 44450 h 717550"/>
              <a:gd name="connsiteX61" fmla="*/ 38100 w 2374900"/>
              <a:gd name="connsiteY61" fmla="*/ 38100 h 717550"/>
              <a:gd name="connsiteX62" fmla="*/ 19050 w 2374900"/>
              <a:gd name="connsiteY62" fmla="*/ 19050 h 717550"/>
              <a:gd name="connsiteX63" fmla="*/ 0 w 2374900"/>
              <a:gd name="connsiteY63" fmla="*/ 6350 h 717550"/>
              <a:gd name="connsiteX64" fmla="*/ 0 w 2374900"/>
              <a:gd name="connsiteY64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374900" h="717550">
                <a:moveTo>
                  <a:pt x="2374900" y="717550"/>
                </a:moveTo>
                <a:cubicBezTo>
                  <a:pt x="2370667" y="711200"/>
                  <a:pt x="2367943" y="703526"/>
                  <a:pt x="2362200" y="698500"/>
                </a:cubicBezTo>
                <a:cubicBezTo>
                  <a:pt x="2319939" y="661522"/>
                  <a:pt x="2315878" y="672353"/>
                  <a:pt x="2254250" y="666750"/>
                </a:cubicBezTo>
                <a:cubicBezTo>
                  <a:pt x="2241550" y="662517"/>
                  <a:pt x="2223576" y="665189"/>
                  <a:pt x="2216150" y="654050"/>
                </a:cubicBezTo>
                <a:cubicBezTo>
                  <a:pt x="2211917" y="647700"/>
                  <a:pt x="2206863" y="641826"/>
                  <a:pt x="2203450" y="635000"/>
                </a:cubicBezTo>
                <a:cubicBezTo>
                  <a:pt x="2194043" y="616185"/>
                  <a:pt x="2202125" y="608937"/>
                  <a:pt x="2178050" y="596900"/>
                </a:cubicBezTo>
                <a:cubicBezTo>
                  <a:pt x="2168397" y="592073"/>
                  <a:pt x="2156883" y="592667"/>
                  <a:pt x="2146300" y="590550"/>
                </a:cubicBezTo>
                <a:cubicBezTo>
                  <a:pt x="2115804" y="570219"/>
                  <a:pt x="2132234" y="587658"/>
                  <a:pt x="2120900" y="546100"/>
                </a:cubicBezTo>
                <a:cubicBezTo>
                  <a:pt x="2117378" y="533185"/>
                  <a:pt x="2120900" y="512233"/>
                  <a:pt x="2108200" y="508000"/>
                </a:cubicBezTo>
                <a:cubicBezTo>
                  <a:pt x="2076936" y="497579"/>
                  <a:pt x="2095752" y="502750"/>
                  <a:pt x="2051050" y="495300"/>
                </a:cubicBezTo>
                <a:cubicBezTo>
                  <a:pt x="2046817" y="488950"/>
                  <a:pt x="2043746" y="481646"/>
                  <a:pt x="2038350" y="476250"/>
                </a:cubicBezTo>
                <a:cubicBezTo>
                  <a:pt x="2028564" y="466464"/>
                  <a:pt x="2013530" y="460151"/>
                  <a:pt x="2000250" y="457200"/>
                </a:cubicBezTo>
                <a:cubicBezTo>
                  <a:pt x="1987681" y="454407"/>
                  <a:pt x="1974641" y="453973"/>
                  <a:pt x="1962150" y="450850"/>
                </a:cubicBezTo>
                <a:lnTo>
                  <a:pt x="1905000" y="431800"/>
                </a:lnTo>
                <a:cubicBezTo>
                  <a:pt x="1898650" y="429683"/>
                  <a:pt x="1891519" y="429163"/>
                  <a:pt x="1885950" y="425450"/>
                </a:cubicBezTo>
                <a:cubicBezTo>
                  <a:pt x="1861331" y="409037"/>
                  <a:pt x="1874140" y="415163"/>
                  <a:pt x="1847850" y="406400"/>
                </a:cubicBezTo>
                <a:cubicBezTo>
                  <a:pt x="1833033" y="408517"/>
                  <a:pt x="1818367" y="412750"/>
                  <a:pt x="1803400" y="412750"/>
                </a:cubicBezTo>
                <a:cubicBezTo>
                  <a:pt x="1764575" y="412750"/>
                  <a:pt x="1687903" y="404375"/>
                  <a:pt x="1644650" y="400050"/>
                </a:cubicBezTo>
                <a:cubicBezTo>
                  <a:pt x="1631950" y="395817"/>
                  <a:pt x="1617689" y="394776"/>
                  <a:pt x="1606550" y="387350"/>
                </a:cubicBezTo>
                <a:cubicBezTo>
                  <a:pt x="1581931" y="370937"/>
                  <a:pt x="1594740" y="377063"/>
                  <a:pt x="1568450" y="368300"/>
                </a:cubicBezTo>
                <a:cubicBezTo>
                  <a:pt x="1532338" y="332188"/>
                  <a:pt x="1567109" y="361280"/>
                  <a:pt x="1530350" y="342900"/>
                </a:cubicBezTo>
                <a:cubicBezTo>
                  <a:pt x="1523524" y="339487"/>
                  <a:pt x="1518126" y="333613"/>
                  <a:pt x="1511300" y="330200"/>
                </a:cubicBezTo>
                <a:cubicBezTo>
                  <a:pt x="1505313" y="327207"/>
                  <a:pt x="1498402" y="326487"/>
                  <a:pt x="1492250" y="323850"/>
                </a:cubicBezTo>
                <a:cubicBezTo>
                  <a:pt x="1445762" y="303926"/>
                  <a:pt x="1488279" y="316507"/>
                  <a:pt x="1441450" y="304800"/>
                </a:cubicBezTo>
                <a:cubicBezTo>
                  <a:pt x="1420283" y="306917"/>
                  <a:pt x="1398282" y="304894"/>
                  <a:pt x="1377950" y="311150"/>
                </a:cubicBezTo>
                <a:cubicBezTo>
                  <a:pt x="1369367" y="313791"/>
                  <a:pt x="1364649" y="323301"/>
                  <a:pt x="1358900" y="330200"/>
                </a:cubicBezTo>
                <a:cubicBezTo>
                  <a:pt x="1354014" y="336063"/>
                  <a:pt x="1351086" y="343387"/>
                  <a:pt x="1346200" y="349250"/>
                </a:cubicBezTo>
                <a:cubicBezTo>
                  <a:pt x="1340451" y="356149"/>
                  <a:pt x="1332899" y="361401"/>
                  <a:pt x="1327150" y="368300"/>
                </a:cubicBezTo>
                <a:cubicBezTo>
                  <a:pt x="1322264" y="374163"/>
                  <a:pt x="1320409" y="382582"/>
                  <a:pt x="1314450" y="387350"/>
                </a:cubicBezTo>
                <a:cubicBezTo>
                  <a:pt x="1309223" y="391531"/>
                  <a:pt x="1302053" y="392961"/>
                  <a:pt x="1295400" y="393700"/>
                </a:cubicBezTo>
                <a:cubicBezTo>
                  <a:pt x="1263774" y="397214"/>
                  <a:pt x="1231900" y="397933"/>
                  <a:pt x="1200150" y="400050"/>
                </a:cubicBezTo>
                <a:cubicBezTo>
                  <a:pt x="1187450" y="404283"/>
                  <a:pt x="1175255" y="414951"/>
                  <a:pt x="1162050" y="412750"/>
                </a:cubicBezTo>
                <a:cubicBezTo>
                  <a:pt x="1149350" y="410633"/>
                  <a:pt x="1136441" y="409523"/>
                  <a:pt x="1123950" y="406400"/>
                </a:cubicBezTo>
                <a:cubicBezTo>
                  <a:pt x="1110963" y="403153"/>
                  <a:pt x="1098550" y="397933"/>
                  <a:pt x="1085850" y="393700"/>
                </a:cubicBezTo>
                <a:cubicBezTo>
                  <a:pt x="1079500" y="391583"/>
                  <a:pt x="1073294" y="388973"/>
                  <a:pt x="1066800" y="387350"/>
                </a:cubicBezTo>
                <a:cubicBezTo>
                  <a:pt x="1058333" y="385233"/>
                  <a:pt x="1049919" y="382893"/>
                  <a:pt x="1041400" y="381000"/>
                </a:cubicBezTo>
                <a:cubicBezTo>
                  <a:pt x="1030864" y="378659"/>
                  <a:pt x="1020121" y="377268"/>
                  <a:pt x="1009650" y="374650"/>
                </a:cubicBezTo>
                <a:cubicBezTo>
                  <a:pt x="1003156" y="373027"/>
                  <a:pt x="996950" y="370417"/>
                  <a:pt x="990600" y="368300"/>
                </a:cubicBezTo>
                <a:cubicBezTo>
                  <a:pt x="988483" y="361950"/>
                  <a:pt x="988431" y="354477"/>
                  <a:pt x="984250" y="349250"/>
                </a:cubicBezTo>
                <a:cubicBezTo>
                  <a:pt x="979482" y="343291"/>
                  <a:pt x="972026" y="339963"/>
                  <a:pt x="965200" y="336550"/>
                </a:cubicBezTo>
                <a:cubicBezTo>
                  <a:pt x="952183" y="330041"/>
                  <a:pt x="926476" y="326265"/>
                  <a:pt x="914400" y="323850"/>
                </a:cubicBezTo>
                <a:cubicBezTo>
                  <a:pt x="903817" y="325967"/>
                  <a:pt x="893443" y="330200"/>
                  <a:pt x="882650" y="330200"/>
                </a:cubicBezTo>
                <a:cubicBezTo>
                  <a:pt x="794672" y="330200"/>
                  <a:pt x="809237" y="333246"/>
                  <a:pt x="762000" y="317500"/>
                </a:cubicBezTo>
                <a:cubicBezTo>
                  <a:pt x="545420" y="324268"/>
                  <a:pt x="623089" y="302420"/>
                  <a:pt x="520700" y="336550"/>
                </a:cubicBezTo>
                <a:cubicBezTo>
                  <a:pt x="514350" y="338667"/>
                  <a:pt x="507219" y="339187"/>
                  <a:pt x="501650" y="342900"/>
                </a:cubicBezTo>
                <a:lnTo>
                  <a:pt x="482600" y="355600"/>
                </a:lnTo>
                <a:cubicBezTo>
                  <a:pt x="461433" y="353483"/>
                  <a:pt x="440125" y="352485"/>
                  <a:pt x="419100" y="349250"/>
                </a:cubicBezTo>
                <a:cubicBezTo>
                  <a:pt x="412484" y="348232"/>
                  <a:pt x="406486" y="344739"/>
                  <a:pt x="400050" y="342900"/>
                </a:cubicBezTo>
                <a:cubicBezTo>
                  <a:pt x="391659" y="340502"/>
                  <a:pt x="382822" y="339614"/>
                  <a:pt x="374650" y="336550"/>
                </a:cubicBezTo>
                <a:cubicBezTo>
                  <a:pt x="365787" y="333226"/>
                  <a:pt x="357951" y="327579"/>
                  <a:pt x="349250" y="323850"/>
                </a:cubicBezTo>
                <a:cubicBezTo>
                  <a:pt x="343098" y="321213"/>
                  <a:pt x="336550" y="319617"/>
                  <a:pt x="330200" y="317500"/>
                </a:cubicBezTo>
                <a:cubicBezTo>
                  <a:pt x="310672" y="291463"/>
                  <a:pt x="312259" y="299157"/>
                  <a:pt x="304800" y="273050"/>
                </a:cubicBezTo>
                <a:cubicBezTo>
                  <a:pt x="302402" y="264659"/>
                  <a:pt x="300343" y="256169"/>
                  <a:pt x="298450" y="247650"/>
                </a:cubicBezTo>
                <a:cubicBezTo>
                  <a:pt x="296109" y="237114"/>
                  <a:pt x="296483" y="225763"/>
                  <a:pt x="292100" y="215900"/>
                </a:cubicBezTo>
                <a:cubicBezTo>
                  <a:pt x="287802" y="206229"/>
                  <a:pt x="280960" y="197531"/>
                  <a:pt x="273050" y="190500"/>
                </a:cubicBezTo>
                <a:cubicBezTo>
                  <a:pt x="248757" y="168907"/>
                  <a:pt x="227551" y="160075"/>
                  <a:pt x="196850" y="152400"/>
                </a:cubicBezTo>
                <a:cubicBezTo>
                  <a:pt x="188383" y="150283"/>
                  <a:pt x="179622" y="149114"/>
                  <a:pt x="171450" y="146050"/>
                </a:cubicBezTo>
                <a:cubicBezTo>
                  <a:pt x="162587" y="142726"/>
                  <a:pt x="154517" y="137583"/>
                  <a:pt x="146050" y="133350"/>
                </a:cubicBezTo>
                <a:cubicBezTo>
                  <a:pt x="141817" y="127000"/>
                  <a:pt x="136030" y="121446"/>
                  <a:pt x="133350" y="114300"/>
                </a:cubicBezTo>
                <a:cubicBezTo>
                  <a:pt x="127862" y="99664"/>
                  <a:pt x="131319" y="74137"/>
                  <a:pt x="114300" y="63500"/>
                </a:cubicBezTo>
                <a:lnTo>
                  <a:pt x="57150" y="44450"/>
                </a:lnTo>
                <a:lnTo>
                  <a:pt x="38100" y="38100"/>
                </a:lnTo>
                <a:cubicBezTo>
                  <a:pt x="31750" y="31750"/>
                  <a:pt x="25949" y="24799"/>
                  <a:pt x="19050" y="19050"/>
                </a:cubicBezTo>
                <a:cubicBezTo>
                  <a:pt x="13187" y="14164"/>
                  <a:pt x="5396" y="11746"/>
                  <a:pt x="0" y="6350"/>
                </a:cubicBezTo>
                <a:lnTo>
                  <a:pt x="0" y="0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8" name="Freeform 117"/>
          <p:cNvSpPr/>
          <p:nvPr/>
        </p:nvSpPr>
        <p:spPr>
          <a:xfrm>
            <a:off x="3108605" y="1936751"/>
            <a:ext cx="363537" cy="1092200"/>
          </a:xfrm>
          <a:custGeom>
            <a:avLst/>
            <a:gdLst>
              <a:gd name="connsiteX0" fmla="*/ 363282 w 363282"/>
              <a:gd name="connsiteY0" fmla="*/ 1092200 h 1092200"/>
              <a:gd name="connsiteX1" fmla="*/ 331532 w 363282"/>
              <a:gd name="connsiteY1" fmla="*/ 1085850 h 1092200"/>
              <a:gd name="connsiteX2" fmla="*/ 306132 w 363282"/>
              <a:gd name="connsiteY2" fmla="*/ 1047750 h 1092200"/>
              <a:gd name="connsiteX3" fmla="*/ 261682 w 363282"/>
              <a:gd name="connsiteY3" fmla="*/ 1022350 h 1092200"/>
              <a:gd name="connsiteX4" fmla="*/ 242632 w 363282"/>
              <a:gd name="connsiteY4" fmla="*/ 1009650 h 1092200"/>
              <a:gd name="connsiteX5" fmla="*/ 204532 w 363282"/>
              <a:gd name="connsiteY5" fmla="*/ 984250 h 1092200"/>
              <a:gd name="connsiteX6" fmla="*/ 191832 w 363282"/>
              <a:gd name="connsiteY6" fmla="*/ 958850 h 1092200"/>
              <a:gd name="connsiteX7" fmla="*/ 179132 w 363282"/>
              <a:gd name="connsiteY7" fmla="*/ 939800 h 1092200"/>
              <a:gd name="connsiteX8" fmla="*/ 147382 w 363282"/>
              <a:gd name="connsiteY8" fmla="*/ 876300 h 1092200"/>
              <a:gd name="connsiteX9" fmla="*/ 128332 w 363282"/>
              <a:gd name="connsiteY9" fmla="*/ 869950 h 1092200"/>
              <a:gd name="connsiteX10" fmla="*/ 102932 w 363282"/>
              <a:gd name="connsiteY10" fmla="*/ 831850 h 1092200"/>
              <a:gd name="connsiteX11" fmla="*/ 90232 w 363282"/>
              <a:gd name="connsiteY11" fmla="*/ 781050 h 1092200"/>
              <a:gd name="connsiteX12" fmla="*/ 83882 w 363282"/>
              <a:gd name="connsiteY12" fmla="*/ 723900 h 1092200"/>
              <a:gd name="connsiteX13" fmla="*/ 64832 w 363282"/>
              <a:gd name="connsiteY13" fmla="*/ 698500 h 1092200"/>
              <a:gd name="connsiteX14" fmla="*/ 52132 w 363282"/>
              <a:gd name="connsiteY14" fmla="*/ 679450 h 1092200"/>
              <a:gd name="connsiteX15" fmla="*/ 14032 w 363282"/>
              <a:gd name="connsiteY15" fmla="*/ 647700 h 1092200"/>
              <a:gd name="connsiteX16" fmla="*/ 1332 w 363282"/>
              <a:gd name="connsiteY16" fmla="*/ 609600 h 1092200"/>
              <a:gd name="connsiteX17" fmla="*/ 14032 w 363282"/>
              <a:gd name="connsiteY17" fmla="*/ 527050 h 1092200"/>
              <a:gd name="connsiteX18" fmla="*/ 26732 w 363282"/>
              <a:gd name="connsiteY18" fmla="*/ 508000 h 1092200"/>
              <a:gd name="connsiteX19" fmla="*/ 33082 w 363282"/>
              <a:gd name="connsiteY19" fmla="*/ 482600 h 1092200"/>
              <a:gd name="connsiteX20" fmla="*/ 33082 w 363282"/>
              <a:gd name="connsiteY20" fmla="*/ 361950 h 1092200"/>
              <a:gd name="connsiteX21" fmla="*/ 52132 w 363282"/>
              <a:gd name="connsiteY21" fmla="*/ 342900 h 1092200"/>
              <a:gd name="connsiteX22" fmla="*/ 71182 w 363282"/>
              <a:gd name="connsiteY22" fmla="*/ 234950 h 1092200"/>
              <a:gd name="connsiteX23" fmla="*/ 96582 w 363282"/>
              <a:gd name="connsiteY23" fmla="*/ 196850 h 1092200"/>
              <a:gd name="connsiteX24" fmla="*/ 160082 w 363282"/>
              <a:gd name="connsiteY24" fmla="*/ 190500 h 1092200"/>
              <a:gd name="connsiteX25" fmla="*/ 172782 w 363282"/>
              <a:gd name="connsiteY25" fmla="*/ 152400 h 1092200"/>
              <a:gd name="connsiteX26" fmla="*/ 179132 w 363282"/>
              <a:gd name="connsiteY26" fmla="*/ 133350 h 1092200"/>
              <a:gd name="connsiteX27" fmla="*/ 191832 w 363282"/>
              <a:gd name="connsiteY27" fmla="*/ 69850 h 1092200"/>
              <a:gd name="connsiteX28" fmla="*/ 204532 w 363282"/>
              <a:gd name="connsiteY28" fmla="*/ 50800 h 1092200"/>
              <a:gd name="connsiteX29" fmla="*/ 210882 w 363282"/>
              <a:gd name="connsiteY29" fmla="*/ 31750 h 1092200"/>
              <a:gd name="connsiteX30" fmla="*/ 229932 w 363282"/>
              <a:gd name="connsiteY30" fmla="*/ 0 h 109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63282" h="1092200">
                <a:moveTo>
                  <a:pt x="363282" y="1092200"/>
                </a:moveTo>
                <a:cubicBezTo>
                  <a:pt x="352699" y="1090083"/>
                  <a:pt x="341185" y="1090677"/>
                  <a:pt x="331532" y="1085850"/>
                </a:cubicBezTo>
                <a:cubicBezTo>
                  <a:pt x="301146" y="1070657"/>
                  <a:pt x="320243" y="1068917"/>
                  <a:pt x="306132" y="1047750"/>
                </a:cubicBezTo>
                <a:cubicBezTo>
                  <a:pt x="290999" y="1025051"/>
                  <a:pt x="285990" y="1028427"/>
                  <a:pt x="261682" y="1022350"/>
                </a:cubicBezTo>
                <a:cubicBezTo>
                  <a:pt x="255332" y="1018117"/>
                  <a:pt x="249458" y="1013063"/>
                  <a:pt x="242632" y="1009650"/>
                </a:cubicBezTo>
                <a:cubicBezTo>
                  <a:pt x="217836" y="997252"/>
                  <a:pt x="224594" y="1012337"/>
                  <a:pt x="204532" y="984250"/>
                </a:cubicBezTo>
                <a:cubicBezTo>
                  <a:pt x="199030" y="976547"/>
                  <a:pt x="196528" y="967069"/>
                  <a:pt x="191832" y="958850"/>
                </a:cubicBezTo>
                <a:cubicBezTo>
                  <a:pt x="188046" y="952224"/>
                  <a:pt x="182232" y="946774"/>
                  <a:pt x="179132" y="939800"/>
                </a:cubicBezTo>
                <a:cubicBezTo>
                  <a:pt x="166680" y="911784"/>
                  <a:pt x="171622" y="896500"/>
                  <a:pt x="147382" y="876300"/>
                </a:cubicBezTo>
                <a:cubicBezTo>
                  <a:pt x="142240" y="872015"/>
                  <a:pt x="134682" y="872067"/>
                  <a:pt x="128332" y="869950"/>
                </a:cubicBezTo>
                <a:cubicBezTo>
                  <a:pt x="107631" y="849249"/>
                  <a:pt x="109824" y="857122"/>
                  <a:pt x="102932" y="831850"/>
                </a:cubicBezTo>
                <a:cubicBezTo>
                  <a:pt x="98339" y="815011"/>
                  <a:pt x="90232" y="781050"/>
                  <a:pt x="90232" y="781050"/>
                </a:cubicBezTo>
                <a:cubicBezTo>
                  <a:pt x="88115" y="762000"/>
                  <a:pt x="89519" y="742220"/>
                  <a:pt x="83882" y="723900"/>
                </a:cubicBezTo>
                <a:cubicBezTo>
                  <a:pt x="80770" y="713785"/>
                  <a:pt x="70983" y="707112"/>
                  <a:pt x="64832" y="698500"/>
                </a:cubicBezTo>
                <a:cubicBezTo>
                  <a:pt x="60396" y="692290"/>
                  <a:pt x="57018" y="685313"/>
                  <a:pt x="52132" y="679450"/>
                </a:cubicBezTo>
                <a:cubicBezTo>
                  <a:pt x="36853" y="661115"/>
                  <a:pt x="32763" y="660187"/>
                  <a:pt x="14032" y="647700"/>
                </a:cubicBezTo>
                <a:cubicBezTo>
                  <a:pt x="9799" y="635000"/>
                  <a:pt x="0" y="622921"/>
                  <a:pt x="1332" y="609600"/>
                </a:cubicBezTo>
                <a:cubicBezTo>
                  <a:pt x="3153" y="591388"/>
                  <a:pt x="2590" y="549935"/>
                  <a:pt x="14032" y="527050"/>
                </a:cubicBezTo>
                <a:cubicBezTo>
                  <a:pt x="17445" y="520224"/>
                  <a:pt x="22499" y="514350"/>
                  <a:pt x="26732" y="508000"/>
                </a:cubicBezTo>
                <a:cubicBezTo>
                  <a:pt x="28849" y="499533"/>
                  <a:pt x="33082" y="491327"/>
                  <a:pt x="33082" y="482600"/>
                </a:cubicBezTo>
                <a:cubicBezTo>
                  <a:pt x="33082" y="440574"/>
                  <a:pt x="18069" y="403235"/>
                  <a:pt x="33082" y="361950"/>
                </a:cubicBezTo>
                <a:cubicBezTo>
                  <a:pt x="36151" y="353510"/>
                  <a:pt x="45782" y="349250"/>
                  <a:pt x="52132" y="342900"/>
                </a:cubicBezTo>
                <a:cubicBezTo>
                  <a:pt x="75593" y="272517"/>
                  <a:pt x="57738" y="335777"/>
                  <a:pt x="71182" y="234950"/>
                </a:cubicBezTo>
                <a:cubicBezTo>
                  <a:pt x="73630" y="216589"/>
                  <a:pt x="75301" y="201761"/>
                  <a:pt x="96582" y="196850"/>
                </a:cubicBezTo>
                <a:cubicBezTo>
                  <a:pt x="117309" y="192067"/>
                  <a:pt x="138915" y="192617"/>
                  <a:pt x="160082" y="190500"/>
                </a:cubicBezTo>
                <a:lnTo>
                  <a:pt x="172782" y="152400"/>
                </a:lnTo>
                <a:lnTo>
                  <a:pt x="179132" y="133350"/>
                </a:lnTo>
                <a:cubicBezTo>
                  <a:pt x="181472" y="116969"/>
                  <a:pt x="182966" y="87583"/>
                  <a:pt x="191832" y="69850"/>
                </a:cubicBezTo>
                <a:cubicBezTo>
                  <a:pt x="195245" y="63024"/>
                  <a:pt x="201119" y="57626"/>
                  <a:pt x="204532" y="50800"/>
                </a:cubicBezTo>
                <a:cubicBezTo>
                  <a:pt x="207525" y="44813"/>
                  <a:pt x="208245" y="37902"/>
                  <a:pt x="210882" y="31750"/>
                </a:cubicBezTo>
                <a:cubicBezTo>
                  <a:pt x="221411" y="7182"/>
                  <a:pt x="217998" y="11934"/>
                  <a:pt x="229932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1" name="Freeform 120"/>
          <p:cNvSpPr/>
          <p:nvPr/>
        </p:nvSpPr>
        <p:spPr>
          <a:xfrm>
            <a:off x="2805388" y="3105153"/>
            <a:ext cx="869950" cy="765175"/>
          </a:xfrm>
          <a:custGeom>
            <a:avLst/>
            <a:gdLst>
              <a:gd name="connsiteX0" fmla="*/ 869169 w 869169"/>
              <a:gd name="connsiteY0" fmla="*/ 34626 h 764876"/>
              <a:gd name="connsiteX1" fmla="*/ 805669 w 869169"/>
              <a:gd name="connsiteY1" fmla="*/ 21926 h 764876"/>
              <a:gd name="connsiteX2" fmla="*/ 761219 w 869169"/>
              <a:gd name="connsiteY2" fmla="*/ 2876 h 764876"/>
              <a:gd name="connsiteX3" fmla="*/ 729469 w 869169"/>
              <a:gd name="connsiteY3" fmla="*/ 9226 h 764876"/>
              <a:gd name="connsiteX4" fmla="*/ 691369 w 869169"/>
              <a:gd name="connsiteY4" fmla="*/ 21926 h 764876"/>
              <a:gd name="connsiteX5" fmla="*/ 646919 w 869169"/>
              <a:gd name="connsiteY5" fmla="*/ 28276 h 764876"/>
              <a:gd name="connsiteX6" fmla="*/ 627869 w 869169"/>
              <a:gd name="connsiteY6" fmla="*/ 34626 h 764876"/>
              <a:gd name="connsiteX7" fmla="*/ 589769 w 869169"/>
              <a:gd name="connsiteY7" fmla="*/ 40976 h 764876"/>
              <a:gd name="connsiteX8" fmla="*/ 583419 w 869169"/>
              <a:gd name="connsiteY8" fmla="*/ 60026 h 764876"/>
              <a:gd name="connsiteX9" fmla="*/ 570719 w 869169"/>
              <a:gd name="connsiteY9" fmla="*/ 79076 h 764876"/>
              <a:gd name="connsiteX10" fmla="*/ 564369 w 869169"/>
              <a:gd name="connsiteY10" fmla="*/ 98126 h 764876"/>
              <a:gd name="connsiteX11" fmla="*/ 545319 w 869169"/>
              <a:gd name="connsiteY11" fmla="*/ 104476 h 764876"/>
              <a:gd name="connsiteX12" fmla="*/ 431019 w 869169"/>
              <a:gd name="connsiteY12" fmla="*/ 110826 h 764876"/>
              <a:gd name="connsiteX13" fmla="*/ 418319 w 869169"/>
              <a:gd name="connsiteY13" fmla="*/ 129876 h 764876"/>
              <a:gd name="connsiteX14" fmla="*/ 411969 w 869169"/>
              <a:gd name="connsiteY14" fmla="*/ 148926 h 764876"/>
              <a:gd name="connsiteX15" fmla="*/ 386569 w 869169"/>
              <a:gd name="connsiteY15" fmla="*/ 155276 h 764876"/>
              <a:gd name="connsiteX16" fmla="*/ 246869 w 869169"/>
              <a:gd name="connsiteY16" fmla="*/ 161626 h 764876"/>
              <a:gd name="connsiteX17" fmla="*/ 240519 w 869169"/>
              <a:gd name="connsiteY17" fmla="*/ 180676 h 764876"/>
              <a:gd name="connsiteX18" fmla="*/ 234169 w 869169"/>
              <a:gd name="connsiteY18" fmla="*/ 250526 h 764876"/>
              <a:gd name="connsiteX19" fmla="*/ 215119 w 869169"/>
              <a:gd name="connsiteY19" fmla="*/ 256876 h 764876"/>
              <a:gd name="connsiteX20" fmla="*/ 189719 w 869169"/>
              <a:gd name="connsiteY20" fmla="*/ 263226 h 764876"/>
              <a:gd name="connsiteX21" fmla="*/ 164319 w 869169"/>
              <a:gd name="connsiteY21" fmla="*/ 275926 h 764876"/>
              <a:gd name="connsiteX22" fmla="*/ 126219 w 869169"/>
              <a:gd name="connsiteY22" fmla="*/ 288626 h 764876"/>
              <a:gd name="connsiteX23" fmla="*/ 107169 w 869169"/>
              <a:gd name="connsiteY23" fmla="*/ 307676 h 764876"/>
              <a:gd name="connsiteX24" fmla="*/ 126219 w 869169"/>
              <a:gd name="connsiteY24" fmla="*/ 402926 h 764876"/>
              <a:gd name="connsiteX25" fmla="*/ 119869 w 869169"/>
              <a:gd name="connsiteY25" fmla="*/ 434676 h 764876"/>
              <a:gd name="connsiteX26" fmla="*/ 94469 w 869169"/>
              <a:gd name="connsiteY26" fmla="*/ 447376 h 764876"/>
              <a:gd name="connsiteX27" fmla="*/ 56369 w 869169"/>
              <a:gd name="connsiteY27" fmla="*/ 466426 h 764876"/>
              <a:gd name="connsiteX28" fmla="*/ 43669 w 869169"/>
              <a:gd name="connsiteY28" fmla="*/ 504526 h 764876"/>
              <a:gd name="connsiteX29" fmla="*/ 37319 w 869169"/>
              <a:gd name="connsiteY29" fmla="*/ 523576 h 764876"/>
              <a:gd name="connsiteX30" fmla="*/ 24619 w 869169"/>
              <a:gd name="connsiteY30" fmla="*/ 587076 h 764876"/>
              <a:gd name="connsiteX31" fmla="*/ 5569 w 869169"/>
              <a:gd name="connsiteY31" fmla="*/ 625176 h 764876"/>
              <a:gd name="connsiteX32" fmla="*/ 43669 w 869169"/>
              <a:gd name="connsiteY32" fmla="*/ 656926 h 764876"/>
              <a:gd name="connsiteX33" fmla="*/ 56369 w 869169"/>
              <a:gd name="connsiteY33" fmla="*/ 675976 h 764876"/>
              <a:gd name="connsiteX34" fmla="*/ 50019 w 869169"/>
              <a:gd name="connsiteY34" fmla="*/ 714076 h 764876"/>
              <a:gd name="connsiteX35" fmla="*/ 30969 w 869169"/>
              <a:gd name="connsiteY35" fmla="*/ 733126 h 764876"/>
              <a:gd name="connsiteX36" fmla="*/ 24619 w 869169"/>
              <a:gd name="connsiteY36" fmla="*/ 764876 h 764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69169" h="764876">
                <a:moveTo>
                  <a:pt x="869169" y="34626"/>
                </a:moveTo>
                <a:cubicBezTo>
                  <a:pt x="852788" y="32286"/>
                  <a:pt x="823402" y="30792"/>
                  <a:pt x="805669" y="21926"/>
                </a:cubicBezTo>
                <a:cubicBezTo>
                  <a:pt x="761816" y="0"/>
                  <a:pt x="814082" y="16092"/>
                  <a:pt x="761219" y="2876"/>
                </a:cubicBezTo>
                <a:cubicBezTo>
                  <a:pt x="750636" y="4993"/>
                  <a:pt x="739882" y="6386"/>
                  <a:pt x="729469" y="9226"/>
                </a:cubicBezTo>
                <a:cubicBezTo>
                  <a:pt x="716554" y="12748"/>
                  <a:pt x="704621" y="20033"/>
                  <a:pt x="691369" y="21926"/>
                </a:cubicBezTo>
                <a:lnTo>
                  <a:pt x="646919" y="28276"/>
                </a:lnTo>
                <a:cubicBezTo>
                  <a:pt x="640569" y="30393"/>
                  <a:pt x="634403" y="33174"/>
                  <a:pt x="627869" y="34626"/>
                </a:cubicBezTo>
                <a:cubicBezTo>
                  <a:pt x="615300" y="37419"/>
                  <a:pt x="600948" y="34588"/>
                  <a:pt x="589769" y="40976"/>
                </a:cubicBezTo>
                <a:cubicBezTo>
                  <a:pt x="583957" y="44297"/>
                  <a:pt x="586412" y="54039"/>
                  <a:pt x="583419" y="60026"/>
                </a:cubicBezTo>
                <a:cubicBezTo>
                  <a:pt x="580006" y="66852"/>
                  <a:pt x="574132" y="72250"/>
                  <a:pt x="570719" y="79076"/>
                </a:cubicBezTo>
                <a:cubicBezTo>
                  <a:pt x="567726" y="85063"/>
                  <a:pt x="569102" y="93393"/>
                  <a:pt x="564369" y="98126"/>
                </a:cubicBezTo>
                <a:cubicBezTo>
                  <a:pt x="559636" y="102859"/>
                  <a:pt x="551982" y="103841"/>
                  <a:pt x="545319" y="104476"/>
                </a:cubicBezTo>
                <a:cubicBezTo>
                  <a:pt x="507332" y="108094"/>
                  <a:pt x="469119" y="108709"/>
                  <a:pt x="431019" y="110826"/>
                </a:cubicBezTo>
                <a:cubicBezTo>
                  <a:pt x="426786" y="117176"/>
                  <a:pt x="421732" y="123050"/>
                  <a:pt x="418319" y="129876"/>
                </a:cubicBezTo>
                <a:cubicBezTo>
                  <a:pt x="415326" y="135863"/>
                  <a:pt x="417196" y="144745"/>
                  <a:pt x="411969" y="148926"/>
                </a:cubicBezTo>
                <a:cubicBezTo>
                  <a:pt x="405154" y="154378"/>
                  <a:pt x="395271" y="154607"/>
                  <a:pt x="386569" y="155276"/>
                </a:cubicBezTo>
                <a:cubicBezTo>
                  <a:pt x="340092" y="158851"/>
                  <a:pt x="293436" y="159509"/>
                  <a:pt x="246869" y="161626"/>
                </a:cubicBezTo>
                <a:cubicBezTo>
                  <a:pt x="244752" y="167976"/>
                  <a:pt x="241466" y="174050"/>
                  <a:pt x="240519" y="180676"/>
                </a:cubicBezTo>
                <a:cubicBezTo>
                  <a:pt x="237213" y="203820"/>
                  <a:pt x="241562" y="228346"/>
                  <a:pt x="234169" y="250526"/>
                </a:cubicBezTo>
                <a:cubicBezTo>
                  <a:pt x="232052" y="256876"/>
                  <a:pt x="221555" y="255037"/>
                  <a:pt x="215119" y="256876"/>
                </a:cubicBezTo>
                <a:cubicBezTo>
                  <a:pt x="206728" y="259274"/>
                  <a:pt x="197891" y="260162"/>
                  <a:pt x="189719" y="263226"/>
                </a:cubicBezTo>
                <a:cubicBezTo>
                  <a:pt x="180856" y="266550"/>
                  <a:pt x="173108" y="272410"/>
                  <a:pt x="164319" y="275926"/>
                </a:cubicBezTo>
                <a:cubicBezTo>
                  <a:pt x="151890" y="280898"/>
                  <a:pt x="126219" y="288626"/>
                  <a:pt x="126219" y="288626"/>
                </a:cubicBezTo>
                <a:cubicBezTo>
                  <a:pt x="119869" y="294976"/>
                  <a:pt x="107766" y="298716"/>
                  <a:pt x="107169" y="307676"/>
                </a:cubicBezTo>
                <a:cubicBezTo>
                  <a:pt x="104869" y="342177"/>
                  <a:pt x="115911" y="372002"/>
                  <a:pt x="126219" y="402926"/>
                </a:cubicBezTo>
                <a:cubicBezTo>
                  <a:pt x="124102" y="413509"/>
                  <a:pt x="126142" y="425893"/>
                  <a:pt x="119869" y="434676"/>
                </a:cubicBezTo>
                <a:cubicBezTo>
                  <a:pt x="114367" y="442379"/>
                  <a:pt x="102688" y="442680"/>
                  <a:pt x="94469" y="447376"/>
                </a:cubicBezTo>
                <a:cubicBezTo>
                  <a:pt x="60002" y="467071"/>
                  <a:pt x="91296" y="454784"/>
                  <a:pt x="56369" y="466426"/>
                </a:cubicBezTo>
                <a:lnTo>
                  <a:pt x="43669" y="504526"/>
                </a:lnTo>
                <a:lnTo>
                  <a:pt x="37319" y="523576"/>
                </a:lnTo>
                <a:cubicBezTo>
                  <a:pt x="34979" y="539957"/>
                  <a:pt x="33485" y="569343"/>
                  <a:pt x="24619" y="587076"/>
                </a:cubicBezTo>
                <a:cubicBezTo>
                  <a:pt x="0" y="636315"/>
                  <a:pt x="21530" y="577293"/>
                  <a:pt x="5569" y="625176"/>
                </a:cubicBezTo>
                <a:cubicBezTo>
                  <a:pt x="24300" y="637663"/>
                  <a:pt x="28390" y="638591"/>
                  <a:pt x="43669" y="656926"/>
                </a:cubicBezTo>
                <a:cubicBezTo>
                  <a:pt x="48555" y="662789"/>
                  <a:pt x="52136" y="669626"/>
                  <a:pt x="56369" y="675976"/>
                </a:cubicBezTo>
                <a:cubicBezTo>
                  <a:pt x="54252" y="688676"/>
                  <a:pt x="55248" y="702311"/>
                  <a:pt x="50019" y="714076"/>
                </a:cubicBezTo>
                <a:cubicBezTo>
                  <a:pt x="46372" y="722282"/>
                  <a:pt x="35950" y="725654"/>
                  <a:pt x="30969" y="733126"/>
                </a:cubicBezTo>
                <a:cubicBezTo>
                  <a:pt x="23280" y="744659"/>
                  <a:pt x="24619" y="752777"/>
                  <a:pt x="24619" y="764876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2" name="Freeform 121"/>
          <p:cNvSpPr/>
          <p:nvPr/>
        </p:nvSpPr>
        <p:spPr>
          <a:xfrm>
            <a:off x="3027638" y="3178178"/>
            <a:ext cx="660400" cy="377825"/>
          </a:xfrm>
          <a:custGeom>
            <a:avLst/>
            <a:gdLst>
              <a:gd name="connsiteX0" fmla="*/ 0 w 660400"/>
              <a:gd name="connsiteY0" fmla="*/ 378388 h 378388"/>
              <a:gd name="connsiteX1" fmla="*/ 19050 w 660400"/>
              <a:gd name="connsiteY1" fmla="*/ 365688 h 378388"/>
              <a:gd name="connsiteX2" fmla="*/ 133350 w 660400"/>
              <a:gd name="connsiteY2" fmla="*/ 352988 h 378388"/>
              <a:gd name="connsiteX3" fmla="*/ 158750 w 660400"/>
              <a:gd name="connsiteY3" fmla="*/ 302188 h 378388"/>
              <a:gd name="connsiteX4" fmla="*/ 171450 w 660400"/>
              <a:gd name="connsiteY4" fmla="*/ 264088 h 378388"/>
              <a:gd name="connsiteX5" fmla="*/ 209550 w 660400"/>
              <a:gd name="connsiteY5" fmla="*/ 251388 h 378388"/>
              <a:gd name="connsiteX6" fmla="*/ 228600 w 660400"/>
              <a:gd name="connsiteY6" fmla="*/ 245038 h 378388"/>
              <a:gd name="connsiteX7" fmla="*/ 260350 w 660400"/>
              <a:gd name="connsiteY7" fmla="*/ 206938 h 378388"/>
              <a:gd name="connsiteX8" fmla="*/ 279400 w 660400"/>
              <a:gd name="connsiteY8" fmla="*/ 194238 h 378388"/>
              <a:gd name="connsiteX9" fmla="*/ 330200 w 660400"/>
              <a:gd name="connsiteY9" fmla="*/ 187888 h 378388"/>
              <a:gd name="connsiteX10" fmla="*/ 349250 w 660400"/>
              <a:gd name="connsiteY10" fmla="*/ 143438 h 378388"/>
              <a:gd name="connsiteX11" fmla="*/ 374650 w 660400"/>
              <a:gd name="connsiteY11" fmla="*/ 79938 h 378388"/>
              <a:gd name="connsiteX12" fmla="*/ 393700 w 660400"/>
              <a:gd name="connsiteY12" fmla="*/ 67238 h 378388"/>
              <a:gd name="connsiteX13" fmla="*/ 438150 w 660400"/>
              <a:gd name="connsiteY13" fmla="*/ 60888 h 378388"/>
              <a:gd name="connsiteX14" fmla="*/ 533400 w 660400"/>
              <a:gd name="connsiteY14" fmla="*/ 41838 h 378388"/>
              <a:gd name="connsiteX15" fmla="*/ 660400 w 660400"/>
              <a:gd name="connsiteY15" fmla="*/ 16438 h 37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60400" h="378388">
                <a:moveTo>
                  <a:pt x="0" y="378388"/>
                </a:moveTo>
                <a:cubicBezTo>
                  <a:pt x="6350" y="374155"/>
                  <a:pt x="12224" y="369101"/>
                  <a:pt x="19050" y="365688"/>
                </a:cubicBezTo>
                <a:cubicBezTo>
                  <a:pt x="49350" y="350538"/>
                  <a:pt x="121449" y="353781"/>
                  <a:pt x="133350" y="352988"/>
                </a:cubicBezTo>
                <a:cubicBezTo>
                  <a:pt x="163406" y="322932"/>
                  <a:pt x="146583" y="346799"/>
                  <a:pt x="158750" y="302188"/>
                </a:cubicBezTo>
                <a:cubicBezTo>
                  <a:pt x="162272" y="289273"/>
                  <a:pt x="158750" y="268321"/>
                  <a:pt x="171450" y="264088"/>
                </a:cubicBezTo>
                <a:lnTo>
                  <a:pt x="209550" y="251388"/>
                </a:lnTo>
                <a:lnTo>
                  <a:pt x="228600" y="245038"/>
                </a:lnTo>
                <a:cubicBezTo>
                  <a:pt x="241087" y="226307"/>
                  <a:pt x="242015" y="222217"/>
                  <a:pt x="260350" y="206938"/>
                </a:cubicBezTo>
                <a:cubicBezTo>
                  <a:pt x="266213" y="202052"/>
                  <a:pt x="272037" y="196246"/>
                  <a:pt x="279400" y="194238"/>
                </a:cubicBezTo>
                <a:cubicBezTo>
                  <a:pt x="295864" y="189748"/>
                  <a:pt x="313267" y="190005"/>
                  <a:pt x="330200" y="187888"/>
                </a:cubicBezTo>
                <a:cubicBezTo>
                  <a:pt x="350640" y="126567"/>
                  <a:pt x="317863" y="221905"/>
                  <a:pt x="349250" y="143438"/>
                </a:cubicBezTo>
                <a:cubicBezTo>
                  <a:pt x="354716" y="129772"/>
                  <a:pt x="363195" y="93684"/>
                  <a:pt x="374650" y="79938"/>
                </a:cubicBezTo>
                <a:cubicBezTo>
                  <a:pt x="379536" y="74075"/>
                  <a:pt x="386390" y="69431"/>
                  <a:pt x="393700" y="67238"/>
                </a:cubicBezTo>
                <a:cubicBezTo>
                  <a:pt x="408036" y="62937"/>
                  <a:pt x="423333" y="63005"/>
                  <a:pt x="438150" y="60888"/>
                </a:cubicBezTo>
                <a:cubicBezTo>
                  <a:pt x="494434" y="42127"/>
                  <a:pt x="462945" y="49666"/>
                  <a:pt x="533400" y="41838"/>
                </a:cubicBezTo>
                <a:cubicBezTo>
                  <a:pt x="596156" y="0"/>
                  <a:pt x="556236" y="16438"/>
                  <a:pt x="660400" y="16438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3" name="Freeform 122"/>
          <p:cNvSpPr/>
          <p:nvPr/>
        </p:nvSpPr>
        <p:spPr>
          <a:xfrm>
            <a:off x="3402288" y="2038349"/>
            <a:ext cx="508000" cy="1339851"/>
          </a:xfrm>
          <a:custGeom>
            <a:avLst/>
            <a:gdLst>
              <a:gd name="connsiteX0" fmla="*/ 508000 w 508000"/>
              <a:gd name="connsiteY0" fmla="*/ 1339850 h 1339850"/>
              <a:gd name="connsiteX1" fmla="*/ 501650 w 508000"/>
              <a:gd name="connsiteY1" fmla="*/ 1308100 h 1339850"/>
              <a:gd name="connsiteX2" fmla="*/ 488950 w 508000"/>
              <a:gd name="connsiteY2" fmla="*/ 1289050 h 1339850"/>
              <a:gd name="connsiteX3" fmla="*/ 482600 w 508000"/>
              <a:gd name="connsiteY3" fmla="*/ 1270000 h 1339850"/>
              <a:gd name="connsiteX4" fmla="*/ 463550 w 508000"/>
              <a:gd name="connsiteY4" fmla="*/ 1231900 h 1339850"/>
              <a:gd name="connsiteX5" fmla="*/ 450850 w 508000"/>
              <a:gd name="connsiteY5" fmla="*/ 1149350 h 1339850"/>
              <a:gd name="connsiteX6" fmla="*/ 444500 w 508000"/>
              <a:gd name="connsiteY6" fmla="*/ 1123950 h 1339850"/>
              <a:gd name="connsiteX7" fmla="*/ 406400 w 508000"/>
              <a:gd name="connsiteY7" fmla="*/ 1098550 h 1339850"/>
              <a:gd name="connsiteX8" fmla="*/ 381000 w 508000"/>
              <a:gd name="connsiteY8" fmla="*/ 1060450 h 1339850"/>
              <a:gd name="connsiteX9" fmla="*/ 361950 w 508000"/>
              <a:gd name="connsiteY9" fmla="*/ 996950 h 1339850"/>
              <a:gd name="connsiteX10" fmla="*/ 342900 w 508000"/>
              <a:gd name="connsiteY10" fmla="*/ 958850 h 1339850"/>
              <a:gd name="connsiteX11" fmla="*/ 323850 w 508000"/>
              <a:gd name="connsiteY11" fmla="*/ 952500 h 1339850"/>
              <a:gd name="connsiteX12" fmla="*/ 304800 w 508000"/>
              <a:gd name="connsiteY12" fmla="*/ 939800 h 1339850"/>
              <a:gd name="connsiteX13" fmla="*/ 279400 w 508000"/>
              <a:gd name="connsiteY13" fmla="*/ 933450 h 1339850"/>
              <a:gd name="connsiteX14" fmla="*/ 241300 w 508000"/>
              <a:gd name="connsiteY14" fmla="*/ 920750 h 1339850"/>
              <a:gd name="connsiteX15" fmla="*/ 222250 w 508000"/>
              <a:gd name="connsiteY15" fmla="*/ 914400 h 1339850"/>
              <a:gd name="connsiteX16" fmla="*/ 203200 w 508000"/>
              <a:gd name="connsiteY16" fmla="*/ 908050 h 1339850"/>
              <a:gd name="connsiteX17" fmla="*/ 190500 w 508000"/>
              <a:gd name="connsiteY17" fmla="*/ 882650 h 1339850"/>
              <a:gd name="connsiteX18" fmla="*/ 165100 w 508000"/>
              <a:gd name="connsiteY18" fmla="*/ 844550 h 1339850"/>
              <a:gd name="connsiteX19" fmla="*/ 133350 w 508000"/>
              <a:gd name="connsiteY19" fmla="*/ 787400 h 1339850"/>
              <a:gd name="connsiteX20" fmla="*/ 114300 w 508000"/>
              <a:gd name="connsiteY20" fmla="*/ 781050 h 1339850"/>
              <a:gd name="connsiteX21" fmla="*/ 69850 w 508000"/>
              <a:gd name="connsiteY21" fmla="*/ 742950 h 1339850"/>
              <a:gd name="connsiteX22" fmla="*/ 57150 w 508000"/>
              <a:gd name="connsiteY22" fmla="*/ 704850 h 1339850"/>
              <a:gd name="connsiteX23" fmla="*/ 44450 w 508000"/>
              <a:gd name="connsiteY23" fmla="*/ 660400 h 1339850"/>
              <a:gd name="connsiteX24" fmla="*/ 38100 w 508000"/>
              <a:gd name="connsiteY24" fmla="*/ 641350 h 1339850"/>
              <a:gd name="connsiteX25" fmla="*/ 31750 w 508000"/>
              <a:gd name="connsiteY25" fmla="*/ 609600 h 1339850"/>
              <a:gd name="connsiteX26" fmla="*/ 19050 w 508000"/>
              <a:gd name="connsiteY26" fmla="*/ 571500 h 1339850"/>
              <a:gd name="connsiteX27" fmla="*/ 0 w 508000"/>
              <a:gd name="connsiteY27" fmla="*/ 533400 h 1339850"/>
              <a:gd name="connsiteX28" fmla="*/ 6350 w 508000"/>
              <a:gd name="connsiteY28" fmla="*/ 495300 h 1339850"/>
              <a:gd name="connsiteX29" fmla="*/ 38100 w 508000"/>
              <a:gd name="connsiteY29" fmla="*/ 457200 h 1339850"/>
              <a:gd name="connsiteX30" fmla="*/ 50800 w 508000"/>
              <a:gd name="connsiteY30" fmla="*/ 419100 h 1339850"/>
              <a:gd name="connsiteX31" fmla="*/ 31750 w 508000"/>
              <a:gd name="connsiteY31" fmla="*/ 342900 h 1339850"/>
              <a:gd name="connsiteX32" fmla="*/ 25400 w 508000"/>
              <a:gd name="connsiteY32" fmla="*/ 323850 h 1339850"/>
              <a:gd name="connsiteX33" fmla="*/ 19050 w 508000"/>
              <a:gd name="connsiteY33" fmla="*/ 304800 h 1339850"/>
              <a:gd name="connsiteX34" fmla="*/ 25400 w 508000"/>
              <a:gd name="connsiteY34" fmla="*/ 228600 h 1339850"/>
              <a:gd name="connsiteX35" fmla="*/ 44450 w 508000"/>
              <a:gd name="connsiteY35" fmla="*/ 215900 h 1339850"/>
              <a:gd name="connsiteX36" fmla="*/ 69850 w 508000"/>
              <a:gd name="connsiteY36" fmla="*/ 177800 h 1339850"/>
              <a:gd name="connsiteX37" fmla="*/ 82550 w 508000"/>
              <a:gd name="connsiteY37" fmla="*/ 139700 h 1339850"/>
              <a:gd name="connsiteX38" fmla="*/ 88900 w 508000"/>
              <a:gd name="connsiteY38" fmla="*/ 107950 h 1339850"/>
              <a:gd name="connsiteX39" fmla="*/ 101600 w 508000"/>
              <a:gd name="connsiteY39" fmla="*/ 88900 h 1339850"/>
              <a:gd name="connsiteX40" fmla="*/ 120650 w 508000"/>
              <a:gd name="connsiteY40" fmla="*/ 82550 h 1339850"/>
              <a:gd name="connsiteX41" fmla="*/ 196850 w 508000"/>
              <a:gd name="connsiteY41" fmla="*/ 69850 h 1339850"/>
              <a:gd name="connsiteX42" fmla="*/ 222250 w 508000"/>
              <a:gd name="connsiteY42" fmla="*/ 31750 h 1339850"/>
              <a:gd name="connsiteX43" fmla="*/ 228600 w 508000"/>
              <a:gd name="connsiteY43" fmla="*/ 0 h 133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08000" h="1339850">
                <a:moveTo>
                  <a:pt x="508000" y="1339850"/>
                </a:moveTo>
                <a:cubicBezTo>
                  <a:pt x="505883" y="1329267"/>
                  <a:pt x="505440" y="1318206"/>
                  <a:pt x="501650" y="1308100"/>
                </a:cubicBezTo>
                <a:cubicBezTo>
                  <a:pt x="498970" y="1300954"/>
                  <a:pt x="492363" y="1295876"/>
                  <a:pt x="488950" y="1289050"/>
                </a:cubicBezTo>
                <a:cubicBezTo>
                  <a:pt x="485957" y="1283063"/>
                  <a:pt x="485593" y="1275987"/>
                  <a:pt x="482600" y="1270000"/>
                </a:cubicBezTo>
                <a:cubicBezTo>
                  <a:pt x="457981" y="1220761"/>
                  <a:pt x="479511" y="1279783"/>
                  <a:pt x="463550" y="1231900"/>
                </a:cubicBezTo>
                <a:cubicBezTo>
                  <a:pt x="453337" y="1129771"/>
                  <a:pt x="464933" y="1198640"/>
                  <a:pt x="450850" y="1149350"/>
                </a:cubicBezTo>
                <a:cubicBezTo>
                  <a:pt x="448452" y="1140959"/>
                  <a:pt x="450247" y="1130518"/>
                  <a:pt x="444500" y="1123950"/>
                </a:cubicBezTo>
                <a:cubicBezTo>
                  <a:pt x="434449" y="1112463"/>
                  <a:pt x="406400" y="1098550"/>
                  <a:pt x="406400" y="1098550"/>
                </a:cubicBezTo>
                <a:cubicBezTo>
                  <a:pt x="397933" y="1085850"/>
                  <a:pt x="384702" y="1075258"/>
                  <a:pt x="381000" y="1060450"/>
                </a:cubicBezTo>
                <a:cubicBezTo>
                  <a:pt x="371403" y="1022063"/>
                  <a:pt x="377410" y="1043329"/>
                  <a:pt x="361950" y="996950"/>
                </a:cubicBezTo>
                <a:cubicBezTo>
                  <a:pt x="357767" y="984401"/>
                  <a:pt x="354091" y="967802"/>
                  <a:pt x="342900" y="958850"/>
                </a:cubicBezTo>
                <a:cubicBezTo>
                  <a:pt x="337673" y="954669"/>
                  <a:pt x="329837" y="955493"/>
                  <a:pt x="323850" y="952500"/>
                </a:cubicBezTo>
                <a:cubicBezTo>
                  <a:pt x="317024" y="949087"/>
                  <a:pt x="311815" y="942806"/>
                  <a:pt x="304800" y="939800"/>
                </a:cubicBezTo>
                <a:cubicBezTo>
                  <a:pt x="296778" y="936362"/>
                  <a:pt x="287759" y="935958"/>
                  <a:pt x="279400" y="933450"/>
                </a:cubicBezTo>
                <a:cubicBezTo>
                  <a:pt x="266578" y="929603"/>
                  <a:pt x="254000" y="924983"/>
                  <a:pt x="241300" y="920750"/>
                </a:cubicBezTo>
                <a:lnTo>
                  <a:pt x="222250" y="914400"/>
                </a:lnTo>
                <a:lnTo>
                  <a:pt x="203200" y="908050"/>
                </a:lnTo>
                <a:cubicBezTo>
                  <a:pt x="198967" y="899583"/>
                  <a:pt x="195370" y="890767"/>
                  <a:pt x="190500" y="882650"/>
                </a:cubicBezTo>
                <a:cubicBezTo>
                  <a:pt x="182647" y="869562"/>
                  <a:pt x="169927" y="859030"/>
                  <a:pt x="165100" y="844550"/>
                </a:cubicBezTo>
                <a:cubicBezTo>
                  <a:pt x="155633" y="816149"/>
                  <a:pt x="157792" y="803695"/>
                  <a:pt x="133350" y="787400"/>
                </a:cubicBezTo>
                <a:cubicBezTo>
                  <a:pt x="127781" y="783687"/>
                  <a:pt x="120650" y="783167"/>
                  <a:pt x="114300" y="781050"/>
                </a:cubicBezTo>
                <a:cubicBezTo>
                  <a:pt x="105541" y="774480"/>
                  <a:pt x="76168" y="754322"/>
                  <a:pt x="69850" y="742950"/>
                </a:cubicBezTo>
                <a:cubicBezTo>
                  <a:pt x="63349" y="731248"/>
                  <a:pt x="61383" y="717550"/>
                  <a:pt x="57150" y="704850"/>
                </a:cubicBezTo>
                <a:cubicBezTo>
                  <a:pt x="41925" y="659175"/>
                  <a:pt x="60397" y="716214"/>
                  <a:pt x="44450" y="660400"/>
                </a:cubicBezTo>
                <a:cubicBezTo>
                  <a:pt x="42611" y="653964"/>
                  <a:pt x="39723" y="647844"/>
                  <a:pt x="38100" y="641350"/>
                </a:cubicBezTo>
                <a:cubicBezTo>
                  <a:pt x="35482" y="630879"/>
                  <a:pt x="34590" y="620013"/>
                  <a:pt x="31750" y="609600"/>
                </a:cubicBezTo>
                <a:cubicBezTo>
                  <a:pt x="28228" y="596685"/>
                  <a:pt x="26476" y="582639"/>
                  <a:pt x="19050" y="571500"/>
                </a:cubicBezTo>
                <a:cubicBezTo>
                  <a:pt x="2637" y="546881"/>
                  <a:pt x="8763" y="559690"/>
                  <a:pt x="0" y="533400"/>
                </a:cubicBezTo>
                <a:cubicBezTo>
                  <a:pt x="2117" y="520700"/>
                  <a:pt x="2279" y="507514"/>
                  <a:pt x="6350" y="495300"/>
                </a:cubicBezTo>
                <a:cubicBezTo>
                  <a:pt x="10770" y="482039"/>
                  <a:pt x="29258" y="466042"/>
                  <a:pt x="38100" y="457200"/>
                </a:cubicBezTo>
                <a:cubicBezTo>
                  <a:pt x="42333" y="444500"/>
                  <a:pt x="53001" y="432305"/>
                  <a:pt x="50800" y="419100"/>
                </a:cubicBezTo>
                <a:cubicBezTo>
                  <a:pt x="42249" y="367795"/>
                  <a:pt x="48521" y="393214"/>
                  <a:pt x="31750" y="342900"/>
                </a:cubicBezTo>
                <a:lnTo>
                  <a:pt x="25400" y="323850"/>
                </a:lnTo>
                <a:lnTo>
                  <a:pt x="19050" y="304800"/>
                </a:lnTo>
                <a:cubicBezTo>
                  <a:pt x="21167" y="279400"/>
                  <a:pt x="18398" y="253107"/>
                  <a:pt x="25400" y="228600"/>
                </a:cubicBezTo>
                <a:cubicBezTo>
                  <a:pt x="27497" y="221262"/>
                  <a:pt x="39424" y="221643"/>
                  <a:pt x="44450" y="215900"/>
                </a:cubicBezTo>
                <a:cubicBezTo>
                  <a:pt x="54501" y="204413"/>
                  <a:pt x="65023" y="192280"/>
                  <a:pt x="69850" y="177800"/>
                </a:cubicBezTo>
                <a:cubicBezTo>
                  <a:pt x="74083" y="165100"/>
                  <a:pt x="79925" y="152827"/>
                  <a:pt x="82550" y="139700"/>
                </a:cubicBezTo>
                <a:cubicBezTo>
                  <a:pt x="84667" y="129117"/>
                  <a:pt x="85110" y="118056"/>
                  <a:pt x="88900" y="107950"/>
                </a:cubicBezTo>
                <a:cubicBezTo>
                  <a:pt x="91580" y="100804"/>
                  <a:pt x="95641" y="93668"/>
                  <a:pt x="101600" y="88900"/>
                </a:cubicBezTo>
                <a:cubicBezTo>
                  <a:pt x="106827" y="84719"/>
                  <a:pt x="114064" y="83747"/>
                  <a:pt x="120650" y="82550"/>
                </a:cubicBezTo>
                <a:cubicBezTo>
                  <a:pt x="229660" y="62730"/>
                  <a:pt x="129554" y="86674"/>
                  <a:pt x="196850" y="69850"/>
                </a:cubicBezTo>
                <a:cubicBezTo>
                  <a:pt x="211949" y="24554"/>
                  <a:pt x="190539" y="79316"/>
                  <a:pt x="222250" y="31750"/>
                </a:cubicBezTo>
                <a:cubicBezTo>
                  <a:pt x="229939" y="20217"/>
                  <a:pt x="228600" y="12099"/>
                  <a:pt x="22860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6" name="Freeform 125"/>
          <p:cNvSpPr/>
          <p:nvPr/>
        </p:nvSpPr>
        <p:spPr>
          <a:xfrm>
            <a:off x="3541988" y="2279651"/>
            <a:ext cx="63500" cy="539751"/>
          </a:xfrm>
          <a:custGeom>
            <a:avLst/>
            <a:gdLst>
              <a:gd name="connsiteX0" fmla="*/ 6350 w 63500"/>
              <a:gd name="connsiteY0" fmla="*/ 539750 h 539750"/>
              <a:gd name="connsiteX1" fmla="*/ 12700 w 63500"/>
              <a:gd name="connsiteY1" fmla="*/ 488950 h 539750"/>
              <a:gd name="connsiteX2" fmla="*/ 0 w 63500"/>
              <a:gd name="connsiteY2" fmla="*/ 393700 h 539750"/>
              <a:gd name="connsiteX3" fmla="*/ 6350 w 63500"/>
              <a:gd name="connsiteY3" fmla="*/ 342900 h 539750"/>
              <a:gd name="connsiteX4" fmla="*/ 19050 w 63500"/>
              <a:gd name="connsiteY4" fmla="*/ 298450 h 539750"/>
              <a:gd name="connsiteX5" fmla="*/ 12700 w 63500"/>
              <a:gd name="connsiteY5" fmla="*/ 254000 h 539750"/>
              <a:gd name="connsiteX6" fmla="*/ 0 w 63500"/>
              <a:gd name="connsiteY6" fmla="*/ 215900 h 539750"/>
              <a:gd name="connsiteX7" fmla="*/ 6350 w 63500"/>
              <a:gd name="connsiteY7" fmla="*/ 88900 h 539750"/>
              <a:gd name="connsiteX8" fmla="*/ 12700 w 63500"/>
              <a:gd name="connsiteY8" fmla="*/ 69850 h 539750"/>
              <a:gd name="connsiteX9" fmla="*/ 31750 w 63500"/>
              <a:gd name="connsiteY9" fmla="*/ 57150 h 539750"/>
              <a:gd name="connsiteX10" fmla="*/ 50800 w 63500"/>
              <a:gd name="connsiteY10" fmla="*/ 38100 h 539750"/>
              <a:gd name="connsiteX11" fmla="*/ 63500 w 63500"/>
              <a:gd name="connsiteY11" fmla="*/ 0 h 53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3500" h="539750">
                <a:moveTo>
                  <a:pt x="6350" y="539750"/>
                </a:moveTo>
                <a:cubicBezTo>
                  <a:pt x="8467" y="522817"/>
                  <a:pt x="12700" y="506015"/>
                  <a:pt x="12700" y="488950"/>
                </a:cubicBezTo>
                <a:cubicBezTo>
                  <a:pt x="12700" y="451830"/>
                  <a:pt x="6755" y="427476"/>
                  <a:pt x="0" y="393700"/>
                </a:cubicBezTo>
                <a:cubicBezTo>
                  <a:pt x="2117" y="376767"/>
                  <a:pt x="3545" y="359733"/>
                  <a:pt x="6350" y="342900"/>
                </a:cubicBezTo>
                <a:cubicBezTo>
                  <a:pt x="9008" y="326953"/>
                  <a:pt x="14017" y="313549"/>
                  <a:pt x="19050" y="298450"/>
                </a:cubicBezTo>
                <a:cubicBezTo>
                  <a:pt x="16933" y="283633"/>
                  <a:pt x="16065" y="268584"/>
                  <a:pt x="12700" y="254000"/>
                </a:cubicBezTo>
                <a:cubicBezTo>
                  <a:pt x="9690" y="240956"/>
                  <a:pt x="0" y="215900"/>
                  <a:pt x="0" y="215900"/>
                </a:cubicBezTo>
                <a:cubicBezTo>
                  <a:pt x="2117" y="173567"/>
                  <a:pt x="2678" y="131127"/>
                  <a:pt x="6350" y="88900"/>
                </a:cubicBezTo>
                <a:cubicBezTo>
                  <a:pt x="6930" y="82232"/>
                  <a:pt x="8519" y="75077"/>
                  <a:pt x="12700" y="69850"/>
                </a:cubicBezTo>
                <a:cubicBezTo>
                  <a:pt x="17468" y="63891"/>
                  <a:pt x="25887" y="62036"/>
                  <a:pt x="31750" y="57150"/>
                </a:cubicBezTo>
                <a:cubicBezTo>
                  <a:pt x="38649" y="51401"/>
                  <a:pt x="44450" y="44450"/>
                  <a:pt x="50800" y="38100"/>
                </a:cubicBezTo>
                <a:cubicBezTo>
                  <a:pt x="58298" y="8108"/>
                  <a:pt x="53247" y="20506"/>
                  <a:pt x="6350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7" name="Freeform 126"/>
          <p:cNvSpPr/>
          <p:nvPr/>
        </p:nvSpPr>
        <p:spPr>
          <a:xfrm>
            <a:off x="3956326" y="2495551"/>
            <a:ext cx="506412" cy="869951"/>
          </a:xfrm>
          <a:custGeom>
            <a:avLst/>
            <a:gdLst>
              <a:gd name="connsiteX0" fmla="*/ 505784 w 505784"/>
              <a:gd name="connsiteY0" fmla="*/ 869950 h 869950"/>
              <a:gd name="connsiteX1" fmla="*/ 480384 w 505784"/>
              <a:gd name="connsiteY1" fmla="*/ 793750 h 869950"/>
              <a:gd name="connsiteX2" fmla="*/ 461334 w 505784"/>
              <a:gd name="connsiteY2" fmla="*/ 781050 h 869950"/>
              <a:gd name="connsiteX3" fmla="*/ 448634 w 505784"/>
              <a:gd name="connsiteY3" fmla="*/ 762000 h 869950"/>
              <a:gd name="connsiteX4" fmla="*/ 289884 w 505784"/>
              <a:gd name="connsiteY4" fmla="*/ 730250 h 869950"/>
              <a:gd name="connsiteX5" fmla="*/ 283534 w 505784"/>
              <a:gd name="connsiteY5" fmla="*/ 711200 h 869950"/>
              <a:gd name="connsiteX6" fmla="*/ 270834 w 505784"/>
              <a:gd name="connsiteY6" fmla="*/ 692150 h 869950"/>
              <a:gd name="connsiteX7" fmla="*/ 245434 w 505784"/>
              <a:gd name="connsiteY7" fmla="*/ 628650 h 869950"/>
              <a:gd name="connsiteX8" fmla="*/ 207334 w 505784"/>
              <a:gd name="connsiteY8" fmla="*/ 603250 h 869950"/>
              <a:gd name="connsiteX9" fmla="*/ 188284 w 505784"/>
              <a:gd name="connsiteY9" fmla="*/ 590550 h 869950"/>
              <a:gd name="connsiteX10" fmla="*/ 162884 w 505784"/>
              <a:gd name="connsiteY10" fmla="*/ 533400 h 869950"/>
              <a:gd name="connsiteX11" fmla="*/ 112084 w 505784"/>
              <a:gd name="connsiteY11" fmla="*/ 514350 h 869950"/>
              <a:gd name="connsiteX12" fmla="*/ 93034 w 505784"/>
              <a:gd name="connsiteY12" fmla="*/ 508000 h 869950"/>
              <a:gd name="connsiteX13" fmla="*/ 99384 w 505784"/>
              <a:gd name="connsiteY13" fmla="*/ 450850 h 869950"/>
              <a:gd name="connsiteX14" fmla="*/ 99384 w 505784"/>
              <a:gd name="connsiteY14" fmla="*/ 393700 h 869950"/>
              <a:gd name="connsiteX15" fmla="*/ 80334 w 505784"/>
              <a:gd name="connsiteY15" fmla="*/ 381000 h 869950"/>
              <a:gd name="connsiteX16" fmla="*/ 61284 w 505784"/>
              <a:gd name="connsiteY16" fmla="*/ 361950 h 869950"/>
              <a:gd name="connsiteX17" fmla="*/ 35884 w 505784"/>
              <a:gd name="connsiteY17" fmla="*/ 323850 h 869950"/>
              <a:gd name="connsiteX18" fmla="*/ 23184 w 505784"/>
              <a:gd name="connsiteY18" fmla="*/ 285750 h 869950"/>
              <a:gd name="connsiteX19" fmla="*/ 118434 w 505784"/>
              <a:gd name="connsiteY19" fmla="*/ 260350 h 869950"/>
              <a:gd name="connsiteX20" fmla="*/ 112084 w 505784"/>
              <a:gd name="connsiteY20" fmla="*/ 234950 h 869950"/>
              <a:gd name="connsiteX21" fmla="*/ 93034 w 505784"/>
              <a:gd name="connsiteY21" fmla="*/ 222250 h 869950"/>
              <a:gd name="connsiteX22" fmla="*/ 29534 w 505784"/>
              <a:gd name="connsiteY22" fmla="*/ 203200 h 869950"/>
              <a:gd name="connsiteX23" fmla="*/ 29534 w 505784"/>
              <a:gd name="connsiteY23" fmla="*/ 146050 h 869950"/>
              <a:gd name="connsiteX24" fmla="*/ 35884 w 505784"/>
              <a:gd name="connsiteY24" fmla="*/ 127000 h 869950"/>
              <a:gd name="connsiteX25" fmla="*/ 73984 w 505784"/>
              <a:gd name="connsiteY25" fmla="*/ 120650 h 869950"/>
              <a:gd name="connsiteX26" fmla="*/ 67634 w 505784"/>
              <a:gd name="connsiteY26" fmla="*/ 69850 h 869950"/>
              <a:gd name="connsiteX27" fmla="*/ 73984 w 505784"/>
              <a:gd name="connsiteY27" fmla="*/ 19050 h 869950"/>
              <a:gd name="connsiteX28" fmla="*/ 73984 w 505784"/>
              <a:gd name="connsiteY28" fmla="*/ 0 h 86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05784" h="869950">
                <a:moveTo>
                  <a:pt x="505784" y="869950"/>
                </a:moveTo>
                <a:cubicBezTo>
                  <a:pt x="501550" y="844548"/>
                  <a:pt x="500172" y="813538"/>
                  <a:pt x="480384" y="793750"/>
                </a:cubicBezTo>
                <a:cubicBezTo>
                  <a:pt x="474988" y="788354"/>
                  <a:pt x="467684" y="785283"/>
                  <a:pt x="461334" y="781050"/>
                </a:cubicBezTo>
                <a:cubicBezTo>
                  <a:pt x="457101" y="774700"/>
                  <a:pt x="454377" y="767026"/>
                  <a:pt x="448634" y="762000"/>
                </a:cubicBezTo>
                <a:cubicBezTo>
                  <a:pt x="395166" y="715216"/>
                  <a:pt x="377912" y="734883"/>
                  <a:pt x="289884" y="730250"/>
                </a:cubicBezTo>
                <a:cubicBezTo>
                  <a:pt x="287767" y="723900"/>
                  <a:pt x="286527" y="717187"/>
                  <a:pt x="283534" y="711200"/>
                </a:cubicBezTo>
                <a:cubicBezTo>
                  <a:pt x="280121" y="704374"/>
                  <a:pt x="273027" y="699460"/>
                  <a:pt x="270834" y="692150"/>
                </a:cubicBezTo>
                <a:cubicBezTo>
                  <a:pt x="256576" y="644622"/>
                  <a:pt x="279050" y="654796"/>
                  <a:pt x="245434" y="628650"/>
                </a:cubicBezTo>
                <a:cubicBezTo>
                  <a:pt x="233386" y="619279"/>
                  <a:pt x="220034" y="611717"/>
                  <a:pt x="207334" y="603250"/>
                </a:cubicBezTo>
                <a:lnTo>
                  <a:pt x="188284" y="590550"/>
                </a:lnTo>
                <a:cubicBezTo>
                  <a:pt x="184033" y="577797"/>
                  <a:pt x="176817" y="545011"/>
                  <a:pt x="162884" y="533400"/>
                </a:cubicBezTo>
                <a:cubicBezTo>
                  <a:pt x="147444" y="520533"/>
                  <a:pt x="130288" y="519551"/>
                  <a:pt x="112084" y="514350"/>
                </a:cubicBezTo>
                <a:cubicBezTo>
                  <a:pt x="105648" y="512511"/>
                  <a:pt x="99384" y="510117"/>
                  <a:pt x="93034" y="508000"/>
                </a:cubicBezTo>
                <a:cubicBezTo>
                  <a:pt x="95151" y="488950"/>
                  <a:pt x="96233" y="469756"/>
                  <a:pt x="99384" y="450850"/>
                </a:cubicBezTo>
                <a:cubicBezTo>
                  <a:pt x="103961" y="423389"/>
                  <a:pt x="118077" y="431086"/>
                  <a:pt x="99384" y="393700"/>
                </a:cubicBezTo>
                <a:cubicBezTo>
                  <a:pt x="95971" y="386874"/>
                  <a:pt x="86197" y="385886"/>
                  <a:pt x="80334" y="381000"/>
                </a:cubicBezTo>
                <a:cubicBezTo>
                  <a:pt x="73435" y="375251"/>
                  <a:pt x="66797" y="369039"/>
                  <a:pt x="61284" y="361950"/>
                </a:cubicBezTo>
                <a:cubicBezTo>
                  <a:pt x="51913" y="349902"/>
                  <a:pt x="40711" y="338330"/>
                  <a:pt x="35884" y="323850"/>
                </a:cubicBezTo>
                <a:lnTo>
                  <a:pt x="23184" y="285750"/>
                </a:lnTo>
                <a:cubicBezTo>
                  <a:pt x="59012" y="232009"/>
                  <a:pt x="0" y="309698"/>
                  <a:pt x="118434" y="260350"/>
                </a:cubicBezTo>
                <a:cubicBezTo>
                  <a:pt x="126490" y="256993"/>
                  <a:pt x="116925" y="242212"/>
                  <a:pt x="112084" y="234950"/>
                </a:cubicBezTo>
                <a:cubicBezTo>
                  <a:pt x="107851" y="228600"/>
                  <a:pt x="100008" y="225350"/>
                  <a:pt x="93034" y="222250"/>
                </a:cubicBezTo>
                <a:cubicBezTo>
                  <a:pt x="73157" y="213416"/>
                  <a:pt x="50644" y="208477"/>
                  <a:pt x="29534" y="203200"/>
                </a:cubicBezTo>
                <a:cubicBezTo>
                  <a:pt x="9408" y="173011"/>
                  <a:pt x="14421" y="191390"/>
                  <a:pt x="29534" y="146050"/>
                </a:cubicBezTo>
                <a:cubicBezTo>
                  <a:pt x="31651" y="139700"/>
                  <a:pt x="29282" y="128100"/>
                  <a:pt x="35884" y="127000"/>
                </a:cubicBezTo>
                <a:lnTo>
                  <a:pt x="73984" y="120650"/>
                </a:lnTo>
                <a:cubicBezTo>
                  <a:pt x="71867" y="103717"/>
                  <a:pt x="67634" y="86915"/>
                  <a:pt x="67634" y="69850"/>
                </a:cubicBezTo>
                <a:cubicBezTo>
                  <a:pt x="67634" y="52785"/>
                  <a:pt x="72439" y="36045"/>
                  <a:pt x="73984" y="19050"/>
                </a:cubicBezTo>
                <a:cubicBezTo>
                  <a:pt x="74559" y="12726"/>
                  <a:pt x="73984" y="6350"/>
                  <a:pt x="7398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8" name="Freeform 127"/>
          <p:cNvSpPr/>
          <p:nvPr/>
        </p:nvSpPr>
        <p:spPr>
          <a:xfrm>
            <a:off x="3707088" y="2368551"/>
            <a:ext cx="357188" cy="660400"/>
          </a:xfrm>
          <a:custGeom>
            <a:avLst/>
            <a:gdLst>
              <a:gd name="connsiteX0" fmla="*/ 349250 w 357533"/>
              <a:gd name="connsiteY0" fmla="*/ 654050 h 659966"/>
              <a:gd name="connsiteX1" fmla="*/ 304800 w 357533"/>
              <a:gd name="connsiteY1" fmla="*/ 622300 h 659966"/>
              <a:gd name="connsiteX2" fmla="*/ 285750 w 357533"/>
              <a:gd name="connsiteY2" fmla="*/ 615950 h 659966"/>
              <a:gd name="connsiteX3" fmla="*/ 260350 w 357533"/>
              <a:gd name="connsiteY3" fmla="*/ 596900 h 659966"/>
              <a:gd name="connsiteX4" fmla="*/ 215900 w 357533"/>
              <a:gd name="connsiteY4" fmla="*/ 571500 h 659966"/>
              <a:gd name="connsiteX5" fmla="*/ 196850 w 357533"/>
              <a:gd name="connsiteY5" fmla="*/ 546100 h 659966"/>
              <a:gd name="connsiteX6" fmla="*/ 177800 w 357533"/>
              <a:gd name="connsiteY6" fmla="*/ 527050 h 659966"/>
              <a:gd name="connsiteX7" fmla="*/ 158750 w 357533"/>
              <a:gd name="connsiteY7" fmla="*/ 482600 h 659966"/>
              <a:gd name="connsiteX8" fmla="*/ 152400 w 357533"/>
              <a:gd name="connsiteY8" fmla="*/ 463550 h 659966"/>
              <a:gd name="connsiteX9" fmla="*/ 146050 w 357533"/>
              <a:gd name="connsiteY9" fmla="*/ 438150 h 659966"/>
              <a:gd name="connsiteX10" fmla="*/ 133350 w 357533"/>
              <a:gd name="connsiteY10" fmla="*/ 419100 h 659966"/>
              <a:gd name="connsiteX11" fmla="*/ 114300 w 357533"/>
              <a:gd name="connsiteY11" fmla="*/ 381000 h 659966"/>
              <a:gd name="connsiteX12" fmla="*/ 76200 w 357533"/>
              <a:gd name="connsiteY12" fmla="*/ 355600 h 659966"/>
              <a:gd name="connsiteX13" fmla="*/ 44450 w 357533"/>
              <a:gd name="connsiteY13" fmla="*/ 317500 h 659966"/>
              <a:gd name="connsiteX14" fmla="*/ 38100 w 357533"/>
              <a:gd name="connsiteY14" fmla="*/ 298450 h 659966"/>
              <a:gd name="connsiteX15" fmla="*/ 25400 w 357533"/>
              <a:gd name="connsiteY15" fmla="*/ 184150 h 659966"/>
              <a:gd name="connsiteX16" fmla="*/ 0 w 357533"/>
              <a:gd name="connsiteY16" fmla="*/ 146050 h 659966"/>
              <a:gd name="connsiteX17" fmla="*/ 19050 w 357533"/>
              <a:gd name="connsiteY17" fmla="*/ 50800 h 659966"/>
              <a:gd name="connsiteX18" fmla="*/ 25400 w 357533"/>
              <a:gd name="connsiteY18" fmla="*/ 31750 h 659966"/>
              <a:gd name="connsiteX19" fmla="*/ 31750 w 357533"/>
              <a:gd name="connsiteY19" fmla="*/ 12700 h 659966"/>
              <a:gd name="connsiteX20" fmla="*/ 44450 w 357533"/>
              <a:gd name="connsiteY20" fmla="*/ 0 h 6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7533" h="659966">
                <a:moveTo>
                  <a:pt x="349250" y="654050"/>
                </a:moveTo>
                <a:cubicBezTo>
                  <a:pt x="306207" y="639702"/>
                  <a:pt x="357533" y="659966"/>
                  <a:pt x="304800" y="622300"/>
                </a:cubicBezTo>
                <a:cubicBezTo>
                  <a:pt x="299353" y="618409"/>
                  <a:pt x="292100" y="618067"/>
                  <a:pt x="285750" y="615950"/>
                </a:cubicBezTo>
                <a:cubicBezTo>
                  <a:pt x="277283" y="609600"/>
                  <a:pt x="269325" y="602509"/>
                  <a:pt x="260350" y="596900"/>
                </a:cubicBezTo>
                <a:cubicBezTo>
                  <a:pt x="247069" y="588599"/>
                  <a:pt x="227552" y="583152"/>
                  <a:pt x="215900" y="571500"/>
                </a:cubicBezTo>
                <a:cubicBezTo>
                  <a:pt x="208416" y="564016"/>
                  <a:pt x="203738" y="554135"/>
                  <a:pt x="196850" y="546100"/>
                </a:cubicBezTo>
                <a:cubicBezTo>
                  <a:pt x="191006" y="539282"/>
                  <a:pt x="184150" y="533400"/>
                  <a:pt x="177800" y="527050"/>
                </a:cubicBezTo>
                <a:cubicBezTo>
                  <a:pt x="162908" y="482374"/>
                  <a:pt x="182290" y="537527"/>
                  <a:pt x="158750" y="482600"/>
                </a:cubicBezTo>
                <a:cubicBezTo>
                  <a:pt x="156113" y="476448"/>
                  <a:pt x="154239" y="469986"/>
                  <a:pt x="152400" y="463550"/>
                </a:cubicBezTo>
                <a:cubicBezTo>
                  <a:pt x="150002" y="455159"/>
                  <a:pt x="149488" y="446172"/>
                  <a:pt x="146050" y="438150"/>
                </a:cubicBezTo>
                <a:cubicBezTo>
                  <a:pt x="143044" y="431135"/>
                  <a:pt x="136763" y="425926"/>
                  <a:pt x="133350" y="419100"/>
                </a:cubicBezTo>
                <a:cubicBezTo>
                  <a:pt x="124794" y="401988"/>
                  <a:pt x="130476" y="395154"/>
                  <a:pt x="114300" y="381000"/>
                </a:cubicBezTo>
                <a:cubicBezTo>
                  <a:pt x="102813" y="370949"/>
                  <a:pt x="86993" y="366393"/>
                  <a:pt x="76200" y="355600"/>
                </a:cubicBezTo>
                <a:cubicBezTo>
                  <a:pt x="62156" y="341556"/>
                  <a:pt x="53291" y="335181"/>
                  <a:pt x="44450" y="317500"/>
                </a:cubicBezTo>
                <a:cubicBezTo>
                  <a:pt x="41457" y="311513"/>
                  <a:pt x="40217" y="304800"/>
                  <a:pt x="38100" y="298450"/>
                </a:cubicBezTo>
                <a:cubicBezTo>
                  <a:pt x="33867" y="260350"/>
                  <a:pt x="34697" y="221340"/>
                  <a:pt x="25400" y="184150"/>
                </a:cubicBezTo>
                <a:cubicBezTo>
                  <a:pt x="21698" y="169342"/>
                  <a:pt x="0" y="146050"/>
                  <a:pt x="0" y="146050"/>
                </a:cubicBezTo>
                <a:cubicBezTo>
                  <a:pt x="7828" y="75595"/>
                  <a:pt x="289" y="107084"/>
                  <a:pt x="19050" y="50800"/>
                </a:cubicBezTo>
                <a:lnTo>
                  <a:pt x="25400" y="31750"/>
                </a:lnTo>
                <a:cubicBezTo>
                  <a:pt x="27517" y="25400"/>
                  <a:pt x="27017" y="17433"/>
                  <a:pt x="31750" y="12700"/>
                </a:cubicBezTo>
                <a:lnTo>
                  <a:pt x="44450" y="0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1" name="Freeform 130"/>
          <p:cNvSpPr/>
          <p:nvPr/>
        </p:nvSpPr>
        <p:spPr>
          <a:xfrm>
            <a:off x="4088088" y="3397251"/>
            <a:ext cx="952500" cy="419100"/>
          </a:xfrm>
          <a:custGeom>
            <a:avLst/>
            <a:gdLst>
              <a:gd name="connsiteX0" fmla="*/ 952500 w 952500"/>
              <a:gd name="connsiteY0" fmla="*/ 0 h 419572"/>
              <a:gd name="connsiteX1" fmla="*/ 889000 w 952500"/>
              <a:gd name="connsiteY1" fmla="*/ 19050 h 419572"/>
              <a:gd name="connsiteX2" fmla="*/ 863600 w 952500"/>
              <a:gd name="connsiteY2" fmla="*/ 57150 h 419572"/>
              <a:gd name="connsiteX3" fmla="*/ 850900 w 952500"/>
              <a:gd name="connsiteY3" fmla="*/ 76200 h 419572"/>
              <a:gd name="connsiteX4" fmla="*/ 844550 w 952500"/>
              <a:gd name="connsiteY4" fmla="*/ 95250 h 419572"/>
              <a:gd name="connsiteX5" fmla="*/ 825500 w 952500"/>
              <a:gd name="connsiteY5" fmla="*/ 107950 h 419572"/>
              <a:gd name="connsiteX6" fmla="*/ 800100 w 952500"/>
              <a:gd name="connsiteY6" fmla="*/ 146050 h 419572"/>
              <a:gd name="connsiteX7" fmla="*/ 787400 w 952500"/>
              <a:gd name="connsiteY7" fmla="*/ 165100 h 419572"/>
              <a:gd name="connsiteX8" fmla="*/ 774700 w 952500"/>
              <a:gd name="connsiteY8" fmla="*/ 184150 h 419572"/>
              <a:gd name="connsiteX9" fmla="*/ 755650 w 952500"/>
              <a:gd name="connsiteY9" fmla="*/ 203200 h 419572"/>
              <a:gd name="connsiteX10" fmla="*/ 717550 w 952500"/>
              <a:gd name="connsiteY10" fmla="*/ 222250 h 419572"/>
              <a:gd name="connsiteX11" fmla="*/ 565150 w 952500"/>
              <a:gd name="connsiteY11" fmla="*/ 228600 h 419572"/>
              <a:gd name="connsiteX12" fmla="*/ 546100 w 952500"/>
              <a:gd name="connsiteY12" fmla="*/ 241300 h 419572"/>
              <a:gd name="connsiteX13" fmla="*/ 520700 w 952500"/>
              <a:gd name="connsiteY13" fmla="*/ 285750 h 419572"/>
              <a:gd name="connsiteX14" fmla="*/ 488950 w 952500"/>
              <a:gd name="connsiteY14" fmla="*/ 336550 h 419572"/>
              <a:gd name="connsiteX15" fmla="*/ 361950 w 952500"/>
              <a:gd name="connsiteY15" fmla="*/ 342900 h 419572"/>
              <a:gd name="connsiteX16" fmla="*/ 336550 w 952500"/>
              <a:gd name="connsiteY16" fmla="*/ 381000 h 419572"/>
              <a:gd name="connsiteX17" fmla="*/ 184150 w 952500"/>
              <a:gd name="connsiteY17" fmla="*/ 400050 h 419572"/>
              <a:gd name="connsiteX18" fmla="*/ 146050 w 952500"/>
              <a:gd name="connsiteY18" fmla="*/ 412750 h 419572"/>
              <a:gd name="connsiteX19" fmla="*/ 127000 w 952500"/>
              <a:gd name="connsiteY19" fmla="*/ 419100 h 419572"/>
              <a:gd name="connsiteX20" fmla="*/ 50800 w 952500"/>
              <a:gd name="connsiteY20" fmla="*/ 412750 h 419572"/>
              <a:gd name="connsiteX21" fmla="*/ 12700 w 952500"/>
              <a:gd name="connsiteY21" fmla="*/ 387350 h 419572"/>
              <a:gd name="connsiteX22" fmla="*/ 0 w 952500"/>
              <a:gd name="connsiteY22" fmla="*/ 381000 h 419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952500" h="419572">
                <a:moveTo>
                  <a:pt x="952500" y="0"/>
                </a:moveTo>
                <a:cubicBezTo>
                  <a:pt x="929916" y="3226"/>
                  <a:pt x="905502" y="191"/>
                  <a:pt x="889000" y="19050"/>
                </a:cubicBezTo>
                <a:cubicBezTo>
                  <a:pt x="878949" y="30537"/>
                  <a:pt x="872067" y="44450"/>
                  <a:pt x="863600" y="57150"/>
                </a:cubicBezTo>
                <a:cubicBezTo>
                  <a:pt x="859367" y="63500"/>
                  <a:pt x="853313" y="68960"/>
                  <a:pt x="850900" y="76200"/>
                </a:cubicBezTo>
                <a:cubicBezTo>
                  <a:pt x="848783" y="82550"/>
                  <a:pt x="848731" y="90023"/>
                  <a:pt x="844550" y="95250"/>
                </a:cubicBezTo>
                <a:cubicBezTo>
                  <a:pt x="839782" y="101209"/>
                  <a:pt x="831850" y="103717"/>
                  <a:pt x="825500" y="107950"/>
                </a:cubicBezTo>
                <a:lnTo>
                  <a:pt x="800100" y="146050"/>
                </a:lnTo>
                <a:lnTo>
                  <a:pt x="787400" y="165100"/>
                </a:lnTo>
                <a:cubicBezTo>
                  <a:pt x="783167" y="171450"/>
                  <a:pt x="780096" y="178754"/>
                  <a:pt x="774700" y="184150"/>
                </a:cubicBezTo>
                <a:cubicBezTo>
                  <a:pt x="768350" y="190500"/>
                  <a:pt x="762549" y="197451"/>
                  <a:pt x="755650" y="203200"/>
                </a:cubicBezTo>
                <a:cubicBezTo>
                  <a:pt x="746670" y="210683"/>
                  <a:pt x="730123" y="221319"/>
                  <a:pt x="717550" y="222250"/>
                </a:cubicBezTo>
                <a:cubicBezTo>
                  <a:pt x="666845" y="226006"/>
                  <a:pt x="615950" y="226483"/>
                  <a:pt x="565150" y="228600"/>
                </a:cubicBezTo>
                <a:cubicBezTo>
                  <a:pt x="558800" y="232833"/>
                  <a:pt x="551496" y="235904"/>
                  <a:pt x="546100" y="241300"/>
                </a:cubicBezTo>
                <a:cubicBezTo>
                  <a:pt x="538463" y="248937"/>
                  <a:pt x="524020" y="277449"/>
                  <a:pt x="520700" y="285750"/>
                </a:cubicBezTo>
                <a:cubicBezTo>
                  <a:pt x="514381" y="301547"/>
                  <a:pt x="514125" y="333266"/>
                  <a:pt x="488950" y="336550"/>
                </a:cubicBezTo>
                <a:cubicBezTo>
                  <a:pt x="446920" y="342032"/>
                  <a:pt x="404283" y="340783"/>
                  <a:pt x="361950" y="342900"/>
                </a:cubicBezTo>
                <a:cubicBezTo>
                  <a:pt x="353483" y="355600"/>
                  <a:pt x="351030" y="376173"/>
                  <a:pt x="336550" y="381000"/>
                </a:cubicBezTo>
                <a:cubicBezTo>
                  <a:pt x="262249" y="405767"/>
                  <a:pt x="311816" y="392957"/>
                  <a:pt x="184150" y="400050"/>
                </a:cubicBezTo>
                <a:lnTo>
                  <a:pt x="146050" y="412750"/>
                </a:lnTo>
                <a:lnTo>
                  <a:pt x="127000" y="419100"/>
                </a:lnTo>
                <a:cubicBezTo>
                  <a:pt x="101600" y="416983"/>
                  <a:pt x="75358" y="419572"/>
                  <a:pt x="50800" y="412750"/>
                </a:cubicBezTo>
                <a:cubicBezTo>
                  <a:pt x="36093" y="408665"/>
                  <a:pt x="26352" y="394176"/>
                  <a:pt x="12700" y="387350"/>
                </a:cubicBezTo>
                <a:lnTo>
                  <a:pt x="0" y="381000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3" name="Freeform 142"/>
          <p:cNvSpPr/>
          <p:nvPr/>
        </p:nvSpPr>
        <p:spPr>
          <a:xfrm>
            <a:off x="3419755" y="3363913"/>
            <a:ext cx="452437" cy="341312"/>
          </a:xfrm>
          <a:custGeom>
            <a:avLst/>
            <a:gdLst>
              <a:gd name="connsiteX0" fmla="*/ 453198 w 453198"/>
              <a:gd name="connsiteY0" fmla="*/ 8045 h 342065"/>
              <a:gd name="connsiteX1" fmla="*/ 364298 w 453198"/>
              <a:gd name="connsiteY1" fmla="*/ 27095 h 342065"/>
              <a:gd name="connsiteX2" fmla="*/ 345248 w 453198"/>
              <a:gd name="connsiteY2" fmla="*/ 33445 h 342065"/>
              <a:gd name="connsiteX3" fmla="*/ 307148 w 453198"/>
              <a:gd name="connsiteY3" fmla="*/ 58845 h 342065"/>
              <a:gd name="connsiteX4" fmla="*/ 294448 w 453198"/>
              <a:gd name="connsiteY4" fmla="*/ 84245 h 342065"/>
              <a:gd name="connsiteX5" fmla="*/ 281748 w 453198"/>
              <a:gd name="connsiteY5" fmla="*/ 122345 h 342065"/>
              <a:gd name="connsiteX6" fmla="*/ 262698 w 453198"/>
              <a:gd name="connsiteY6" fmla="*/ 128695 h 342065"/>
              <a:gd name="connsiteX7" fmla="*/ 199198 w 453198"/>
              <a:gd name="connsiteY7" fmla="*/ 192195 h 342065"/>
              <a:gd name="connsiteX8" fmla="*/ 180148 w 453198"/>
              <a:gd name="connsiteY8" fmla="*/ 204895 h 342065"/>
              <a:gd name="connsiteX9" fmla="*/ 167448 w 453198"/>
              <a:gd name="connsiteY9" fmla="*/ 255695 h 342065"/>
              <a:gd name="connsiteX10" fmla="*/ 161098 w 453198"/>
              <a:gd name="connsiteY10" fmla="*/ 274745 h 342065"/>
              <a:gd name="connsiteX11" fmla="*/ 142048 w 453198"/>
              <a:gd name="connsiteY11" fmla="*/ 293795 h 342065"/>
              <a:gd name="connsiteX12" fmla="*/ 46798 w 453198"/>
              <a:gd name="connsiteY12" fmla="*/ 319195 h 342065"/>
              <a:gd name="connsiteX13" fmla="*/ 27748 w 453198"/>
              <a:gd name="connsiteY13" fmla="*/ 325545 h 342065"/>
              <a:gd name="connsiteX14" fmla="*/ 2348 w 453198"/>
              <a:gd name="connsiteY14" fmla="*/ 338245 h 342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3198" h="342065">
                <a:moveTo>
                  <a:pt x="453198" y="8045"/>
                </a:moveTo>
                <a:cubicBezTo>
                  <a:pt x="327694" y="19454"/>
                  <a:pt x="418487" y="0"/>
                  <a:pt x="364298" y="27095"/>
                </a:cubicBezTo>
                <a:cubicBezTo>
                  <a:pt x="358311" y="30088"/>
                  <a:pt x="351099" y="30194"/>
                  <a:pt x="345248" y="33445"/>
                </a:cubicBezTo>
                <a:cubicBezTo>
                  <a:pt x="331905" y="40858"/>
                  <a:pt x="307148" y="58845"/>
                  <a:pt x="307148" y="58845"/>
                </a:cubicBezTo>
                <a:cubicBezTo>
                  <a:pt x="302915" y="67312"/>
                  <a:pt x="297964" y="75456"/>
                  <a:pt x="294448" y="84245"/>
                </a:cubicBezTo>
                <a:cubicBezTo>
                  <a:pt x="289476" y="96674"/>
                  <a:pt x="294448" y="118112"/>
                  <a:pt x="281748" y="122345"/>
                </a:cubicBezTo>
                <a:lnTo>
                  <a:pt x="262698" y="128695"/>
                </a:lnTo>
                <a:cubicBezTo>
                  <a:pt x="228831" y="179495"/>
                  <a:pt x="249998" y="158328"/>
                  <a:pt x="199198" y="192195"/>
                </a:cubicBezTo>
                <a:lnTo>
                  <a:pt x="180148" y="204895"/>
                </a:lnTo>
                <a:cubicBezTo>
                  <a:pt x="165633" y="248441"/>
                  <a:pt x="182773" y="194393"/>
                  <a:pt x="167448" y="255695"/>
                </a:cubicBezTo>
                <a:cubicBezTo>
                  <a:pt x="165825" y="262189"/>
                  <a:pt x="164811" y="269176"/>
                  <a:pt x="161098" y="274745"/>
                </a:cubicBezTo>
                <a:cubicBezTo>
                  <a:pt x="156117" y="282217"/>
                  <a:pt x="148398" y="287445"/>
                  <a:pt x="142048" y="293795"/>
                </a:cubicBezTo>
                <a:cubicBezTo>
                  <a:pt x="125958" y="342065"/>
                  <a:pt x="143907" y="307770"/>
                  <a:pt x="46798" y="319195"/>
                </a:cubicBezTo>
                <a:cubicBezTo>
                  <a:pt x="40150" y="319977"/>
                  <a:pt x="33735" y="322552"/>
                  <a:pt x="27748" y="325545"/>
                </a:cubicBezTo>
                <a:cubicBezTo>
                  <a:pt x="0" y="339419"/>
                  <a:pt x="18254" y="338245"/>
                  <a:pt x="2348" y="33824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4" name="Rectangle 2"/>
          <p:cNvSpPr>
            <a:spLocks noChangeArrowheads="1"/>
          </p:cNvSpPr>
          <p:nvPr/>
        </p:nvSpPr>
        <p:spPr bwMode="auto">
          <a:xfrm>
            <a:off x="4426229" y="3409949"/>
            <a:ext cx="514885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ోన్</a:t>
            </a:r>
          </a:p>
        </p:txBody>
      </p:sp>
      <p:sp>
        <p:nvSpPr>
          <p:cNvPr id="145" name="Rectangle 22"/>
          <p:cNvSpPr>
            <a:spLocks noChangeArrowheads="1"/>
          </p:cNvSpPr>
          <p:nvPr/>
        </p:nvSpPr>
        <p:spPr bwMode="auto">
          <a:xfrm>
            <a:off x="4557988" y="2724150"/>
            <a:ext cx="609600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/>
            <a:r>
              <a:rPr lang="en-US" sz="16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ోసి </a:t>
            </a:r>
          </a:p>
        </p:txBody>
      </p:sp>
      <p:sp>
        <p:nvSpPr>
          <p:cNvPr id="146" name="Freeform 145"/>
          <p:cNvSpPr/>
          <p:nvPr/>
        </p:nvSpPr>
        <p:spPr>
          <a:xfrm>
            <a:off x="4500842" y="2336801"/>
            <a:ext cx="346075" cy="1031875"/>
          </a:xfrm>
          <a:custGeom>
            <a:avLst/>
            <a:gdLst>
              <a:gd name="connsiteX0" fmla="*/ 68239 w 345510"/>
              <a:gd name="connsiteY0" fmla="*/ 0 h 1032493"/>
              <a:gd name="connsiteX1" fmla="*/ 27296 w 345510"/>
              <a:gd name="connsiteY1" fmla="*/ 40943 h 1032493"/>
              <a:gd name="connsiteX2" fmla="*/ 0 w 345510"/>
              <a:gd name="connsiteY2" fmla="*/ 122830 h 1032493"/>
              <a:gd name="connsiteX3" fmla="*/ 13648 w 345510"/>
              <a:gd name="connsiteY3" fmla="*/ 245659 h 1032493"/>
              <a:gd name="connsiteX4" fmla="*/ 27296 w 345510"/>
              <a:gd name="connsiteY4" fmla="*/ 382137 h 1032493"/>
              <a:gd name="connsiteX5" fmla="*/ 68239 w 345510"/>
              <a:gd name="connsiteY5" fmla="*/ 409433 h 1032493"/>
              <a:gd name="connsiteX6" fmla="*/ 81887 w 345510"/>
              <a:gd name="connsiteY6" fmla="*/ 545910 h 1032493"/>
              <a:gd name="connsiteX7" fmla="*/ 122830 w 345510"/>
              <a:gd name="connsiteY7" fmla="*/ 573206 h 1032493"/>
              <a:gd name="connsiteX8" fmla="*/ 150126 w 345510"/>
              <a:gd name="connsiteY8" fmla="*/ 614149 h 1032493"/>
              <a:gd name="connsiteX9" fmla="*/ 150126 w 345510"/>
              <a:gd name="connsiteY9" fmla="*/ 818865 h 1032493"/>
              <a:gd name="connsiteX10" fmla="*/ 177421 w 345510"/>
              <a:gd name="connsiteY10" fmla="*/ 859809 h 1032493"/>
              <a:gd name="connsiteX11" fmla="*/ 191069 w 345510"/>
              <a:gd name="connsiteY11" fmla="*/ 914400 h 1032493"/>
              <a:gd name="connsiteX12" fmla="*/ 272956 w 345510"/>
              <a:gd name="connsiteY12" fmla="*/ 955343 h 1032493"/>
              <a:gd name="connsiteX13" fmla="*/ 300251 w 345510"/>
              <a:gd name="connsiteY13" fmla="*/ 996286 h 1032493"/>
              <a:gd name="connsiteX14" fmla="*/ 341194 w 345510"/>
              <a:gd name="connsiteY14" fmla="*/ 1023582 h 1032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510" h="1032493">
                <a:moveTo>
                  <a:pt x="68239" y="0"/>
                </a:moveTo>
                <a:cubicBezTo>
                  <a:pt x="54591" y="13648"/>
                  <a:pt x="36669" y="24071"/>
                  <a:pt x="27296" y="40943"/>
                </a:cubicBezTo>
                <a:cubicBezTo>
                  <a:pt x="13323" y="66094"/>
                  <a:pt x="0" y="122830"/>
                  <a:pt x="0" y="122830"/>
                </a:cubicBezTo>
                <a:cubicBezTo>
                  <a:pt x="4549" y="163773"/>
                  <a:pt x="9335" y="204690"/>
                  <a:pt x="13648" y="245659"/>
                </a:cubicBezTo>
                <a:cubicBezTo>
                  <a:pt x="18434" y="291127"/>
                  <a:pt x="12838" y="338764"/>
                  <a:pt x="27296" y="382137"/>
                </a:cubicBezTo>
                <a:cubicBezTo>
                  <a:pt x="32483" y="397698"/>
                  <a:pt x="54591" y="400334"/>
                  <a:pt x="68239" y="409433"/>
                </a:cubicBezTo>
                <a:cubicBezTo>
                  <a:pt x="72788" y="454925"/>
                  <a:pt x="67429" y="502537"/>
                  <a:pt x="81887" y="545910"/>
                </a:cubicBezTo>
                <a:cubicBezTo>
                  <a:pt x="87074" y="561471"/>
                  <a:pt x="111232" y="561608"/>
                  <a:pt x="122830" y="573206"/>
                </a:cubicBezTo>
                <a:cubicBezTo>
                  <a:pt x="134428" y="584804"/>
                  <a:pt x="141027" y="600501"/>
                  <a:pt x="150126" y="614149"/>
                </a:cubicBezTo>
                <a:cubicBezTo>
                  <a:pt x="128477" y="700744"/>
                  <a:pt x="123566" y="694916"/>
                  <a:pt x="150126" y="818865"/>
                </a:cubicBezTo>
                <a:cubicBezTo>
                  <a:pt x="153563" y="834904"/>
                  <a:pt x="168323" y="846161"/>
                  <a:pt x="177421" y="859809"/>
                </a:cubicBezTo>
                <a:cubicBezTo>
                  <a:pt x="181970" y="878006"/>
                  <a:pt x="180664" y="898793"/>
                  <a:pt x="191069" y="914400"/>
                </a:cubicBezTo>
                <a:cubicBezTo>
                  <a:pt x="206187" y="937077"/>
                  <a:pt x="249601" y="947558"/>
                  <a:pt x="272956" y="955343"/>
                </a:cubicBezTo>
                <a:cubicBezTo>
                  <a:pt x="282054" y="968991"/>
                  <a:pt x="287443" y="986039"/>
                  <a:pt x="300251" y="996286"/>
                </a:cubicBezTo>
                <a:cubicBezTo>
                  <a:pt x="345510" y="1032493"/>
                  <a:pt x="341194" y="988869"/>
                  <a:pt x="341194" y="1023582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7" name="Rectangle 23"/>
          <p:cNvSpPr>
            <a:spLocks noChangeArrowheads="1"/>
          </p:cNvSpPr>
          <p:nvPr/>
        </p:nvSpPr>
        <p:spPr bwMode="auto">
          <a:xfrm rot="16679400">
            <a:off x="4200526" y="2285180"/>
            <a:ext cx="793071" cy="215688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spcFirstLastPara="1" wrap="none" anchor="ctr">
            <a:prstTxWarp prst="textArchUp">
              <a:avLst/>
            </a:prstTxWarp>
            <a:spAutoFit/>
          </a:bodyPr>
          <a:lstStyle/>
          <a:p>
            <a:pPr>
              <a:defRPr/>
            </a:pPr>
            <a:r>
              <a:rPr lang="en-US" sz="1600" dirty="0" err="1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ండక్</a:t>
            </a:r>
            <a:r>
              <a:rPr lang="en-US" sz="1600" dirty="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600" dirty="0" err="1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ది</a:t>
            </a:r>
            <a:endParaRPr lang="en-US" sz="1600" dirty="0">
              <a:solidFill>
                <a:srgbClr val="008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48" name="Rectangle 24"/>
          <p:cNvSpPr>
            <a:spLocks noChangeArrowheads="1"/>
          </p:cNvSpPr>
          <p:nvPr/>
        </p:nvSpPr>
        <p:spPr bwMode="auto">
          <a:xfrm rot="1043970">
            <a:off x="3975376" y="2972079"/>
            <a:ext cx="1204912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>
                <a:solidFill>
                  <a:srgbClr val="FF00FF"/>
                </a:solidFill>
                <a:latin typeface="Ponnala" pitchFamily="2" charset="0"/>
                <a:cs typeface="Ponnala" pitchFamily="2" charset="0"/>
              </a:rPr>
              <a:t>గంగా నది </a:t>
            </a:r>
          </a:p>
        </p:txBody>
      </p:sp>
      <p:sp>
        <p:nvSpPr>
          <p:cNvPr id="149" name="Rectangle 25"/>
          <p:cNvSpPr>
            <a:spLocks noChangeArrowheads="1"/>
          </p:cNvSpPr>
          <p:nvPr/>
        </p:nvSpPr>
        <p:spPr bwMode="auto">
          <a:xfrm rot="19930894">
            <a:off x="2616204" y="3008105"/>
            <a:ext cx="679994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ంబల్</a:t>
            </a:r>
          </a:p>
        </p:txBody>
      </p:sp>
      <p:sp>
        <p:nvSpPr>
          <p:cNvPr id="150" name="Rectangle 26"/>
          <p:cNvSpPr>
            <a:spLocks noChangeArrowheads="1"/>
          </p:cNvSpPr>
          <p:nvPr/>
        </p:nvSpPr>
        <p:spPr bwMode="auto">
          <a:xfrm rot="16200000">
            <a:off x="2431557" y="2122716"/>
            <a:ext cx="1176991" cy="27692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spcFirstLastPara="1" wrap="none" anchor="ctr">
            <a:prstTxWarp prst="textArchUp">
              <a:avLst/>
            </a:prstTxWarp>
            <a:spAutoFit/>
          </a:bodyPr>
          <a:lstStyle/>
          <a:p>
            <a:pPr>
              <a:defRPr/>
            </a:pPr>
            <a:r>
              <a:rPr lang="en-US" sz="1600" dirty="0" err="1">
                <a:solidFill>
                  <a:srgbClr val="0070C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యమునా</a:t>
            </a:r>
            <a:r>
              <a:rPr lang="en-US" sz="1600" dirty="0">
                <a:solidFill>
                  <a:srgbClr val="0070C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600" dirty="0" err="1">
                <a:solidFill>
                  <a:srgbClr val="0070C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ది</a:t>
            </a:r>
            <a:endParaRPr lang="en-US" sz="1600" dirty="0">
              <a:solidFill>
                <a:srgbClr val="0070C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51" name="Freeform 150"/>
          <p:cNvSpPr/>
          <p:nvPr/>
        </p:nvSpPr>
        <p:spPr>
          <a:xfrm>
            <a:off x="2910167" y="1943102"/>
            <a:ext cx="504825" cy="1098551"/>
          </a:xfrm>
          <a:custGeom>
            <a:avLst/>
            <a:gdLst>
              <a:gd name="connsiteX0" fmla="*/ 104775 w 504825"/>
              <a:gd name="connsiteY0" fmla="*/ 0 h 1098017"/>
              <a:gd name="connsiteX1" fmla="*/ 95250 w 504825"/>
              <a:gd name="connsiteY1" fmla="*/ 57150 h 1098017"/>
              <a:gd name="connsiteX2" fmla="*/ 66675 w 504825"/>
              <a:gd name="connsiteY2" fmla="*/ 123825 h 1098017"/>
              <a:gd name="connsiteX3" fmla="*/ 28575 w 504825"/>
              <a:gd name="connsiteY3" fmla="*/ 180975 h 1098017"/>
              <a:gd name="connsiteX4" fmla="*/ 9525 w 504825"/>
              <a:gd name="connsiteY4" fmla="*/ 209550 h 1098017"/>
              <a:gd name="connsiteX5" fmla="*/ 0 w 504825"/>
              <a:gd name="connsiteY5" fmla="*/ 238125 h 1098017"/>
              <a:gd name="connsiteX6" fmla="*/ 9525 w 504825"/>
              <a:gd name="connsiteY6" fmla="*/ 723900 h 1098017"/>
              <a:gd name="connsiteX7" fmla="*/ 28575 w 504825"/>
              <a:gd name="connsiteY7" fmla="*/ 781050 h 1098017"/>
              <a:gd name="connsiteX8" fmla="*/ 38100 w 504825"/>
              <a:gd name="connsiteY8" fmla="*/ 809625 h 1098017"/>
              <a:gd name="connsiteX9" fmla="*/ 47625 w 504825"/>
              <a:gd name="connsiteY9" fmla="*/ 838200 h 1098017"/>
              <a:gd name="connsiteX10" fmla="*/ 95250 w 504825"/>
              <a:gd name="connsiteY10" fmla="*/ 857250 h 1098017"/>
              <a:gd name="connsiteX11" fmla="*/ 152400 w 504825"/>
              <a:gd name="connsiteY11" fmla="*/ 885825 h 1098017"/>
              <a:gd name="connsiteX12" fmla="*/ 209550 w 504825"/>
              <a:gd name="connsiteY12" fmla="*/ 933450 h 1098017"/>
              <a:gd name="connsiteX13" fmla="*/ 266700 w 504825"/>
              <a:gd name="connsiteY13" fmla="*/ 952500 h 1098017"/>
              <a:gd name="connsiteX14" fmla="*/ 295275 w 504825"/>
              <a:gd name="connsiteY14" fmla="*/ 962025 h 1098017"/>
              <a:gd name="connsiteX15" fmla="*/ 323850 w 504825"/>
              <a:gd name="connsiteY15" fmla="*/ 990600 h 1098017"/>
              <a:gd name="connsiteX16" fmla="*/ 381000 w 504825"/>
              <a:gd name="connsiteY16" fmla="*/ 1009650 h 1098017"/>
              <a:gd name="connsiteX17" fmla="*/ 409575 w 504825"/>
              <a:gd name="connsiteY17" fmla="*/ 1038225 h 1098017"/>
              <a:gd name="connsiteX18" fmla="*/ 447675 w 504825"/>
              <a:gd name="connsiteY18" fmla="*/ 1047750 h 1098017"/>
              <a:gd name="connsiteX19" fmla="*/ 476250 w 504825"/>
              <a:gd name="connsiteY19" fmla="*/ 1066800 h 1098017"/>
              <a:gd name="connsiteX20" fmla="*/ 504825 w 504825"/>
              <a:gd name="connsiteY20" fmla="*/ 1095375 h 109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4825" h="1098017">
                <a:moveTo>
                  <a:pt x="104775" y="0"/>
                </a:moveTo>
                <a:cubicBezTo>
                  <a:pt x="101600" y="19050"/>
                  <a:pt x="99440" y="38297"/>
                  <a:pt x="95250" y="57150"/>
                </a:cubicBezTo>
                <a:cubicBezTo>
                  <a:pt x="90613" y="78017"/>
                  <a:pt x="76953" y="106696"/>
                  <a:pt x="66675" y="123825"/>
                </a:cubicBezTo>
                <a:cubicBezTo>
                  <a:pt x="54895" y="143458"/>
                  <a:pt x="41275" y="161925"/>
                  <a:pt x="28575" y="180975"/>
                </a:cubicBezTo>
                <a:cubicBezTo>
                  <a:pt x="22225" y="190500"/>
                  <a:pt x="13145" y="198690"/>
                  <a:pt x="9525" y="209550"/>
                </a:cubicBezTo>
                <a:lnTo>
                  <a:pt x="0" y="238125"/>
                </a:lnTo>
                <a:cubicBezTo>
                  <a:pt x="3175" y="400050"/>
                  <a:pt x="1013" y="562168"/>
                  <a:pt x="9525" y="723900"/>
                </a:cubicBezTo>
                <a:cubicBezTo>
                  <a:pt x="10580" y="743953"/>
                  <a:pt x="22225" y="762000"/>
                  <a:pt x="28575" y="781050"/>
                </a:cubicBezTo>
                <a:lnTo>
                  <a:pt x="38100" y="809625"/>
                </a:lnTo>
                <a:cubicBezTo>
                  <a:pt x="41275" y="819150"/>
                  <a:pt x="38303" y="834471"/>
                  <a:pt x="47625" y="838200"/>
                </a:cubicBezTo>
                <a:cubicBezTo>
                  <a:pt x="63500" y="844550"/>
                  <a:pt x="79241" y="851247"/>
                  <a:pt x="95250" y="857250"/>
                </a:cubicBezTo>
                <a:cubicBezTo>
                  <a:pt x="126492" y="868966"/>
                  <a:pt x="124812" y="862835"/>
                  <a:pt x="152400" y="885825"/>
                </a:cubicBezTo>
                <a:cubicBezTo>
                  <a:pt x="178035" y="907188"/>
                  <a:pt x="179144" y="919936"/>
                  <a:pt x="209550" y="933450"/>
                </a:cubicBezTo>
                <a:cubicBezTo>
                  <a:pt x="227900" y="941605"/>
                  <a:pt x="247650" y="946150"/>
                  <a:pt x="266700" y="952500"/>
                </a:cubicBezTo>
                <a:lnTo>
                  <a:pt x="295275" y="962025"/>
                </a:lnTo>
                <a:cubicBezTo>
                  <a:pt x="304800" y="971550"/>
                  <a:pt x="312075" y="984058"/>
                  <a:pt x="323850" y="990600"/>
                </a:cubicBezTo>
                <a:cubicBezTo>
                  <a:pt x="341403" y="1000352"/>
                  <a:pt x="381000" y="1009650"/>
                  <a:pt x="381000" y="1009650"/>
                </a:cubicBezTo>
                <a:cubicBezTo>
                  <a:pt x="390525" y="1019175"/>
                  <a:pt x="397879" y="1031542"/>
                  <a:pt x="409575" y="1038225"/>
                </a:cubicBezTo>
                <a:cubicBezTo>
                  <a:pt x="420941" y="1044720"/>
                  <a:pt x="435643" y="1042593"/>
                  <a:pt x="447675" y="1047750"/>
                </a:cubicBezTo>
                <a:cubicBezTo>
                  <a:pt x="458197" y="1052259"/>
                  <a:pt x="466725" y="1060450"/>
                  <a:pt x="476250" y="1066800"/>
                </a:cubicBezTo>
                <a:cubicBezTo>
                  <a:pt x="497061" y="1098017"/>
                  <a:pt x="483852" y="1095375"/>
                  <a:pt x="504825" y="109537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2" name="Rectangle 2"/>
          <p:cNvSpPr>
            <a:spLocks noChangeArrowheads="1"/>
          </p:cNvSpPr>
          <p:nvPr/>
        </p:nvSpPr>
        <p:spPr bwMode="auto">
          <a:xfrm rot="16863691">
            <a:off x="3090230" y="1962736"/>
            <a:ext cx="647934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శారదా</a:t>
            </a:r>
          </a:p>
        </p:txBody>
      </p:sp>
      <p:sp>
        <p:nvSpPr>
          <p:cNvPr id="153" name="Rectangle 2"/>
          <p:cNvSpPr>
            <a:spLocks noChangeArrowheads="1"/>
          </p:cNvSpPr>
          <p:nvPr/>
        </p:nvSpPr>
        <p:spPr bwMode="auto">
          <a:xfrm>
            <a:off x="3491191" y="2114550"/>
            <a:ext cx="514885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ాగ్రా</a:t>
            </a:r>
          </a:p>
        </p:txBody>
      </p:sp>
      <p:sp>
        <p:nvSpPr>
          <p:cNvPr id="154" name="Rectangle 2"/>
          <p:cNvSpPr>
            <a:spLocks noChangeArrowheads="1"/>
          </p:cNvSpPr>
          <p:nvPr/>
        </p:nvSpPr>
        <p:spPr bwMode="auto">
          <a:xfrm rot="3622772">
            <a:off x="3380571" y="2615200"/>
            <a:ext cx="683200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ోమతి‘</a:t>
            </a:r>
          </a:p>
        </p:txBody>
      </p:sp>
      <p:sp>
        <p:nvSpPr>
          <p:cNvPr id="155" name="Freeform 154"/>
          <p:cNvSpPr/>
          <p:nvPr/>
        </p:nvSpPr>
        <p:spPr>
          <a:xfrm>
            <a:off x="4805638" y="2551115"/>
            <a:ext cx="361950" cy="125412"/>
          </a:xfrm>
          <a:custGeom>
            <a:avLst/>
            <a:gdLst>
              <a:gd name="connsiteX0" fmla="*/ 0 w 361950"/>
              <a:gd name="connsiteY0" fmla="*/ 39665 h 125390"/>
              <a:gd name="connsiteX1" fmla="*/ 28575 w 361950"/>
              <a:gd name="connsiteY1" fmla="*/ 30140 h 125390"/>
              <a:gd name="connsiteX2" fmla="*/ 66675 w 361950"/>
              <a:gd name="connsiteY2" fmla="*/ 20615 h 125390"/>
              <a:gd name="connsiteX3" fmla="*/ 123825 w 361950"/>
              <a:gd name="connsiteY3" fmla="*/ 1565 h 125390"/>
              <a:gd name="connsiteX4" fmla="*/ 228600 w 361950"/>
              <a:gd name="connsiteY4" fmla="*/ 11090 h 125390"/>
              <a:gd name="connsiteX5" fmla="*/ 238125 w 361950"/>
              <a:gd name="connsiteY5" fmla="*/ 39665 h 125390"/>
              <a:gd name="connsiteX6" fmla="*/ 295275 w 361950"/>
              <a:gd name="connsiteY6" fmla="*/ 77765 h 125390"/>
              <a:gd name="connsiteX7" fmla="*/ 323850 w 361950"/>
              <a:gd name="connsiteY7" fmla="*/ 96815 h 125390"/>
              <a:gd name="connsiteX8" fmla="*/ 361950 w 361950"/>
              <a:gd name="connsiteY8" fmla="*/ 125390 h 12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1950" h="125390">
                <a:moveTo>
                  <a:pt x="0" y="39665"/>
                </a:moveTo>
                <a:cubicBezTo>
                  <a:pt x="9525" y="36490"/>
                  <a:pt x="18921" y="32898"/>
                  <a:pt x="28575" y="30140"/>
                </a:cubicBezTo>
                <a:cubicBezTo>
                  <a:pt x="41162" y="26544"/>
                  <a:pt x="54136" y="24377"/>
                  <a:pt x="66675" y="20615"/>
                </a:cubicBezTo>
                <a:cubicBezTo>
                  <a:pt x="85909" y="14845"/>
                  <a:pt x="123825" y="1565"/>
                  <a:pt x="123825" y="1565"/>
                </a:cubicBezTo>
                <a:cubicBezTo>
                  <a:pt x="158750" y="4740"/>
                  <a:pt x="195331" y="0"/>
                  <a:pt x="228600" y="11090"/>
                </a:cubicBezTo>
                <a:cubicBezTo>
                  <a:pt x="238125" y="14265"/>
                  <a:pt x="231025" y="32565"/>
                  <a:pt x="238125" y="39665"/>
                </a:cubicBezTo>
                <a:cubicBezTo>
                  <a:pt x="254314" y="55854"/>
                  <a:pt x="276225" y="65065"/>
                  <a:pt x="295275" y="77765"/>
                </a:cubicBezTo>
                <a:lnTo>
                  <a:pt x="323850" y="96815"/>
                </a:lnTo>
                <a:cubicBezTo>
                  <a:pt x="356161" y="118356"/>
                  <a:pt x="344330" y="107770"/>
                  <a:pt x="361950" y="12539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6" name="Freeform 155"/>
          <p:cNvSpPr/>
          <p:nvPr/>
        </p:nvSpPr>
        <p:spPr>
          <a:xfrm>
            <a:off x="5091392" y="2647953"/>
            <a:ext cx="85725" cy="790575"/>
          </a:xfrm>
          <a:custGeom>
            <a:avLst/>
            <a:gdLst>
              <a:gd name="connsiteX0" fmla="*/ 47625 w 85725"/>
              <a:gd name="connsiteY0" fmla="*/ 0 h 790575"/>
              <a:gd name="connsiteX1" fmla="*/ 85725 w 85725"/>
              <a:gd name="connsiteY1" fmla="*/ 47625 h 790575"/>
              <a:gd name="connsiteX2" fmla="*/ 66675 w 85725"/>
              <a:gd name="connsiteY2" fmla="*/ 171450 h 790575"/>
              <a:gd name="connsiteX3" fmla="*/ 57150 w 85725"/>
              <a:gd name="connsiteY3" fmla="*/ 219075 h 790575"/>
              <a:gd name="connsiteX4" fmla="*/ 47625 w 85725"/>
              <a:gd name="connsiteY4" fmla="*/ 247650 h 790575"/>
              <a:gd name="connsiteX5" fmla="*/ 38100 w 85725"/>
              <a:gd name="connsiteY5" fmla="*/ 285750 h 790575"/>
              <a:gd name="connsiteX6" fmla="*/ 47625 w 85725"/>
              <a:gd name="connsiteY6" fmla="*/ 352425 h 790575"/>
              <a:gd name="connsiteX7" fmla="*/ 57150 w 85725"/>
              <a:gd name="connsiteY7" fmla="*/ 381000 h 790575"/>
              <a:gd name="connsiteX8" fmla="*/ 38100 w 85725"/>
              <a:gd name="connsiteY8" fmla="*/ 485775 h 790575"/>
              <a:gd name="connsiteX9" fmla="*/ 28575 w 85725"/>
              <a:gd name="connsiteY9" fmla="*/ 619125 h 790575"/>
              <a:gd name="connsiteX10" fmla="*/ 19050 w 85725"/>
              <a:gd name="connsiteY10" fmla="*/ 647700 h 790575"/>
              <a:gd name="connsiteX11" fmla="*/ 0 w 85725"/>
              <a:gd name="connsiteY11" fmla="*/ 723900 h 790575"/>
              <a:gd name="connsiteX12" fmla="*/ 28575 w 85725"/>
              <a:gd name="connsiteY12" fmla="*/ 790575 h 790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725" h="790575">
                <a:moveTo>
                  <a:pt x="47625" y="0"/>
                </a:moveTo>
                <a:cubicBezTo>
                  <a:pt x="79446" y="10607"/>
                  <a:pt x="85725" y="3771"/>
                  <a:pt x="85725" y="47625"/>
                </a:cubicBezTo>
                <a:cubicBezTo>
                  <a:pt x="85725" y="173108"/>
                  <a:pt x="82979" y="106235"/>
                  <a:pt x="66675" y="171450"/>
                </a:cubicBezTo>
                <a:cubicBezTo>
                  <a:pt x="62748" y="187156"/>
                  <a:pt x="61077" y="203369"/>
                  <a:pt x="57150" y="219075"/>
                </a:cubicBezTo>
                <a:cubicBezTo>
                  <a:pt x="54715" y="228815"/>
                  <a:pt x="50383" y="237996"/>
                  <a:pt x="47625" y="247650"/>
                </a:cubicBezTo>
                <a:cubicBezTo>
                  <a:pt x="44029" y="260237"/>
                  <a:pt x="41275" y="273050"/>
                  <a:pt x="38100" y="285750"/>
                </a:cubicBezTo>
                <a:cubicBezTo>
                  <a:pt x="41275" y="307975"/>
                  <a:pt x="43222" y="330410"/>
                  <a:pt x="47625" y="352425"/>
                </a:cubicBezTo>
                <a:cubicBezTo>
                  <a:pt x="49594" y="362270"/>
                  <a:pt x="57150" y="370960"/>
                  <a:pt x="57150" y="381000"/>
                </a:cubicBezTo>
                <a:cubicBezTo>
                  <a:pt x="57150" y="434852"/>
                  <a:pt x="51495" y="445589"/>
                  <a:pt x="38100" y="485775"/>
                </a:cubicBezTo>
                <a:cubicBezTo>
                  <a:pt x="34925" y="530225"/>
                  <a:pt x="33782" y="574867"/>
                  <a:pt x="28575" y="619125"/>
                </a:cubicBezTo>
                <a:cubicBezTo>
                  <a:pt x="27402" y="629096"/>
                  <a:pt x="21485" y="637960"/>
                  <a:pt x="19050" y="647700"/>
                </a:cubicBezTo>
                <a:lnTo>
                  <a:pt x="0" y="723900"/>
                </a:lnTo>
                <a:cubicBezTo>
                  <a:pt x="20470" y="785310"/>
                  <a:pt x="4851" y="766851"/>
                  <a:pt x="28575" y="79057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7" name="Rectangle 2"/>
          <p:cNvSpPr>
            <a:spLocks noChangeArrowheads="1"/>
          </p:cNvSpPr>
          <p:nvPr/>
        </p:nvSpPr>
        <p:spPr bwMode="auto">
          <a:xfrm rot="18526272">
            <a:off x="2805146" y="3257342"/>
            <a:ext cx="510076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ేత్వ</a:t>
            </a:r>
          </a:p>
        </p:txBody>
      </p:sp>
      <p:sp>
        <p:nvSpPr>
          <p:cNvPr id="158" name="Rectangle 2"/>
          <p:cNvSpPr>
            <a:spLocks noChangeArrowheads="1"/>
          </p:cNvSpPr>
          <p:nvPr/>
        </p:nvSpPr>
        <p:spPr bwMode="auto">
          <a:xfrm>
            <a:off x="3186389" y="3409949"/>
            <a:ext cx="404278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ెన్</a:t>
            </a:r>
          </a:p>
        </p:txBody>
      </p:sp>
      <p:sp>
        <p:nvSpPr>
          <p:cNvPr id="159" name="Rectangle 2"/>
          <p:cNvSpPr>
            <a:spLocks noChangeArrowheads="1"/>
          </p:cNvSpPr>
          <p:nvPr/>
        </p:nvSpPr>
        <p:spPr bwMode="auto">
          <a:xfrm rot="5757384">
            <a:off x="2599579" y="2226262"/>
            <a:ext cx="835485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ంగంగా</a:t>
            </a:r>
          </a:p>
        </p:txBody>
      </p:sp>
      <p:sp>
        <p:nvSpPr>
          <p:cNvPr id="160" name="Freeform 159"/>
          <p:cNvSpPr/>
          <p:nvPr/>
        </p:nvSpPr>
        <p:spPr>
          <a:xfrm>
            <a:off x="5824813" y="3714752"/>
            <a:ext cx="228600" cy="752475"/>
          </a:xfrm>
          <a:custGeom>
            <a:avLst/>
            <a:gdLst>
              <a:gd name="connsiteX0" fmla="*/ 0 w 228600"/>
              <a:gd name="connsiteY0" fmla="*/ 0 h 752475"/>
              <a:gd name="connsiteX1" fmla="*/ 19050 w 228600"/>
              <a:gd name="connsiteY1" fmla="*/ 28575 h 752475"/>
              <a:gd name="connsiteX2" fmla="*/ 47625 w 228600"/>
              <a:gd name="connsiteY2" fmla="*/ 47625 h 752475"/>
              <a:gd name="connsiteX3" fmla="*/ 66675 w 228600"/>
              <a:gd name="connsiteY3" fmla="*/ 104775 h 752475"/>
              <a:gd name="connsiteX4" fmla="*/ 104775 w 228600"/>
              <a:gd name="connsiteY4" fmla="*/ 161925 h 752475"/>
              <a:gd name="connsiteX5" fmla="*/ 152400 w 228600"/>
              <a:gd name="connsiteY5" fmla="*/ 228600 h 752475"/>
              <a:gd name="connsiteX6" fmla="*/ 161925 w 228600"/>
              <a:gd name="connsiteY6" fmla="*/ 257175 h 752475"/>
              <a:gd name="connsiteX7" fmla="*/ 180975 w 228600"/>
              <a:gd name="connsiteY7" fmla="*/ 285750 h 752475"/>
              <a:gd name="connsiteX8" fmla="*/ 200025 w 228600"/>
              <a:gd name="connsiteY8" fmla="*/ 342900 h 752475"/>
              <a:gd name="connsiteX9" fmla="*/ 228600 w 228600"/>
              <a:gd name="connsiteY9" fmla="*/ 400050 h 752475"/>
              <a:gd name="connsiteX10" fmla="*/ 200025 w 228600"/>
              <a:gd name="connsiteY10" fmla="*/ 495300 h 752475"/>
              <a:gd name="connsiteX11" fmla="*/ 190500 w 228600"/>
              <a:gd name="connsiteY11" fmla="*/ 523875 h 752475"/>
              <a:gd name="connsiteX12" fmla="*/ 171450 w 228600"/>
              <a:gd name="connsiteY12" fmla="*/ 552450 h 752475"/>
              <a:gd name="connsiteX13" fmla="*/ 152400 w 228600"/>
              <a:gd name="connsiteY13" fmla="*/ 609600 h 752475"/>
              <a:gd name="connsiteX14" fmla="*/ 161925 w 228600"/>
              <a:gd name="connsiteY14" fmla="*/ 695325 h 752475"/>
              <a:gd name="connsiteX15" fmla="*/ 180975 w 228600"/>
              <a:gd name="connsiteY15" fmla="*/ 752475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752475">
                <a:moveTo>
                  <a:pt x="0" y="0"/>
                </a:moveTo>
                <a:cubicBezTo>
                  <a:pt x="6350" y="9525"/>
                  <a:pt x="10955" y="20480"/>
                  <a:pt x="19050" y="28575"/>
                </a:cubicBezTo>
                <a:cubicBezTo>
                  <a:pt x="27145" y="36670"/>
                  <a:pt x="41558" y="37917"/>
                  <a:pt x="47625" y="47625"/>
                </a:cubicBezTo>
                <a:cubicBezTo>
                  <a:pt x="58268" y="64653"/>
                  <a:pt x="55536" y="88067"/>
                  <a:pt x="66675" y="104775"/>
                </a:cubicBezTo>
                <a:cubicBezTo>
                  <a:pt x="79375" y="123825"/>
                  <a:pt x="91038" y="143609"/>
                  <a:pt x="104775" y="161925"/>
                </a:cubicBezTo>
                <a:cubicBezTo>
                  <a:pt x="111247" y="170554"/>
                  <a:pt x="145436" y="214672"/>
                  <a:pt x="152400" y="228600"/>
                </a:cubicBezTo>
                <a:cubicBezTo>
                  <a:pt x="156890" y="237580"/>
                  <a:pt x="157435" y="248195"/>
                  <a:pt x="161925" y="257175"/>
                </a:cubicBezTo>
                <a:cubicBezTo>
                  <a:pt x="167045" y="267414"/>
                  <a:pt x="176326" y="275289"/>
                  <a:pt x="180975" y="285750"/>
                </a:cubicBezTo>
                <a:cubicBezTo>
                  <a:pt x="189130" y="304100"/>
                  <a:pt x="188886" y="326192"/>
                  <a:pt x="200025" y="342900"/>
                </a:cubicBezTo>
                <a:cubicBezTo>
                  <a:pt x="224644" y="379829"/>
                  <a:pt x="215455" y="360615"/>
                  <a:pt x="228600" y="400050"/>
                </a:cubicBezTo>
                <a:cubicBezTo>
                  <a:pt x="214205" y="457631"/>
                  <a:pt x="223215" y="425731"/>
                  <a:pt x="200025" y="495300"/>
                </a:cubicBezTo>
                <a:cubicBezTo>
                  <a:pt x="196850" y="504825"/>
                  <a:pt x="196069" y="515521"/>
                  <a:pt x="190500" y="523875"/>
                </a:cubicBezTo>
                <a:cubicBezTo>
                  <a:pt x="184150" y="533400"/>
                  <a:pt x="176099" y="541989"/>
                  <a:pt x="171450" y="552450"/>
                </a:cubicBezTo>
                <a:cubicBezTo>
                  <a:pt x="163295" y="570800"/>
                  <a:pt x="152400" y="609600"/>
                  <a:pt x="152400" y="609600"/>
                </a:cubicBezTo>
                <a:cubicBezTo>
                  <a:pt x="155575" y="638175"/>
                  <a:pt x="156286" y="667132"/>
                  <a:pt x="161925" y="695325"/>
                </a:cubicBezTo>
                <a:cubicBezTo>
                  <a:pt x="165863" y="715016"/>
                  <a:pt x="180975" y="752475"/>
                  <a:pt x="180975" y="75247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1" name="Freeform 160"/>
          <p:cNvSpPr/>
          <p:nvPr/>
        </p:nvSpPr>
        <p:spPr>
          <a:xfrm>
            <a:off x="5972455" y="4064002"/>
            <a:ext cx="115887" cy="260351"/>
          </a:xfrm>
          <a:custGeom>
            <a:avLst/>
            <a:gdLst>
              <a:gd name="connsiteX0" fmla="*/ 1706 w 116006"/>
              <a:gd name="connsiteY0" fmla="*/ 260350 h 260350"/>
              <a:gd name="connsiteX1" fmla="*/ 8056 w 116006"/>
              <a:gd name="connsiteY1" fmla="*/ 234950 h 260350"/>
              <a:gd name="connsiteX2" fmla="*/ 84256 w 116006"/>
              <a:gd name="connsiteY2" fmla="*/ 209550 h 260350"/>
              <a:gd name="connsiteX3" fmla="*/ 84256 w 116006"/>
              <a:gd name="connsiteY3" fmla="*/ 139700 h 260350"/>
              <a:gd name="connsiteX4" fmla="*/ 109656 w 116006"/>
              <a:gd name="connsiteY4" fmla="*/ 133350 h 260350"/>
              <a:gd name="connsiteX5" fmla="*/ 116006 w 116006"/>
              <a:gd name="connsiteY5" fmla="*/ 114300 h 260350"/>
              <a:gd name="connsiteX6" fmla="*/ 90606 w 116006"/>
              <a:gd name="connsiteY6" fmla="*/ 76200 h 260350"/>
              <a:gd name="connsiteX7" fmla="*/ 103306 w 116006"/>
              <a:gd name="connsiteY7" fmla="*/ 19050 h 260350"/>
              <a:gd name="connsiteX8" fmla="*/ 116006 w 116006"/>
              <a:gd name="connsiteY8" fmla="*/ 0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006" h="260350">
                <a:moveTo>
                  <a:pt x="1706" y="260350"/>
                </a:moveTo>
                <a:cubicBezTo>
                  <a:pt x="3823" y="251883"/>
                  <a:pt x="0" y="238307"/>
                  <a:pt x="8056" y="234950"/>
                </a:cubicBezTo>
                <a:cubicBezTo>
                  <a:pt x="94221" y="199048"/>
                  <a:pt x="67750" y="259067"/>
                  <a:pt x="84256" y="209550"/>
                </a:cubicBezTo>
                <a:cubicBezTo>
                  <a:pt x="76147" y="185224"/>
                  <a:pt x="67801" y="169318"/>
                  <a:pt x="84256" y="139700"/>
                </a:cubicBezTo>
                <a:cubicBezTo>
                  <a:pt x="88494" y="132071"/>
                  <a:pt x="101189" y="135467"/>
                  <a:pt x="109656" y="133350"/>
                </a:cubicBezTo>
                <a:cubicBezTo>
                  <a:pt x="111773" y="127000"/>
                  <a:pt x="116006" y="120993"/>
                  <a:pt x="116006" y="114300"/>
                </a:cubicBezTo>
                <a:cubicBezTo>
                  <a:pt x="116006" y="95920"/>
                  <a:pt x="102060" y="87654"/>
                  <a:pt x="90606" y="76200"/>
                </a:cubicBezTo>
                <a:cubicBezTo>
                  <a:pt x="93045" y="61567"/>
                  <a:pt x="95490" y="34682"/>
                  <a:pt x="103306" y="19050"/>
                </a:cubicBezTo>
                <a:cubicBezTo>
                  <a:pt x="106719" y="12224"/>
                  <a:pt x="116006" y="0"/>
                  <a:pt x="116006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2" name="Rectangle 6"/>
          <p:cNvSpPr>
            <a:spLocks noChangeArrowheads="1"/>
          </p:cNvSpPr>
          <p:nvPr/>
        </p:nvSpPr>
        <p:spPr bwMode="auto">
          <a:xfrm>
            <a:off x="5167588" y="1820864"/>
            <a:ext cx="1676400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>
                <a:solidFill>
                  <a:srgbClr val="009900"/>
                </a:solidFill>
                <a:latin typeface="Ponnala" pitchFamily="2" charset="0"/>
                <a:cs typeface="Ponnala" pitchFamily="2" charset="0"/>
              </a:rPr>
              <a:t>బ్రహ్మపుత్రా నది</a:t>
            </a:r>
            <a:endParaRPr lang="en-US" sz="5400">
              <a:solidFill>
                <a:srgbClr val="009900"/>
              </a:solidFill>
              <a:latin typeface="Ponnala" pitchFamily="2" charset="0"/>
              <a:cs typeface="Ponnala" pitchFamily="2" charset="0"/>
            </a:endParaRPr>
          </a:p>
        </p:txBody>
      </p:sp>
      <p:sp>
        <p:nvSpPr>
          <p:cNvPr id="163" name="Freeform 162"/>
          <p:cNvSpPr/>
          <p:nvPr/>
        </p:nvSpPr>
        <p:spPr>
          <a:xfrm>
            <a:off x="4853263" y="2152649"/>
            <a:ext cx="2209800" cy="171451"/>
          </a:xfrm>
          <a:custGeom>
            <a:avLst/>
            <a:gdLst>
              <a:gd name="connsiteX0" fmla="*/ 0 w 2209800"/>
              <a:gd name="connsiteY0" fmla="*/ 95250 h 171450"/>
              <a:gd name="connsiteX1" fmla="*/ 190500 w 2209800"/>
              <a:gd name="connsiteY1" fmla="*/ 123825 h 171450"/>
              <a:gd name="connsiteX2" fmla="*/ 219075 w 2209800"/>
              <a:gd name="connsiteY2" fmla="*/ 133350 h 171450"/>
              <a:gd name="connsiteX3" fmla="*/ 247650 w 2209800"/>
              <a:gd name="connsiteY3" fmla="*/ 152400 h 171450"/>
              <a:gd name="connsiteX4" fmla="*/ 304800 w 2209800"/>
              <a:gd name="connsiteY4" fmla="*/ 171450 h 171450"/>
              <a:gd name="connsiteX5" fmla="*/ 438150 w 2209800"/>
              <a:gd name="connsiteY5" fmla="*/ 142875 h 171450"/>
              <a:gd name="connsiteX6" fmla="*/ 466725 w 2209800"/>
              <a:gd name="connsiteY6" fmla="*/ 133350 h 171450"/>
              <a:gd name="connsiteX7" fmla="*/ 495300 w 2209800"/>
              <a:gd name="connsiteY7" fmla="*/ 123825 h 171450"/>
              <a:gd name="connsiteX8" fmla="*/ 523875 w 2209800"/>
              <a:gd name="connsiteY8" fmla="*/ 95250 h 171450"/>
              <a:gd name="connsiteX9" fmla="*/ 514350 w 2209800"/>
              <a:gd name="connsiteY9" fmla="*/ 66675 h 171450"/>
              <a:gd name="connsiteX10" fmla="*/ 542925 w 2209800"/>
              <a:gd name="connsiteY10" fmla="*/ 47625 h 171450"/>
              <a:gd name="connsiteX11" fmla="*/ 638175 w 2209800"/>
              <a:gd name="connsiteY11" fmla="*/ 19050 h 171450"/>
              <a:gd name="connsiteX12" fmla="*/ 666750 w 2209800"/>
              <a:gd name="connsiteY12" fmla="*/ 9525 h 171450"/>
              <a:gd name="connsiteX13" fmla="*/ 800100 w 2209800"/>
              <a:gd name="connsiteY13" fmla="*/ 28575 h 171450"/>
              <a:gd name="connsiteX14" fmla="*/ 828675 w 2209800"/>
              <a:gd name="connsiteY14" fmla="*/ 47625 h 171450"/>
              <a:gd name="connsiteX15" fmla="*/ 838200 w 2209800"/>
              <a:gd name="connsiteY15" fmla="*/ 76200 h 171450"/>
              <a:gd name="connsiteX16" fmla="*/ 895350 w 2209800"/>
              <a:gd name="connsiteY16" fmla="*/ 95250 h 171450"/>
              <a:gd name="connsiteX17" fmla="*/ 990600 w 2209800"/>
              <a:gd name="connsiteY17" fmla="*/ 66675 h 171450"/>
              <a:gd name="connsiteX18" fmla="*/ 1047750 w 2209800"/>
              <a:gd name="connsiteY18" fmla="*/ 47625 h 171450"/>
              <a:gd name="connsiteX19" fmla="*/ 1181100 w 2209800"/>
              <a:gd name="connsiteY19" fmla="*/ 47625 h 171450"/>
              <a:gd name="connsiteX20" fmla="*/ 1238250 w 2209800"/>
              <a:gd name="connsiteY20" fmla="*/ 28575 h 171450"/>
              <a:gd name="connsiteX21" fmla="*/ 1285875 w 2209800"/>
              <a:gd name="connsiteY21" fmla="*/ 38100 h 171450"/>
              <a:gd name="connsiteX22" fmla="*/ 1314450 w 2209800"/>
              <a:gd name="connsiteY22" fmla="*/ 47625 h 171450"/>
              <a:gd name="connsiteX23" fmla="*/ 1419225 w 2209800"/>
              <a:gd name="connsiteY23" fmla="*/ 19050 h 171450"/>
              <a:gd name="connsiteX24" fmla="*/ 1447800 w 2209800"/>
              <a:gd name="connsiteY24" fmla="*/ 9525 h 171450"/>
              <a:gd name="connsiteX25" fmla="*/ 1476375 w 2209800"/>
              <a:gd name="connsiteY25" fmla="*/ 0 h 171450"/>
              <a:gd name="connsiteX26" fmla="*/ 1581150 w 2209800"/>
              <a:gd name="connsiteY26" fmla="*/ 28575 h 171450"/>
              <a:gd name="connsiteX27" fmla="*/ 1609725 w 2209800"/>
              <a:gd name="connsiteY27" fmla="*/ 47625 h 171450"/>
              <a:gd name="connsiteX28" fmla="*/ 1666875 w 2209800"/>
              <a:gd name="connsiteY28" fmla="*/ 66675 h 171450"/>
              <a:gd name="connsiteX29" fmla="*/ 1695450 w 2209800"/>
              <a:gd name="connsiteY29" fmla="*/ 76200 h 171450"/>
              <a:gd name="connsiteX30" fmla="*/ 1781175 w 2209800"/>
              <a:gd name="connsiteY30" fmla="*/ 66675 h 171450"/>
              <a:gd name="connsiteX31" fmla="*/ 1809750 w 2209800"/>
              <a:gd name="connsiteY31" fmla="*/ 57150 h 171450"/>
              <a:gd name="connsiteX32" fmla="*/ 1866900 w 2209800"/>
              <a:gd name="connsiteY32" fmla="*/ 47625 h 171450"/>
              <a:gd name="connsiteX33" fmla="*/ 2000250 w 2209800"/>
              <a:gd name="connsiteY33" fmla="*/ 38100 h 171450"/>
              <a:gd name="connsiteX34" fmla="*/ 2028825 w 2209800"/>
              <a:gd name="connsiteY34" fmla="*/ 28575 h 171450"/>
              <a:gd name="connsiteX35" fmla="*/ 2095500 w 2209800"/>
              <a:gd name="connsiteY35" fmla="*/ 47625 h 171450"/>
              <a:gd name="connsiteX36" fmla="*/ 2124075 w 2209800"/>
              <a:gd name="connsiteY36" fmla="*/ 76200 h 171450"/>
              <a:gd name="connsiteX37" fmla="*/ 2162175 w 2209800"/>
              <a:gd name="connsiteY37" fmla="*/ 85725 h 171450"/>
              <a:gd name="connsiteX38" fmla="*/ 2190750 w 2209800"/>
              <a:gd name="connsiteY38" fmla="*/ 95250 h 171450"/>
              <a:gd name="connsiteX39" fmla="*/ 2209800 w 2209800"/>
              <a:gd name="connsiteY39" fmla="*/ 12382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209800" h="171450">
                <a:moveTo>
                  <a:pt x="0" y="95250"/>
                </a:moveTo>
                <a:cubicBezTo>
                  <a:pt x="153379" y="106206"/>
                  <a:pt x="91074" y="90683"/>
                  <a:pt x="190500" y="123825"/>
                </a:cubicBezTo>
                <a:cubicBezTo>
                  <a:pt x="200025" y="127000"/>
                  <a:pt x="210721" y="127781"/>
                  <a:pt x="219075" y="133350"/>
                </a:cubicBezTo>
                <a:cubicBezTo>
                  <a:pt x="228600" y="139700"/>
                  <a:pt x="237189" y="147751"/>
                  <a:pt x="247650" y="152400"/>
                </a:cubicBezTo>
                <a:cubicBezTo>
                  <a:pt x="266000" y="160555"/>
                  <a:pt x="304800" y="171450"/>
                  <a:pt x="304800" y="171450"/>
                </a:cubicBezTo>
                <a:cubicBezTo>
                  <a:pt x="400925" y="159434"/>
                  <a:pt x="356716" y="170020"/>
                  <a:pt x="438150" y="142875"/>
                </a:cubicBezTo>
                <a:lnTo>
                  <a:pt x="466725" y="133350"/>
                </a:lnTo>
                <a:lnTo>
                  <a:pt x="495300" y="123825"/>
                </a:lnTo>
                <a:cubicBezTo>
                  <a:pt x="504825" y="114300"/>
                  <a:pt x="519615" y="108029"/>
                  <a:pt x="523875" y="95250"/>
                </a:cubicBezTo>
                <a:cubicBezTo>
                  <a:pt x="527050" y="85725"/>
                  <a:pt x="510621" y="75997"/>
                  <a:pt x="514350" y="66675"/>
                </a:cubicBezTo>
                <a:cubicBezTo>
                  <a:pt x="518602" y="56046"/>
                  <a:pt x="532464" y="52274"/>
                  <a:pt x="542925" y="47625"/>
                </a:cubicBezTo>
                <a:cubicBezTo>
                  <a:pt x="583669" y="29517"/>
                  <a:pt x="599386" y="30133"/>
                  <a:pt x="638175" y="19050"/>
                </a:cubicBezTo>
                <a:cubicBezTo>
                  <a:pt x="647829" y="16292"/>
                  <a:pt x="657225" y="12700"/>
                  <a:pt x="666750" y="9525"/>
                </a:cubicBezTo>
                <a:cubicBezTo>
                  <a:pt x="693519" y="11959"/>
                  <a:pt x="763451" y="10251"/>
                  <a:pt x="800100" y="28575"/>
                </a:cubicBezTo>
                <a:cubicBezTo>
                  <a:pt x="810339" y="33695"/>
                  <a:pt x="819150" y="41275"/>
                  <a:pt x="828675" y="47625"/>
                </a:cubicBezTo>
                <a:cubicBezTo>
                  <a:pt x="831850" y="57150"/>
                  <a:pt x="830030" y="70364"/>
                  <a:pt x="838200" y="76200"/>
                </a:cubicBezTo>
                <a:cubicBezTo>
                  <a:pt x="854540" y="87872"/>
                  <a:pt x="895350" y="95250"/>
                  <a:pt x="895350" y="95250"/>
                </a:cubicBezTo>
                <a:cubicBezTo>
                  <a:pt x="1041644" y="74351"/>
                  <a:pt x="908525" y="103153"/>
                  <a:pt x="990600" y="66675"/>
                </a:cubicBezTo>
                <a:cubicBezTo>
                  <a:pt x="1008950" y="58520"/>
                  <a:pt x="1047750" y="47625"/>
                  <a:pt x="1047750" y="47625"/>
                </a:cubicBezTo>
                <a:cubicBezTo>
                  <a:pt x="1113286" y="58548"/>
                  <a:pt x="1108087" y="63271"/>
                  <a:pt x="1181100" y="47625"/>
                </a:cubicBezTo>
                <a:cubicBezTo>
                  <a:pt x="1200735" y="43418"/>
                  <a:pt x="1238250" y="28575"/>
                  <a:pt x="1238250" y="28575"/>
                </a:cubicBezTo>
                <a:cubicBezTo>
                  <a:pt x="1254125" y="31750"/>
                  <a:pt x="1270169" y="34173"/>
                  <a:pt x="1285875" y="38100"/>
                </a:cubicBezTo>
                <a:cubicBezTo>
                  <a:pt x="1295615" y="40535"/>
                  <a:pt x="1304410" y="47625"/>
                  <a:pt x="1314450" y="47625"/>
                </a:cubicBezTo>
                <a:cubicBezTo>
                  <a:pt x="1341376" y="47625"/>
                  <a:pt x="1396813" y="26521"/>
                  <a:pt x="1419225" y="19050"/>
                </a:cubicBezTo>
                <a:lnTo>
                  <a:pt x="1447800" y="9525"/>
                </a:lnTo>
                <a:lnTo>
                  <a:pt x="1476375" y="0"/>
                </a:lnTo>
                <a:cubicBezTo>
                  <a:pt x="1501935" y="5112"/>
                  <a:pt x="1560433" y="14764"/>
                  <a:pt x="1581150" y="28575"/>
                </a:cubicBezTo>
                <a:cubicBezTo>
                  <a:pt x="1590675" y="34925"/>
                  <a:pt x="1599264" y="42976"/>
                  <a:pt x="1609725" y="47625"/>
                </a:cubicBezTo>
                <a:cubicBezTo>
                  <a:pt x="1628075" y="55780"/>
                  <a:pt x="1647825" y="60325"/>
                  <a:pt x="1666875" y="66675"/>
                </a:cubicBezTo>
                <a:lnTo>
                  <a:pt x="1695450" y="76200"/>
                </a:lnTo>
                <a:cubicBezTo>
                  <a:pt x="1724025" y="73025"/>
                  <a:pt x="1752815" y="71402"/>
                  <a:pt x="1781175" y="66675"/>
                </a:cubicBezTo>
                <a:cubicBezTo>
                  <a:pt x="1791079" y="65024"/>
                  <a:pt x="1799949" y="59328"/>
                  <a:pt x="1809750" y="57150"/>
                </a:cubicBezTo>
                <a:cubicBezTo>
                  <a:pt x="1828603" y="52960"/>
                  <a:pt x="1847683" y="49547"/>
                  <a:pt x="1866900" y="47625"/>
                </a:cubicBezTo>
                <a:cubicBezTo>
                  <a:pt x="1911242" y="43191"/>
                  <a:pt x="1955800" y="41275"/>
                  <a:pt x="2000250" y="38100"/>
                </a:cubicBezTo>
                <a:cubicBezTo>
                  <a:pt x="2009775" y="34925"/>
                  <a:pt x="2018785" y="28575"/>
                  <a:pt x="2028825" y="28575"/>
                </a:cubicBezTo>
                <a:cubicBezTo>
                  <a:pt x="2040785" y="28575"/>
                  <a:pt x="2082025" y="43133"/>
                  <a:pt x="2095500" y="47625"/>
                </a:cubicBezTo>
                <a:cubicBezTo>
                  <a:pt x="2105025" y="57150"/>
                  <a:pt x="2112379" y="69517"/>
                  <a:pt x="2124075" y="76200"/>
                </a:cubicBezTo>
                <a:cubicBezTo>
                  <a:pt x="2135441" y="82695"/>
                  <a:pt x="2149588" y="82129"/>
                  <a:pt x="2162175" y="85725"/>
                </a:cubicBezTo>
                <a:cubicBezTo>
                  <a:pt x="2171829" y="88483"/>
                  <a:pt x="2181225" y="92075"/>
                  <a:pt x="2190750" y="95250"/>
                </a:cubicBezTo>
                <a:cubicBezTo>
                  <a:pt x="2201279" y="126837"/>
                  <a:pt x="2190235" y="123825"/>
                  <a:pt x="2209800" y="12382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4" name="Freeform 163"/>
          <p:cNvSpPr/>
          <p:nvPr/>
        </p:nvSpPr>
        <p:spPr>
          <a:xfrm>
            <a:off x="5777192" y="2238375"/>
            <a:ext cx="1317625" cy="1028700"/>
          </a:xfrm>
          <a:custGeom>
            <a:avLst/>
            <a:gdLst>
              <a:gd name="connsiteX0" fmla="*/ 1261238 w 1318388"/>
              <a:gd name="connsiteY0" fmla="*/ 0 h 1028700"/>
              <a:gd name="connsiteX1" fmla="*/ 1270763 w 1318388"/>
              <a:gd name="connsiteY1" fmla="*/ 47625 h 1028700"/>
              <a:gd name="connsiteX2" fmla="*/ 1308863 w 1318388"/>
              <a:gd name="connsiteY2" fmla="*/ 104775 h 1028700"/>
              <a:gd name="connsiteX3" fmla="*/ 1318388 w 1318388"/>
              <a:gd name="connsiteY3" fmla="*/ 133350 h 1028700"/>
              <a:gd name="connsiteX4" fmla="*/ 1308863 w 1318388"/>
              <a:gd name="connsiteY4" fmla="*/ 180975 h 1028700"/>
              <a:gd name="connsiteX5" fmla="*/ 1289813 w 1318388"/>
              <a:gd name="connsiteY5" fmla="*/ 238125 h 1028700"/>
              <a:gd name="connsiteX6" fmla="*/ 1280288 w 1318388"/>
              <a:gd name="connsiteY6" fmla="*/ 266700 h 1028700"/>
              <a:gd name="connsiteX7" fmla="*/ 1270763 w 1318388"/>
              <a:gd name="connsiteY7" fmla="*/ 295275 h 1028700"/>
              <a:gd name="connsiteX8" fmla="*/ 1261238 w 1318388"/>
              <a:gd name="connsiteY8" fmla="*/ 333375 h 1028700"/>
              <a:gd name="connsiteX9" fmla="*/ 1194563 w 1318388"/>
              <a:gd name="connsiteY9" fmla="*/ 381000 h 1028700"/>
              <a:gd name="connsiteX10" fmla="*/ 1165988 w 1318388"/>
              <a:gd name="connsiteY10" fmla="*/ 447675 h 1028700"/>
              <a:gd name="connsiteX11" fmla="*/ 1108838 w 1318388"/>
              <a:gd name="connsiteY11" fmla="*/ 476250 h 1028700"/>
              <a:gd name="connsiteX12" fmla="*/ 1042163 w 1318388"/>
              <a:gd name="connsiteY12" fmla="*/ 542925 h 1028700"/>
              <a:gd name="connsiteX13" fmla="*/ 975488 w 1318388"/>
              <a:gd name="connsiteY13" fmla="*/ 581025 h 1028700"/>
              <a:gd name="connsiteX14" fmla="*/ 946913 w 1318388"/>
              <a:gd name="connsiteY14" fmla="*/ 609600 h 1028700"/>
              <a:gd name="connsiteX15" fmla="*/ 918338 w 1318388"/>
              <a:gd name="connsiteY15" fmla="*/ 628650 h 1028700"/>
              <a:gd name="connsiteX16" fmla="*/ 880238 w 1318388"/>
              <a:gd name="connsiteY16" fmla="*/ 714375 h 1028700"/>
              <a:gd name="connsiteX17" fmla="*/ 823088 w 1318388"/>
              <a:gd name="connsiteY17" fmla="*/ 742950 h 1028700"/>
              <a:gd name="connsiteX18" fmla="*/ 794513 w 1318388"/>
              <a:gd name="connsiteY18" fmla="*/ 762000 h 1028700"/>
              <a:gd name="connsiteX19" fmla="*/ 784988 w 1318388"/>
              <a:gd name="connsiteY19" fmla="*/ 838200 h 1028700"/>
              <a:gd name="connsiteX20" fmla="*/ 727838 w 1318388"/>
              <a:gd name="connsiteY20" fmla="*/ 857250 h 1028700"/>
              <a:gd name="connsiteX21" fmla="*/ 546863 w 1318388"/>
              <a:gd name="connsiteY21" fmla="*/ 876300 h 1028700"/>
              <a:gd name="connsiteX22" fmla="*/ 480188 w 1318388"/>
              <a:gd name="connsiteY22" fmla="*/ 895350 h 1028700"/>
              <a:gd name="connsiteX23" fmla="*/ 365888 w 1318388"/>
              <a:gd name="connsiteY23" fmla="*/ 904875 h 1028700"/>
              <a:gd name="connsiteX24" fmla="*/ 270638 w 1318388"/>
              <a:gd name="connsiteY24" fmla="*/ 942975 h 1028700"/>
              <a:gd name="connsiteX25" fmla="*/ 242063 w 1318388"/>
              <a:gd name="connsiteY25" fmla="*/ 952500 h 1028700"/>
              <a:gd name="connsiteX26" fmla="*/ 184913 w 1318388"/>
              <a:gd name="connsiteY26" fmla="*/ 962025 h 1028700"/>
              <a:gd name="connsiteX27" fmla="*/ 127763 w 1318388"/>
              <a:gd name="connsiteY27" fmla="*/ 1009650 h 1028700"/>
              <a:gd name="connsiteX28" fmla="*/ 70613 w 1318388"/>
              <a:gd name="connsiteY28" fmla="*/ 1028700 h 1028700"/>
              <a:gd name="connsiteX29" fmla="*/ 32513 w 1318388"/>
              <a:gd name="connsiteY29" fmla="*/ 1019175 h 1028700"/>
              <a:gd name="connsiteX30" fmla="*/ 3938 w 1318388"/>
              <a:gd name="connsiteY30" fmla="*/ 1009650 h 1028700"/>
              <a:gd name="connsiteX31" fmla="*/ 13463 w 1318388"/>
              <a:gd name="connsiteY31" fmla="*/ 99060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318388" h="1028700">
                <a:moveTo>
                  <a:pt x="1261238" y="0"/>
                </a:moveTo>
                <a:cubicBezTo>
                  <a:pt x="1264413" y="15875"/>
                  <a:pt x="1264064" y="32887"/>
                  <a:pt x="1270763" y="47625"/>
                </a:cubicBezTo>
                <a:cubicBezTo>
                  <a:pt x="1280237" y="68468"/>
                  <a:pt x="1301623" y="83055"/>
                  <a:pt x="1308863" y="104775"/>
                </a:cubicBezTo>
                <a:lnTo>
                  <a:pt x="1318388" y="133350"/>
                </a:lnTo>
                <a:cubicBezTo>
                  <a:pt x="1315213" y="149225"/>
                  <a:pt x="1313123" y="165356"/>
                  <a:pt x="1308863" y="180975"/>
                </a:cubicBezTo>
                <a:cubicBezTo>
                  <a:pt x="1303579" y="200348"/>
                  <a:pt x="1296163" y="219075"/>
                  <a:pt x="1289813" y="238125"/>
                </a:cubicBezTo>
                <a:lnTo>
                  <a:pt x="1280288" y="266700"/>
                </a:lnTo>
                <a:cubicBezTo>
                  <a:pt x="1277113" y="276225"/>
                  <a:pt x="1273198" y="285535"/>
                  <a:pt x="1270763" y="295275"/>
                </a:cubicBezTo>
                <a:cubicBezTo>
                  <a:pt x="1267588" y="307975"/>
                  <a:pt x="1267733" y="322009"/>
                  <a:pt x="1261238" y="333375"/>
                </a:cubicBezTo>
                <a:cubicBezTo>
                  <a:pt x="1245792" y="360406"/>
                  <a:pt x="1220289" y="368137"/>
                  <a:pt x="1194563" y="381000"/>
                </a:cubicBezTo>
                <a:cubicBezTo>
                  <a:pt x="1187946" y="400852"/>
                  <a:pt x="1179066" y="431982"/>
                  <a:pt x="1165988" y="447675"/>
                </a:cubicBezTo>
                <a:cubicBezTo>
                  <a:pt x="1151785" y="464719"/>
                  <a:pt x="1128342" y="469749"/>
                  <a:pt x="1108838" y="476250"/>
                </a:cubicBezTo>
                <a:cubicBezTo>
                  <a:pt x="1065169" y="541754"/>
                  <a:pt x="1092458" y="526160"/>
                  <a:pt x="1042163" y="542925"/>
                </a:cubicBezTo>
                <a:cubicBezTo>
                  <a:pt x="964843" y="620245"/>
                  <a:pt x="1065032" y="529857"/>
                  <a:pt x="975488" y="581025"/>
                </a:cubicBezTo>
                <a:cubicBezTo>
                  <a:pt x="963792" y="587708"/>
                  <a:pt x="957261" y="600976"/>
                  <a:pt x="946913" y="609600"/>
                </a:cubicBezTo>
                <a:cubicBezTo>
                  <a:pt x="938119" y="616929"/>
                  <a:pt x="927863" y="622300"/>
                  <a:pt x="918338" y="628650"/>
                </a:cubicBezTo>
                <a:cubicBezTo>
                  <a:pt x="908907" y="656944"/>
                  <a:pt x="902879" y="691734"/>
                  <a:pt x="880238" y="714375"/>
                </a:cubicBezTo>
                <a:cubicBezTo>
                  <a:pt x="852941" y="741672"/>
                  <a:pt x="854076" y="727456"/>
                  <a:pt x="823088" y="742950"/>
                </a:cubicBezTo>
                <a:cubicBezTo>
                  <a:pt x="812849" y="748070"/>
                  <a:pt x="804038" y="755650"/>
                  <a:pt x="794513" y="762000"/>
                </a:cubicBezTo>
                <a:cubicBezTo>
                  <a:pt x="791338" y="787400"/>
                  <a:pt x="799667" y="817230"/>
                  <a:pt x="784988" y="838200"/>
                </a:cubicBezTo>
                <a:cubicBezTo>
                  <a:pt x="773473" y="854651"/>
                  <a:pt x="747717" y="854410"/>
                  <a:pt x="727838" y="857250"/>
                </a:cubicBezTo>
                <a:cubicBezTo>
                  <a:pt x="623315" y="872182"/>
                  <a:pt x="683536" y="864911"/>
                  <a:pt x="546863" y="876300"/>
                </a:cubicBezTo>
                <a:cubicBezTo>
                  <a:pt x="527884" y="882626"/>
                  <a:pt x="499324" y="892958"/>
                  <a:pt x="480188" y="895350"/>
                </a:cubicBezTo>
                <a:cubicBezTo>
                  <a:pt x="442251" y="900092"/>
                  <a:pt x="403988" y="901700"/>
                  <a:pt x="365888" y="904875"/>
                </a:cubicBezTo>
                <a:cubicBezTo>
                  <a:pt x="309827" y="932905"/>
                  <a:pt x="341258" y="919435"/>
                  <a:pt x="270638" y="942975"/>
                </a:cubicBezTo>
                <a:cubicBezTo>
                  <a:pt x="261113" y="946150"/>
                  <a:pt x="251967" y="950849"/>
                  <a:pt x="242063" y="952500"/>
                </a:cubicBezTo>
                <a:lnTo>
                  <a:pt x="184913" y="962025"/>
                </a:lnTo>
                <a:cubicBezTo>
                  <a:pt x="161530" y="997100"/>
                  <a:pt x="171708" y="992072"/>
                  <a:pt x="127763" y="1009650"/>
                </a:cubicBezTo>
                <a:cubicBezTo>
                  <a:pt x="109119" y="1017108"/>
                  <a:pt x="70613" y="1028700"/>
                  <a:pt x="70613" y="1028700"/>
                </a:cubicBezTo>
                <a:cubicBezTo>
                  <a:pt x="57913" y="1025525"/>
                  <a:pt x="45100" y="1022771"/>
                  <a:pt x="32513" y="1019175"/>
                </a:cubicBezTo>
                <a:cubicBezTo>
                  <a:pt x="22859" y="1016417"/>
                  <a:pt x="9507" y="1018004"/>
                  <a:pt x="3938" y="1009650"/>
                </a:cubicBezTo>
                <a:cubicBezTo>
                  <a:pt x="0" y="1003743"/>
                  <a:pt x="10288" y="996950"/>
                  <a:pt x="13463" y="99060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5" name="Freeform 164"/>
          <p:cNvSpPr/>
          <p:nvPr/>
        </p:nvSpPr>
        <p:spPr>
          <a:xfrm>
            <a:off x="5786716" y="3228975"/>
            <a:ext cx="544513" cy="1066800"/>
          </a:xfrm>
          <a:custGeom>
            <a:avLst/>
            <a:gdLst>
              <a:gd name="connsiteX0" fmla="*/ 66675 w 544465"/>
              <a:gd name="connsiteY0" fmla="*/ 0 h 1066800"/>
              <a:gd name="connsiteX1" fmla="*/ 57150 w 544465"/>
              <a:gd name="connsiteY1" fmla="*/ 57150 h 1066800"/>
              <a:gd name="connsiteX2" fmla="*/ 38100 w 544465"/>
              <a:gd name="connsiteY2" fmla="*/ 114300 h 1066800"/>
              <a:gd name="connsiteX3" fmla="*/ 28575 w 544465"/>
              <a:gd name="connsiteY3" fmla="*/ 142875 h 1066800"/>
              <a:gd name="connsiteX4" fmla="*/ 19050 w 544465"/>
              <a:gd name="connsiteY4" fmla="*/ 180975 h 1066800"/>
              <a:gd name="connsiteX5" fmla="*/ 9525 w 544465"/>
              <a:gd name="connsiteY5" fmla="*/ 209550 h 1066800"/>
              <a:gd name="connsiteX6" fmla="*/ 0 w 544465"/>
              <a:gd name="connsiteY6" fmla="*/ 257175 h 1066800"/>
              <a:gd name="connsiteX7" fmla="*/ 9525 w 544465"/>
              <a:gd name="connsiteY7" fmla="*/ 381000 h 1066800"/>
              <a:gd name="connsiteX8" fmla="*/ 19050 w 544465"/>
              <a:gd name="connsiteY8" fmla="*/ 409575 h 1066800"/>
              <a:gd name="connsiteX9" fmla="*/ 38100 w 544465"/>
              <a:gd name="connsiteY9" fmla="*/ 485775 h 1066800"/>
              <a:gd name="connsiteX10" fmla="*/ 47625 w 544465"/>
              <a:gd name="connsiteY10" fmla="*/ 514350 h 1066800"/>
              <a:gd name="connsiteX11" fmla="*/ 76200 w 544465"/>
              <a:gd name="connsiteY11" fmla="*/ 533400 h 1066800"/>
              <a:gd name="connsiteX12" fmla="*/ 152400 w 544465"/>
              <a:gd name="connsiteY12" fmla="*/ 647700 h 1066800"/>
              <a:gd name="connsiteX13" fmla="*/ 171450 w 544465"/>
              <a:gd name="connsiteY13" fmla="*/ 676275 h 1066800"/>
              <a:gd name="connsiteX14" fmla="*/ 200025 w 544465"/>
              <a:gd name="connsiteY14" fmla="*/ 695325 h 1066800"/>
              <a:gd name="connsiteX15" fmla="*/ 247650 w 544465"/>
              <a:gd name="connsiteY15" fmla="*/ 781050 h 1066800"/>
              <a:gd name="connsiteX16" fmla="*/ 257175 w 544465"/>
              <a:gd name="connsiteY16" fmla="*/ 809625 h 1066800"/>
              <a:gd name="connsiteX17" fmla="*/ 314325 w 544465"/>
              <a:gd name="connsiteY17" fmla="*/ 857250 h 1066800"/>
              <a:gd name="connsiteX18" fmla="*/ 371475 w 544465"/>
              <a:gd name="connsiteY18" fmla="*/ 866775 h 1066800"/>
              <a:gd name="connsiteX19" fmla="*/ 400050 w 544465"/>
              <a:gd name="connsiteY19" fmla="*/ 876300 h 1066800"/>
              <a:gd name="connsiteX20" fmla="*/ 438150 w 544465"/>
              <a:gd name="connsiteY20" fmla="*/ 885825 h 1066800"/>
              <a:gd name="connsiteX21" fmla="*/ 495300 w 544465"/>
              <a:gd name="connsiteY21" fmla="*/ 923925 h 1066800"/>
              <a:gd name="connsiteX22" fmla="*/ 523875 w 544465"/>
              <a:gd name="connsiteY22" fmla="*/ 981075 h 1066800"/>
              <a:gd name="connsiteX23" fmla="*/ 533400 w 544465"/>
              <a:gd name="connsiteY23" fmla="*/ 1009650 h 1066800"/>
              <a:gd name="connsiteX24" fmla="*/ 542925 w 544465"/>
              <a:gd name="connsiteY24" fmla="*/ 1066800 h 106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44465" h="1066800">
                <a:moveTo>
                  <a:pt x="66675" y="0"/>
                </a:moveTo>
                <a:cubicBezTo>
                  <a:pt x="63500" y="19050"/>
                  <a:pt x="61834" y="38414"/>
                  <a:pt x="57150" y="57150"/>
                </a:cubicBezTo>
                <a:cubicBezTo>
                  <a:pt x="52280" y="76631"/>
                  <a:pt x="44450" y="95250"/>
                  <a:pt x="38100" y="114300"/>
                </a:cubicBezTo>
                <a:cubicBezTo>
                  <a:pt x="34925" y="123825"/>
                  <a:pt x="31010" y="133135"/>
                  <a:pt x="28575" y="142875"/>
                </a:cubicBezTo>
                <a:cubicBezTo>
                  <a:pt x="25400" y="155575"/>
                  <a:pt x="22646" y="168388"/>
                  <a:pt x="19050" y="180975"/>
                </a:cubicBezTo>
                <a:cubicBezTo>
                  <a:pt x="16292" y="190629"/>
                  <a:pt x="11960" y="199810"/>
                  <a:pt x="9525" y="209550"/>
                </a:cubicBezTo>
                <a:cubicBezTo>
                  <a:pt x="5598" y="225256"/>
                  <a:pt x="3175" y="241300"/>
                  <a:pt x="0" y="257175"/>
                </a:cubicBezTo>
                <a:cubicBezTo>
                  <a:pt x="3175" y="298450"/>
                  <a:pt x="4390" y="339923"/>
                  <a:pt x="9525" y="381000"/>
                </a:cubicBezTo>
                <a:cubicBezTo>
                  <a:pt x="10770" y="390963"/>
                  <a:pt x="16408" y="399889"/>
                  <a:pt x="19050" y="409575"/>
                </a:cubicBezTo>
                <a:cubicBezTo>
                  <a:pt x="25939" y="434834"/>
                  <a:pt x="29821" y="460937"/>
                  <a:pt x="38100" y="485775"/>
                </a:cubicBezTo>
                <a:cubicBezTo>
                  <a:pt x="41275" y="495300"/>
                  <a:pt x="41353" y="506510"/>
                  <a:pt x="47625" y="514350"/>
                </a:cubicBezTo>
                <a:cubicBezTo>
                  <a:pt x="54776" y="523289"/>
                  <a:pt x="66675" y="527050"/>
                  <a:pt x="76200" y="533400"/>
                </a:cubicBezTo>
                <a:lnTo>
                  <a:pt x="152400" y="647700"/>
                </a:lnTo>
                <a:cubicBezTo>
                  <a:pt x="158750" y="657225"/>
                  <a:pt x="161925" y="669925"/>
                  <a:pt x="171450" y="676275"/>
                </a:cubicBezTo>
                <a:lnTo>
                  <a:pt x="200025" y="695325"/>
                </a:lnTo>
                <a:cubicBezTo>
                  <a:pt x="223335" y="765254"/>
                  <a:pt x="204876" y="738276"/>
                  <a:pt x="247650" y="781050"/>
                </a:cubicBezTo>
                <a:cubicBezTo>
                  <a:pt x="250825" y="790575"/>
                  <a:pt x="251606" y="801271"/>
                  <a:pt x="257175" y="809625"/>
                </a:cubicBezTo>
                <a:cubicBezTo>
                  <a:pt x="264754" y="820994"/>
                  <a:pt x="299264" y="852230"/>
                  <a:pt x="314325" y="857250"/>
                </a:cubicBezTo>
                <a:cubicBezTo>
                  <a:pt x="332647" y="863357"/>
                  <a:pt x="352622" y="862585"/>
                  <a:pt x="371475" y="866775"/>
                </a:cubicBezTo>
                <a:cubicBezTo>
                  <a:pt x="381276" y="868953"/>
                  <a:pt x="390396" y="873542"/>
                  <a:pt x="400050" y="876300"/>
                </a:cubicBezTo>
                <a:cubicBezTo>
                  <a:pt x="412637" y="879896"/>
                  <a:pt x="425450" y="882650"/>
                  <a:pt x="438150" y="885825"/>
                </a:cubicBezTo>
                <a:cubicBezTo>
                  <a:pt x="457200" y="898525"/>
                  <a:pt x="488060" y="902205"/>
                  <a:pt x="495300" y="923925"/>
                </a:cubicBezTo>
                <a:cubicBezTo>
                  <a:pt x="519241" y="995749"/>
                  <a:pt x="486946" y="907217"/>
                  <a:pt x="523875" y="981075"/>
                </a:cubicBezTo>
                <a:cubicBezTo>
                  <a:pt x="528365" y="990055"/>
                  <a:pt x="530642" y="999996"/>
                  <a:pt x="533400" y="1009650"/>
                </a:cubicBezTo>
                <a:cubicBezTo>
                  <a:pt x="544465" y="1048378"/>
                  <a:pt x="542925" y="1037343"/>
                  <a:pt x="542925" y="106680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6" name="Freeform 165"/>
          <p:cNvSpPr/>
          <p:nvPr/>
        </p:nvSpPr>
        <p:spPr>
          <a:xfrm>
            <a:off x="1821138" y="3429001"/>
            <a:ext cx="222250" cy="668339"/>
          </a:xfrm>
          <a:custGeom>
            <a:avLst/>
            <a:gdLst>
              <a:gd name="connsiteX0" fmla="*/ 11373 w 304800"/>
              <a:gd name="connsiteY0" fmla="*/ 839337 h 839337"/>
              <a:gd name="connsiteX1" fmla="*/ 18197 w 304800"/>
              <a:gd name="connsiteY1" fmla="*/ 777922 h 839337"/>
              <a:gd name="connsiteX2" fmla="*/ 25021 w 304800"/>
              <a:gd name="connsiteY2" fmla="*/ 757450 h 839337"/>
              <a:gd name="connsiteX3" fmla="*/ 31845 w 304800"/>
              <a:gd name="connsiteY3" fmla="*/ 736979 h 839337"/>
              <a:gd name="connsiteX4" fmla="*/ 45492 w 304800"/>
              <a:gd name="connsiteY4" fmla="*/ 586853 h 839337"/>
              <a:gd name="connsiteX5" fmla="*/ 59140 w 304800"/>
              <a:gd name="connsiteY5" fmla="*/ 545910 h 839337"/>
              <a:gd name="connsiteX6" fmla="*/ 65964 w 304800"/>
              <a:gd name="connsiteY6" fmla="*/ 525438 h 839337"/>
              <a:gd name="connsiteX7" fmla="*/ 86436 w 304800"/>
              <a:gd name="connsiteY7" fmla="*/ 511791 h 839337"/>
              <a:gd name="connsiteX8" fmla="*/ 106907 w 304800"/>
              <a:gd name="connsiteY8" fmla="*/ 464024 h 839337"/>
              <a:gd name="connsiteX9" fmla="*/ 113731 w 304800"/>
              <a:gd name="connsiteY9" fmla="*/ 443552 h 839337"/>
              <a:gd name="connsiteX10" fmla="*/ 120555 w 304800"/>
              <a:gd name="connsiteY10" fmla="*/ 341194 h 839337"/>
              <a:gd name="connsiteX11" fmla="*/ 141027 w 304800"/>
              <a:gd name="connsiteY11" fmla="*/ 327546 h 839337"/>
              <a:gd name="connsiteX12" fmla="*/ 154675 w 304800"/>
              <a:gd name="connsiteY12" fmla="*/ 307074 h 839337"/>
              <a:gd name="connsiteX13" fmla="*/ 168322 w 304800"/>
              <a:gd name="connsiteY13" fmla="*/ 266131 h 839337"/>
              <a:gd name="connsiteX14" fmla="*/ 175146 w 304800"/>
              <a:gd name="connsiteY14" fmla="*/ 245659 h 839337"/>
              <a:gd name="connsiteX15" fmla="*/ 195618 w 304800"/>
              <a:gd name="connsiteY15" fmla="*/ 238835 h 839337"/>
              <a:gd name="connsiteX16" fmla="*/ 222913 w 304800"/>
              <a:gd name="connsiteY16" fmla="*/ 197892 h 839337"/>
              <a:gd name="connsiteX17" fmla="*/ 243385 w 304800"/>
              <a:gd name="connsiteY17" fmla="*/ 136477 h 839337"/>
              <a:gd name="connsiteX18" fmla="*/ 250209 w 304800"/>
              <a:gd name="connsiteY18" fmla="*/ 116006 h 839337"/>
              <a:gd name="connsiteX19" fmla="*/ 257033 w 304800"/>
              <a:gd name="connsiteY19" fmla="*/ 88710 h 839337"/>
              <a:gd name="connsiteX20" fmla="*/ 277504 w 304800"/>
              <a:gd name="connsiteY20" fmla="*/ 47767 h 839337"/>
              <a:gd name="connsiteX21" fmla="*/ 284328 w 304800"/>
              <a:gd name="connsiteY21" fmla="*/ 13647 h 839337"/>
              <a:gd name="connsiteX22" fmla="*/ 304800 w 304800"/>
              <a:gd name="connsiteY22" fmla="*/ 0 h 83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4800" h="839337">
                <a:moveTo>
                  <a:pt x="11373" y="839337"/>
                </a:moveTo>
                <a:cubicBezTo>
                  <a:pt x="0" y="805217"/>
                  <a:pt x="2274" y="825689"/>
                  <a:pt x="18197" y="777922"/>
                </a:cubicBezTo>
                <a:lnTo>
                  <a:pt x="25021" y="757450"/>
                </a:lnTo>
                <a:lnTo>
                  <a:pt x="31845" y="736979"/>
                </a:lnTo>
                <a:cubicBezTo>
                  <a:pt x="33540" y="711549"/>
                  <a:pt x="36749" y="624739"/>
                  <a:pt x="45492" y="586853"/>
                </a:cubicBezTo>
                <a:cubicBezTo>
                  <a:pt x="48727" y="572835"/>
                  <a:pt x="54591" y="559558"/>
                  <a:pt x="59140" y="545910"/>
                </a:cubicBezTo>
                <a:cubicBezTo>
                  <a:pt x="61415" y="539086"/>
                  <a:pt x="59979" y="529428"/>
                  <a:pt x="65964" y="525438"/>
                </a:cubicBezTo>
                <a:lnTo>
                  <a:pt x="86436" y="511791"/>
                </a:lnTo>
                <a:cubicBezTo>
                  <a:pt x="102440" y="463780"/>
                  <a:pt x="81611" y="523050"/>
                  <a:pt x="106907" y="464024"/>
                </a:cubicBezTo>
                <a:cubicBezTo>
                  <a:pt x="109740" y="457412"/>
                  <a:pt x="111456" y="450376"/>
                  <a:pt x="113731" y="443552"/>
                </a:cubicBezTo>
                <a:cubicBezTo>
                  <a:pt x="116006" y="409433"/>
                  <a:pt x="112723" y="374480"/>
                  <a:pt x="120555" y="341194"/>
                </a:cubicBezTo>
                <a:cubicBezTo>
                  <a:pt x="122433" y="333211"/>
                  <a:pt x="135228" y="333345"/>
                  <a:pt x="141027" y="327546"/>
                </a:cubicBezTo>
                <a:cubicBezTo>
                  <a:pt x="146826" y="321747"/>
                  <a:pt x="150126" y="313898"/>
                  <a:pt x="154675" y="307074"/>
                </a:cubicBezTo>
                <a:lnTo>
                  <a:pt x="168322" y="266131"/>
                </a:lnTo>
                <a:cubicBezTo>
                  <a:pt x="170597" y="259307"/>
                  <a:pt x="168322" y="247934"/>
                  <a:pt x="175146" y="245659"/>
                </a:cubicBezTo>
                <a:lnTo>
                  <a:pt x="195618" y="238835"/>
                </a:lnTo>
                <a:cubicBezTo>
                  <a:pt x="204716" y="225187"/>
                  <a:pt x="217726" y="213453"/>
                  <a:pt x="222913" y="197892"/>
                </a:cubicBezTo>
                <a:lnTo>
                  <a:pt x="243385" y="136477"/>
                </a:lnTo>
                <a:cubicBezTo>
                  <a:pt x="245660" y="129653"/>
                  <a:pt x="248464" y="122984"/>
                  <a:pt x="250209" y="116006"/>
                </a:cubicBezTo>
                <a:cubicBezTo>
                  <a:pt x="252484" y="106907"/>
                  <a:pt x="253339" y="97330"/>
                  <a:pt x="257033" y="88710"/>
                </a:cubicBezTo>
                <a:cubicBezTo>
                  <a:pt x="277045" y="42013"/>
                  <a:pt x="266003" y="93770"/>
                  <a:pt x="277504" y="47767"/>
                </a:cubicBezTo>
                <a:cubicBezTo>
                  <a:pt x="280317" y="36515"/>
                  <a:pt x="278573" y="23717"/>
                  <a:pt x="284328" y="13647"/>
                </a:cubicBezTo>
                <a:cubicBezTo>
                  <a:pt x="288397" y="6526"/>
                  <a:pt x="304800" y="0"/>
                  <a:pt x="30480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7" name="Freeform 166"/>
          <p:cNvSpPr/>
          <p:nvPr/>
        </p:nvSpPr>
        <p:spPr>
          <a:xfrm>
            <a:off x="1611588" y="2963866"/>
            <a:ext cx="679450" cy="511175"/>
          </a:xfrm>
          <a:custGeom>
            <a:avLst/>
            <a:gdLst>
              <a:gd name="connsiteX0" fmla="*/ 3570 w 680396"/>
              <a:gd name="connsiteY0" fmla="*/ 511791 h 511791"/>
              <a:gd name="connsiteX1" fmla="*/ 30865 w 680396"/>
              <a:gd name="connsiteY1" fmla="*/ 477671 h 511791"/>
              <a:gd name="connsiteX2" fmla="*/ 44513 w 680396"/>
              <a:gd name="connsiteY2" fmla="*/ 457200 h 511791"/>
              <a:gd name="connsiteX3" fmla="*/ 85456 w 680396"/>
              <a:gd name="connsiteY3" fmla="*/ 436728 h 511791"/>
              <a:gd name="connsiteX4" fmla="*/ 105928 w 680396"/>
              <a:gd name="connsiteY4" fmla="*/ 423080 h 511791"/>
              <a:gd name="connsiteX5" fmla="*/ 126400 w 680396"/>
              <a:gd name="connsiteY5" fmla="*/ 361665 h 511791"/>
              <a:gd name="connsiteX6" fmla="*/ 133224 w 680396"/>
              <a:gd name="connsiteY6" fmla="*/ 341194 h 511791"/>
              <a:gd name="connsiteX7" fmla="*/ 146871 w 680396"/>
              <a:gd name="connsiteY7" fmla="*/ 320722 h 511791"/>
              <a:gd name="connsiteX8" fmla="*/ 187815 w 680396"/>
              <a:gd name="connsiteY8" fmla="*/ 307074 h 511791"/>
              <a:gd name="connsiteX9" fmla="*/ 208286 w 680396"/>
              <a:gd name="connsiteY9" fmla="*/ 293427 h 511791"/>
              <a:gd name="connsiteX10" fmla="*/ 228758 w 680396"/>
              <a:gd name="connsiteY10" fmla="*/ 266131 h 511791"/>
              <a:gd name="connsiteX11" fmla="*/ 256053 w 680396"/>
              <a:gd name="connsiteY11" fmla="*/ 225188 h 511791"/>
              <a:gd name="connsiteX12" fmla="*/ 296997 w 680396"/>
              <a:gd name="connsiteY12" fmla="*/ 211540 h 511791"/>
              <a:gd name="connsiteX13" fmla="*/ 317468 w 680396"/>
              <a:gd name="connsiteY13" fmla="*/ 197892 h 511791"/>
              <a:gd name="connsiteX14" fmla="*/ 324292 w 680396"/>
              <a:gd name="connsiteY14" fmla="*/ 177421 h 511791"/>
              <a:gd name="connsiteX15" fmla="*/ 344764 w 680396"/>
              <a:gd name="connsiteY15" fmla="*/ 156949 h 511791"/>
              <a:gd name="connsiteX16" fmla="*/ 351588 w 680396"/>
              <a:gd name="connsiteY16" fmla="*/ 136477 h 511791"/>
              <a:gd name="connsiteX17" fmla="*/ 413003 w 680396"/>
              <a:gd name="connsiteY17" fmla="*/ 136477 h 511791"/>
              <a:gd name="connsiteX18" fmla="*/ 460770 w 680396"/>
              <a:gd name="connsiteY18" fmla="*/ 136477 h 511791"/>
              <a:gd name="connsiteX19" fmla="*/ 563128 w 680396"/>
              <a:gd name="connsiteY19" fmla="*/ 129654 h 511791"/>
              <a:gd name="connsiteX20" fmla="*/ 597247 w 680396"/>
              <a:gd name="connsiteY20" fmla="*/ 102358 h 511791"/>
              <a:gd name="connsiteX21" fmla="*/ 610895 w 680396"/>
              <a:gd name="connsiteY21" fmla="*/ 61415 h 511791"/>
              <a:gd name="connsiteX22" fmla="*/ 651838 w 680396"/>
              <a:gd name="connsiteY22" fmla="*/ 47767 h 511791"/>
              <a:gd name="connsiteX23" fmla="*/ 679134 w 680396"/>
              <a:gd name="connsiteY23" fmla="*/ 0 h 51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80396" h="511791">
                <a:moveTo>
                  <a:pt x="3570" y="511791"/>
                </a:moveTo>
                <a:cubicBezTo>
                  <a:pt x="16854" y="471938"/>
                  <a:pt x="0" y="508536"/>
                  <a:pt x="30865" y="477671"/>
                </a:cubicBezTo>
                <a:cubicBezTo>
                  <a:pt x="36664" y="471872"/>
                  <a:pt x="38714" y="462999"/>
                  <a:pt x="44513" y="457200"/>
                </a:cubicBezTo>
                <a:cubicBezTo>
                  <a:pt x="64070" y="437643"/>
                  <a:pt x="63255" y="447829"/>
                  <a:pt x="85456" y="436728"/>
                </a:cubicBezTo>
                <a:cubicBezTo>
                  <a:pt x="92792" y="433060"/>
                  <a:pt x="99104" y="427629"/>
                  <a:pt x="105928" y="423080"/>
                </a:cubicBezTo>
                <a:lnTo>
                  <a:pt x="126400" y="361665"/>
                </a:lnTo>
                <a:cubicBezTo>
                  <a:pt x="128675" y="354841"/>
                  <a:pt x="129234" y="347179"/>
                  <a:pt x="133224" y="341194"/>
                </a:cubicBezTo>
                <a:cubicBezTo>
                  <a:pt x="137773" y="334370"/>
                  <a:pt x="139916" y="325069"/>
                  <a:pt x="146871" y="320722"/>
                </a:cubicBezTo>
                <a:cubicBezTo>
                  <a:pt x="159070" y="313097"/>
                  <a:pt x="175845" y="315054"/>
                  <a:pt x="187815" y="307074"/>
                </a:cubicBezTo>
                <a:lnTo>
                  <a:pt x="208286" y="293427"/>
                </a:lnTo>
                <a:cubicBezTo>
                  <a:pt x="215110" y="284328"/>
                  <a:pt x="223115" y="276006"/>
                  <a:pt x="228758" y="266131"/>
                </a:cubicBezTo>
                <a:cubicBezTo>
                  <a:pt x="241880" y="243168"/>
                  <a:pt x="226141" y="241806"/>
                  <a:pt x="256053" y="225188"/>
                </a:cubicBezTo>
                <a:cubicBezTo>
                  <a:pt x="268629" y="218201"/>
                  <a:pt x="296997" y="211540"/>
                  <a:pt x="296997" y="211540"/>
                </a:cubicBezTo>
                <a:cubicBezTo>
                  <a:pt x="303821" y="206991"/>
                  <a:pt x="312345" y="204296"/>
                  <a:pt x="317468" y="197892"/>
                </a:cubicBezTo>
                <a:cubicBezTo>
                  <a:pt x="321961" y="192275"/>
                  <a:pt x="320302" y="183406"/>
                  <a:pt x="324292" y="177421"/>
                </a:cubicBezTo>
                <a:cubicBezTo>
                  <a:pt x="329645" y="169391"/>
                  <a:pt x="337940" y="163773"/>
                  <a:pt x="344764" y="156949"/>
                </a:cubicBezTo>
                <a:cubicBezTo>
                  <a:pt x="347039" y="150125"/>
                  <a:pt x="346502" y="141563"/>
                  <a:pt x="351588" y="136477"/>
                </a:cubicBezTo>
                <a:cubicBezTo>
                  <a:pt x="365986" y="122079"/>
                  <a:pt x="401898" y="134626"/>
                  <a:pt x="413003" y="136477"/>
                </a:cubicBezTo>
                <a:cubicBezTo>
                  <a:pt x="451046" y="149159"/>
                  <a:pt x="415185" y="141275"/>
                  <a:pt x="460770" y="136477"/>
                </a:cubicBezTo>
                <a:cubicBezTo>
                  <a:pt x="494777" y="132898"/>
                  <a:pt x="529009" y="131928"/>
                  <a:pt x="563128" y="129654"/>
                </a:cubicBezTo>
                <a:cubicBezTo>
                  <a:pt x="585328" y="122254"/>
                  <a:pt x="586511" y="126515"/>
                  <a:pt x="597247" y="102358"/>
                </a:cubicBezTo>
                <a:cubicBezTo>
                  <a:pt x="603090" y="89212"/>
                  <a:pt x="597247" y="65964"/>
                  <a:pt x="610895" y="61415"/>
                </a:cubicBezTo>
                <a:lnTo>
                  <a:pt x="651838" y="47767"/>
                </a:lnTo>
                <a:cubicBezTo>
                  <a:pt x="680396" y="4931"/>
                  <a:pt x="679134" y="23227"/>
                  <a:pt x="67913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8" name="Freeform 167"/>
          <p:cNvSpPr/>
          <p:nvPr/>
        </p:nvSpPr>
        <p:spPr>
          <a:xfrm>
            <a:off x="3916638" y="4403725"/>
            <a:ext cx="1225550" cy="219075"/>
          </a:xfrm>
          <a:custGeom>
            <a:avLst/>
            <a:gdLst>
              <a:gd name="connsiteX0" fmla="*/ 1226440 w 1226440"/>
              <a:gd name="connsiteY0" fmla="*/ 210703 h 217527"/>
              <a:gd name="connsiteX1" fmla="*/ 1212792 w 1226440"/>
              <a:gd name="connsiteY1" fmla="*/ 183407 h 217527"/>
              <a:gd name="connsiteX2" fmla="*/ 1205968 w 1226440"/>
              <a:gd name="connsiteY2" fmla="*/ 162936 h 217527"/>
              <a:gd name="connsiteX3" fmla="*/ 1151377 w 1226440"/>
              <a:gd name="connsiteY3" fmla="*/ 169760 h 217527"/>
              <a:gd name="connsiteX4" fmla="*/ 1130906 w 1226440"/>
              <a:gd name="connsiteY4" fmla="*/ 176584 h 217527"/>
              <a:gd name="connsiteX5" fmla="*/ 1055843 w 1226440"/>
              <a:gd name="connsiteY5" fmla="*/ 142464 h 217527"/>
              <a:gd name="connsiteX6" fmla="*/ 1035371 w 1226440"/>
              <a:gd name="connsiteY6" fmla="*/ 128816 h 217527"/>
              <a:gd name="connsiteX7" fmla="*/ 994428 w 1226440"/>
              <a:gd name="connsiteY7" fmla="*/ 115169 h 217527"/>
              <a:gd name="connsiteX8" fmla="*/ 973957 w 1226440"/>
              <a:gd name="connsiteY8" fmla="*/ 108345 h 217527"/>
              <a:gd name="connsiteX9" fmla="*/ 885246 w 1226440"/>
              <a:gd name="connsiteY9" fmla="*/ 121992 h 217527"/>
              <a:gd name="connsiteX10" fmla="*/ 844303 w 1226440"/>
              <a:gd name="connsiteY10" fmla="*/ 135640 h 217527"/>
              <a:gd name="connsiteX11" fmla="*/ 782888 w 1226440"/>
              <a:gd name="connsiteY11" fmla="*/ 128816 h 217527"/>
              <a:gd name="connsiteX12" fmla="*/ 776064 w 1226440"/>
              <a:gd name="connsiteY12" fmla="*/ 108345 h 217527"/>
              <a:gd name="connsiteX13" fmla="*/ 755592 w 1226440"/>
              <a:gd name="connsiteY13" fmla="*/ 101521 h 217527"/>
              <a:gd name="connsiteX14" fmla="*/ 735121 w 1226440"/>
              <a:gd name="connsiteY14" fmla="*/ 87873 h 217527"/>
              <a:gd name="connsiteX15" fmla="*/ 707825 w 1226440"/>
              <a:gd name="connsiteY15" fmla="*/ 46930 h 217527"/>
              <a:gd name="connsiteX16" fmla="*/ 666882 w 1226440"/>
              <a:gd name="connsiteY16" fmla="*/ 26458 h 217527"/>
              <a:gd name="connsiteX17" fmla="*/ 625939 w 1226440"/>
              <a:gd name="connsiteY17" fmla="*/ 5986 h 217527"/>
              <a:gd name="connsiteX18" fmla="*/ 530404 w 1226440"/>
              <a:gd name="connsiteY18" fmla="*/ 12810 h 217527"/>
              <a:gd name="connsiteX19" fmla="*/ 489461 w 1226440"/>
              <a:gd name="connsiteY19" fmla="*/ 26458 h 217527"/>
              <a:gd name="connsiteX20" fmla="*/ 468989 w 1226440"/>
              <a:gd name="connsiteY20" fmla="*/ 33282 h 217527"/>
              <a:gd name="connsiteX21" fmla="*/ 448518 w 1226440"/>
              <a:gd name="connsiteY21" fmla="*/ 46930 h 217527"/>
              <a:gd name="connsiteX22" fmla="*/ 400751 w 1226440"/>
              <a:gd name="connsiteY22" fmla="*/ 60578 h 217527"/>
              <a:gd name="connsiteX23" fmla="*/ 325688 w 1226440"/>
              <a:gd name="connsiteY23" fmla="*/ 74225 h 217527"/>
              <a:gd name="connsiteX24" fmla="*/ 271097 w 1226440"/>
              <a:gd name="connsiteY24" fmla="*/ 101521 h 217527"/>
              <a:gd name="connsiteX25" fmla="*/ 250625 w 1226440"/>
              <a:gd name="connsiteY25" fmla="*/ 162936 h 217527"/>
              <a:gd name="connsiteX26" fmla="*/ 243801 w 1226440"/>
              <a:gd name="connsiteY26" fmla="*/ 183407 h 217527"/>
              <a:gd name="connsiteX27" fmla="*/ 182386 w 1226440"/>
              <a:gd name="connsiteY27" fmla="*/ 210703 h 217527"/>
              <a:gd name="connsiteX28" fmla="*/ 161915 w 1226440"/>
              <a:gd name="connsiteY28" fmla="*/ 217527 h 217527"/>
              <a:gd name="connsiteX29" fmla="*/ 66380 w 1226440"/>
              <a:gd name="connsiteY29" fmla="*/ 210703 h 217527"/>
              <a:gd name="connsiteX30" fmla="*/ 32261 w 1226440"/>
              <a:gd name="connsiteY30" fmla="*/ 203879 h 21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26440" h="217527">
                <a:moveTo>
                  <a:pt x="1226440" y="210703"/>
                </a:moveTo>
                <a:cubicBezTo>
                  <a:pt x="1221891" y="201604"/>
                  <a:pt x="1216799" y="192757"/>
                  <a:pt x="1212792" y="183407"/>
                </a:cubicBezTo>
                <a:cubicBezTo>
                  <a:pt x="1209959" y="176796"/>
                  <a:pt x="1212990" y="164496"/>
                  <a:pt x="1205968" y="162936"/>
                </a:cubicBezTo>
                <a:cubicBezTo>
                  <a:pt x="1188066" y="158958"/>
                  <a:pt x="1169574" y="167485"/>
                  <a:pt x="1151377" y="169760"/>
                </a:cubicBezTo>
                <a:cubicBezTo>
                  <a:pt x="1144553" y="172035"/>
                  <a:pt x="1138099" y="176584"/>
                  <a:pt x="1130906" y="176584"/>
                </a:cubicBezTo>
                <a:cubicBezTo>
                  <a:pt x="1095763" y="176584"/>
                  <a:pt x="1085138" y="161994"/>
                  <a:pt x="1055843" y="142464"/>
                </a:cubicBezTo>
                <a:cubicBezTo>
                  <a:pt x="1049019" y="137915"/>
                  <a:pt x="1043152" y="131409"/>
                  <a:pt x="1035371" y="128816"/>
                </a:cubicBezTo>
                <a:lnTo>
                  <a:pt x="994428" y="115169"/>
                </a:lnTo>
                <a:lnTo>
                  <a:pt x="973957" y="108345"/>
                </a:lnTo>
                <a:cubicBezTo>
                  <a:pt x="930723" y="113149"/>
                  <a:pt x="920002" y="111565"/>
                  <a:pt x="885246" y="121992"/>
                </a:cubicBezTo>
                <a:cubicBezTo>
                  <a:pt x="871467" y="126126"/>
                  <a:pt x="844303" y="135640"/>
                  <a:pt x="844303" y="135640"/>
                </a:cubicBezTo>
                <a:cubicBezTo>
                  <a:pt x="823831" y="133365"/>
                  <a:pt x="802012" y="136466"/>
                  <a:pt x="782888" y="128816"/>
                </a:cubicBezTo>
                <a:cubicBezTo>
                  <a:pt x="776210" y="126145"/>
                  <a:pt x="781150" y="113431"/>
                  <a:pt x="776064" y="108345"/>
                </a:cubicBezTo>
                <a:cubicBezTo>
                  <a:pt x="770978" y="103259"/>
                  <a:pt x="762416" y="103796"/>
                  <a:pt x="755592" y="101521"/>
                </a:cubicBezTo>
                <a:cubicBezTo>
                  <a:pt x="748768" y="96972"/>
                  <a:pt x="740521" y="94045"/>
                  <a:pt x="735121" y="87873"/>
                </a:cubicBezTo>
                <a:cubicBezTo>
                  <a:pt x="724320" y="75529"/>
                  <a:pt x="721473" y="56029"/>
                  <a:pt x="707825" y="46930"/>
                </a:cubicBezTo>
                <a:cubicBezTo>
                  <a:pt x="649164" y="7821"/>
                  <a:pt x="723381" y="54708"/>
                  <a:pt x="666882" y="26458"/>
                </a:cubicBezTo>
                <a:cubicBezTo>
                  <a:pt x="613966" y="0"/>
                  <a:pt x="677396" y="23139"/>
                  <a:pt x="625939" y="5986"/>
                </a:cubicBezTo>
                <a:cubicBezTo>
                  <a:pt x="594094" y="8261"/>
                  <a:pt x="561977" y="8074"/>
                  <a:pt x="530404" y="12810"/>
                </a:cubicBezTo>
                <a:cubicBezTo>
                  <a:pt x="516177" y="14944"/>
                  <a:pt x="503109" y="21909"/>
                  <a:pt x="489461" y="26458"/>
                </a:cubicBezTo>
                <a:lnTo>
                  <a:pt x="468989" y="33282"/>
                </a:lnTo>
                <a:cubicBezTo>
                  <a:pt x="462165" y="37831"/>
                  <a:pt x="455853" y="43262"/>
                  <a:pt x="448518" y="46930"/>
                </a:cubicBezTo>
                <a:cubicBezTo>
                  <a:pt x="439401" y="51489"/>
                  <a:pt x="408620" y="58829"/>
                  <a:pt x="400751" y="60578"/>
                </a:cubicBezTo>
                <a:cubicBezTo>
                  <a:pt x="372159" y="66931"/>
                  <a:pt x="355293" y="69291"/>
                  <a:pt x="325688" y="74225"/>
                </a:cubicBezTo>
                <a:cubicBezTo>
                  <a:pt x="307491" y="83324"/>
                  <a:pt x="277531" y="82220"/>
                  <a:pt x="271097" y="101521"/>
                </a:cubicBezTo>
                <a:lnTo>
                  <a:pt x="250625" y="162936"/>
                </a:lnTo>
                <a:cubicBezTo>
                  <a:pt x="248350" y="169760"/>
                  <a:pt x="249786" y="179417"/>
                  <a:pt x="243801" y="183407"/>
                </a:cubicBezTo>
                <a:cubicBezTo>
                  <a:pt x="211360" y="205036"/>
                  <a:pt x="231111" y="194461"/>
                  <a:pt x="182386" y="210703"/>
                </a:cubicBezTo>
                <a:lnTo>
                  <a:pt x="161915" y="217527"/>
                </a:lnTo>
                <a:cubicBezTo>
                  <a:pt x="130070" y="215252"/>
                  <a:pt x="98111" y="214229"/>
                  <a:pt x="66380" y="210703"/>
                </a:cubicBezTo>
                <a:cubicBezTo>
                  <a:pt x="0" y="203327"/>
                  <a:pt x="57408" y="203879"/>
                  <a:pt x="32261" y="20387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69" name="Freeform 168"/>
          <p:cNvSpPr/>
          <p:nvPr/>
        </p:nvSpPr>
        <p:spPr>
          <a:xfrm>
            <a:off x="1929088" y="3465515"/>
            <a:ext cx="469900" cy="647700"/>
          </a:xfrm>
          <a:custGeom>
            <a:avLst/>
            <a:gdLst>
              <a:gd name="connsiteX0" fmla="*/ 0 w 468809"/>
              <a:gd name="connsiteY0" fmla="*/ 647205 h 647205"/>
              <a:gd name="connsiteX1" fmla="*/ 29688 w 468809"/>
              <a:gd name="connsiteY1" fmla="*/ 641267 h 647205"/>
              <a:gd name="connsiteX2" fmla="*/ 35626 w 468809"/>
              <a:gd name="connsiteY2" fmla="*/ 623454 h 647205"/>
              <a:gd name="connsiteX3" fmla="*/ 47501 w 468809"/>
              <a:gd name="connsiteY3" fmla="*/ 605641 h 647205"/>
              <a:gd name="connsiteX4" fmla="*/ 65314 w 468809"/>
              <a:gd name="connsiteY4" fmla="*/ 570015 h 647205"/>
              <a:gd name="connsiteX5" fmla="*/ 83127 w 468809"/>
              <a:gd name="connsiteY5" fmla="*/ 558140 h 647205"/>
              <a:gd name="connsiteX6" fmla="*/ 118753 w 468809"/>
              <a:gd name="connsiteY6" fmla="*/ 528452 h 647205"/>
              <a:gd name="connsiteX7" fmla="*/ 136566 w 468809"/>
              <a:gd name="connsiteY7" fmla="*/ 522514 h 647205"/>
              <a:gd name="connsiteX8" fmla="*/ 172192 w 468809"/>
              <a:gd name="connsiteY8" fmla="*/ 504701 h 647205"/>
              <a:gd name="connsiteX9" fmla="*/ 255319 w 468809"/>
              <a:gd name="connsiteY9" fmla="*/ 498763 h 647205"/>
              <a:gd name="connsiteX10" fmla="*/ 279070 w 468809"/>
              <a:gd name="connsiteY10" fmla="*/ 492826 h 647205"/>
              <a:gd name="connsiteX11" fmla="*/ 314696 w 468809"/>
              <a:gd name="connsiteY11" fmla="*/ 480950 h 647205"/>
              <a:gd name="connsiteX12" fmla="*/ 326571 w 468809"/>
              <a:gd name="connsiteY12" fmla="*/ 445324 h 647205"/>
              <a:gd name="connsiteX13" fmla="*/ 344384 w 468809"/>
              <a:gd name="connsiteY13" fmla="*/ 409698 h 647205"/>
              <a:gd name="connsiteX14" fmla="*/ 356260 w 468809"/>
              <a:gd name="connsiteY14" fmla="*/ 397823 h 647205"/>
              <a:gd name="connsiteX15" fmla="*/ 362197 w 468809"/>
              <a:gd name="connsiteY15" fmla="*/ 380010 h 647205"/>
              <a:gd name="connsiteX16" fmla="*/ 380010 w 468809"/>
              <a:gd name="connsiteY16" fmla="*/ 374072 h 647205"/>
              <a:gd name="connsiteX17" fmla="*/ 415636 w 468809"/>
              <a:gd name="connsiteY17" fmla="*/ 356259 h 647205"/>
              <a:gd name="connsiteX18" fmla="*/ 427511 w 468809"/>
              <a:gd name="connsiteY18" fmla="*/ 178129 h 647205"/>
              <a:gd name="connsiteX19" fmla="*/ 409699 w 468809"/>
              <a:gd name="connsiteY19" fmla="*/ 172192 h 647205"/>
              <a:gd name="connsiteX20" fmla="*/ 362197 w 468809"/>
              <a:gd name="connsiteY20" fmla="*/ 160316 h 647205"/>
              <a:gd name="connsiteX21" fmla="*/ 350322 w 468809"/>
              <a:gd name="connsiteY21" fmla="*/ 142503 h 647205"/>
              <a:gd name="connsiteX22" fmla="*/ 344384 w 468809"/>
              <a:gd name="connsiteY22" fmla="*/ 124690 h 647205"/>
              <a:gd name="connsiteX23" fmla="*/ 332509 w 468809"/>
              <a:gd name="connsiteY23" fmla="*/ 100940 h 647205"/>
              <a:gd name="connsiteX24" fmla="*/ 338447 w 468809"/>
              <a:gd name="connsiteY24" fmla="*/ 53439 h 647205"/>
              <a:gd name="connsiteX25" fmla="*/ 344384 w 468809"/>
              <a:gd name="connsiteY25" fmla="*/ 0 h 647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68809" h="647205">
                <a:moveTo>
                  <a:pt x="0" y="647205"/>
                </a:moveTo>
                <a:cubicBezTo>
                  <a:pt x="9896" y="645226"/>
                  <a:pt x="21291" y="646865"/>
                  <a:pt x="29688" y="641267"/>
                </a:cubicBezTo>
                <a:cubicBezTo>
                  <a:pt x="34896" y="637795"/>
                  <a:pt x="32827" y="629052"/>
                  <a:pt x="35626" y="623454"/>
                </a:cubicBezTo>
                <a:cubicBezTo>
                  <a:pt x="38817" y="617071"/>
                  <a:pt x="44310" y="612024"/>
                  <a:pt x="47501" y="605641"/>
                </a:cubicBezTo>
                <a:cubicBezTo>
                  <a:pt x="57158" y="586326"/>
                  <a:pt x="48300" y="587029"/>
                  <a:pt x="65314" y="570015"/>
                </a:cubicBezTo>
                <a:cubicBezTo>
                  <a:pt x="70360" y="564969"/>
                  <a:pt x="77645" y="562708"/>
                  <a:pt x="83127" y="558140"/>
                </a:cubicBezTo>
                <a:cubicBezTo>
                  <a:pt x="102827" y="541724"/>
                  <a:pt x="96638" y="539509"/>
                  <a:pt x="118753" y="528452"/>
                </a:cubicBezTo>
                <a:cubicBezTo>
                  <a:pt x="124351" y="525653"/>
                  <a:pt x="130968" y="525313"/>
                  <a:pt x="136566" y="522514"/>
                </a:cubicBezTo>
                <a:cubicBezTo>
                  <a:pt x="153808" y="513893"/>
                  <a:pt x="152677" y="506997"/>
                  <a:pt x="172192" y="504701"/>
                </a:cubicBezTo>
                <a:cubicBezTo>
                  <a:pt x="199781" y="501455"/>
                  <a:pt x="227610" y="500742"/>
                  <a:pt x="255319" y="498763"/>
                </a:cubicBezTo>
                <a:cubicBezTo>
                  <a:pt x="263236" y="496784"/>
                  <a:pt x="271254" y="495171"/>
                  <a:pt x="279070" y="492826"/>
                </a:cubicBezTo>
                <a:cubicBezTo>
                  <a:pt x="291060" y="489229"/>
                  <a:pt x="314696" y="480950"/>
                  <a:pt x="314696" y="480950"/>
                </a:cubicBezTo>
                <a:lnTo>
                  <a:pt x="326571" y="445324"/>
                </a:lnTo>
                <a:cubicBezTo>
                  <a:pt x="332842" y="426512"/>
                  <a:pt x="331231" y="426139"/>
                  <a:pt x="344384" y="409698"/>
                </a:cubicBezTo>
                <a:cubicBezTo>
                  <a:pt x="347881" y="405327"/>
                  <a:pt x="352301" y="401781"/>
                  <a:pt x="356260" y="397823"/>
                </a:cubicBezTo>
                <a:cubicBezTo>
                  <a:pt x="358239" y="391885"/>
                  <a:pt x="357771" y="384436"/>
                  <a:pt x="362197" y="380010"/>
                </a:cubicBezTo>
                <a:cubicBezTo>
                  <a:pt x="366623" y="375584"/>
                  <a:pt x="374643" y="377292"/>
                  <a:pt x="380010" y="374072"/>
                </a:cubicBezTo>
                <a:cubicBezTo>
                  <a:pt x="417822" y="351385"/>
                  <a:pt x="357060" y="370904"/>
                  <a:pt x="415636" y="356259"/>
                </a:cubicBezTo>
                <a:cubicBezTo>
                  <a:pt x="468809" y="303086"/>
                  <a:pt x="449380" y="331217"/>
                  <a:pt x="427511" y="178129"/>
                </a:cubicBezTo>
                <a:cubicBezTo>
                  <a:pt x="426626" y="171933"/>
                  <a:pt x="415771" y="173710"/>
                  <a:pt x="409699" y="172192"/>
                </a:cubicBezTo>
                <a:lnTo>
                  <a:pt x="362197" y="160316"/>
                </a:lnTo>
                <a:cubicBezTo>
                  <a:pt x="358239" y="154378"/>
                  <a:pt x="353513" y="148886"/>
                  <a:pt x="350322" y="142503"/>
                </a:cubicBezTo>
                <a:cubicBezTo>
                  <a:pt x="347523" y="136905"/>
                  <a:pt x="346850" y="130443"/>
                  <a:pt x="344384" y="124690"/>
                </a:cubicBezTo>
                <a:cubicBezTo>
                  <a:pt x="340897" y="116555"/>
                  <a:pt x="336467" y="108857"/>
                  <a:pt x="332509" y="100940"/>
                </a:cubicBezTo>
                <a:cubicBezTo>
                  <a:pt x="334488" y="85106"/>
                  <a:pt x="336583" y="69287"/>
                  <a:pt x="338447" y="53439"/>
                </a:cubicBezTo>
                <a:cubicBezTo>
                  <a:pt x="340541" y="35639"/>
                  <a:pt x="344384" y="0"/>
                  <a:pt x="34438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0" name="Freeform 169"/>
          <p:cNvSpPr/>
          <p:nvPr/>
        </p:nvSpPr>
        <p:spPr>
          <a:xfrm>
            <a:off x="1959251" y="3940178"/>
            <a:ext cx="1884362" cy="333375"/>
          </a:xfrm>
          <a:custGeom>
            <a:avLst/>
            <a:gdLst>
              <a:gd name="connsiteX0" fmla="*/ 0 w 1883709"/>
              <a:gd name="connsiteY0" fmla="*/ 332509 h 332509"/>
              <a:gd name="connsiteX1" fmla="*/ 17813 w 1883709"/>
              <a:gd name="connsiteY1" fmla="*/ 326571 h 332509"/>
              <a:gd name="connsiteX2" fmla="*/ 35626 w 1883709"/>
              <a:gd name="connsiteY2" fmla="*/ 314696 h 332509"/>
              <a:gd name="connsiteX3" fmla="*/ 136566 w 1883709"/>
              <a:gd name="connsiteY3" fmla="*/ 302820 h 332509"/>
              <a:gd name="connsiteX4" fmla="*/ 148442 w 1883709"/>
              <a:gd name="connsiteY4" fmla="*/ 290945 h 332509"/>
              <a:gd name="connsiteX5" fmla="*/ 166255 w 1883709"/>
              <a:gd name="connsiteY5" fmla="*/ 261257 h 332509"/>
              <a:gd name="connsiteX6" fmla="*/ 184068 w 1883709"/>
              <a:gd name="connsiteY6" fmla="*/ 255319 h 332509"/>
              <a:gd name="connsiteX7" fmla="*/ 285008 w 1883709"/>
              <a:gd name="connsiteY7" fmla="*/ 261257 h 332509"/>
              <a:gd name="connsiteX8" fmla="*/ 380011 w 1883709"/>
              <a:gd name="connsiteY8" fmla="*/ 273132 h 332509"/>
              <a:gd name="connsiteX9" fmla="*/ 421574 w 1883709"/>
              <a:gd name="connsiteY9" fmla="*/ 267194 h 332509"/>
              <a:gd name="connsiteX10" fmla="*/ 427512 w 1883709"/>
              <a:gd name="connsiteY10" fmla="*/ 249381 h 332509"/>
              <a:gd name="connsiteX11" fmla="*/ 445325 w 1883709"/>
              <a:gd name="connsiteY11" fmla="*/ 231568 h 332509"/>
              <a:gd name="connsiteX12" fmla="*/ 492826 w 1883709"/>
              <a:gd name="connsiteY12" fmla="*/ 219693 h 332509"/>
              <a:gd name="connsiteX13" fmla="*/ 516577 w 1883709"/>
              <a:gd name="connsiteY13" fmla="*/ 213755 h 332509"/>
              <a:gd name="connsiteX14" fmla="*/ 534390 w 1883709"/>
              <a:gd name="connsiteY14" fmla="*/ 207818 h 332509"/>
              <a:gd name="connsiteX15" fmla="*/ 581891 w 1883709"/>
              <a:gd name="connsiteY15" fmla="*/ 201880 h 332509"/>
              <a:gd name="connsiteX16" fmla="*/ 617517 w 1883709"/>
              <a:gd name="connsiteY16" fmla="*/ 190005 h 332509"/>
              <a:gd name="connsiteX17" fmla="*/ 635330 w 1883709"/>
              <a:gd name="connsiteY17" fmla="*/ 160316 h 332509"/>
              <a:gd name="connsiteX18" fmla="*/ 647205 w 1883709"/>
              <a:gd name="connsiteY18" fmla="*/ 142503 h 332509"/>
              <a:gd name="connsiteX19" fmla="*/ 665018 w 1883709"/>
              <a:gd name="connsiteY19" fmla="*/ 136566 h 332509"/>
              <a:gd name="connsiteX20" fmla="*/ 736270 w 1883709"/>
              <a:gd name="connsiteY20" fmla="*/ 130628 h 332509"/>
              <a:gd name="connsiteX21" fmla="*/ 789709 w 1883709"/>
              <a:gd name="connsiteY21" fmla="*/ 112815 h 332509"/>
              <a:gd name="connsiteX22" fmla="*/ 807522 w 1883709"/>
              <a:gd name="connsiteY22" fmla="*/ 106877 h 332509"/>
              <a:gd name="connsiteX23" fmla="*/ 825335 w 1883709"/>
              <a:gd name="connsiteY23" fmla="*/ 100940 h 332509"/>
              <a:gd name="connsiteX24" fmla="*/ 944088 w 1883709"/>
              <a:gd name="connsiteY24" fmla="*/ 95002 h 332509"/>
              <a:gd name="connsiteX25" fmla="*/ 961901 w 1883709"/>
              <a:gd name="connsiteY25" fmla="*/ 83127 h 332509"/>
              <a:gd name="connsiteX26" fmla="*/ 967839 w 1883709"/>
              <a:gd name="connsiteY26" fmla="*/ 65314 h 332509"/>
              <a:gd name="connsiteX27" fmla="*/ 991590 w 1883709"/>
              <a:gd name="connsiteY27" fmla="*/ 23750 h 332509"/>
              <a:gd name="connsiteX28" fmla="*/ 1009403 w 1883709"/>
              <a:gd name="connsiteY28" fmla="*/ 5937 h 332509"/>
              <a:gd name="connsiteX29" fmla="*/ 1033153 w 1883709"/>
              <a:gd name="connsiteY29" fmla="*/ 0 h 332509"/>
              <a:gd name="connsiteX30" fmla="*/ 1092530 w 1883709"/>
              <a:gd name="connsiteY30" fmla="*/ 5937 h 332509"/>
              <a:gd name="connsiteX31" fmla="*/ 1116281 w 1883709"/>
              <a:gd name="connsiteY31" fmla="*/ 11875 h 332509"/>
              <a:gd name="connsiteX32" fmla="*/ 1175657 w 1883709"/>
              <a:gd name="connsiteY32" fmla="*/ 5937 h 332509"/>
              <a:gd name="connsiteX33" fmla="*/ 1258785 w 1883709"/>
              <a:gd name="connsiteY33" fmla="*/ 23750 h 332509"/>
              <a:gd name="connsiteX34" fmla="*/ 1276598 w 1883709"/>
              <a:gd name="connsiteY34" fmla="*/ 29688 h 332509"/>
              <a:gd name="connsiteX35" fmla="*/ 1300348 w 1883709"/>
              <a:gd name="connsiteY35" fmla="*/ 23750 h 332509"/>
              <a:gd name="connsiteX36" fmla="*/ 1318161 w 1883709"/>
              <a:gd name="connsiteY36" fmla="*/ 17813 h 332509"/>
              <a:gd name="connsiteX37" fmla="*/ 1365662 w 1883709"/>
              <a:gd name="connsiteY37" fmla="*/ 23750 h 332509"/>
              <a:gd name="connsiteX38" fmla="*/ 1442852 w 1883709"/>
              <a:gd name="connsiteY38" fmla="*/ 23750 h 332509"/>
              <a:gd name="connsiteX39" fmla="*/ 1478478 w 1883709"/>
              <a:gd name="connsiteY39" fmla="*/ 11875 h 332509"/>
              <a:gd name="connsiteX40" fmla="*/ 1543792 w 1883709"/>
              <a:gd name="connsiteY40" fmla="*/ 17813 h 332509"/>
              <a:gd name="connsiteX41" fmla="*/ 1579418 w 1883709"/>
              <a:gd name="connsiteY41" fmla="*/ 23750 h 332509"/>
              <a:gd name="connsiteX42" fmla="*/ 1585356 w 1883709"/>
              <a:gd name="connsiteY42" fmla="*/ 53439 h 332509"/>
              <a:gd name="connsiteX43" fmla="*/ 1603169 w 1883709"/>
              <a:gd name="connsiteY43" fmla="*/ 71252 h 332509"/>
              <a:gd name="connsiteX44" fmla="*/ 1609107 w 1883709"/>
              <a:gd name="connsiteY44" fmla="*/ 89065 h 332509"/>
              <a:gd name="connsiteX45" fmla="*/ 1632857 w 1883709"/>
              <a:gd name="connsiteY45" fmla="*/ 95002 h 332509"/>
              <a:gd name="connsiteX46" fmla="*/ 1763486 w 1883709"/>
              <a:gd name="connsiteY46" fmla="*/ 106877 h 332509"/>
              <a:gd name="connsiteX47" fmla="*/ 1781299 w 1883709"/>
              <a:gd name="connsiteY47" fmla="*/ 124690 h 332509"/>
              <a:gd name="connsiteX48" fmla="*/ 1805049 w 1883709"/>
              <a:gd name="connsiteY48" fmla="*/ 154379 h 332509"/>
              <a:gd name="connsiteX49" fmla="*/ 1810987 w 1883709"/>
              <a:gd name="connsiteY49" fmla="*/ 172192 h 332509"/>
              <a:gd name="connsiteX50" fmla="*/ 1834738 w 1883709"/>
              <a:gd name="connsiteY50" fmla="*/ 231568 h 332509"/>
              <a:gd name="connsiteX51" fmla="*/ 1852551 w 1883709"/>
              <a:gd name="connsiteY51" fmla="*/ 237506 h 332509"/>
              <a:gd name="connsiteX52" fmla="*/ 1882239 w 1883709"/>
              <a:gd name="connsiteY52" fmla="*/ 273132 h 332509"/>
              <a:gd name="connsiteX53" fmla="*/ 1882239 w 1883709"/>
              <a:gd name="connsiteY53" fmla="*/ 285007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883709" h="332509">
                <a:moveTo>
                  <a:pt x="0" y="332509"/>
                </a:moveTo>
                <a:cubicBezTo>
                  <a:pt x="5938" y="330530"/>
                  <a:pt x="12215" y="329370"/>
                  <a:pt x="17813" y="326571"/>
                </a:cubicBezTo>
                <a:cubicBezTo>
                  <a:pt x="24196" y="323380"/>
                  <a:pt x="28856" y="316953"/>
                  <a:pt x="35626" y="314696"/>
                </a:cubicBezTo>
                <a:cubicBezTo>
                  <a:pt x="53499" y="308738"/>
                  <a:pt x="130655" y="303357"/>
                  <a:pt x="136566" y="302820"/>
                </a:cubicBezTo>
                <a:cubicBezTo>
                  <a:pt x="140525" y="298862"/>
                  <a:pt x="145562" y="295745"/>
                  <a:pt x="148442" y="290945"/>
                </a:cubicBezTo>
                <a:cubicBezTo>
                  <a:pt x="158952" y="273428"/>
                  <a:pt x="147446" y="272542"/>
                  <a:pt x="166255" y="261257"/>
                </a:cubicBezTo>
                <a:cubicBezTo>
                  <a:pt x="171622" y="258037"/>
                  <a:pt x="178130" y="257298"/>
                  <a:pt x="184068" y="255319"/>
                </a:cubicBezTo>
                <a:lnTo>
                  <a:pt x="285008" y="261257"/>
                </a:lnTo>
                <a:cubicBezTo>
                  <a:pt x="358096" y="266297"/>
                  <a:pt x="335295" y="261952"/>
                  <a:pt x="380011" y="273132"/>
                </a:cubicBezTo>
                <a:cubicBezTo>
                  <a:pt x="393865" y="271153"/>
                  <a:pt x="409057" y="273453"/>
                  <a:pt x="421574" y="267194"/>
                </a:cubicBezTo>
                <a:cubicBezTo>
                  <a:pt x="427172" y="264395"/>
                  <a:pt x="424040" y="254589"/>
                  <a:pt x="427512" y="249381"/>
                </a:cubicBezTo>
                <a:cubicBezTo>
                  <a:pt x="432170" y="242394"/>
                  <a:pt x="438338" y="236226"/>
                  <a:pt x="445325" y="231568"/>
                </a:cubicBezTo>
                <a:cubicBezTo>
                  <a:pt x="453280" y="226265"/>
                  <a:pt x="488334" y="220691"/>
                  <a:pt x="492826" y="219693"/>
                </a:cubicBezTo>
                <a:cubicBezTo>
                  <a:pt x="500792" y="217923"/>
                  <a:pt x="508730" y="215997"/>
                  <a:pt x="516577" y="213755"/>
                </a:cubicBezTo>
                <a:cubicBezTo>
                  <a:pt x="522595" y="212036"/>
                  <a:pt x="528232" y="208938"/>
                  <a:pt x="534390" y="207818"/>
                </a:cubicBezTo>
                <a:cubicBezTo>
                  <a:pt x="550090" y="204964"/>
                  <a:pt x="566057" y="203859"/>
                  <a:pt x="581891" y="201880"/>
                </a:cubicBezTo>
                <a:cubicBezTo>
                  <a:pt x="593766" y="197922"/>
                  <a:pt x="613558" y="201880"/>
                  <a:pt x="617517" y="190005"/>
                </a:cubicBezTo>
                <a:cubicBezTo>
                  <a:pt x="627829" y="159071"/>
                  <a:pt x="616701" y="183604"/>
                  <a:pt x="635330" y="160316"/>
                </a:cubicBezTo>
                <a:cubicBezTo>
                  <a:pt x="639788" y="154744"/>
                  <a:pt x="641633" y="146961"/>
                  <a:pt x="647205" y="142503"/>
                </a:cubicBezTo>
                <a:cubicBezTo>
                  <a:pt x="652092" y="138593"/>
                  <a:pt x="658814" y="137393"/>
                  <a:pt x="665018" y="136566"/>
                </a:cubicBezTo>
                <a:cubicBezTo>
                  <a:pt x="688642" y="133416"/>
                  <a:pt x="712519" y="132607"/>
                  <a:pt x="736270" y="130628"/>
                </a:cubicBezTo>
                <a:lnTo>
                  <a:pt x="789709" y="112815"/>
                </a:lnTo>
                <a:lnTo>
                  <a:pt x="807522" y="106877"/>
                </a:lnTo>
                <a:lnTo>
                  <a:pt x="825335" y="100940"/>
                </a:lnTo>
                <a:cubicBezTo>
                  <a:pt x="883177" y="107366"/>
                  <a:pt x="882858" y="112496"/>
                  <a:pt x="944088" y="95002"/>
                </a:cubicBezTo>
                <a:cubicBezTo>
                  <a:pt x="950950" y="93042"/>
                  <a:pt x="955963" y="87085"/>
                  <a:pt x="961901" y="83127"/>
                </a:cubicBezTo>
                <a:cubicBezTo>
                  <a:pt x="963880" y="77189"/>
                  <a:pt x="965374" y="71067"/>
                  <a:pt x="967839" y="65314"/>
                </a:cubicBezTo>
                <a:cubicBezTo>
                  <a:pt x="972965" y="53353"/>
                  <a:pt x="982818" y="34276"/>
                  <a:pt x="991590" y="23750"/>
                </a:cubicBezTo>
                <a:cubicBezTo>
                  <a:pt x="996966" y="17299"/>
                  <a:pt x="1002112" y="10103"/>
                  <a:pt x="1009403" y="5937"/>
                </a:cubicBezTo>
                <a:cubicBezTo>
                  <a:pt x="1016488" y="1888"/>
                  <a:pt x="1025236" y="1979"/>
                  <a:pt x="1033153" y="0"/>
                </a:cubicBezTo>
                <a:cubicBezTo>
                  <a:pt x="1052945" y="1979"/>
                  <a:pt x="1072839" y="3124"/>
                  <a:pt x="1092530" y="5937"/>
                </a:cubicBezTo>
                <a:cubicBezTo>
                  <a:pt x="1100609" y="7091"/>
                  <a:pt x="1108120" y="11875"/>
                  <a:pt x="1116281" y="11875"/>
                </a:cubicBezTo>
                <a:cubicBezTo>
                  <a:pt x="1136172" y="11875"/>
                  <a:pt x="1155865" y="7916"/>
                  <a:pt x="1175657" y="5937"/>
                </a:cubicBezTo>
                <a:cubicBezTo>
                  <a:pt x="1235577" y="13427"/>
                  <a:pt x="1208023" y="6829"/>
                  <a:pt x="1258785" y="23750"/>
                </a:cubicBezTo>
                <a:lnTo>
                  <a:pt x="1276598" y="29688"/>
                </a:lnTo>
                <a:cubicBezTo>
                  <a:pt x="1284515" y="27709"/>
                  <a:pt x="1292502" y="25992"/>
                  <a:pt x="1300348" y="23750"/>
                </a:cubicBezTo>
                <a:cubicBezTo>
                  <a:pt x="1306366" y="22031"/>
                  <a:pt x="1311902" y="17813"/>
                  <a:pt x="1318161" y="17813"/>
                </a:cubicBezTo>
                <a:cubicBezTo>
                  <a:pt x="1334118" y="17813"/>
                  <a:pt x="1349828" y="21771"/>
                  <a:pt x="1365662" y="23750"/>
                </a:cubicBezTo>
                <a:cubicBezTo>
                  <a:pt x="1398878" y="34822"/>
                  <a:pt x="1388268" y="33985"/>
                  <a:pt x="1442852" y="23750"/>
                </a:cubicBezTo>
                <a:cubicBezTo>
                  <a:pt x="1455155" y="21443"/>
                  <a:pt x="1478478" y="11875"/>
                  <a:pt x="1478478" y="11875"/>
                </a:cubicBezTo>
                <a:cubicBezTo>
                  <a:pt x="1500249" y="13854"/>
                  <a:pt x="1522081" y="15259"/>
                  <a:pt x="1543792" y="17813"/>
                </a:cubicBezTo>
                <a:cubicBezTo>
                  <a:pt x="1555749" y="19220"/>
                  <a:pt x="1570277" y="15915"/>
                  <a:pt x="1579418" y="23750"/>
                </a:cubicBezTo>
                <a:cubicBezTo>
                  <a:pt x="1587081" y="30318"/>
                  <a:pt x="1580843" y="44412"/>
                  <a:pt x="1585356" y="53439"/>
                </a:cubicBezTo>
                <a:cubicBezTo>
                  <a:pt x="1589111" y="60950"/>
                  <a:pt x="1597231" y="65314"/>
                  <a:pt x="1603169" y="71252"/>
                </a:cubicBezTo>
                <a:cubicBezTo>
                  <a:pt x="1605148" y="77190"/>
                  <a:pt x="1604220" y="85155"/>
                  <a:pt x="1609107" y="89065"/>
                </a:cubicBezTo>
                <a:cubicBezTo>
                  <a:pt x="1615479" y="94163"/>
                  <a:pt x="1624792" y="93761"/>
                  <a:pt x="1632857" y="95002"/>
                </a:cubicBezTo>
                <a:cubicBezTo>
                  <a:pt x="1668020" y="100412"/>
                  <a:pt x="1731671" y="104430"/>
                  <a:pt x="1763486" y="106877"/>
                </a:cubicBezTo>
                <a:cubicBezTo>
                  <a:pt x="1769424" y="112815"/>
                  <a:pt x="1775923" y="118239"/>
                  <a:pt x="1781299" y="124690"/>
                </a:cubicBezTo>
                <a:cubicBezTo>
                  <a:pt x="1818760" y="169643"/>
                  <a:pt x="1770493" y="119820"/>
                  <a:pt x="1805049" y="154379"/>
                </a:cubicBezTo>
                <a:cubicBezTo>
                  <a:pt x="1807028" y="160317"/>
                  <a:pt x="1809340" y="166154"/>
                  <a:pt x="1810987" y="172192"/>
                </a:cubicBezTo>
                <a:cubicBezTo>
                  <a:pt x="1816755" y="193342"/>
                  <a:pt x="1813881" y="219054"/>
                  <a:pt x="1834738" y="231568"/>
                </a:cubicBezTo>
                <a:cubicBezTo>
                  <a:pt x="1840105" y="234788"/>
                  <a:pt x="1846613" y="235527"/>
                  <a:pt x="1852551" y="237506"/>
                </a:cubicBezTo>
                <a:cubicBezTo>
                  <a:pt x="1862441" y="247396"/>
                  <a:pt x="1876728" y="259354"/>
                  <a:pt x="1882239" y="273132"/>
                </a:cubicBezTo>
                <a:cubicBezTo>
                  <a:pt x="1883709" y="276807"/>
                  <a:pt x="1882239" y="281049"/>
                  <a:pt x="1882239" y="285007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1" name="Freeform 170"/>
          <p:cNvSpPr/>
          <p:nvPr/>
        </p:nvSpPr>
        <p:spPr>
          <a:xfrm>
            <a:off x="3751542" y="4203703"/>
            <a:ext cx="790575" cy="449263"/>
          </a:xfrm>
          <a:custGeom>
            <a:avLst/>
            <a:gdLst>
              <a:gd name="connsiteX0" fmla="*/ 791319 w 791319"/>
              <a:gd name="connsiteY0" fmla="*/ 193690 h 449009"/>
              <a:gd name="connsiteX1" fmla="*/ 779444 w 791319"/>
              <a:gd name="connsiteY1" fmla="*/ 175877 h 449009"/>
              <a:gd name="connsiteX2" fmla="*/ 767569 w 791319"/>
              <a:gd name="connsiteY2" fmla="*/ 134313 h 449009"/>
              <a:gd name="connsiteX3" fmla="*/ 755693 w 791319"/>
              <a:gd name="connsiteY3" fmla="*/ 122438 h 449009"/>
              <a:gd name="connsiteX4" fmla="*/ 726005 w 791319"/>
              <a:gd name="connsiteY4" fmla="*/ 68999 h 449009"/>
              <a:gd name="connsiteX5" fmla="*/ 708192 w 791319"/>
              <a:gd name="connsiteY5" fmla="*/ 74936 h 449009"/>
              <a:gd name="connsiteX6" fmla="*/ 678504 w 791319"/>
              <a:gd name="connsiteY6" fmla="*/ 68999 h 449009"/>
              <a:gd name="connsiteX7" fmla="*/ 666628 w 791319"/>
              <a:gd name="connsiteY7" fmla="*/ 57123 h 449009"/>
              <a:gd name="connsiteX8" fmla="*/ 648815 w 791319"/>
              <a:gd name="connsiteY8" fmla="*/ 45248 h 449009"/>
              <a:gd name="connsiteX9" fmla="*/ 631002 w 791319"/>
              <a:gd name="connsiteY9" fmla="*/ 39310 h 449009"/>
              <a:gd name="connsiteX10" fmla="*/ 583501 w 791319"/>
              <a:gd name="connsiteY10" fmla="*/ 45248 h 449009"/>
              <a:gd name="connsiteX11" fmla="*/ 547875 w 791319"/>
              <a:gd name="connsiteY11" fmla="*/ 21497 h 449009"/>
              <a:gd name="connsiteX12" fmla="*/ 512249 w 791319"/>
              <a:gd name="connsiteY12" fmla="*/ 3684 h 449009"/>
              <a:gd name="connsiteX13" fmla="*/ 458810 w 791319"/>
              <a:gd name="connsiteY13" fmla="*/ 9622 h 449009"/>
              <a:gd name="connsiteX14" fmla="*/ 446935 w 791319"/>
              <a:gd name="connsiteY14" fmla="*/ 45248 h 449009"/>
              <a:gd name="connsiteX15" fmla="*/ 440997 w 791319"/>
              <a:gd name="connsiteY15" fmla="*/ 63061 h 449009"/>
              <a:gd name="connsiteX16" fmla="*/ 440997 w 791319"/>
              <a:gd name="connsiteY16" fmla="*/ 63061 h 449009"/>
              <a:gd name="connsiteX17" fmla="*/ 423184 w 791319"/>
              <a:gd name="connsiteY17" fmla="*/ 74936 h 449009"/>
              <a:gd name="connsiteX18" fmla="*/ 411309 w 791319"/>
              <a:gd name="connsiteY18" fmla="*/ 86812 h 449009"/>
              <a:gd name="connsiteX19" fmla="*/ 393496 w 791319"/>
              <a:gd name="connsiteY19" fmla="*/ 92749 h 449009"/>
              <a:gd name="connsiteX20" fmla="*/ 280680 w 791319"/>
              <a:gd name="connsiteY20" fmla="*/ 98687 h 449009"/>
              <a:gd name="connsiteX21" fmla="*/ 268805 w 791319"/>
              <a:gd name="connsiteY21" fmla="*/ 116500 h 449009"/>
              <a:gd name="connsiteX22" fmla="*/ 114426 w 791319"/>
              <a:gd name="connsiteY22" fmla="*/ 140251 h 449009"/>
              <a:gd name="connsiteX23" fmla="*/ 96613 w 791319"/>
              <a:gd name="connsiteY23" fmla="*/ 152126 h 449009"/>
              <a:gd name="connsiteX24" fmla="*/ 84737 w 791319"/>
              <a:gd name="connsiteY24" fmla="*/ 164001 h 449009"/>
              <a:gd name="connsiteX25" fmla="*/ 37236 w 791319"/>
              <a:gd name="connsiteY25" fmla="*/ 175877 h 449009"/>
              <a:gd name="connsiteX26" fmla="*/ 13485 w 791319"/>
              <a:gd name="connsiteY26" fmla="*/ 187752 h 449009"/>
              <a:gd name="connsiteX27" fmla="*/ 1610 w 791319"/>
              <a:gd name="connsiteY27" fmla="*/ 205565 h 449009"/>
              <a:gd name="connsiteX28" fmla="*/ 7548 w 791319"/>
              <a:gd name="connsiteY28" fmla="*/ 282755 h 449009"/>
              <a:gd name="connsiteX29" fmla="*/ 13485 w 791319"/>
              <a:gd name="connsiteY29" fmla="*/ 300567 h 449009"/>
              <a:gd name="connsiteX30" fmla="*/ 25361 w 791319"/>
              <a:gd name="connsiteY30" fmla="*/ 312443 h 449009"/>
              <a:gd name="connsiteX31" fmla="*/ 31298 w 791319"/>
              <a:gd name="connsiteY31" fmla="*/ 431196 h 449009"/>
              <a:gd name="connsiteX32" fmla="*/ 37236 w 791319"/>
              <a:gd name="connsiteY32" fmla="*/ 449009 h 44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91319" h="449009">
                <a:moveTo>
                  <a:pt x="791319" y="193690"/>
                </a:moveTo>
                <a:cubicBezTo>
                  <a:pt x="787361" y="187752"/>
                  <a:pt x="782255" y="182436"/>
                  <a:pt x="779444" y="175877"/>
                </a:cubicBezTo>
                <a:cubicBezTo>
                  <a:pt x="775567" y="166830"/>
                  <a:pt x="773342" y="143934"/>
                  <a:pt x="767569" y="134313"/>
                </a:cubicBezTo>
                <a:cubicBezTo>
                  <a:pt x="764689" y="129513"/>
                  <a:pt x="759652" y="126396"/>
                  <a:pt x="755693" y="122438"/>
                </a:cubicBezTo>
                <a:cubicBezTo>
                  <a:pt x="742300" y="68864"/>
                  <a:pt x="759302" y="80097"/>
                  <a:pt x="726005" y="68999"/>
                </a:cubicBezTo>
                <a:cubicBezTo>
                  <a:pt x="720067" y="70978"/>
                  <a:pt x="714451" y="74936"/>
                  <a:pt x="708192" y="74936"/>
                </a:cubicBezTo>
                <a:cubicBezTo>
                  <a:pt x="698100" y="74936"/>
                  <a:pt x="687780" y="72974"/>
                  <a:pt x="678504" y="68999"/>
                </a:cubicBezTo>
                <a:cubicBezTo>
                  <a:pt x="673358" y="66794"/>
                  <a:pt x="671000" y="60620"/>
                  <a:pt x="666628" y="57123"/>
                </a:cubicBezTo>
                <a:cubicBezTo>
                  <a:pt x="661056" y="52665"/>
                  <a:pt x="655198" y="48439"/>
                  <a:pt x="648815" y="45248"/>
                </a:cubicBezTo>
                <a:cubicBezTo>
                  <a:pt x="643217" y="42449"/>
                  <a:pt x="636940" y="41289"/>
                  <a:pt x="631002" y="39310"/>
                </a:cubicBezTo>
                <a:cubicBezTo>
                  <a:pt x="615168" y="41289"/>
                  <a:pt x="599104" y="48591"/>
                  <a:pt x="583501" y="45248"/>
                </a:cubicBezTo>
                <a:cubicBezTo>
                  <a:pt x="569545" y="42257"/>
                  <a:pt x="559750" y="29414"/>
                  <a:pt x="547875" y="21497"/>
                </a:cubicBezTo>
                <a:cubicBezTo>
                  <a:pt x="524856" y="6151"/>
                  <a:pt x="536831" y="11878"/>
                  <a:pt x="512249" y="3684"/>
                </a:cubicBezTo>
                <a:cubicBezTo>
                  <a:pt x="494436" y="5663"/>
                  <a:pt x="473931" y="0"/>
                  <a:pt x="458810" y="9622"/>
                </a:cubicBezTo>
                <a:cubicBezTo>
                  <a:pt x="448249" y="16342"/>
                  <a:pt x="450893" y="33373"/>
                  <a:pt x="446935" y="45248"/>
                </a:cubicBezTo>
                <a:lnTo>
                  <a:pt x="440997" y="63061"/>
                </a:lnTo>
                <a:lnTo>
                  <a:pt x="440997" y="63061"/>
                </a:lnTo>
                <a:cubicBezTo>
                  <a:pt x="435059" y="67019"/>
                  <a:pt x="428756" y="70478"/>
                  <a:pt x="423184" y="74936"/>
                </a:cubicBezTo>
                <a:cubicBezTo>
                  <a:pt x="418813" y="78433"/>
                  <a:pt x="416109" y="83932"/>
                  <a:pt x="411309" y="86812"/>
                </a:cubicBezTo>
                <a:cubicBezTo>
                  <a:pt x="405942" y="90032"/>
                  <a:pt x="399729" y="92182"/>
                  <a:pt x="393496" y="92749"/>
                </a:cubicBezTo>
                <a:cubicBezTo>
                  <a:pt x="355993" y="96158"/>
                  <a:pt x="318285" y="96708"/>
                  <a:pt x="280680" y="98687"/>
                </a:cubicBezTo>
                <a:cubicBezTo>
                  <a:pt x="276722" y="104625"/>
                  <a:pt x="273373" y="111018"/>
                  <a:pt x="268805" y="116500"/>
                </a:cubicBezTo>
                <a:cubicBezTo>
                  <a:pt x="227425" y="166156"/>
                  <a:pt x="212429" y="135990"/>
                  <a:pt x="114426" y="140251"/>
                </a:cubicBezTo>
                <a:cubicBezTo>
                  <a:pt x="108488" y="144209"/>
                  <a:pt x="102185" y="147668"/>
                  <a:pt x="96613" y="152126"/>
                </a:cubicBezTo>
                <a:cubicBezTo>
                  <a:pt x="92241" y="155623"/>
                  <a:pt x="89935" y="161922"/>
                  <a:pt x="84737" y="164001"/>
                </a:cubicBezTo>
                <a:cubicBezTo>
                  <a:pt x="69583" y="170063"/>
                  <a:pt x="51834" y="168578"/>
                  <a:pt x="37236" y="175877"/>
                </a:cubicBezTo>
                <a:lnTo>
                  <a:pt x="13485" y="187752"/>
                </a:lnTo>
                <a:cubicBezTo>
                  <a:pt x="9527" y="193690"/>
                  <a:pt x="2055" y="198443"/>
                  <a:pt x="1610" y="205565"/>
                </a:cubicBezTo>
                <a:cubicBezTo>
                  <a:pt x="0" y="231321"/>
                  <a:pt x="4347" y="257148"/>
                  <a:pt x="7548" y="282755"/>
                </a:cubicBezTo>
                <a:cubicBezTo>
                  <a:pt x="8324" y="288965"/>
                  <a:pt x="10265" y="295200"/>
                  <a:pt x="13485" y="300567"/>
                </a:cubicBezTo>
                <a:cubicBezTo>
                  <a:pt x="16365" y="305368"/>
                  <a:pt x="21402" y="308484"/>
                  <a:pt x="25361" y="312443"/>
                </a:cubicBezTo>
                <a:cubicBezTo>
                  <a:pt x="27340" y="352027"/>
                  <a:pt x="27865" y="391711"/>
                  <a:pt x="31298" y="431196"/>
                </a:cubicBezTo>
                <a:cubicBezTo>
                  <a:pt x="31840" y="437431"/>
                  <a:pt x="37236" y="449009"/>
                  <a:pt x="37236" y="44900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2" name="Freeform 171"/>
          <p:cNvSpPr/>
          <p:nvPr/>
        </p:nvSpPr>
        <p:spPr>
          <a:xfrm>
            <a:off x="2000526" y="4243389"/>
            <a:ext cx="1058862" cy="255587"/>
          </a:xfrm>
          <a:custGeom>
            <a:avLst/>
            <a:gdLst>
              <a:gd name="connsiteX0" fmla="*/ 0 w 1058941"/>
              <a:gd name="connsiteY0" fmla="*/ 196566 h 255943"/>
              <a:gd name="connsiteX1" fmla="*/ 112815 w 1058941"/>
              <a:gd name="connsiteY1" fmla="*/ 178753 h 255943"/>
              <a:gd name="connsiteX2" fmla="*/ 207818 w 1058941"/>
              <a:gd name="connsiteY2" fmla="*/ 160940 h 255943"/>
              <a:gd name="connsiteX3" fmla="*/ 308758 w 1058941"/>
              <a:gd name="connsiteY3" fmla="*/ 155003 h 255943"/>
              <a:gd name="connsiteX4" fmla="*/ 344384 w 1058941"/>
              <a:gd name="connsiteY4" fmla="*/ 178753 h 255943"/>
              <a:gd name="connsiteX5" fmla="*/ 374072 w 1058941"/>
              <a:gd name="connsiteY5" fmla="*/ 202504 h 255943"/>
              <a:gd name="connsiteX6" fmla="*/ 409698 w 1058941"/>
              <a:gd name="connsiteY6" fmla="*/ 214379 h 255943"/>
              <a:gd name="connsiteX7" fmla="*/ 427511 w 1058941"/>
              <a:gd name="connsiteY7" fmla="*/ 220317 h 255943"/>
              <a:gd name="connsiteX8" fmla="*/ 445324 w 1058941"/>
              <a:gd name="connsiteY8" fmla="*/ 226255 h 255943"/>
              <a:gd name="connsiteX9" fmla="*/ 463137 w 1058941"/>
              <a:gd name="connsiteY9" fmla="*/ 238130 h 255943"/>
              <a:gd name="connsiteX10" fmla="*/ 510639 w 1058941"/>
              <a:gd name="connsiteY10" fmla="*/ 250005 h 255943"/>
              <a:gd name="connsiteX11" fmla="*/ 528452 w 1058941"/>
              <a:gd name="connsiteY11" fmla="*/ 255943 h 255943"/>
              <a:gd name="connsiteX12" fmla="*/ 587828 w 1058941"/>
              <a:gd name="connsiteY12" fmla="*/ 244068 h 255943"/>
              <a:gd name="connsiteX13" fmla="*/ 623454 w 1058941"/>
              <a:gd name="connsiteY13" fmla="*/ 232192 h 255943"/>
              <a:gd name="connsiteX14" fmla="*/ 694706 w 1058941"/>
              <a:gd name="connsiteY14" fmla="*/ 226255 h 255943"/>
              <a:gd name="connsiteX15" fmla="*/ 730332 w 1058941"/>
              <a:gd name="connsiteY15" fmla="*/ 178753 h 255943"/>
              <a:gd name="connsiteX16" fmla="*/ 742208 w 1058941"/>
              <a:gd name="connsiteY16" fmla="*/ 160940 h 255943"/>
              <a:gd name="connsiteX17" fmla="*/ 748145 w 1058941"/>
              <a:gd name="connsiteY17" fmla="*/ 143127 h 255943"/>
              <a:gd name="connsiteX18" fmla="*/ 777834 w 1058941"/>
              <a:gd name="connsiteY18" fmla="*/ 113439 h 255943"/>
              <a:gd name="connsiteX19" fmla="*/ 813459 w 1058941"/>
              <a:gd name="connsiteY19" fmla="*/ 101564 h 255943"/>
              <a:gd name="connsiteX20" fmla="*/ 831272 w 1058941"/>
              <a:gd name="connsiteY20" fmla="*/ 95626 h 255943"/>
              <a:gd name="connsiteX21" fmla="*/ 866898 w 1058941"/>
              <a:gd name="connsiteY21" fmla="*/ 77813 h 255943"/>
              <a:gd name="connsiteX22" fmla="*/ 890649 w 1058941"/>
              <a:gd name="connsiteY22" fmla="*/ 42187 h 255943"/>
              <a:gd name="connsiteX23" fmla="*/ 902524 w 1058941"/>
              <a:gd name="connsiteY23" fmla="*/ 24374 h 255943"/>
              <a:gd name="connsiteX24" fmla="*/ 914400 w 1058941"/>
              <a:gd name="connsiteY24" fmla="*/ 12499 h 255943"/>
              <a:gd name="connsiteX25" fmla="*/ 979714 w 1058941"/>
              <a:gd name="connsiteY25" fmla="*/ 6561 h 255943"/>
              <a:gd name="connsiteX26" fmla="*/ 997527 w 1058941"/>
              <a:gd name="connsiteY26" fmla="*/ 623 h 255943"/>
              <a:gd name="connsiteX27" fmla="*/ 1056904 w 1058941"/>
              <a:gd name="connsiteY27" fmla="*/ 30312 h 255943"/>
              <a:gd name="connsiteX28" fmla="*/ 1056904 w 1058941"/>
              <a:gd name="connsiteY28" fmla="*/ 42187 h 255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058941" h="255943">
                <a:moveTo>
                  <a:pt x="0" y="196566"/>
                </a:moveTo>
                <a:cubicBezTo>
                  <a:pt x="60107" y="176531"/>
                  <a:pt x="23145" y="185651"/>
                  <a:pt x="112815" y="178753"/>
                </a:cubicBezTo>
                <a:cubicBezTo>
                  <a:pt x="167311" y="160588"/>
                  <a:pt x="135985" y="168124"/>
                  <a:pt x="207818" y="160940"/>
                </a:cubicBezTo>
                <a:cubicBezTo>
                  <a:pt x="264183" y="142152"/>
                  <a:pt x="230978" y="147932"/>
                  <a:pt x="308758" y="155003"/>
                </a:cubicBezTo>
                <a:cubicBezTo>
                  <a:pt x="320633" y="162920"/>
                  <a:pt x="334292" y="168661"/>
                  <a:pt x="344384" y="178753"/>
                </a:cubicBezTo>
                <a:cubicBezTo>
                  <a:pt x="354255" y="188625"/>
                  <a:pt x="360588" y="196511"/>
                  <a:pt x="374072" y="202504"/>
                </a:cubicBezTo>
                <a:cubicBezTo>
                  <a:pt x="385511" y="207588"/>
                  <a:pt x="397823" y="210421"/>
                  <a:pt x="409698" y="214379"/>
                </a:cubicBezTo>
                <a:lnTo>
                  <a:pt x="427511" y="220317"/>
                </a:lnTo>
                <a:cubicBezTo>
                  <a:pt x="433449" y="222296"/>
                  <a:pt x="440116" y="222783"/>
                  <a:pt x="445324" y="226255"/>
                </a:cubicBezTo>
                <a:cubicBezTo>
                  <a:pt x="451262" y="230213"/>
                  <a:pt x="456430" y="235691"/>
                  <a:pt x="463137" y="238130"/>
                </a:cubicBezTo>
                <a:cubicBezTo>
                  <a:pt x="478476" y="243707"/>
                  <a:pt x="495155" y="244843"/>
                  <a:pt x="510639" y="250005"/>
                </a:cubicBezTo>
                <a:lnTo>
                  <a:pt x="528452" y="255943"/>
                </a:lnTo>
                <a:cubicBezTo>
                  <a:pt x="552515" y="251932"/>
                  <a:pt x="565691" y="250709"/>
                  <a:pt x="587828" y="244068"/>
                </a:cubicBezTo>
                <a:cubicBezTo>
                  <a:pt x="599818" y="240471"/>
                  <a:pt x="610979" y="233231"/>
                  <a:pt x="623454" y="232192"/>
                </a:cubicBezTo>
                <a:lnTo>
                  <a:pt x="694706" y="226255"/>
                </a:lnTo>
                <a:cubicBezTo>
                  <a:pt x="716675" y="204286"/>
                  <a:pt x="703474" y="219039"/>
                  <a:pt x="730332" y="178753"/>
                </a:cubicBezTo>
                <a:lnTo>
                  <a:pt x="742208" y="160940"/>
                </a:lnTo>
                <a:cubicBezTo>
                  <a:pt x="744187" y="155002"/>
                  <a:pt x="744390" y="148134"/>
                  <a:pt x="748145" y="143127"/>
                </a:cubicBezTo>
                <a:cubicBezTo>
                  <a:pt x="756542" y="131931"/>
                  <a:pt x="764557" y="117865"/>
                  <a:pt x="777834" y="113439"/>
                </a:cubicBezTo>
                <a:lnTo>
                  <a:pt x="813459" y="101564"/>
                </a:lnTo>
                <a:cubicBezTo>
                  <a:pt x="819397" y="99585"/>
                  <a:pt x="826064" y="99098"/>
                  <a:pt x="831272" y="95626"/>
                </a:cubicBezTo>
                <a:cubicBezTo>
                  <a:pt x="854293" y="80279"/>
                  <a:pt x="842315" y="86008"/>
                  <a:pt x="866898" y="77813"/>
                </a:cubicBezTo>
                <a:lnTo>
                  <a:pt x="890649" y="42187"/>
                </a:lnTo>
                <a:cubicBezTo>
                  <a:pt x="894607" y="36249"/>
                  <a:pt x="897478" y="29420"/>
                  <a:pt x="902524" y="24374"/>
                </a:cubicBezTo>
                <a:cubicBezTo>
                  <a:pt x="906483" y="20416"/>
                  <a:pt x="908945" y="13758"/>
                  <a:pt x="914400" y="12499"/>
                </a:cubicBezTo>
                <a:cubicBezTo>
                  <a:pt x="935701" y="7583"/>
                  <a:pt x="957943" y="8540"/>
                  <a:pt x="979714" y="6561"/>
                </a:cubicBezTo>
                <a:cubicBezTo>
                  <a:pt x="985652" y="4582"/>
                  <a:pt x="991299" y="0"/>
                  <a:pt x="997527" y="623"/>
                </a:cubicBezTo>
                <a:cubicBezTo>
                  <a:pt x="1020834" y="2954"/>
                  <a:pt x="1044247" y="9217"/>
                  <a:pt x="1056904" y="30312"/>
                </a:cubicBezTo>
                <a:cubicBezTo>
                  <a:pt x="1058941" y="33706"/>
                  <a:pt x="1056904" y="38229"/>
                  <a:pt x="1056904" y="42187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3" name="Freeform 172"/>
          <p:cNvSpPr/>
          <p:nvPr/>
        </p:nvSpPr>
        <p:spPr>
          <a:xfrm>
            <a:off x="4938988" y="3746502"/>
            <a:ext cx="463550" cy="387351"/>
          </a:xfrm>
          <a:custGeom>
            <a:avLst/>
            <a:gdLst>
              <a:gd name="connsiteX0" fmla="*/ 463550 w 463550"/>
              <a:gd name="connsiteY0" fmla="*/ 387350 h 387350"/>
              <a:gd name="connsiteX1" fmla="*/ 444500 w 463550"/>
              <a:gd name="connsiteY1" fmla="*/ 361950 h 387350"/>
              <a:gd name="connsiteX2" fmla="*/ 406400 w 463550"/>
              <a:gd name="connsiteY2" fmla="*/ 342900 h 387350"/>
              <a:gd name="connsiteX3" fmla="*/ 387350 w 463550"/>
              <a:gd name="connsiteY3" fmla="*/ 304800 h 387350"/>
              <a:gd name="connsiteX4" fmla="*/ 374650 w 463550"/>
              <a:gd name="connsiteY4" fmla="*/ 285750 h 387350"/>
              <a:gd name="connsiteX5" fmla="*/ 349250 w 463550"/>
              <a:gd name="connsiteY5" fmla="*/ 247650 h 387350"/>
              <a:gd name="connsiteX6" fmla="*/ 311150 w 463550"/>
              <a:gd name="connsiteY6" fmla="*/ 234950 h 387350"/>
              <a:gd name="connsiteX7" fmla="*/ 292100 w 463550"/>
              <a:gd name="connsiteY7" fmla="*/ 228600 h 387350"/>
              <a:gd name="connsiteX8" fmla="*/ 279400 w 463550"/>
              <a:gd name="connsiteY8" fmla="*/ 190500 h 387350"/>
              <a:gd name="connsiteX9" fmla="*/ 254000 w 463550"/>
              <a:gd name="connsiteY9" fmla="*/ 158750 h 387350"/>
              <a:gd name="connsiteX10" fmla="*/ 184150 w 463550"/>
              <a:gd name="connsiteY10" fmla="*/ 152400 h 387350"/>
              <a:gd name="connsiteX11" fmla="*/ 146050 w 463550"/>
              <a:gd name="connsiteY11" fmla="*/ 139700 h 387350"/>
              <a:gd name="connsiteX12" fmla="*/ 101600 w 463550"/>
              <a:gd name="connsiteY12" fmla="*/ 127000 h 387350"/>
              <a:gd name="connsiteX13" fmla="*/ 82550 w 463550"/>
              <a:gd name="connsiteY13" fmla="*/ 88900 h 387350"/>
              <a:gd name="connsiteX14" fmla="*/ 44450 w 463550"/>
              <a:gd name="connsiteY14" fmla="*/ 69850 h 387350"/>
              <a:gd name="connsiteX15" fmla="*/ 25400 w 463550"/>
              <a:gd name="connsiteY15" fmla="*/ 57150 h 387350"/>
              <a:gd name="connsiteX16" fmla="*/ 6350 w 463550"/>
              <a:gd name="connsiteY16" fmla="*/ 19050 h 387350"/>
              <a:gd name="connsiteX17" fmla="*/ 0 w 463550"/>
              <a:gd name="connsiteY17" fmla="*/ 0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63550" h="387350">
                <a:moveTo>
                  <a:pt x="463550" y="387350"/>
                </a:moveTo>
                <a:cubicBezTo>
                  <a:pt x="457200" y="378883"/>
                  <a:pt x="451984" y="369434"/>
                  <a:pt x="444500" y="361950"/>
                </a:cubicBezTo>
                <a:cubicBezTo>
                  <a:pt x="432190" y="349640"/>
                  <a:pt x="421894" y="348065"/>
                  <a:pt x="406400" y="342900"/>
                </a:cubicBezTo>
                <a:cubicBezTo>
                  <a:pt x="370004" y="288305"/>
                  <a:pt x="413640" y="357380"/>
                  <a:pt x="387350" y="304800"/>
                </a:cubicBezTo>
                <a:cubicBezTo>
                  <a:pt x="383937" y="297974"/>
                  <a:pt x="378063" y="292576"/>
                  <a:pt x="374650" y="285750"/>
                </a:cubicBezTo>
                <a:cubicBezTo>
                  <a:pt x="364552" y="265555"/>
                  <a:pt x="374251" y="261539"/>
                  <a:pt x="349250" y="247650"/>
                </a:cubicBezTo>
                <a:cubicBezTo>
                  <a:pt x="337548" y="241149"/>
                  <a:pt x="323850" y="239183"/>
                  <a:pt x="311150" y="234950"/>
                </a:cubicBezTo>
                <a:lnTo>
                  <a:pt x="292100" y="228600"/>
                </a:lnTo>
                <a:lnTo>
                  <a:pt x="279400" y="190500"/>
                </a:lnTo>
                <a:cubicBezTo>
                  <a:pt x="274143" y="174729"/>
                  <a:pt x="274621" y="163169"/>
                  <a:pt x="254000" y="158750"/>
                </a:cubicBezTo>
                <a:cubicBezTo>
                  <a:pt x="231140" y="153851"/>
                  <a:pt x="207433" y="154517"/>
                  <a:pt x="184150" y="152400"/>
                </a:cubicBezTo>
                <a:cubicBezTo>
                  <a:pt x="171450" y="148167"/>
                  <a:pt x="159037" y="142947"/>
                  <a:pt x="146050" y="139700"/>
                </a:cubicBezTo>
                <a:cubicBezTo>
                  <a:pt x="114156" y="131727"/>
                  <a:pt x="128929" y="136110"/>
                  <a:pt x="101600" y="127000"/>
                </a:cubicBezTo>
                <a:cubicBezTo>
                  <a:pt x="96435" y="111506"/>
                  <a:pt x="94860" y="101210"/>
                  <a:pt x="82550" y="88900"/>
                </a:cubicBezTo>
                <a:cubicBezTo>
                  <a:pt x="64352" y="70702"/>
                  <a:pt x="65108" y="80179"/>
                  <a:pt x="44450" y="69850"/>
                </a:cubicBezTo>
                <a:cubicBezTo>
                  <a:pt x="37624" y="66437"/>
                  <a:pt x="31750" y="61383"/>
                  <a:pt x="25400" y="57150"/>
                </a:cubicBezTo>
                <a:cubicBezTo>
                  <a:pt x="9439" y="9267"/>
                  <a:pt x="30969" y="68289"/>
                  <a:pt x="6350" y="19050"/>
                </a:cubicBezTo>
                <a:cubicBezTo>
                  <a:pt x="3357" y="13063"/>
                  <a:pt x="0" y="0"/>
                  <a:pt x="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4" name="Rectangle 12"/>
          <p:cNvSpPr>
            <a:spLocks noChangeArrowheads="1"/>
          </p:cNvSpPr>
          <p:nvPr/>
        </p:nvSpPr>
        <p:spPr bwMode="auto">
          <a:xfrm rot="2231461">
            <a:off x="4740555" y="3831533"/>
            <a:ext cx="1220787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దామోదర్ </a:t>
            </a:r>
          </a:p>
        </p:txBody>
      </p:sp>
      <p:sp>
        <p:nvSpPr>
          <p:cNvPr id="175" name="Rectangle 13"/>
          <p:cNvSpPr>
            <a:spLocks noChangeArrowheads="1"/>
          </p:cNvSpPr>
          <p:nvPr/>
        </p:nvSpPr>
        <p:spPr bwMode="auto">
          <a:xfrm rot="20116871">
            <a:off x="2276755" y="3773590"/>
            <a:ext cx="947737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ర్మదా</a:t>
            </a:r>
          </a:p>
        </p:txBody>
      </p:sp>
      <p:sp>
        <p:nvSpPr>
          <p:cNvPr id="176" name="Rectangle 14"/>
          <p:cNvSpPr>
            <a:spLocks noChangeArrowheads="1"/>
          </p:cNvSpPr>
          <p:nvPr/>
        </p:nvSpPr>
        <p:spPr bwMode="auto">
          <a:xfrm>
            <a:off x="2195792" y="4191004"/>
            <a:ext cx="96361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తపతి</a:t>
            </a:r>
            <a:endParaRPr lang="en-US" sz="1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77" name="Rectangle 15"/>
          <p:cNvSpPr>
            <a:spLocks noChangeArrowheads="1"/>
          </p:cNvSpPr>
          <p:nvPr/>
        </p:nvSpPr>
        <p:spPr bwMode="auto">
          <a:xfrm rot="19412698">
            <a:off x="1797326" y="3629126"/>
            <a:ext cx="944562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హి </a:t>
            </a:r>
          </a:p>
        </p:txBody>
      </p:sp>
      <p:sp>
        <p:nvSpPr>
          <p:cNvPr id="178" name="Rectangle 16"/>
          <p:cNvSpPr>
            <a:spLocks noChangeArrowheads="1"/>
          </p:cNvSpPr>
          <p:nvPr/>
        </p:nvSpPr>
        <p:spPr bwMode="auto">
          <a:xfrm rot="17210819">
            <a:off x="1302028" y="3508378"/>
            <a:ext cx="1130300" cy="307975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99FF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బర్మతి</a:t>
            </a:r>
          </a:p>
        </p:txBody>
      </p:sp>
      <p:sp>
        <p:nvSpPr>
          <p:cNvPr id="179" name="Rectangle 17"/>
          <p:cNvSpPr>
            <a:spLocks noChangeArrowheads="1"/>
          </p:cNvSpPr>
          <p:nvPr/>
        </p:nvSpPr>
        <p:spPr bwMode="auto">
          <a:xfrm rot="19312405">
            <a:off x="1513163" y="2860777"/>
            <a:ext cx="914400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లూని</a:t>
            </a:r>
          </a:p>
        </p:txBody>
      </p:sp>
      <p:sp>
        <p:nvSpPr>
          <p:cNvPr id="180" name="Rectangle 21"/>
          <p:cNvSpPr>
            <a:spLocks noChangeArrowheads="1"/>
          </p:cNvSpPr>
          <p:nvPr/>
        </p:nvSpPr>
        <p:spPr bwMode="auto">
          <a:xfrm rot="1019598">
            <a:off x="4497667" y="4272065"/>
            <a:ext cx="84931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హా నది</a:t>
            </a:r>
          </a:p>
        </p:txBody>
      </p:sp>
      <p:sp>
        <p:nvSpPr>
          <p:cNvPr id="181" name="Title 1"/>
          <p:cNvSpPr txBox="1">
            <a:spLocks/>
          </p:cNvSpPr>
          <p:nvPr/>
        </p:nvSpPr>
        <p:spPr>
          <a:xfrm>
            <a:off x="7605988" y="5219701"/>
            <a:ext cx="762000" cy="323851"/>
          </a:xfrm>
          <a:prstGeom prst="rect">
            <a:avLst/>
          </a:prstGeom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>
                <a:solidFill>
                  <a:srgbClr val="0033CC"/>
                </a:solidFill>
                <a:latin typeface="NTR" pitchFamily="2" charset="0"/>
                <a:ea typeface="+mj-ea"/>
                <a:cs typeface="NTR" pitchFamily="2" charset="0"/>
              </a:rPr>
              <a:t>సురేష్</a:t>
            </a:r>
            <a:endParaRPr lang="en-US" sz="800" i="1" dirty="0">
              <a:solidFill>
                <a:srgbClr val="0033CC"/>
              </a:solidFill>
              <a:latin typeface="NTR" pitchFamily="2" charset="0"/>
              <a:ea typeface="+mj-ea"/>
              <a:cs typeface="NTR" pitchFamily="2" charset="0"/>
            </a:endParaRPr>
          </a:p>
        </p:txBody>
      </p:sp>
      <p:pic>
        <p:nvPicPr>
          <p:cNvPr id="182" name="Picture 2" descr="L:\SOCIAL\jpeg.pn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605992" y="4667251"/>
            <a:ext cx="739775" cy="554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 advTm="121103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500"/>
                            </p:stCondLst>
                            <p:childTnLst>
                              <p:par>
                                <p:cTn id="3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000"/>
                            </p:stCondLst>
                            <p:childTnLst>
                              <p:par>
                                <p:cTn id="4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500"/>
                            </p:stCondLst>
                            <p:childTnLst>
                              <p:par>
                                <p:cTn id="4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0"/>
                            </p:stCondLst>
                            <p:childTnLst>
                              <p:par>
                                <p:cTn id="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500"/>
                            </p:stCondLst>
                            <p:childTnLst>
                              <p:par>
                                <p:cTn id="5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000"/>
                            </p:stCondLst>
                            <p:childTnLst>
                              <p:par>
                                <p:cTn id="5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6500"/>
                            </p:stCondLst>
                            <p:childTnLst>
                              <p:par>
                                <p:cTn id="6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7000"/>
                            </p:stCondLst>
                            <p:childTnLst>
                              <p:par>
                                <p:cTn id="67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500"/>
                            </p:stCondLst>
                            <p:childTnLst>
                              <p:par>
                                <p:cTn id="7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000"/>
                            </p:stCondLst>
                            <p:childTnLst>
                              <p:par>
                                <p:cTn id="7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9000"/>
                            </p:stCondLst>
                            <p:childTnLst>
                              <p:par>
                                <p:cTn id="8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9500"/>
                            </p:stCondLst>
                            <p:childTnLst>
                              <p:par>
                                <p:cTn id="9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2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10000"/>
                            </p:stCondLst>
                            <p:childTnLst>
                              <p:par>
                                <p:cTn id="9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0500"/>
                            </p:stCondLst>
                            <p:childTnLst>
                              <p:par>
                                <p:cTn id="9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1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1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1500"/>
                            </p:stCondLst>
                            <p:childTnLst>
                              <p:par>
                                <p:cTn id="10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0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12000"/>
                            </p:stCondLst>
                            <p:childTnLst>
                              <p:par>
                                <p:cTn id="1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4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6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13000"/>
                            </p:stCondLst>
                            <p:childTnLst>
                              <p:par>
                                <p:cTn id="1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3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3500"/>
                            </p:stCondLst>
                            <p:childTnLst>
                              <p:par>
                                <p:cTn id="1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7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4000"/>
                            </p:stCondLst>
                            <p:childTnLst>
                              <p:par>
                                <p:cTn id="12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4500"/>
                            </p:stCondLst>
                            <p:childTnLst>
                              <p:par>
                                <p:cTn id="13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6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5000"/>
                            </p:stCondLst>
                            <p:childTnLst>
                              <p:par>
                                <p:cTn id="13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5500"/>
                            </p:stCondLst>
                            <p:childTnLst>
                              <p:par>
                                <p:cTn id="14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16000"/>
                            </p:stCondLst>
                            <p:childTnLst>
                              <p:par>
                                <p:cTn id="14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16500"/>
                            </p:stCondLst>
                            <p:childTnLst>
                              <p:par>
                                <p:cTn id="15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4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17000"/>
                            </p:stCondLst>
                            <p:childTnLst>
                              <p:par>
                                <p:cTn id="1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17500"/>
                            </p:stCondLst>
                            <p:childTnLst>
                              <p:par>
                                <p:cTn id="16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8000"/>
                            </p:stCondLst>
                            <p:childTnLst>
                              <p:par>
                                <p:cTn id="1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18500"/>
                            </p:stCondLst>
                            <p:childTnLst>
                              <p:par>
                                <p:cTn id="1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19000"/>
                            </p:stCondLst>
                            <p:childTnLst>
                              <p:par>
                                <p:cTn id="17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19500"/>
                            </p:stCondLst>
                            <p:childTnLst>
                              <p:par>
                                <p:cTn id="17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2" fill="hold">
                            <p:stCondLst>
                              <p:cond delay="20000"/>
                            </p:stCondLst>
                            <p:childTnLst>
                              <p:par>
                                <p:cTn id="18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5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20500"/>
                            </p:stCondLst>
                            <p:childTnLst>
                              <p:par>
                                <p:cTn id="18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9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21000"/>
                            </p:stCondLst>
                            <p:childTnLst>
                              <p:par>
                                <p:cTn id="19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3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21500"/>
                            </p:stCondLst>
                            <p:childTnLst>
                              <p:par>
                                <p:cTn id="19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7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500" fill="hold"/>
                                        <p:tgtEl>
                                          <p:spTgt spid="1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9" fill="hold">
                            <p:stCondLst>
                              <p:cond delay="22000"/>
                            </p:stCondLst>
                            <p:childTnLst>
                              <p:par>
                                <p:cTn id="20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2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3" fill="hold">
                            <p:stCondLst>
                              <p:cond delay="22500"/>
                            </p:stCondLst>
                            <p:childTnLst>
                              <p:par>
                                <p:cTn id="20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6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7" fill="hold">
                            <p:stCondLst>
                              <p:cond delay="23000"/>
                            </p:stCondLst>
                            <p:childTnLst>
                              <p:par>
                                <p:cTn id="208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0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500" fill="hold"/>
                                        <p:tgtEl>
                                          <p:spTgt spid="1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23500"/>
                            </p:stCondLst>
                            <p:childTnLst>
                              <p:par>
                                <p:cTn id="2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5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24000"/>
                            </p:stCondLst>
                            <p:childTnLst>
                              <p:par>
                                <p:cTn id="2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9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0" dur="500" fill="hold"/>
                                        <p:tgtEl>
                                          <p:spTgt spid="1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1" fill="hold">
                            <p:stCondLst>
                              <p:cond delay="24500"/>
                            </p:stCondLst>
                            <p:childTnLst>
                              <p:par>
                                <p:cTn id="2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5" fill="hold">
                            <p:stCondLst>
                              <p:cond delay="25000"/>
                            </p:stCondLst>
                            <p:childTnLst>
                              <p:par>
                                <p:cTn id="22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8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500" fill="hold"/>
                                        <p:tgtEl>
                                          <p:spTgt spid="1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0" fill="hold">
                            <p:stCondLst>
                              <p:cond delay="25500"/>
                            </p:stCondLst>
                            <p:childTnLst>
                              <p:par>
                                <p:cTn id="2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3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4" fill="hold">
                            <p:stCondLst>
                              <p:cond delay="26000"/>
                            </p:stCondLst>
                            <p:childTnLst>
                              <p:par>
                                <p:cTn id="2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7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8" dur="500" fill="hold"/>
                                        <p:tgtEl>
                                          <p:spTgt spid="1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9" fill="hold">
                            <p:stCondLst>
                              <p:cond delay="26500"/>
                            </p:stCondLst>
                            <p:childTnLst>
                              <p:par>
                                <p:cTn id="24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2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3" fill="hold">
                            <p:stCondLst>
                              <p:cond delay="27000"/>
                            </p:stCondLst>
                            <p:childTnLst>
                              <p:par>
                                <p:cTn id="24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6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7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8" fill="hold">
                            <p:stCondLst>
                              <p:cond delay="27500"/>
                            </p:stCondLst>
                            <p:childTnLst>
                              <p:par>
                                <p:cTn id="24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1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2" fill="hold">
                            <p:stCondLst>
                              <p:cond delay="28000"/>
                            </p:stCondLst>
                            <p:childTnLst>
                              <p:par>
                                <p:cTn id="25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5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6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7" fill="hold">
                            <p:stCondLst>
                              <p:cond delay="28500"/>
                            </p:stCondLst>
                            <p:childTnLst>
                              <p:par>
                                <p:cTn id="2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0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1" fill="hold">
                            <p:stCondLst>
                              <p:cond delay="29000"/>
                            </p:stCondLst>
                            <p:childTnLst>
                              <p:par>
                                <p:cTn id="2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4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5" fill="hold">
                            <p:stCondLst>
                              <p:cond delay="29500"/>
                            </p:stCondLst>
                            <p:childTnLst>
                              <p:par>
                                <p:cTn id="26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8" dur="5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9" dur="500" fill="hold"/>
                                        <p:tgtEl>
                                          <p:spTgt spid="1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 animBg="1"/>
      <p:bldP spid="84" grpId="0" animBg="1"/>
      <p:bldP spid="85" grpId="0" animBg="1"/>
      <p:bldP spid="86" grpId="0" animBg="1"/>
      <p:bldP spid="87" grpId="0" animBg="1"/>
      <p:bldP spid="88" grpId="0"/>
      <p:bldP spid="94" grpId="0"/>
      <p:bldP spid="95" grpId="0"/>
      <p:bldP spid="96" grpId="0"/>
      <p:bldP spid="97" grpId="0"/>
      <p:bldP spid="98" grpId="0"/>
      <p:bldP spid="99" grpId="0" animBg="1"/>
      <p:bldP spid="112" grpId="0" animBg="1"/>
      <p:bldP spid="117" grpId="0" animBg="1"/>
      <p:bldP spid="118" grpId="0" animBg="1"/>
      <p:bldP spid="121" grpId="0" animBg="1"/>
      <p:bldP spid="122" grpId="0" animBg="1"/>
      <p:bldP spid="123" grpId="0" animBg="1"/>
      <p:bldP spid="126" grpId="0" animBg="1"/>
      <p:bldP spid="127" grpId="0" animBg="1"/>
      <p:bldP spid="128" grpId="0" animBg="1"/>
      <p:bldP spid="131" grpId="0" animBg="1"/>
      <p:bldP spid="143" grpId="0" animBg="1"/>
      <p:bldP spid="144" grpId="0"/>
      <p:bldP spid="145" grpId="0"/>
      <p:bldP spid="146" grpId="0" animBg="1"/>
      <p:bldP spid="148" grpId="0"/>
      <p:bldP spid="149" grpId="0"/>
      <p:bldP spid="151" grpId="0" animBg="1"/>
      <p:bldP spid="152" grpId="0"/>
      <p:bldP spid="153" grpId="0"/>
      <p:bldP spid="154" grpId="0"/>
      <p:bldP spid="155" grpId="0" animBg="1"/>
      <p:bldP spid="156" grpId="0" animBg="1"/>
      <p:bldP spid="157" grpId="0"/>
      <p:bldP spid="158" grpId="0"/>
      <p:bldP spid="159" grpId="0"/>
      <p:bldP spid="160" grpId="0" animBg="1"/>
      <p:bldP spid="161" grpId="0" animBg="1"/>
      <p:bldP spid="162" grpId="0"/>
      <p:bldP spid="163" grpId="0" animBg="1"/>
      <p:bldP spid="164" grpId="0" animBg="1"/>
      <p:bldP spid="165" grpId="0" animBg="1"/>
      <p:bldP spid="166" grpId="0" animBg="1"/>
      <p:bldP spid="167" grpId="0" animBg="1"/>
      <p:bldP spid="168" grpId="0" animBg="1"/>
      <p:bldP spid="169" grpId="0" animBg="1"/>
      <p:bldP spid="170" grpId="0" animBg="1"/>
      <p:bldP spid="171" grpId="0" animBg="1"/>
      <p:bldP spid="172" grpId="0" animBg="1"/>
      <p:bldP spid="173" grpId="0" animBg="1"/>
      <p:bldP spid="174" grpId="0"/>
      <p:bldP spid="175" grpId="0"/>
      <p:bldP spid="176" grpId="0"/>
      <p:bldP spid="177" grpId="0"/>
      <p:bldP spid="178" grpId="0"/>
      <p:bldP spid="179" grpId="0"/>
      <p:bldP spid="180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 descr="J:\1 SOCIAL SURESH\MAPS\india states map\INDIA without states outline map DRAWN BY ME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6588" y="-914400"/>
            <a:ext cx="6553200" cy="739140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sp>
        <p:nvSpPr>
          <p:cNvPr id="67" name="Freeform 66"/>
          <p:cNvSpPr/>
          <p:nvPr/>
        </p:nvSpPr>
        <p:spPr>
          <a:xfrm>
            <a:off x="2243413" y="3427415"/>
            <a:ext cx="1924050" cy="895351"/>
          </a:xfrm>
          <a:custGeom>
            <a:avLst/>
            <a:gdLst>
              <a:gd name="connsiteX0" fmla="*/ 1924334 w 1924600"/>
              <a:gd name="connsiteY0" fmla="*/ 895083 h 895083"/>
              <a:gd name="connsiteX1" fmla="*/ 1917511 w 1924600"/>
              <a:gd name="connsiteY1" fmla="*/ 820021 h 895083"/>
              <a:gd name="connsiteX2" fmla="*/ 1890215 w 1924600"/>
              <a:gd name="connsiteY2" fmla="*/ 779077 h 895083"/>
              <a:gd name="connsiteX3" fmla="*/ 1883391 w 1924600"/>
              <a:gd name="connsiteY3" fmla="*/ 751782 h 895083"/>
              <a:gd name="connsiteX4" fmla="*/ 1862920 w 1924600"/>
              <a:gd name="connsiteY4" fmla="*/ 744958 h 895083"/>
              <a:gd name="connsiteX5" fmla="*/ 1849272 w 1924600"/>
              <a:gd name="connsiteY5" fmla="*/ 724486 h 895083"/>
              <a:gd name="connsiteX6" fmla="*/ 1821976 w 1924600"/>
              <a:gd name="connsiteY6" fmla="*/ 512946 h 895083"/>
              <a:gd name="connsiteX7" fmla="*/ 1801505 w 1924600"/>
              <a:gd name="connsiteY7" fmla="*/ 506122 h 895083"/>
              <a:gd name="connsiteX8" fmla="*/ 1781033 w 1924600"/>
              <a:gd name="connsiteY8" fmla="*/ 512946 h 895083"/>
              <a:gd name="connsiteX9" fmla="*/ 1760561 w 1924600"/>
              <a:gd name="connsiteY9" fmla="*/ 526594 h 895083"/>
              <a:gd name="connsiteX10" fmla="*/ 1712794 w 1924600"/>
              <a:gd name="connsiteY10" fmla="*/ 512946 h 895083"/>
              <a:gd name="connsiteX11" fmla="*/ 1692323 w 1924600"/>
              <a:gd name="connsiteY11" fmla="*/ 499298 h 895083"/>
              <a:gd name="connsiteX12" fmla="*/ 1685499 w 1924600"/>
              <a:gd name="connsiteY12" fmla="*/ 478827 h 895083"/>
              <a:gd name="connsiteX13" fmla="*/ 1678675 w 1924600"/>
              <a:gd name="connsiteY13" fmla="*/ 417412 h 895083"/>
              <a:gd name="connsiteX14" fmla="*/ 1665027 w 1924600"/>
              <a:gd name="connsiteY14" fmla="*/ 390116 h 895083"/>
              <a:gd name="connsiteX15" fmla="*/ 1658203 w 1924600"/>
              <a:gd name="connsiteY15" fmla="*/ 369645 h 895083"/>
              <a:gd name="connsiteX16" fmla="*/ 1637732 w 1924600"/>
              <a:gd name="connsiteY16" fmla="*/ 362821 h 895083"/>
              <a:gd name="connsiteX17" fmla="*/ 1624084 w 1924600"/>
              <a:gd name="connsiteY17" fmla="*/ 342349 h 895083"/>
              <a:gd name="connsiteX18" fmla="*/ 1610436 w 1924600"/>
              <a:gd name="connsiteY18" fmla="*/ 301406 h 895083"/>
              <a:gd name="connsiteX19" fmla="*/ 1569493 w 1924600"/>
              <a:gd name="connsiteY19" fmla="*/ 267286 h 895083"/>
              <a:gd name="connsiteX20" fmla="*/ 1555845 w 1924600"/>
              <a:gd name="connsiteY20" fmla="*/ 205871 h 895083"/>
              <a:gd name="connsiteX21" fmla="*/ 1549021 w 1924600"/>
              <a:gd name="connsiteY21" fmla="*/ 185400 h 895083"/>
              <a:gd name="connsiteX22" fmla="*/ 1473958 w 1924600"/>
              <a:gd name="connsiteY22" fmla="*/ 205871 h 895083"/>
              <a:gd name="connsiteX23" fmla="*/ 1433015 w 1924600"/>
              <a:gd name="connsiteY23" fmla="*/ 178576 h 895083"/>
              <a:gd name="connsiteX24" fmla="*/ 1412543 w 1924600"/>
              <a:gd name="connsiteY24" fmla="*/ 192224 h 895083"/>
              <a:gd name="connsiteX25" fmla="*/ 1398896 w 1924600"/>
              <a:gd name="connsiteY25" fmla="*/ 212695 h 895083"/>
              <a:gd name="connsiteX26" fmla="*/ 1378424 w 1924600"/>
              <a:gd name="connsiteY26" fmla="*/ 253639 h 895083"/>
              <a:gd name="connsiteX27" fmla="*/ 1337481 w 1924600"/>
              <a:gd name="connsiteY27" fmla="*/ 274110 h 895083"/>
              <a:gd name="connsiteX28" fmla="*/ 1289714 w 1924600"/>
              <a:gd name="connsiteY28" fmla="*/ 280934 h 895083"/>
              <a:gd name="connsiteX29" fmla="*/ 1262418 w 1924600"/>
              <a:gd name="connsiteY29" fmla="*/ 287758 h 895083"/>
              <a:gd name="connsiteX30" fmla="*/ 1235123 w 1924600"/>
              <a:gd name="connsiteY30" fmla="*/ 301406 h 895083"/>
              <a:gd name="connsiteX31" fmla="*/ 1194179 w 1924600"/>
              <a:gd name="connsiteY31" fmla="*/ 315054 h 895083"/>
              <a:gd name="connsiteX32" fmla="*/ 1160060 w 1924600"/>
              <a:gd name="connsiteY32" fmla="*/ 301406 h 895083"/>
              <a:gd name="connsiteX33" fmla="*/ 1125940 w 1924600"/>
              <a:gd name="connsiteY33" fmla="*/ 260462 h 895083"/>
              <a:gd name="connsiteX34" fmla="*/ 1105469 w 1924600"/>
              <a:gd name="connsiteY34" fmla="*/ 219519 h 895083"/>
              <a:gd name="connsiteX35" fmla="*/ 1084997 w 1924600"/>
              <a:gd name="connsiteY35" fmla="*/ 178576 h 895083"/>
              <a:gd name="connsiteX36" fmla="*/ 1064526 w 1924600"/>
              <a:gd name="connsiteY36" fmla="*/ 164928 h 895083"/>
              <a:gd name="connsiteX37" fmla="*/ 968991 w 1924600"/>
              <a:gd name="connsiteY37" fmla="*/ 164928 h 895083"/>
              <a:gd name="connsiteX38" fmla="*/ 907576 w 1924600"/>
              <a:gd name="connsiteY38" fmla="*/ 117161 h 895083"/>
              <a:gd name="connsiteX39" fmla="*/ 784746 w 1924600"/>
              <a:gd name="connsiteY39" fmla="*/ 123985 h 895083"/>
              <a:gd name="connsiteX40" fmla="*/ 736979 w 1924600"/>
              <a:gd name="connsiteY40" fmla="*/ 144456 h 895083"/>
              <a:gd name="connsiteX41" fmla="*/ 709684 w 1924600"/>
              <a:gd name="connsiteY41" fmla="*/ 151280 h 895083"/>
              <a:gd name="connsiteX42" fmla="*/ 668740 w 1924600"/>
              <a:gd name="connsiteY42" fmla="*/ 164928 h 895083"/>
              <a:gd name="connsiteX43" fmla="*/ 648269 w 1924600"/>
              <a:gd name="connsiteY43" fmla="*/ 171752 h 895083"/>
              <a:gd name="connsiteX44" fmla="*/ 620973 w 1924600"/>
              <a:gd name="connsiteY44" fmla="*/ 178576 h 895083"/>
              <a:gd name="connsiteX45" fmla="*/ 580030 w 1924600"/>
              <a:gd name="connsiteY45" fmla="*/ 192224 h 895083"/>
              <a:gd name="connsiteX46" fmla="*/ 559558 w 1924600"/>
              <a:gd name="connsiteY46" fmla="*/ 199048 h 895083"/>
              <a:gd name="connsiteX47" fmla="*/ 511791 w 1924600"/>
              <a:gd name="connsiteY47" fmla="*/ 212695 h 895083"/>
              <a:gd name="connsiteX48" fmla="*/ 491320 w 1924600"/>
              <a:gd name="connsiteY48" fmla="*/ 226343 h 895083"/>
              <a:gd name="connsiteX49" fmla="*/ 423081 w 1924600"/>
              <a:gd name="connsiteY49" fmla="*/ 212695 h 895083"/>
              <a:gd name="connsiteX50" fmla="*/ 388961 w 1924600"/>
              <a:gd name="connsiteY50" fmla="*/ 171752 h 895083"/>
              <a:gd name="connsiteX51" fmla="*/ 375314 w 1924600"/>
              <a:gd name="connsiteY51" fmla="*/ 130809 h 895083"/>
              <a:gd name="connsiteX52" fmla="*/ 313899 w 1924600"/>
              <a:gd name="connsiteY52" fmla="*/ 110337 h 895083"/>
              <a:gd name="connsiteX53" fmla="*/ 293427 w 1924600"/>
              <a:gd name="connsiteY53" fmla="*/ 103513 h 895083"/>
              <a:gd name="connsiteX54" fmla="*/ 238836 w 1924600"/>
              <a:gd name="connsiteY54" fmla="*/ 55746 h 895083"/>
              <a:gd name="connsiteX55" fmla="*/ 218364 w 1924600"/>
              <a:gd name="connsiteY55" fmla="*/ 42098 h 895083"/>
              <a:gd name="connsiteX56" fmla="*/ 197893 w 1924600"/>
              <a:gd name="connsiteY56" fmla="*/ 35274 h 895083"/>
              <a:gd name="connsiteX57" fmla="*/ 163773 w 1924600"/>
              <a:gd name="connsiteY57" fmla="*/ 7979 h 895083"/>
              <a:gd name="connsiteX58" fmla="*/ 95534 w 1924600"/>
              <a:gd name="connsiteY58" fmla="*/ 21627 h 895083"/>
              <a:gd name="connsiteX59" fmla="*/ 75063 w 1924600"/>
              <a:gd name="connsiteY59" fmla="*/ 42098 h 895083"/>
              <a:gd name="connsiteX60" fmla="*/ 34120 w 1924600"/>
              <a:gd name="connsiteY60" fmla="*/ 35274 h 895083"/>
              <a:gd name="connsiteX61" fmla="*/ 0 w 1924600"/>
              <a:gd name="connsiteY61" fmla="*/ 21627 h 895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924600" h="895083">
                <a:moveTo>
                  <a:pt x="1924334" y="895083"/>
                </a:moveTo>
                <a:cubicBezTo>
                  <a:pt x="1922060" y="870062"/>
                  <a:pt x="1924600" y="844124"/>
                  <a:pt x="1917511" y="820021"/>
                </a:cubicBezTo>
                <a:cubicBezTo>
                  <a:pt x="1912883" y="804285"/>
                  <a:pt x="1890215" y="779077"/>
                  <a:pt x="1890215" y="779077"/>
                </a:cubicBezTo>
                <a:cubicBezTo>
                  <a:pt x="1887940" y="769979"/>
                  <a:pt x="1889250" y="759105"/>
                  <a:pt x="1883391" y="751782"/>
                </a:cubicBezTo>
                <a:cubicBezTo>
                  <a:pt x="1878898" y="746165"/>
                  <a:pt x="1868537" y="749451"/>
                  <a:pt x="1862920" y="744958"/>
                </a:cubicBezTo>
                <a:cubicBezTo>
                  <a:pt x="1856516" y="739835"/>
                  <a:pt x="1853821" y="731310"/>
                  <a:pt x="1849272" y="724486"/>
                </a:cubicBezTo>
                <a:cubicBezTo>
                  <a:pt x="1847381" y="671546"/>
                  <a:pt x="1886713" y="556105"/>
                  <a:pt x="1821976" y="512946"/>
                </a:cubicBezTo>
                <a:cubicBezTo>
                  <a:pt x="1815991" y="508956"/>
                  <a:pt x="1808329" y="508397"/>
                  <a:pt x="1801505" y="506122"/>
                </a:cubicBezTo>
                <a:cubicBezTo>
                  <a:pt x="1794681" y="508397"/>
                  <a:pt x="1787467" y="509729"/>
                  <a:pt x="1781033" y="512946"/>
                </a:cubicBezTo>
                <a:cubicBezTo>
                  <a:pt x="1773697" y="516614"/>
                  <a:pt x="1768680" y="525434"/>
                  <a:pt x="1760561" y="526594"/>
                </a:cubicBezTo>
                <a:cubicBezTo>
                  <a:pt x="1754564" y="527451"/>
                  <a:pt x="1720475" y="515506"/>
                  <a:pt x="1712794" y="512946"/>
                </a:cubicBezTo>
                <a:cubicBezTo>
                  <a:pt x="1705970" y="508397"/>
                  <a:pt x="1697446" y="505702"/>
                  <a:pt x="1692323" y="499298"/>
                </a:cubicBezTo>
                <a:cubicBezTo>
                  <a:pt x="1687830" y="493681"/>
                  <a:pt x="1686682" y="485922"/>
                  <a:pt x="1685499" y="478827"/>
                </a:cubicBezTo>
                <a:cubicBezTo>
                  <a:pt x="1682113" y="458510"/>
                  <a:pt x="1683307" y="437482"/>
                  <a:pt x="1678675" y="417412"/>
                </a:cubicBezTo>
                <a:cubicBezTo>
                  <a:pt x="1676388" y="407500"/>
                  <a:pt x="1669034" y="399466"/>
                  <a:pt x="1665027" y="390116"/>
                </a:cubicBezTo>
                <a:cubicBezTo>
                  <a:pt x="1662194" y="383505"/>
                  <a:pt x="1663289" y="374731"/>
                  <a:pt x="1658203" y="369645"/>
                </a:cubicBezTo>
                <a:cubicBezTo>
                  <a:pt x="1653117" y="364559"/>
                  <a:pt x="1644556" y="365096"/>
                  <a:pt x="1637732" y="362821"/>
                </a:cubicBezTo>
                <a:cubicBezTo>
                  <a:pt x="1633183" y="355997"/>
                  <a:pt x="1627415" y="349844"/>
                  <a:pt x="1624084" y="342349"/>
                </a:cubicBezTo>
                <a:cubicBezTo>
                  <a:pt x="1618241" y="329203"/>
                  <a:pt x="1620608" y="311578"/>
                  <a:pt x="1610436" y="301406"/>
                </a:cubicBezTo>
                <a:cubicBezTo>
                  <a:pt x="1584165" y="275135"/>
                  <a:pt x="1597994" y="286287"/>
                  <a:pt x="1569493" y="267286"/>
                </a:cubicBezTo>
                <a:cubicBezTo>
                  <a:pt x="1564803" y="243837"/>
                  <a:pt x="1562269" y="228355"/>
                  <a:pt x="1555845" y="205871"/>
                </a:cubicBezTo>
                <a:cubicBezTo>
                  <a:pt x="1553869" y="198955"/>
                  <a:pt x="1551296" y="192224"/>
                  <a:pt x="1549021" y="185400"/>
                </a:cubicBezTo>
                <a:cubicBezTo>
                  <a:pt x="1498427" y="219129"/>
                  <a:pt x="1524162" y="215912"/>
                  <a:pt x="1473958" y="205871"/>
                </a:cubicBezTo>
                <a:cubicBezTo>
                  <a:pt x="1465435" y="197348"/>
                  <a:pt x="1449945" y="175754"/>
                  <a:pt x="1433015" y="178576"/>
                </a:cubicBezTo>
                <a:cubicBezTo>
                  <a:pt x="1424925" y="179924"/>
                  <a:pt x="1419367" y="187675"/>
                  <a:pt x="1412543" y="192224"/>
                </a:cubicBezTo>
                <a:cubicBezTo>
                  <a:pt x="1407994" y="199048"/>
                  <a:pt x="1402564" y="205360"/>
                  <a:pt x="1398896" y="212695"/>
                </a:cubicBezTo>
                <a:cubicBezTo>
                  <a:pt x="1387797" y="234894"/>
                  <a:pt x="1397979" y="234084"/>
                  <a:pt x="1378424" y="253639"/>
                </a:cubicBezTo>
                <a:cubicBezTo>
                  <a:pt x="1368361" y="263701"/>
                  <a:pt x="1351354" y="271335"/>
                  <a:pt x="1337481" y="274110"/>
                </a:cubicBezTo>
                <a:cubicBezTo>
                  <a:pt x="1321709" y="277264"/>
                  <a:pt x="1305539" y="278057"/>
                  <a:pt x="1289714" y="280934"/>
                </a:cubicBezTo>
                <a:cubicBezTo>
                  <a:pt x="1280487" y="282612"/>
                  <a:pt x="1271517" y="285483"/>
                  <a:pt x="1262418" y="287758"/>
                </a:cubicBezTo>
                <a:cubicBezTo>
                  <a:pt x="1253320" y="292307"/>
                  <a:pt x="1244568" y="297628"/>
                  <a:pt x="1235123" y="301406"/>
                </a:cubicBezTo>
                <a:cubicBezTo>
                  <a:pt x="1221766" y="306749"/>
                  <a:pt x="1194179" y="315054"/>
                  <a:pt x="1194179" y="315054"/>
                </a:cubicBezTo>
                <a:cubicBezTo>
                  <a:pt x="1182806" y="310505"/>
                  <a:pt x="1170447" y="307898"/>
                  <a:pt x="1160060" y="301406"/>
                </a:cubicBezTo>
                <a:cubicBezTo>
                  <a:pt x="1145048" y="292023"/>
                  <a:pt x="1135373" y="274611"/>
                  <a:pt x="1125940" y="260462"/>
                </a:cubicBezTo>
                <a:cubicBezTo>
                  <a:pt x="1108793" y="209016"/>
                  <a:pt x="1131922" y="272423"/>
                  <a:pt x="1105469" y="219519"/>
                </a:cubicBezTo>
                <a:cubicBezTo>
                  <a:pt x="1094368" y="197318"/>
                  <a:pt x="1104554" y="198133"/>
                  <a:pt x="1084997" y="178576"/>
                </a:cubicBezTo>
                <a:cubicBezTo>
                  <a:pt x="1079198" y="172777"/>
                  <a:pt x="1071350" y="169477"/>
                  <a:pt x="1064526" y="164928"/>
                </a:cubicBezTo>
                <a:cubicBezTo>
                  <a:pt x="1030027" y="169856"/>
                  <a:pt x="1003490" y="178197"/>
                  <a:pt x="968991" y="164928"/>
                </a:cubicBezTo>
                <a:cubicBezTo>
                  <a:pt x="942464" y="154725"/>
                  <a:pt x="926440" y="136025"/>
                  <a:pt x="907576" y="117161"/>
                </a:cubicBezTo>
                <a:cubicBezTo>
                  <a:pt x="866633" y="119436"/>
                  <a:pt x="825568" y="120097"/>
                  <a:pt x="784746" y="123985"/>
                </a:cubicBezTo>
                <a:cubicBezTo>
                  <a:pt x="769608" y="125427"/>
                  <a:pt x="749518" y="139754"/>
                  <a:pt x="736979" y="144456"/>
                </a:cubicBezTo>
                <a:cubicBezTo>
                  <a:pt x="728198" y="147749"/>
                  <a:pt x="718667" y="148585"/>
                  <a:pt x="709684" y="151280"/>
                </a:cubicBezTo>
                <a:cubicBezTo>
                  <a:pt x="695904" y="155414"/>
                  <a:pt x="682388" y="160379"/>
                  <a:pt x="668740" y="164928"/>
                </a:cubicBezTo>
                <a:cubicBezTo>
                  <a:pt x="661916" y="167203"/>
                  <a:pt x="655247" y="170007"/>
                  <a:pt x="648269" y="171752"/>
                </a:cubicBezTo>
                <a:cubicBezTo>
                  <a:pt x="639170" y="174027"/>
                  <a:pt x="629956" y="175881"/>
                  <a:pt x="620973" y="178576"/>
                </a:cubicBezTo>
                <a:cubicBezTo>
                  <a:pt x="607194" y="182710"/>
                  <a:pt x="593678" y="187675"/>
                  <a:pt x="580030" y="192224"/>
                </a:cubicBezTo>
                <a:cubicBezTo>
                  <a:pt x="573206" y="194499"/>
                  <a:pt x="566536" y="197304"/>
                  <a:pt x="559558" y="199048"/>
                </a:cubicBezTo>
                <a:cubicBezTo>
                  <a:pt x="525285" y="207615"/>
                  <a:pt x="541160" y="202905"/>
                  <a:pt x="511791" y="212695"/>
                </a:cubicBezTo>
                <a:cubicBezTo>
                  <a:pt x="504967" y="217244"/>
                  <a:pt x="499521" y="226343"/>
                  <a:pt x="491320" y="226343"/>
                </a:cubicBezTo>
                <a:cubicBezTo>
                  <a:pt x="468123" y="226343"/>
                  <a:pt x="423081" y="212695"/>
                  <a:pt x="423081" y="212695"/>
                </a:cubicBezTo>
                <a:cubicBezTo>
                  <a:pt x="410224" y="199839"/>
                  <a:pt x="396562" y="188854"/>
                  <a:pt x="388961" y="171752"/>
                </a:cubicBezTo>
                <a:cubicBezTo>
                  <a:pt x="383118" y="158606"/>
                  <a:pt x="388962" y="135358"/>
                  <a:pt x="375314" y="130809"/>
                </a:cubicBezTo>
                <a:lnTo>
                  <a:pt x="313899" y="110337"/>
                </a:lnTo>
                <a:lnTo>
                  <a:pt x="293427" y="103513"/>
                </a:lnTo>
                <a:cubicBezTo>
                  <a:pt x="260930" y="54766"/>
                  <a:pt x="282045" y="66548"/>
                  <a:pt x="238836" y="55746"/>
                </a:cubicBezTo>
                <a:cubicBezTo>
                  <a:pt x="232012" y="51197"/>
                  <a:pt x="225700" y="45766"/>
                  <a:pt x="218364" y="42098"/>
                </a:cubicBezTo>
                <a:cubicBezTo>
                  <a:pt x="211931" y="38881"/>
                  <a:pt x="203510" y="39767"/>
                  <a:pt x="197893" y="35274"/>
                </a:cubicBezTo>
                <a:cubicBezTo>
                  <a:pt x="153800" y="0"/>
                  <a:pt x="215229" y="25131"/>
                  <a:pt x="163773" y="7979"/>
                </a:cubicBezTo>
                <a:cubicBezTo>
                  <a:pt x="159727" y="8557"/>
                  <a:pt x="108527" y="12965"/>
                  <a:pt x="95534" y="21627"/>
                </a:cubicBezTo>
                <a:cubicBezTo>
                  <a:pt x="87505" y="26980"/>
                  <a:pt x="81887" y="35274"/>
                  <a:pt x="75063" y="42098"/>
                </a:cubicBezTo>
                <a:cubicBezTo>
                  <a:pt x="61415" y="39823"/>
                  <a:pt x="47626" y="38275"/>
                  <a:pt x="34120" y="35274"/>
                </a:cubicBezTo>
                <a:cubicBezTo>
                  <a:pt x="18938" y="31900"/>
                  <a:pt x="12929" y="28092"/>
                  <a:pt x="0" y="21627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8" name="Freeform 67"/>
          <p:cNvSpPr/>
          <p:nvPr/>
        </p:nvSpPr>
        <p:spPr>
          <a:xfrm>
            <a:off x="2721255" y="3217866"/>
            <a:ext cx="955675" cy="388937"/>
          </a:xfrm>
          <a:custGeom>
            <a:avLst/>
            <a:gdLst>
              <a:gd name="connsiteX0" fmla="*/ 948519 w 954912"/>
              <a:gd name="connsiteY0" fmla="*/ 388961 h 388961"/>
              <a:gd name="connsiteX1" fmla="*/ 941695 w 954912"/>
              <a:gd name="connsiteY1" fmla="*/ 279779 h 388961"/>
              <a:gd name="connsiteX2" fmla="*/ 900752 w 954912"/>
              <a:gd name="connsiteY2" fmla="*/ 266131 h 388961"/>
              <a:gd name="connsiteX3" fmla="*/ 893928 w 954912"/>
              <a:gd name="connsiteY3" fmla="*/ 238836 h 388961"/>
              <a:gd name="connsiteX4" fmla="*/ 873457 w 954912"/>
              <a:gd name="connsiteY4" fmla="*/ 191068 h 388961"/>
              <a:gd name="connsiteX5" fmla="*/ 866633 w 954912"/>
              <a:gd name="connsiteY5" fmla="*/ 156949 h 388961"/>
              <a:gd name="connsiteX6" fmla="*/ 852985 w 954912"/>
              <a:gd name="connsiteY6" fmla="*/ 116006 h 388961"/>
              <a:gd name="connsiteX7" fmla="*/ 825689 w 954912"/>
              <a:gd name="connsiteY7" fmla="*/ 122830 h 388961"/>
              <a:gd name="connsiteX8" fmla="*/ 798394 w 954912"/>
              <a:gd name="connsiteY8" fmla="*/ 136477 h 388961"/>
              <a:gd name="connsiteX9" fmla="*/ 771098 w 954912"/>
              <a:gd name="connsiteY9" fmla="*/ 129653 h 388961"/>
              <a:gd name="connsiteX10" fmla="*/ 730155 w 954912"/>
              <a:gd name="connsiteY10" fmla="*/ 75062 h 388961"/>
              <a:gd name="connsiteX11" fmla="*/ 709683 w 954912"/>
              <a:gd name="connsiteY11" fmla="*/ 47767 h 388961"/>
              <a:gd name="connsiteX12" fmla="*/ 689212 w 954912"/>
              <a:gd name="connsiteY12" fmla="*/ 6824 h 388961"/>
              <a:gd name="connsiteX13" fmla="*/ 668740 w 954912"/>
              <a:gd name="connsiteY13" fmla="*/ 0 h 388961"/>
              <a:gd name="connsiteX14" fmla="*/ 600501 w 954912"/>
              <a:gd name="connsiteY14" fmla="*/ 34119 h 388961"/>
              <a:gd name="connsiteX15" fmla="*/ 559558 w 954912"/>
              <a:gd name="connsiteY15" fmla="*/ 61415 h 388961"/>
              <a:gd name="connsiteX16" fmla="*/ 484495 w 954912"/>
              <a:gd name="connsiteY16" fmla="*/ 68239 h 388961"/>
              <a:gd name="connsiteX17" fmla="*/ 464024 w 954912"/>
              <a:gd name="connsiteY17" fmla="*/ 116006 h 388961"/>
              <a:gd name="connsiteX18" fmla="*/ 443552 w 954912"/>
              <a:gd name="connsiteY18" fmla="*/ 129653 h 388961"/>
              <a:gd name="connsiteX19" fmla="*/ 375313 w 954912"/>
              <a:gd name="connsiteY19" fmla="*/ 122830 h 388961"/>
              <a:gd name="connsiteX20" fmla="*/ 354842 w 954912"/>
              <a:gd name="connsiteY20" fmla="*/ 109182 h 388961"/>
              <a:gd name="connsiteX21" fmla="*/ 334370 w 954912"/>
              <a:gd name="connsiteY21" fmla="*/ 102358 h 388961"/>
              <a:gd name="connsiteX22" fmla="*/ 252483 w 954912"/>
              <a:gd name="connsiteY22" fmla="*/ 109182 h 388961"/>
              <a:gd name="connsiteX23" fmla="*/ 197892 w 954912"/>
              <a:gd name="connsiteY23" fmla="*/ 95534 h 388961"/>
              <a:gd name="connsiteX24" fmla="*/ 177421 w 954912"/>
              <a:gd name="connsiteY24" fmla="*/ 88710 h 388961"/>
              <a:gd name="connsiteX25" fmla="*/ 136477 w 954912"/>
              <a:gd name="connsiteY25" fmla="*/ 68239 h 388961"/>
              <a:gd name="connsiteX26" fmla="*/ 88710 w 954912"/>
              <a:gd name="connsiteY26" fmla="*/ 34119 h 388961"/>
              <a:gd name="connsiteX27" fmla="*/ 68239 w 954912"/>
              <a:gd name="connsiteY27" fmla="*/ 47767 h 388961"/>
              <a:gd name="connsiteX28" fmla="*/ 13648 w 954912"/>
              <a:gd name="connsiteY28" fmla="*/ 95534 h 388961"/>
              <a:gd name="connsiteX29" fmla="*/ 0 w 954912"/>
              <a:gd name="connsiteY29" fmla="*/ 95534 h 388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954912" h="388961">
                <a:moveTo>
                  <a:pt x="948519" y="388961"/>
                </a:moveTo>
                <a:cubicBezTo>
                  <a:pt x="946244" y="352567"/>
                  <a:pt x="954912" y="313765"/>
                  <a:pt x="941695" y="279779"/>
                </a:cubicBezTo>
                <a:cubicBezTo>
                  <a:pt x="936481" y="266371"/>
                  <a:pt x="911675" y="275493"/>
                  <a:pt x="900752" y="266131"/>
                </a:cubicBezTo>
                <a:cubicBezTo>
                  <a:pt x="893631" y="260028"/>
                  <a:pt x="896504" y="247854"/>
                  <a:pt x="893928" y="238836"/>
                </a:cubicBezTo>
                <a:cubicBezTo>
                  <a:pt x="887234" y="215408"/>
                  <a:pt x="885587" y="215331"/>
                  <a:pt x="873457" y="191068"/>
                </a:cubicBezTo>
                <a:cubicBezTo>
                  <a:pt x="871182" y="179695"/>
                  <a:pt x="869685" y="168139"/>
                  <a:pt x="866633" y="156949"/>
                </a:cubicBezTo>
                <a:cubicBezTo>
                  <a:pt x="862848" y="143070"/>
                  <a:pt x="852985" y="116006"/>
                  <a:pt x="852985" y="116006"/>
                </a:cubicBezTo>
                <a:cubicBezTo>
                  <a:pt x="843886" y="118281"/>
                  <a:pt x="834471" y="119537"/>
                  <a:pt x="825689" y="122830"/>
                </a:cubicBezTo>
                <a:cubicBezTo>
                  <a:pt x="816164" y="126402"/>
                  <a:pt x="808488" y="135215"/>
                  <a:pt x="798394" y="136477"/>
                </a:cubicBezTo>
                <a:cubicBezTo>
                  <a:pt x="789088" y="137640"/>
                  <a:pt x="780197" y="131928"/>
                  <a:pt x="771098" y="129653"/>
                </a:cubicBezTo>
                <a:lnTo>
                  <a:pt x="730155" y="75062"/>
                </a:lnTo>
                <a:lnTo>
                  <a:pt x="709683" y="47767"/>
                </a:lnTo>
                <a:cubicBezTo>
                  <a:pt x="705188" y="34279"/>
                  <a:pt x="701240" y="16446"/>
                  <a:pt x="689212" y="6824"/>
                </a:cubicBezTo>
                <a:cubicBezTo>
                  <a:pt x="683595" y="2331"/>
                  <a:pt x="675564" y="2275"/>
                  <a:pt x="668740" y="0"/>
                </a:cubicBezTo>
                <a:cubicBezTo>
                  <a:pt x="625533" y="10802"/>
                  <a:pt x="649246" y="1623"/>
                  <a:pt x="600501" y="34119"/>
                </a:cubicBezTo>
                <a:cubicBezTo>
                  <a:pt x="600499" y="34120"/>
                  <a:pt x="559560" y="61415"/>
                  <a:pt x="559558" y="61415"/>
                </a:cubicBezTo>
                <a:lnTo>
                  <a:pt x="484495" y="68239"/>
                </a:lnTo>
                <a:cubicBezTo>
                  <a:pt x="479275" y="89117"/>
                  <a:pt x="479731" y="100299"/>
                  <a:pt x="464024" y="116006"/>
                </a:cubicBezTo>
                <a:cubicBezTo>
                  <a:pt x="458225" y="121805"/>
                  <a:pt x="450376" y="125104"/>
                  <a:pt x="443552" y="129653"/>
                </a:cubicBezTo>
                <a:cubicBezTo>
                  <a:pt x="420806" y="127379"/>
                  <a:pt x="397587" y="127970"/>
                  <a:pt x="375313" y="122830"/>
                </a:cubicBezTo>
                <a:cubicBezTo>
                  <a:pt x="367322" y="120986"/>
                  <a:pt x="362177" y="112850"/>
                  <a:pt x="354842" y="109182"/>
                </a:cubicBezTo>
                <a:cubicBezTo>
                  <a:pt x="348408" y="105965"/>
                  <a:pt x="341194" y="104633"/>
                  <a:pt x="334370" y="102358"/>
                </a:cubicBezTo>
                <a:cubicBezTo>
                  <a:pt x="307074" y="104633"/>
                  <a:pt x="279839" y="110550"/>
                  <a:pt x="252483" y="109182"/>
                </a:cubicBezTo>
                <a:cubicBezTo>
                  <a:pt x="233749" y="108245"/>
                  <a:pt x="215988" y="100469"/>
                  <a:pt x="197892" y="95534"/>
                </a:cubicBezTo>
                <a:cubicBezTo>
                  <a:pt x="190953" y="93641"/>
                  <a:pt x="183854" y="91927"/>
                  <a:pt x="177421" y="88710"/>
                </a:cubicBezTo>
                <a:cubicBezTo>
                  <a:pt x="124519" y="62258"/>
                  <a:pt x="187923" y="85385"/>
                  <a:pt x="136477" y="68239"/>
                </a:cubicBezTo>
                <a:cubicBezTo>
                  <a:pt x="129148" y="60910"/>
                  <a:pt x="107384" y="31007"/>
                  <a:pt x="88710" y="34119"/>
                </a:cubicBezTo>
                <a:cubicBezTo>
                  <a:pt x="80620" y="35467"/>
                  <a:pt x="75063" y="43218"/>
                  <a:pt x="68239" y="47767"/>
                </a:cubicBezTo>
                <a:cubicBezTo>
                  <a:pt x="56108" y="65964"/>
                  <a:pt x="40185" y="95534"/>
                  <a:pt x="13648" y="95534"/>
                </a:cubicBezTo>
                <a:lnTo>
                  <a:pt x="0" y="95534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9" name="Freeform 68"/>
          <p:cNvSpPr/>
          <p:nvPr/>
        </p:nvSpPr>
        <p:spPr>
          <a:xfrm>
            <a:off x="3470551" y="2909890"/>
            <a:ext cx="201612" cy="546100"/>
          </a:xfrm>
          <a:custGeom>
            <a:avLst/>
            <a:gdLst>
              <a:gd name="connsiteX0" fmla="*/ 143944 w 200303"/>
              <a:gd name="connsiteY0" fmla="*/ 545911 h 545911"/>
              <a:gd name="connsiteX1" fmla="*/ 150768 w 200303"/>
              <a:gd name="connsiteY1" fmla="*/ 518615 h 545911"/>
              <a:gd name="connsiteX2" fmla="*/ 157592 w 200303"/>
              <a:gd name="connsiteY2" fmla="*/ 484496 h 545911"/>
              <a:gd name="connsiteX3" fmla="*/ 164416 w 200303"/>
              <a:gd name="connsiteY3" fmla="*/ 464024 h 545911"/>
              <a:gd name="connsiteX4" fmla="*/ 178064 w 200303"/>
              <a:gd name="connsiteY4" fmla="*/ 409433 h 545911"/>
              <a:gd name="connsiteX5" fmla="*/ 184887 w 200303"/>
              <a:gd name="connsiteY5" fmla="*/ 150125 h 545911"/>
              <a:gd name="connsiteX6" fmla="*/ 143944 w 200303"/>
              <a:gd name="connsiteY6" fmla="*/ 102358 h 545911"/>
              <a:gd name="connsiteX7" fmla="*/ 123473 w 200303"/>
              <a:gd name="connsiteY7" fmla="*/ 95534 h 545911"/>
              <a:gd name="connsiteX8" fmla="*/ 21114 w 200303"/>
              <a:gd name="connsiteY8" fmla="*/ 88711 h 545911"/>
              <a:gd name="connsiteX9" fmla="*/ 7467 w 200303"/>
              <a:gd name="connsiteY9" fmla="*/ 61415 h 545911"/>
              <a:gd name="connsiteX10" fmla="*/ 643 w 200303"/>
              <a:gd name="connsiteY10" fmla="*/ 0 h 545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0303" h="545911">
                <a:moveTo>
                  <a:pt x="143944" y="545911"/>
                </a:moveTo>
                <a:cubicBezTo>
                  <a:pt x="146219" y="536812"/>
                  <a:pt x="148733" y="527770"/>
                  <a:pt x="150768" y="518615"/>
                </a:cubicBezTo>
                <a:cubicBezTo>
                  <a:pt x="153284" y="507293"/>
                  <a:pt x="154779" y="495748"/>
                  <a:pt x="157592" y="484496"/>
                </a:cubicBezTo>
                <a:cubicBezTo>
                  <a:pt x="159337" y="477518"/>
                  <a:pt x="162523" y="470964"/>
                  <a:pt x="164416" y="464024"/>
                </a:cubicBezTo>
                <a:cubicBezTo>
                  <a:pt x="169351" y="445928"/>
                  <a:pt x="178064" y="409433"/>
                  <a:pt x="178064" y="409433"/>
                </a:cubicBezTo>
                <a:cubicBezTo>
                  <a:pt x="189039" y="299676"/>
                  <a:pt x="200303" y="258041"/>
                  <a:pt x="184887" y="150125"/>
                </a:cubicBezTo>
                <a:cubicBezTo>
                  <a:pt x="183248" y="138649"/>
                  <a:pt x="147000" y="104541"/>
                  <a:pt x="143944" y="102358"/>
                </a:cubicBezTo>
                <a:cubicBezTo>
                  <a:pt x="138091" y="98177"/>
                  <a:pt x="130622" y="96328"/>
                  <a:pt x="123473" y="95534"/>
                </a:cubicBezTo>
                <a:cubicBezTo>
                  <a:pt x="89487" y="91758"/>
                  <a:pt x="55234" y="90985"/>
                  <a:pt x="21114" y="88711"/>
                </a:cubicBezTo>
                <a:cubicBezTo>
                  <a:pt x="16565" y="79612"/>
                  <a:pt x="10143" y="71229"/>
                  <a:pt x="7467" y="61415"/>
                </a:cubicBezTo>
                <a:cubicBezTo>
                  <a:pt x="0" y="34034"/>
                  <a:pt x="643" y="22692"/>
                  <a:pt x="643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0" name="Freeform 69"/>
          <p:cNvSpPr/>
          <p:nvPr/>
        </p:nvSpPr>
        <p:spPr>
          <a:xfrm>
            <a:off x="3929338" y="3568700"/>
            <a:ext cx="196850" cy="311151"/>
          </a:xfrm>
          <a:custGeom>
            <a:avLst/>
            <a:gdLst>
              <a:gd name="connsiteX0" fmla="*/ 0 w 197892"/>
              <a:gd name="connsiteY0" fmla="*/ 310614 h 310614"/>
              <a:gd name="connsiteX1" fmla="*/ 6824 w 197892"/>
              <a:gd name="connsiteY1" fmla="*/ 290142 h 310614"/>
              <a:gd name="connsiteX2" fmla="*/ 20471 w 197892"/>
              <a:gd name="connsiteY2" fmla="*/ 215080 h 310614"/>
              <a:gd name="connsiteX3" fmla="*/ 40943 w 197892"/>
              <a:gd name="connsiteY3" fmla="*/ 174137 h 310614"/>
              <a:gd name="connsiteX4" fmla="*/ 61415 w 197892"/>
              <a:gd name="connsiteY4" fmla="*/ 167313 h 310614"/>
              <a:gd name="connsiteX5" fmla="*/ 81886 w 197892"/>
              <a:gd name="connsiteY5" fmla="*/ 153665 h 310614"/>
              <a:gd name="connsiteX6" fmla="*/ 95534 w 197892"/>
              <a:gd name="connsiteY6" fmla="*/ 99074 h 310614"/>
              <a:gd name="connsiteX7" fmla="*/ 102358 w 197892"/>
              <a:gd name="connsiteY7" fmla="*/ 17187 h 310614"/>
              <a:gd name="connsiteX8" fmla="*/ 122830 w 197892"/>
              <a:gd name="connsiteY8" fmla="*/ 3539 h 310614"/>
              <a:gd name="connsiteX9" fmla="*/ 197892 w 197892"/>
              <a:gd name="connsiteY9" fmla="*/ 3539 h 31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7892" h="310614">
                <a:moveTo>
                  <a:pt x="0" y="310614"/>
                </a:moveTo>
                <a:cubicBezTo>
                  <a:pt x="2275" y="303790"/>
                  <a:pt x="5264" y="297164"/>
                  <a:pt x="6824" y="290142"/>
                </a:cubicBezTo>
                <a:cubicBezTo>
                  <a:pt x="18995" y="235371"/>
                  <a:pt x="8049" y="264768"/>
                  <a:pt x="20471" y="215080"/>
                </a:cubicBezTo>
                <a:cubicBezTo>
                  <a:pt x="23562" y="202717"/>
                  <a:pt x="30518" y="182477"/>
                  <a:pt x="40943" y="174137"/>
                </a:cubicBezTo>
                <a:cubicBezTo>
                  <a:pt x="46560" y="169644"/>
                  <a:pt x="54591" y="169588"/>
                  <a:pt x="61415" y="167313"/>
                </a:cubicBezTo>
                <a:cubicBezTo>
                  <a:pt x="68239" y="162764"/>
                  <a:pt x="78218" y="161000"/>
                  <a:pt x="81886" y="153665"/>
                </a:cubicBezTo>
                <a:cubicBezTo>
                  <a:pt x="90274" y="136888"/>
                  <a:pt x="95534" y="99074"/>
                  <a:pt x="95534" y="99074"/>
                </a:cubicBezTo>
                <a:cubicBezTo>
                  <a:pt x="97809" y="71778"/>
                  <a:pt x="94833" y="43523"/>
                  <a:pt x="102358" y="17187"/>
                </a:cubicBezTo>
                <a:cubicBezTo>
                  <a:pt x="104611" y="9301"/>
                  <a:pt x="114711" y="4699"/>
                  <a:pt x="122830" y="3539"/>
                </a:cubicBezTo>
                <a:cubicBezTo>
                  <a:pt x="147599" y="0"/>
                  <a:pt x="172871" y="3539"/>
                  <a:pt x="197892" y="353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1" name="Rectangle 5"/>
          <p:cNvSpPr>
            <a:spLocks noChangeArrowheads="1"/>
          </p:cNvSpPr>
          <p:nvPr/>
        </p:nvSpPr>
        <p:spPr bwMode="auto">
          <a:xfrm rot="852956">
            <a:off x="2364067" y="3338614"/>
            <a:ext cx="84931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ోదావరి</a:t>
            </a:r>
          </a:p>
        </p:txBody>
      </p:sp>
      <p:sp>
        <p:nvSpPr>
          <p:cNvPr id="72" name="Freeform 71"/>
          <p:cNvSpPr/>
          <p:nvPr/>
        </p:nvSpPr>
        <p:spPr>
          <a:xfrm>
            <a:off x="2741888" y="5537200"/>
            <a:ext cx="839788" cy="177800"/>
          </a:xfrm>
          <a:custGeom>
            <a:avLst/>
            <a:gdLst>
              <a:gd name="connsiteX0" fmla="*/ 839338 w 839338"/>
              <a:gd name="connsiteY0" fmla="*/ 0 h 177421"/>
              <a:gd name="connsiteX1" fmla="*/ 818866 w 839338"/>
              <a:gd name="connsiteY1" fmla="*/ 13648 h 177421"/>
              <a:gd name="connsiteX2" fmla="*/ 812042 w 839338"/>
              <a:gd name="connsiteY2" fmla="*/ 34120 h 177421"/>
              <a:gd name="connsiteX3" fmla="*/ 784747 w 839338"/>
              <a:gd name="connsiteY3" fmla="*/ 75063 h 177421"/>
              <a:gd name="connsiteX4" fmla="*/ 771099 w 839338"/>
              <a:gd name="connsiteY4" fmla="*/ 95534 h 177421"/>
              <a:gd name="connsiteX5" fmla="*/ 750627 w 839338"/>
              <a:gd name="connsiteY5" fmla="*/ 102358 h 177421"/>
              <a:gd name="connsiteX6" fmla="*/ 743803 w 839338"/>
              <a:gd name="connsiteY6" fmla="*/ 122830 h 177421"/>
              <a:gd name="connsiteX7" fmla="*/ 682389 w 839338"/>
              <a:gd name="connsiteY7" fmla="*/ 156949 h 177421"/>
              <a:gd name="connsiteX8" fmla="*/ 661917 w 839338"/>
              <a:gd name="connsiteY8" fmla="*/ 150125 h 177421"/>
              <a:gd name="connsiteX9" fmla="*/ 614150 w 839338"/>
              <a:gd name="connsiteY9" fmla="*/ 163773 h 177421"/>
              <a:gd name="connsiteX10" fmla="*/ 580030 w 839338"/>
              <a:gd name="connsiteY10" fmla="*/ 156949 h 177421"/>
              <a:gd name="connsiteX11" fmla="*/ 539087 w 839338"/>
              <a:gd name="connsiteY11" fmla="*/ 143302 h 177421"/>
              <a:gd name="connsiteX12" fmla="*/ 491320 w 839338"/>
              <a:gd name="connsiteY12" fmla="*/ 163773 h 177421"/>
              <a:gd name="connsiteX13" fmla="*/ 423081 w 839338"/>
              <a:gd name="connsiteY13" fmla="*/ 177421 h 177421"/>
              <a:gd name="connsiteX14" fmla="*/ 354842 w 839338"/>
              <a:gd name="connsiteY14" fmla="*/ 170597 h 177421"/>
              <a:gd name="connsiteX15" fmla="*/ 334371 w 839338"/>
              <a:gd name="connsiteY15" fmla="*/ 109182 h 177421"/>
              <a:gd name="connsiteX16" fmla="*/ 334371 w 839338"/>
              <a:gd name="connsiteY16" fmla="*/ 109182 h 177421"/>
              <a:gd name="connsiteX17" fmla="*/ 293427 w 839338"/>
              <a:gd name="connsiteY17" fmla="*/ 88711 h 177421"/>
              <a:gd name="connsiteX18" fmla="*/ 279780 w 839338"/>
              <a:gd name="connsiteY18" fmla="*/ 68239 h 177421"/>
              <a:gd name="connsiteX19" fmla="*/ 211541 w 839338"/>
              <a:gd name="connsiteY19" fmla="*/ 20472 h 177421"/>
              <a:gd name="connsiteX20" fmla="*/ 150126 w 839338"/>
              <a:gd name="connsiteY20" fmla="*/ 34120 h 177421"/>
              <a:gd name="connsiteX21" fmla="*/ 129654 w 839338"/>
              <a:gd name="connsiteY21" fmla="*/ 47767 h 177421"/>
              <a:gd name="connsiteX22" fmla="*/ 68239 w 839338"/>
              <a:gd name="connsiteY22" fmla="*/ 47767 h 177421"/>
              <a:gd name="connsiteX23" fmla="*/ 54591 w 839338"/>
              <a:gd name="connsiteY23" fmla="*/ 68239 h 177421"/>
              <a:gd name="connsiteX24" fmla="*/ 13648 w 839338"/>
              <a:gd name="connsiteY24" fmla="*/ 81887 h 177421"/>
              <a:gd name="connsiteX25" fmla="*/ 0 w 839338"/>
              <a:gd name="connsiteY25" fmla="*/ 102358 h 177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839338" h="177421">
                <a:moveTo>
                  <a:pt x="839338" y="0"/>
                </a:moveTo>
                <a:cubicBezTo>
                  <a:pt x="832514" y="4549"/>
                  <a:pt x="823989" y="7244"/>
                  <a:pt x="818866" y="13648"/>
                </a:cubicBezTo>
                <a:cubicBezTo>
                  <a:pt x="814372" y="19265"/>
                  <a:pt x="815535" y="27832"/>
                  <a:pt x="812042" y="34120"/>
                </a:cubicBezTo>
                <a:cubicBezTo>
                  <a:pt x="804076" y="48458"/>
                  <a:pt x="793845" y="61415"/>
                  <a:pt x="784747" y="75063"/>
                </a:cubicBezTo>
                <a:cubicBezTo>
                  <a:pt x="780198" y="81887"/>
                  <a:pt x="778879" y="92941"/>
                  <a:pt x="771099" y="95534"/>
                </a:cubicBezTo>
                <a:lnTo>
                  <a:pt x="750627" y="102358"/>
                </a:lnTo>
                <a:cubicBezTo>
                  <a:pt x="748352" y="109182"/>
                  <a:pt x="748889" y="117744"/>
                  <a:pt x="743803" y="122830"/>
                </a:cubicBezTo>
                <a:cubicBezTo>
                  <a:pt x="720340" y="146293"/>
                  <a:pt x="708131" y="148368"/>
                  <a:pt x="682389" y="156949"/>
                </a:cubicBezTo>
                <a:cubicBezTo>
                  <a:pt x="675565" y="154674"/>
                  <a:pt x="669110" y="150125"/>
                  <a:pt x="661917" y="150125"/>
                </a:cubicBezTo>
                <a:cubicBezTo>
                  <a:pt x="653347" y="150125"/>
                  <a:pt x="623805" y="160555"/>
                  <a:pt x="614150" y="163773"/>
                </a:cubicBezTo>
                <a:cubicBezTo>
                  <a:pt x="602777" y="161498"/>
                  <a:pt x="591220" y="160001"/>
                  <a:pt x="580030" y="156949"/>
                </a:cubicBezTo>
                <a:cubicBezTo>
                  <a:pt x="566151" y="153164"/>
                  <a:pt x="539087" y="143302"/>
                  <a:pt x="539087" y="143302"/>
                </a:cubicBezTo>
                <a:cubicBezTo>
                  <a:pt x="482280" y="157502"/>
                  <a:pt x="538443" y="140211"/>
                  <a:pt x="491320" y="163773"/>
                </a:cubicBezTo>
                <a:cubicBezTo>
                  <a:pt x="472264" y="173301"/>
                  <a:pt x="440683" y="174906"/>
                  <a:pt x="423081" y="177421"/>
                </a:cubicBezTo>
                <a:lnTo>
                  <a:pt x="354842" y="170597"/>
                </a:lnTo>
                <a:cubicBezTo>
                  <a:pt x="354839" y="170595"/>
                  <a:pt x="337783" y="119419"/>
                  <a:pt x="334371" y="109182"/>
                </a:cubicBezTo>
                <a:lnTo>
                  <a:pt x="334371" y="109182"/>
                </a:lnTo>
                <a:cubicBezTo>
                  <a:pt x="307914" y="91544"/>
                  <a:pt x="321680" y="98127"/>
                  <a:pt x="293427" y="88711"/>
                </a:cubicBezTo>
                <a:cubicBezTo>
                  <a:pt x="288878" y="81887"/>
                  <a:pt x="283111" y="75733"/>
                  <a:pt x="279780" y="68239"/>
                </a:cubicBezTo>
                <a:cubicBezTo>
                  <a:pt x="253470" y="9041"/>
                  <a:pt x="289155" y="30174"/>
                  <a:pt x="211541" y="20472"/>
                </a:cubicBezTo>
                <a:cubicBezTo>
                  <a:pt x="195812" y="23094"/>
                  <a:pt x="166927" y="25720"/>
                  <a:pt x="150126" y="34120"/>
                </a:cubicBezTo>
                <a:cubicBezTo>
                  <a:pt x="142791" y="37788"/>
                  <a:pt x="136478" y="43218"/>
                  <a:pt x="129654" y="47767"/>
                </a:cubicBezTo>
                <a:cubicBezTo>
                  <a:pt x="109257" y="43687"/>
                  <a:pt x="88254" y="34423"/>
                  <a:pt x="68239" y="47767"/>
                </a:cubicBezTo>
                <a:cubicBezTo>
                  <a:pt x="61415" y="52316"/>
                  <a:pt x="61546" y="63892"/>
                  <a:pt x="54591" y="68239"/>
                </a:cubicBezTo>
                <a:cubicBezTo>
                  <a:pt x="42392" y="75864"/>
                  <a:pt x="13648" y="81887"/>
                  <a:pt x="13648" y="81887"/>
                </a:cubicBezTo>
                <a:cubicBezTo>
                  <a:pt x="6105" y="104516"/>
                  <a:pt x="14017" y="102358"/>
                  <a:pt x="0" y="102358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3" name="Freeform 72"/>
          <p:cNvSpPr/>
          <p:nvPr/>
        </p:nvSpPr>
        <p:spPr>
          <a:xfrm>
            <a:off x="2883180" y="5683251"/>
            <a:ext cx="206375" cy="127000"/>
          </a:xfrm>
          <a:custGeom>
            <a:avLst/>
            <a:gdLst>
              <a:gd name="connsiteX0" fmla="*/ 205838 w 205838"/>
              <a:gd name="connsiteY0" fmla="*/ 11493 h 127499"/>
              <a:gd name="connsiteX1" fmla="*/ 151247 w 205838"/>
              <a:gd name="connsiteY1" fmla="*/ 11493 h 127499"/>
              <a:gd name="connsiteX2" fmla="*/ 130776 w 205838"/>
              <a:gd name="connsiteY2" fmla="*/ 25141 h 127499"/>
              <a:gd name="connsiteX3" fmla="*/ 55713 w 205838"/>
              <a:gd name="connsiteY3" fmla="*/ 31965 h 127499"/>
              <a:gd name="connsiteX4" fmla="*/ 35241 w 205838"/>
              <a:gd name="connsiteY4" fmla="*/ 45613 h 127499"/>
              <a:gd name="connsiteX5" fmla="*/ 1122 w 205838"/>
              <a:gd name="connsiteY5" fmla="*/ 107028 h 127499"/>
              <a:gd name="connsiteX6" fmla="*/ 1122 w 205838"/>
              <a:gd name="connsiteY6" fmla="*/ 127499 h 127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5838" h="127499">
                <a:moveTo>
                  <a:pt x="205838" y="11493"/>
                </a:moveTo>
                <a:cubicBezTo>
                  <a:pt x="179022" y="4789"/>
                  <a:pt x="178064" y="0"/>
                  <a:pt x="151247" y="11493"/>
                </a:cubicBezTo>
                <a:cubicBezTo>
                  <a:pt x="143709" y="14724"/>
                  <a:pt x="138795" y="23423"/>
                  <a:pt x="130776" y="25141"/>
                </a:cubicBezTo>
                <a:cubicBezTo>
                  <a:pt x="106210" y="30405"/>
                  <a:pt x="80734" y="29690"/>
                  <a:pt x="55713" y="31965"/>
                </a:cubicBezTo>
                <a:cubicBezTo>
                  <a:pt x="48889" y="36514"/>
                  <a:pt x="40642" y="39441"/>
                  <a:pt x="35241" y="45613"/>
                </a:cubicBezTo>
                <a:cubicBezTo>
                  <a:pt x="23173" y="59406"/>
                  <a:pt x="4706" y="85527"/>
                  <a:pt x="1122" y="107028"/>
                </a:cubicBezTo>
                <a:cubicBezTo>
                  <a:pt x="0" y="113759"/>
                  <a:pt x="1122" y="120675"/>
                  <a:pt x="1122" y="12749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4" name="Freeform 73"/>
          <p:cNvSpPr/>
          <p:nvPr/>
        </p:nvSpPr>
        <p:spPr>
          <a:xfrm>
            <a:off x="3024467" y="4833941"/>
            <a:ext cx="625475" cy="403225"/>
          </a:xfrm>
          <a:custGeom>
            <a:avLst/>
            <a:gdLst>
              <a:gd name="connsiteX0" fmla="*/ 624433 w 624433"/>
              <a:gd name="connsiteY0" fmla="*/ 0 h 402609"/>
              <a:gd name="connsiteX1" fmla="*/ 617609 w 624433"/>
              <a:gd name="connsiteY1" fmla="*/ 27296 h 402609"/>
              <a:gd name="connsiteX2" fmla="*/ 522074 w 624433"/>
              <a:gd name="connsiteY2" fmla="*/ 54591 h 402609"/>
              <a:gd name="connsiteX3" fmla="*/ 481131 w 624433"/>
              <a:gd name="connsiteY3" fmla="*/ 68239 h 402609"/>
              <a:gd name="connsiteX4" fmla="*/ 351477 w 624433"/>
              <a:gd name="connsiteY4" fmla="*/ 81887 h 402609"/>
              <a:gd name="connsiteX5" fmla="*/ 331006 w 624433"/>
              <a:gd name="connsiteY5" fmla="*/ 88711 h 402609"/>
              <a:gd name="connsiteX6" fmla="*/ 283239 w 624433"/>
              <a:gd name="connsiteY6" fmla="*/ 102359 h 402609"/>
              <a:gd name="connsiteX7" fmla="*/ 262767 w 624433"/>
              <a:gd name="connsiteY7" fmla="*/ 116006 h 402609"/>
              <a:gd name="connsiteX8" fmla="*/ 221824 w 624433"/>
              <a:gd name="connsiteY8" fmla="*/ 129654 h 402609"/>
              <a:gd name="connsiteX9" fmla="*/ 85346 w 624433"/>
              <a:gd name="connsiteY9" fmla="*/ 129654 h 402609"/>
              <a:gd name="connsiteX10" fmla="*/ 64874 w 624433"/>
              <a:gd name="connsiteY10" fmla="*/ 143302 h 402609"/>
              <a:gd name="connsiteX11" fmla="*/ 58050 w 624433"/>
              <a:gd name="connsiteY11" fmla="*/ 218365 h 402609"/>
              <a:gd name="connsiteX12" fmla="*/ 64874 w 624433"/>
              <a:gd name="connsiteY12" fmla="*/ 238836 h 402609"/>
              <a:gd name="connsiteX13" fmla="*/ 58050 w 624433"/>
              <a:gd name="connsiteY13" fmla="*/ 272956 h 402609"/>
              <a:gd name="connsiteX14" fmla="*/ 17107 w 624433"/>
              <a:gd name="connsiteY14" fmla="*/ 313899 h 402609"/>
              <a:gd name="connsiteX15" fmla="*/ 3459 w 624433"/>
              <a:gd name="connsiteY15" fmla="*/ 334371 h 402609"/>
              <a:gd name="connsiteX16" fmla="*/ 3459 w 624433"/>
              <a:gd name="connsiteY16" fmla="*/ 402609 h 402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24433" h="402609">
                <a:moveTo>
                  <a:pt x="624433" y="0"/>
                </a:moveTo>
                <a:cubicBezTo>
                  <a:pt x="622158" y="9099"/>
                  <a:pt x="620186" y="18278"/>
                  <a:pt x="617609" y="27296"/>
                </a:cubicBezTo>
                <a:cubicBezTo>
                  <a:pt x="603773" y="75722"/>
                  <a:pt x="608199" y="47967"/>
                  <a:pt x="522074" y="54591"/>
                </a:cubicBezTo>
                <a:lnTo>
                  <a:pt x="481131" y="68239"/>
                </a:lnTo>
                <a:cubicBezTo>
                  <a:pt x="426066" y="86594"/>
                  <a:pt x="467833" y="74615"/>
                  <a:pt x="351477" y="81887"/>
                </a:cubicBezTo>
                <a:cubicBezTo>
                  <a:pt x="344653" y="84162"/>
                  <a:pt x="337922" y="86735"/>
                  <a:pt x="331006" y="88711"/>
                </a:cubicBezTo>
                <a:cubicBezTo>
                  <a:pt x="320799" y="91627"/>
                  <a:pt x="294149" y="96904"/>
                  <a:pt x="283239" y="102359"/>
                </a:cubicBezTo>
                <a:cubicBezTo>
                  <a:pt x="275904" y="106027"/>
                  <a:pt x="270261" y="112675"/>
                  <a:pt x="262767" y="116006"/>
                </a:cubicBezTo>
                <a:cubicBezTo>
                  <a:pt x="249621" y="121849"/>
                  <a:pt x="221824" y="129654"/>
                  <a:pt x="221824" y="129654"/>
                </a:cubicBezTo>
                <a:cubicBezTo>
                  <a:pt x="163894" y="119999"/>
                  <a:pt x="161211" y="116266"/>
                  <a:pt x="85346" y="129654"/>
                </a:cubicBezTo>
                <a:cubicBezTo>
                  <a:pt x="77269" y="131079"/>
                  <a:pt x="71698" y="138753"/>
                  <a:pt x="64874" y="143302"/>
                </a:cubicBezTo>
                <a:cubicBezTo>
                  <a:pt x="49269" y="190119"/>
                  <a:pt x="47028" y="174274"/>
                  <a:pt x="58050" y="218365"/>
                </a:cubicBezTo>
                <a:cubicBezTo>
                  <a:pt x="59794" y="225343"/>
                  <a:pt x="62599" y="232012"/>
                  <a:pt x="64874" y="238836"/>
                </a:cubicBezTo>
                <a:cubicBezTo>
                  <a:pt x="62599" y="250209"/>
                  <a:pt x="64277" y="263171"/>
                  <a:pt x="58050" y="272956"/>
                </a:cubicBezTo>
                <a:cubicBezTo>
                  <a:pt x="47688" y="289239"/>
                  <a:pt x="27813" y="297840"/>
                  <a:pt x="17107" y="313899"/>
                </a:cubicBezTo>
                <a:cubicBezTo>
                  <a:pt x="12558" y="320723"/>
                  <a:pt x="4706" y="326265"/>
                  <a:pt x="3459" y="334371"/>
                </a:cubicBezTo>
                <a:cubicBezTo>
                  <a:pt x="0" y="356852"/>
                  <a:pt x="3459" y="379863"/>
                  <a:pt x="3459" y="40260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5" name="Freeform 74"/>
          <p:cNvSpPr/>
          <p:nvPr/>
        </p:nvSpPr>
        <p:spPr>
          <a:xfrm>
            <a:off x="2168801" y="3783013"/>
            <a:ext cx="1733550" cy="711200"/>
          </a:xfrm>
          <a:custGeom>
            <a:avLst/>
            <a:gdLst>
              <a:gd name="connsiteX0" fmla="*/ 1733266 w 1733266"/>
              <a:gd name="connsiteY0" fmla="*/ 710648 h 710648"/>
              <a:gd name="connsiteX1" fmla="*/ 1726442 w 1733266"/>
              <a:gd name="connsiteY1" fmla="*/ 683353 h 710648"/>
              <a:gd name="connsiteX2" fmla="*/ 1719618 w 1733266"/>
              <a:gd name="connsiteY2" fmla="*/ 662881 h 710648"/>
              <a:gd name="connsiteX3" fmla="*/ 1699147 w 1733266"/>
              <a:gd name="connsiteY3" fmla="*/ 567347 h 710648"/>
              <a:gd name="connsiteX4" fmla="*/ 1692323 w 1733266"/>
              <a:gd name="connsiteY4" fmla="*/ 546875 h 710648"/>
              <a:gd name="connsiteX5" fmla="*/ 1671851 w 1733266"/>
              <a:gd name="connsiteY5" fmla="*/ 540051 h 710648"/>
              <a:gd name="connsiteX6" fmla="*/ 1651380 w 1733266"/>
              <a:gd name="connsiteY6" fmla="*/ 546875 h 710648"/>
              <a:gd name="connsiteX7" fmla="*/ 1596789 w 1733266"/>
              <a:gd name="connsiteY7" fmla="*/ 499108 h 710648"/>
              <a:gd name="connsiteX8" fmla="*/ 1583141 w 1733266"/>
              <a:gd name="connsiteY8" fmla="*/ 478636 h 710648"/>
              <a:gd name="connsiteX9" fmla="*/ 1542197 w 1733266"/>
              <a:gd name="connsiteY9" fmla="*/ 458165 h 710648"/>
              <a:gd name="connsiteX10" fmla="*/ 1473959 w 1733266"/>
              <a:gd name="connsiteY10" fmla="*/ 464989 h 710648"/>
              <a:gd name="connsiteX11" fmla="*/ 1460311 w 1733266"/>
              <a:gd name="connsiteY11" fmla="*/ 485460 h 710648"/>
              <a:gd name="connsiteX12" fmla="*/ 1439839 w 1733266"/>
              <a:gd name="connsiteY12" fmla="*/ 499108 h 710648"/>
              <a:gd name="connsiteX13" fmla="*/ 1378424 w 1733266"/>
              <a:gd name="connsiteY13" fmla="*/ 505932 h 710648"/>
              <a:gd name="connsiteX14" fmla="*/ 1330657 w 1733266"/>
              <a:gd name="connsiteY14" fmla="*/ 553699 h 710648"/>
              <a:gd name="connsiteX15" fmla="*/ 1289714 w 1733266"/>
              <a:gd name="connsiteY15" fmla="*/ 574171 h 710648"/>
              <a:gd name="connsiteX16" fmla="*/ 1214651 w 1733266"/>
              <a:gd name="connsiteY16" fmla="*/ 553699 h 710648"/>
              <a:gd name="connsiteX17" fmla="*/ 1166884 w 1733266"/>
              <a:gd name="connsiteY17" fmla="*/ 546875 h 710648"/>
              <a:gd name="connsiteX18" fmla="*/ 1153236 w 1733266"/>
              <a:gd name="connsiteY18" fmla="*/ 526404 h 710648"/>
              <a:gd name="connsiteX19" fmla="*/ 1146412 w 1733266"/>
              <a:gd name="connsiteY19" fmla="*/ 499108 h 710648"/>
              <a:gd name="connsiteX20" fmla="*/ 1105469 w 1733266"/>
              <a:gd name="connsiteY20" fmla="*/ 471813 h 710648"/>
              <a:gd name="connsiteX21" fmla="*/ 1050878 w 1733266"/>
              <a:gd name="connsiteY21" fmla="*/ 478636 h 710648"/>
              <a:gd name="connsiteX22" fmla="*/ 1030406 w 1733266"/>
              <a:gd name="connsiteY22" fmla="*/ 492284 h 710648"/>
              <a:gd name="connsiteX23" fmla="*/ 914400 w 1733266"/>
              <a:gd name="connsiteY23" fmla="*/ 485460 h 710648"/>
              <a:gd name="connsiteX24" fmla="*/ 887105 w 1733266"/>
              <a:gd name="connsiteY24" fmla="*/ 444517 h 710648"/>
              <a:gd name="connsiteX25" fmla="*/ 873457 w 1733266"/>
              <a:gd name="connsiteY25" fmla="*/ 424045 h 710648"/>
              <a:gd name="connsiteX26" fmla="*/ 730156 w 1733266"/>
              <a:gd name="connsiteY26" fmla="*/ 444517 h 710648"/>
              <a:gd name="connsiteX27" fmla="*/ 730156 w 1733266"/>
              <a:gd name="connsiteY27" fmla="*/ 444517 h 710648"/>
              <a:gd name="connsiteX28" fmla="*/ 668741 w 1733266"/>
              <a:gd name="connsiteY28" fmla="*/ 458165 h 710648"/>
              <a:gd name="connsiteX29" fmla="*/ 627797 w 1733266"/>
              <a:gd name="connsiteY29" fmla="*/ 471813 h 710648"/>
              <a:gd name="connsiteX30" fmla="*/ 600502 w 1733266"/>
              <a:gd name="connsiteY30" fmla="*/ 464989 h 710648"/>
              <a:gd name="connsiteX31" fmla="*/ 593678 w 1733266"/>
              <a:gd name="connsiteY31" fmla="*/ 437693 h 710648"/>
              <a:gd name="connsiteX32" fmla="*/ 580030 w 1733266"/>
              <a:gd name="connsiteY32" fmla="*/ 396750 h 710648"/>
              <a:gd name="connsiteX33" fmla="*/ 518615 w 1733266"/>
              <a:gd name="connsiteY33" fmla="*/ 362630 h 710648"/>
              <a:gd name="connsiteX34" fmla="*/ 320723 w 1733266"/>
              <a:gd name="connsiteY34" fmla="*/ 355807 h 710648"/>
              <a:gd name="connsiteX35" fmla="*/ 279780 w 1733266"/>
              <a:gd name="connsiteY35" fmla="*/ 328511 h 710648"/>
              <a:gd name="connsiteX36" fmla="*/ 259308 w 1733266"/>
              <a:gd name="connsiteY36" fmla="*/ 314863 h 710648"/>
              <a:gd name="connsiteX37" fmla="*/ 225189 w 1733266"/>
              <a:gd name="connsiteY37" fmla="*/ 246624 h 710648"/>
              <a:gd name="connsiteX38" fmla="*/ 211541 w 1733266"/>
              <a:gd name="connsiteY38" fmla="*/ 226153 h 710648"/>
              <a:gd name="connsiteX39" fmla="*/ 191069 w 1733266"/>
              <a:gd name="connsiteY39" fmla="*/ 212505 h 710648"/>
              <a:gd name="connsiteX40" fmla="*/ 170597 w 1733266"/>
              <a:gd name="connsiteY40" fmla="*/ 192033 h 710648"/>
              <a:gd name="connsiteX41" fmla="*/ 143302 w 1733266"/>
              <a:gd name="connsiteY41" fmla="*/ 185210 h 710648"/>
              <a:gd name="connsiteX42" fmla="*/ 122830 w 1733266"/>
              <a:gd name="connsiteY42" fmla="*/ 144266 h 710648"/>
              <a:gd name="connsiteX43" fmla="*/ 116006 w 1733266"/>
              <a:gd name="connsiteY43" fmla="*/ 76027 h 710648"/>
              <a:gd name="connsiteX44" fmla="*/ 109183 w 1733266"/>
              <a:gd name="connsiteY44" fmla="*/ 55556 h 710648"/>
              <a:gd name="connsiteX45" fmla="*/ 88711 w 1733266"/>
              <a:gd name="connsiteY45" fmla="*/ 35084 h 710648"/>
              <a:gd name="connsiteX46" fmla="*/ 20472 w 1733266"/>
              <a:gd name="connsiteY46" fmla="*/ 965 h 710648"/>
              <a:gd name="connsiteX47" fmla="*/ 0 w 1733266"/>
              <a:gd name="connsiteY47" fmla="*/ 965 h 710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1733266" h="710648">
                <a:moveTo>
                  <a:pt x="1733266" y="710648"/>
                </a:moveTo>
                <a:cubicBezTo>
                  <a:pt x="1730991" y="701550"/>
                  <a:pt x="1729018" y="692371"/>
                  <a:pt x="1726442" y="683353"/>
                </a:cubicBezTo>
                <a:cubicBezTo>
                  <a:pt x="1724466" y="676437"/>
                  <a:pt x="1720905" y="669958"/>
                  <a:pt x="1719618" y="662881"/>
                </a:cubicBezTo>
                <a:cubicBezTo>
                  <a:pt x="1702402" y="568190"/>
                  <a:pt x="1725347" y="645947"/>
                  <a:pt x="1699147" y="567347"/>
                </a:cubicBezTo>
                <a:cubicBezTo>
                  <a:pt x="1696872" y="560523"/>
                  <a:pt x="1699147" y="549150"/>
                  <a:pt x="1692323" y="546875"/>
                </a:cubicBezTo>
                <a:lnTo>
                  <a:pt x="1671851" y="540051"/>
                </a:lnTo>
                <a:cubicBezTo>
                  <a:pt x="1665027" y="542326"/>
                  <a:pt x="1658573" y="546875"/>
                  <a:pt x="1651380" y="546875"/>
                </a:cubicBezTo>
                <a:cubicBezTo>
                  <a:pt x="1615373" y="546875"/>
                  <a:pt x="1616692" y="528963"/>
                  <a:pt x="1596789" y="499108"/>
                </a:cubicBezTo>
                <a:cubicBezTo>
                  <a:pt x="1592240" y="492284"/>
                  <a:pt x="1589965" y="483185"/>
                  <a:pt x="1583141" y="478636"/>
                </a:cubicBezTo>
                <a:cubicBezTo>
                  <a:pt x="1556684" y="460999"/>
                  <a:pt x="1570449" y="467582"/>
                  <a:pt x="1542197" y="458165"/>
                </a:cubicBezTo>
                <a:cubicBezTo>
                  <a:pt x="1519451" y="460440"/>
                  <a:pt x="1495645" y="457760"/>
                  <a:pt x="1473959" y="464989"/>
                </a:cubicBezTo>
                <a:cubicBezTo>
                  <a:pt x="1466179" y="467582"/>
                  <a:pt x="1466110" y="479661"/>
                  <a:pt x="1460311" y="485460"/>
                </a:cubicBezTo>
                <a:cubicBezTo>
                  <a:pt x="1454512" y="491259"/>
                  <a:pt x="1447796" y="497119"/>
                  <a:pt x="1439839" y="499108"/>
                </a:cubicBezTo>
                <a:cubicBezTo>
                  <a:pt x="1419856" y="504104"/>
                  <a:pt x="1398896" y="503657"/>
                  <a:pt x="1378424" y="505932"/>
                </a:cubicBezTo>
                <a:cubicBezTo>
                  <a:pt x="1347139" y="552860"/>
                  <a:pt x="1366690" y="541688"/>
                  <a:pt x="1330657" y="553699"/>
                </a:cubicBezTo>
                <a:cubicBezTo>
                  <a:pt x="1320306" y="560600"/>
                  <a:pt x="1303841" y="574171"/>
                  <a:pt x="1289714" y="574171"/>
                </a:cubicBezTo>
                <a:cubicBezTo>
                  <a:pt x="1253167" y="574171"/>
                  <a:pt x="1252112" y="559051"/>
                  <a:pt x="1214651" y="553699"/>
                </a:cubicBezTo>
                <a:lnTo>
                  <a:pt x="1166884" y="546875"/>
                </a:lnTo>
                <a:cubicBezTo>
                  <a:pt x="1162335" y="540051"/>
                  <a:pt x="1156467" y="533942"/>
                  <a:pt x="1153236" y="526404"/>
                </a:cubicBezTo>
                <a:cubicBezTo>
                  <a:pt x="1149541" y="517784"/>
                  <a:pt x="1152588" y="506166"/>
                  <a:pt x="1146412" y="499108"/>
                </a:cubicBezTo>
                <a:cubicBezTo>
                  <a:pt x="1135611" y="486764"/>
                  <a:pt x="1105469" y="471813"/>
                  <a:pt x="1105469" y="471813"/>
                </a:cubicBezTo>
                <a:cubicBezTo>
                  <a:pt x="1087272" y="474087"/>
                  <a:pt x="1068570" y="473811"/>
                  <a:pt x="1050878" y="478636"/>
                </a:cubicBezTo>
                <a:cubicBezTo>
                  <a:pt x="1042966" y="480794"/>
                  <a:pt x="1038597" y="491874"/>
                  <a:pt x="1030406" y="492284"/>
                </a:cubicBezTo>
                <a:lnTo>
                  <a:pt x="914400" y="485460"/>
                </a:lnTo>
                <a:lnTo>
                  <a:pt x="887105" y="444517"/>
                </a:lnTo>
                <a:lnTo>
                  <a:pt x="873457" y="424045"/>
                </a:lnTo>
                <a:cubicBezTo>
                  <a:pt x="756745" y="431826"/>
                  <a:pt x="803539" y="420055"/>
                  <a:pt x="730156" y="444517"/>
                </a:cubicBezTo>
                <a:lnTo>
                  <a:pt x="730156" y="444517"/>
                </a:lnTo>
                <a:cubicBezTo>
                  <a:pt x="709684" y="449066"/>
                  <a:pt x="689004" y="452761"/>
                  <a:pt x="668741" y="458165"/>
                </a:cubicBezTo>
                <a:cubicBezTo>
                  <a:pt x="654841" y="461872"/>
                  <a:pt x="627797" y="471813"/>
                  <a:pt x="627797" y="471813"/>
                </a:cubicBezTo>
                <a:cubicBezTo>
                  <a:pt x="618699" y="469538"/>
                  <a:pt x="607133" y="471621"/>
                  <a:pt x="600502" y="464989"/>
                </a:cubicBezTo>
                <a:cubicBezTo>
                  <a:pt x="593870" y="458357"/>
                  <a:pt x="596373" y="446676"/>
                  <a:pt x="593678" y="437693"/>
                </a:cubicBezTo>
                <a:cubicBezTo>
                  <a:pt x="589544" y="423914"/>
                  <a:pt x="592000" y="404730"/>
                  <a:pt x="580030" y="396750"/>
                </a:cubicBezTo>
                <a:cubicBezTo>
                  <a:pt x="569934" y="390019"/>
                  <a:pt x="538496" y="363872"/>
                  <a:pt x="518615" y="362630"/>
                </a:cubicBezTo>
                <a:cubicBezTo>
                  <a:pt x="452740" y="358513"/>
                  <a:pt x="386687" y="358081"/>
                  <a:pt x="320723" y="355807"/>
                </a:cubicBezTo>
                <a:lnTo>
                  <a:pt x="279780" y="328511"/>
                </a:lnTo>
                <a:lnTo>
                  <a:pt x="259308" y="314863"/>
                </a:lnTo>
                <a:cubicBezTo>
                  <a:pt x="248506" y="271656"/>
                  <a:pt x="257685" y="295369"/>
                  <a:pt x="225189" y="246624"/>
                </a:cubicBezTo>
                <a:cubicBezTo>
                  <a:pt x="220640" y="239800"/>
                  <a:pt x="218365" y="230702"/>
                  <a:pt x="211541" y="226153"/>
                </a:cubicBezTo>
                <a:cubicBezTo>
                  <a:pt x="204717" y="221604"/>
                  <a:pt x="197370" y="217755"/>
                  <a:pt x="191069" y="212505"/>
                </a:cubicBezTo>
                <a:cubicBezTo>
                  <a:pt x="183655" y="206327"/>
                  <a:pt x="178976" y="196821"/>
                  <a:pt x="170597" y="192033"/>
                </a:cubicBezTo>
                <a:cubicBezTo>
                  <a:pt x="162454" y="187380"/>
                  <a:pt x="152400" y="187484"/>
                  <a:pt x="143302" y="185210"/>
                </a:cubicBezTo>
                <a:cubicBezTo>
                  <a:pt x="133180" y="170027"/>
                  <a:pt x="125655" y="162630"/>
                  <a:pt x="122830" y="144266"/>
                </a:cubicBezTo>
                <a:cubicBezTo>
                  <a:pt x="119354" y="121672"/>
                  <a:pt x="119482" y="98621"/>
                  <a:pt x="116006" y="76027"/>
                </a:cubicBezTo>
                <a:cubicBezTo>
                  <a:pt x="114912" y="68918"/>
                  <a:pt x="113173" y="61541"/>
                  <a:pt x="109183" y="55556"/>
                </a:cubicBezTo>
                <a:cubicBezTo>
                  <a:pt x="103830" y="47526"/>
                  <a:pt x="96329" y="41009"/>
                  <a:pt x="88711" y="35084"/>
                </a:cubicBezTo>
                <a:cubicBezTo>
                  <a:pt x="61248" y="13724"/>
                  <a:pt x="51511" y="5399"/>
                  <a:pt x="20472" y="965"/>
                </a:cubicBezTo>
                <a:cubicBezTo>
                  <a:pt x="13717" y="0"/>
                  <a:pt x="6824" y="965"/>
                  <a:pt x="0" y="96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6" name="Freeform 75"/>
          <p:cNvSpPr/>
          <p:nvPr/>
        </p:nvSpPr>
        <p:spPr>
          <a:xfrm>
            <a:off x="2176738" y="3987803"/>
            <a:ext cx="339725" cy="220663"/>
          </a:xfrm>
          <a:custGeom>
            <a:avLst/>
            <a:gdLst>
              <a:gd name="connsiteX0" fmla="*/ 340124 w 340124"/>
              <a:gd name="connsiteY0" fmla="*/ 150126 h 219742"/>
              <a:gd name="connsiteX1" fmla="*/ 306005 w 340124"/>
              <a:gd name="connsiteY1" fmla="*/ 211541 h 219742"/>
              <a:gd name="connsiteX2" fmla="*/ 285533 w 340124"/>
              <a:gd name="connsiteY2" fmla="*/ 218364 h 219742"/>
              <a:gd name="connsiteX3" fmla="*/ 251414 w 340124"/>
              <a:gd name="connsiteY3" fmla="*/ 211541 h 219742"/>
              <a:gd name="connsiteX4" fmla="*/ 237766 w 340124"/>
              <a:gd name="connsiteY4" fmla="*/ 170597 h 219742"/>
              <a:gd name="connsiteX5" fmla="*/ 230942 w 340124"/>
              <a:gd name="connsiteY5" fmla="*/ 150126 h 219742"/>
              <a:gd name="connsiteX6" fmla="*/ 210471 w 340124"/>
              <a:gd name="connsiteY6" fmla="*/ 136478 h 219742"/>
              <a:gd name="connsiteX7" fmla="*/ 121760 w 340124"/>
              <a:gd name="connsiteY7" fmla="*/ 122830 h 219742"/>
              <a:gd name="connsiteX8" fmla="*/ 101289 w 340124"/>
              <a:gd name="connsiteY8" fmla="*/ 109182 h 219742"/>
              <a:gd name="connsiteX9" fmla="*/ 19402 w 340124"/>
              <a:gd name="connsiteY9" fmla="*/ 95535 h 219742"/>
              <a:gd name="connsiteX10" fmla="*/ 5754 w 340124"/>
              <a:gd name="connsiteY10" fmla="*/ 0 h 219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40124" h="219742">
                <a:moveTo>
                  <a:pt x="340124" y="150126"/>
                </a:moveTo>
                <a:cubicBezTo>
                  <a:pt x="334116" y="168152"/>
                  <a:pt x="323604" y="205675"/>
                  <a:pt x="306005" y="211541"/>
                </a:cubicBezTo>
                <a:lnTo>
                  <a:pt x="285533" y="218364"/>
                </a:lnTo>
                <a:cubicBezTo>
                  <a:pt x="274160" y="216090"/>
                  <a:pt x="259615" y="219742"/>
                  <a:pt x="251414" y="211541"/>
                </a:cubicBezTo>
                <a:cubicBezTo>
                  <a:pt x="241241" y="201368"/>
                  <a:pt x="242315" y="184245"/>
                  <a:pt x="237766" y="170597"/>
                </a:cubicBezTo>
                <a:cubicBezTo>
                  <a:pt x="235491" y="163773"/>
                  <a:pt x="236927" y="154116"/>
                  <a:pt x="230942" y="150126"/>
                </a:cubicBezTo>
                <a:cubicBezTo>
                  <a:pt x="224118" y="145577"/>
                  <a:pt x="217806" y="140146"/>
                  <a:pt x="210471" y="136478"/>
                </a:cubicBezTo>
                <a:cubicBezTo>
                  <a:pt x="185879" y="124182"/>
                  <a:pt x="141329" y="124787"/>
                  <a:pt x="121760" y="122830"/>
                </a:cubicBezTo>
                <a:cubicBezTo>
                  <a:pt x="114936" y="118281"/>
                  <a:pt x="108624" y="112850"/>
                  <a:pt x="101289" y="109182"/>
                </a:cubicBezTo>
                <a:cubicBezTo>
                  <a:pt x="78425" y="97750"/>
                  <a:pt x="38862" y="97697"/>
                  <a:pt x="19402" y="95535"/>
                </a:cubicBezTo>
                <a:cubicBezTo>
                  <a:pt x="0" y="37328"/>
                  <a:pt x="5754" y="68977"/>
                  <a:pt x="575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7" name="Freeform 76"/>
          <p:cNvSpPr/>
          <p:nvPr/>
        </p:nvSpPr>
        <p:spPr>
          <a:xfrm>
            <a:off x="2448201" y="4337051"/>
            <a:ext cx="900112" cy="496888"/>
          </a:xfrm>
          <a:custGeom>
            <a:avLst/>
            <a:gdLst>
              <a:gd name="connsiteX0" fmla="*/ 900752 w 900752"/>
              <a:gd name="connsiteY0" fmla="*/ 0 h 498143"/>
              <a:gd name="connsiteX1" fmla="*/ 893928 w 900752"/>
              <a:gd name="connsiteY1" fmla="*/ 20472 h 498143"/>
              <a:gd name="connsiteX2" fmla="*/ 887104 w 900752"/>
              <a:gd name="connsiteY2" fmla="*/ 75063 h 498143"/>
              <a:gd name="connsiteX3" fmla="*/ 873456 w 900752"/>
              <a:gd name="connsiteY3" fmla="*/ 95534 h 498143"/>
              <a:gd name="connsiteX4" fmla="*/ 812041 w 900752"/>
              <a:gd name="connsiteY4" fmla="*/ 129654 h 498143"/>
              <a:gd name="connsiteX5" fmla="*/ 777922 w 900752"/>
              <a:gd name="connsiteY5" fmla="*/ 136478 h 498143"/>
              <a:gd name="connsiteX6" fmla="*/ 730155 w 900752"/>
              <a:gd name="connsiteY6" fmla="*/ 143302 h 498143"/>
              <a:gd name="connsiteX7" fmla="*/ 566382 w 900752"/>
              <a:gd name="connsiteY7" fmla="*/ 170597 h 498143"/>
              <a:gd name="connsiteX8" fmla="*/ 552734 w 900752"/>
              <a:gd name="connsiteY8" fmla="*/ 191069 h 498143"/>
              <a:gd name="connsiteX9" fmla="*/ 545910 w 900752"/>
              <a:gd name="connsiteY9" fmla="*/ 211540 h 498143"/>
              <a:gd name="connsiteX10" fmla="*/ 511791 w 900752"/>
              <a:gd name="connsiteY10" fmla="*/ 245660 h 498143"/>
              <a:gd name="connsiteX11" fmla="*/ 327546 w 900752"/>
              <a:gd name="connsiteY11" fmla="*/ 252484 h 498143"/>
              <a:gd name="connsiteX12" fmla="*/ 307074 w 900752"/>
              <a:gd name="connsiteY12" fmla="*/ 272955 h 498143"/>
              <a:gd name="connsiteX13" fmla="*/ 293426 w 900752"/>
              <a:gd name="connsiteY13" fmla="*/ 293427 h 498143"/>
              <a:gd name="connsiteX14" fmla="*/ 272955 w 900752"/>
              <a:gd name="connsiteY14" fmla="*/ 300251 h 498143"/>
              <a:gd name="connsiteX15" fmla="*/ 204716 w 900752"/>
              <a:gd name="connsiteY15" fmla="*/ 307075 h 498143"/>
              <a:gd name="connsiteX16" fmla="*/ 184244 w 900752"/>
              <a:gd name="connsiteY16" fmla="*/ 313899 h 498143"/>
              <a:gd name="connsiteX17" fmla="*/ 136477 w 900752"/>
              <a:gd name="connsiteY17" fmla="*/ 327546 h 498143"/>
              <a:gd name="connsiteX18" fmla="*/ 95534 w 900752"/>
              <a:gd name="connsiteY18" fmla="*/ 354842 h 498143"/>
              <a:gd name="connsiteX19" fmla="*/ 75062 w 900752"/>
              <a:gd name="connsiteY19" fmla="*/ 368490 h 498143"/>
              <a:gd name="connsiteX20" fmla="*/ 47767 w 900752"/>
              <a:gd name="connsiteY20" fmla="*/ 416257 h 498143"/>
              <a:gd name="connsiteX21" fmla="*/ 34119 w 900752"/>
              <a:gd name="connsiteY21" fmla="*/ 436728 h 498143"/>
              <a:gd name="connsiteX22" fmla="*/ 20471 w 900752"/>
              <a:gd name="connsiteY22" fmla="*/ 464024 h 498143"/>
              <a:gd name="connsiteX23" fmla="*/ 13647 w 900752"/>
              <a:gd name="connsiteY23" fmla="*/ 484496 h 498143"/>
              <a:gd name="connsiteX24" fmla="*/ 0 w 900752"/>
              <a:gd name="connsiteY24" fmla="*/ 498143 h 498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900752" h="498143">
                <a:moveTo>
                  <a:pt x="900752" y="0"/>
                </a:moveTo>
                <a:cubicBezTo>
                  <a:pt x="898477" y="6824"/>
                  <a:pt x="895215" y="13395"/>
                  <a:pt x="893928" y="20472"/>
                </a:cubicBezTo>
                <a:cubicBezTo>
                  <a:pt x="890647" y="38515"/>
                  <a:pt x="891929" y="57371"/>
                  <a:pt x="887104" y="75063"/>
                </a:cubicBezTo>
                <a:cubicBezTo>
                  <a:pt x="884946" y="82975"/>
                  <a:pt x="879628" y="90134"/>
                  <a:pt x="873456" y="95534"/>
                </a:cubicBezTo>
                <a:cubicBezTo>
                  <a:pt x="853124" y="113324"/>
                  <a:pt x="836410" y="123562"/>
                  <a:pt x="812041" y="129654"/>
                </a:cubicBezTo>
                <a:cubicBezTo>
                  <a:pt x="800789" y="132467"/>
                  <a:pt x="789362" y="134571"/>
                  <a:pt x="777922" y="136478"/>
                </a:cubicBezTo>
                <a:cubicBezTo>
                  <a:pt x="762057" y="139122"/>
                  <a:pt x="746077" y="141027"/>
                  <a:pt x="730155" y="143302"/>
                </a:cubicBezTo>
                <a:cubicBezTo>
                  <a:pt x="705846" y="216226"/>
                  <a:pt x="737252" y="143257"/>
                  <a:pt x="566382" y="170597"/>
                </a:cubicBezTo>
                <a:cubicBezTo>
                  <a:pt x="558284" y="171893"/>
                  <a:pt x="556402" y="183733"/>
                  <a:pt x="552734" y="191069"/>
                </a:cubicBezTo>
                <a:cubicBezTo>
                  <a:pt x="549517" y="197502"/>
                  <a:pt x="549127" y="205107"/>
                  <a:pt x="545910" y="211540"/>
                </a:cubicBezTo>
                <a:cubicBezTo>
                  <a:pt x="540643" y="222074"/>
                  <a:pt x="526156" y="244223"/>
                  <a:pt x="511791" y="245660"/>
                </a:cubicBezTo>
                <a:cubicBezTo>
                  <a:pt x="450639" y="251775"/>
                  <a:pt x="388961" y="250209"/>
                  <a:pt x="327546" y="252484"/>
                </a:cubicBezTo>
                <a:cubicBezTo>
                  <a:pt x="320722" y="259308"/>
                  <a:pt x="313252" y="265541"/>
                  <a:pt x="307074" y="272955"/>
                </a:cubicBezTo>
                <a:cubicBezTo>
                  <a:pt x="301823" y="279255"/>
                  <a:pt x="299830" y="288304"/>
                  <a:pt x="293426" y="293427"/>
                </a:cubicBezTo>
                <a:cubicBezTo>
                  <a:pt x="287809" y="297920"/>
                  <a:pt x="280064" y="299157"/>
                  <a:pt x="272955" y="300251"/>
                </a:cubicBezTo>
                <a:cubicBezTo>
                  <a:pt x="250361" y="303727"/>
                  <a:pt x="227462" y="304800"/>
                  <a:pt x="204716" y="307075"/>
                </a:cubicBezTo>
                <a:cubicBezTo>
                  <a:pt x="197892" y="309350"/>
                  <a:pt x="191160" y="311923"/>
                  <a:pt x="184244" y="313899"/>
                </a:cubicBezTo>
                <a:cubicBezTo>
                  <a:pt x="124238" y="331044"/>
                  <a:pt x="185582" y="311180"/>
                  <a:pt x="136477" y="327546"/>
                </a:cubicBezTo>
                <a:lnTo>
                  <a:pt x="95534" y="354842"/>
                </a:lnTo>
                <a:lnTo>
                  <a:pt x="75062" y="368490"/>
                </a:lnTo>
                <a:cubicBezTo>
                  <a:pt x="41807" y="418374"/>
                  <a:pt x="82406" y="355640"/>
                  <a:pt x="47767" y="416257"/>
                </a:cubicBezTo>
                <a:cubicBezTo>
                  <a:pt x="43698" y="423378"/>
                  <a:pt x="38188" y="429607"/>
                  <a:pt x="34119" y="436728"/>
                </a:cubicBezTo>
                <a:cubicBezTo>
                  <a:pt x="29072" y="445560"/>
                  <a:pt x="24478" y="454674"/>
                  <a:pt x="20471" y="464024"/>
                </a:cubicBezTo>
                <a:cubicBezTo>
                  <a:pt x="17637" y="470636"/>
                  <a:pt x="17348" y="478328"/>
                  <a:pt x="13647" y="484496"/>
                </a:cubicBezTo>
                <a:cubicBezTo>
                  <a:pt x="10337" y="490013"/>
                  <a:pt x="4549" y="493594"/>
                  <a:pt x="0" y="498143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8" name="Freeform 77"/>
          <p:cNvSpPr/>
          <p:nvPr/>
        </p:nvSpPr>
        <p:spPr>
          <a:xfrm>
            <a:off x="2522813" y="4668840"/>
            <a:ext cx="76200" cy="288925"/>
          </a:xfrm>
          <a:custGeom>
            <a:avLst/>
            <a:gdLst>
              <a:gd name="connsiteX0" fmla="*/ 75063 w 75063"/>
              <a:gd name="connsiteY0" fmla="*/ 2481 h 289084"/>
              <a:gd name="connsiteX1" fmla="*/ 47767 w 75063"/>
              <a:gd name="connsiteY1" fmla="*/ 29777 h 289084"/>
              <a:gd name="connsiteX2" fmla="*/ 20472 w 75063"/>
              <a:gd name="connsiteY2" fmla="*/ 70720 h 289084"/>
              <a:gd name="connsiteX3" fmla="*/ 20472 w 75063"/>
              <a:gd name="connsiteY3" fmla="*/ 159431 h 289084"/>
              <a:gd name="connsiteX4" fmla="*/ 6824 w 75063"/>
              <a:gd name="connsiteY4" fmla="*/ 275436 h 289084"/>
              <a:gd name="connsiteX5" fmla="*/ 0 w 75063"/>
              <a:gd name="connsiteY5" fmla="*/ 289084 h 289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063" h="289084">
                <a:moveTo>
                  <a:pt x="75063" y="2481"/>
                </a:moveTo>
                <a:cubicBezTo>
                  <a:pt x="40323" y="14061"/>
                  <a:pt x="64310" y="0"/>
                  <a:pt x="47767" y="29777"/>
                </a:cubicBezTo>
                <a:cubicBezTo>
                  <a:pt x="39801" y="44115"/>
                  <a:pt x="20472" y="70720"/>
                  <a:pt x="20472" y="70720"/>
                </a:cubicBezTo>
                <a:cubicBezTo>
                  <a:pt x="5074" y="132314"/>
                  <a:pt x="20472" y="57256"/>
                  <a:pt x="20472" y="159431"/>
                </a:cubicBezTo>
                <a:cubicBezTo>
                  <a:pt x="20472" y="206253"/>
                  <a:pt x="22091" y="237269"/>
                  <a:pt x="6824" y="275436"/>
                </a:cubicBezTo>
                <a:cubicBezTo>
                  <a:pt x="4935" y="280159"/>
                  <a:pt x="2275" y="284535"/>
                  <a:pt x="0" y="289084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9" name="Rectangle 4"/>
          <p:cNvSpPr>
            <a:spLocks noChangeArrowheads="1"/>
          </p:cNvSpPr>
          <p:nvPr/>
        </p:nvSpPr>
        <p:spPr bwMode="auto">
          <a:xfrm rot="745829">
            <a:off x="2516467" y="3930752"/>
            <a:ext cx="79851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1400">
                <a:solidFill>
                  <a:srgbClr val="FF00FF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ృష్ణా</a:t>
            </a:r>
          </a:p>
        </p:txBody>
      </p:sp>
      <p:sp>
        <p:nvSpPr>
          <p:cNvPr id="80" name="Rectangle 18"/>
          <p:cNvSpPr>
            <a:spLocks noChangeArrowheads="1"/>
          </p:cNvSpPr>
          <p:nvPr/>
        </p:nvSpPr>
        <p:spPr bwMode="auto">
          <a:xfrm rot="20608554">
            <a:off x="3087967" y="4891190"/>
            <a:ext cx="67786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C33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పెన్నా</a:t>
            </a:r>
          </a:p>
        </p:txBody>
      </p:sp>
      <p:sp>
        <p:nvSpPr>
          <p:cNvPr id="81" name="Rectangle 19"/>
          <p:cNvSpPr>
            <a:spLocks noChangeArrowheads="1"/>
          </p:cNvSpPr>
          <p:nvPr/>
        </p:nvSpPr>
        <p:spPr bwMode="auto">
          <a:xfrm>
            <a:off x="2957791" y="5486404"/>
            <a:ext cx="534121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4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ావేరి</a:t>
            </a:r>
            <a:endParaRPr lang="en-US" sz="1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82" name="Rectangle 20"/>
          <p:cNvSpPr>
            <a:spLocks noChangeArrowheads="1"/>
          </p:cNvSpPr>
          <p:nvPr/>
        </p:nvSpPr>
        <p:spPr bwMode="auto">
          <a:xfrm rot="20945643">
            <a:off x="2372679" y="4499171"/>
            <a:ext cx="873797" cy="342263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spcFirstLastPara="1" wrap="none" anchor="ctr">
            <a:prstTxWarp prst="textArchUp">
              <a:avLst/>
            </a:prstTxWarp>
            <a:spAutoFit/>
          </a:bodyPr>
          <a:lstStyle/>
          <a:p>
            <a:pPr>
              <a:defRPr/>
            </a:pPr>
            <a:r>
              <a:rPr lang="en-US" sz="1400" dirty="0" err="1">
                <a:solidFill>
                  <a:srgbClr val="0099FF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తుంగభద్రా</a:t>
            </a:r>
            <a:endParaRPr lang="en-US" sz="1400" dirty="0">
              <a:solidFill>
                <a:srgbClr val="0099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85" name="Rectangle 3"/>
          <p:cNvSpPr>
            <a:spLocks noChangeArrowheads="1"/>
          </p:cNvSpPr>
          <p:nvPr/>
        </p:nvSpPr>
        <p:spPr bwMode="auto">
          <a:xfrm>
            <a:off x="5243788" y="3371851"/>
            <a:ext cx="3352800" cy="1200329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 sz="3600">
                <a:solidFill>
                  <a:srgbClr val="009900"/>
                </a:solidFill>
                <a:latin typeface="Ponnala" pitchFamily="2" charset="0"/>
                <a:cs typeface="Ponnala" pitchFamily="2" charset="0"/>
              </a:rPr>
              <a:t>భారతదేశం - </a:t>
            </a:r>
            <a:r>
              <a:rPr lang="en-US" sz="3600">
                <a:solidFill>
                  <a:srgbClr val="0033CC"/>
                </a:solidFill>
                <a:latin typeface="Ponnala" pitchFamily="2" charset="0"/>
                <a:cs typeface="Ponnala" pitchFamily="2" charset="0"/>
              </a:rPr>
              <a:t>నదులు</a:t>
            </a:r>
            <a:endParaRPr lang="en-US" sz="8800">
              <a:solidFill>
                <a:srgbClr val="0033CC"/>
              </a:solidFill>
              <a:latin typeface="Ponnala" pitchFamily="2" charset="0"/>
              <a:cs typeface="Ponnala" pitchFamily="2" charset="0"/>
            </a:endParaRPr>
          </a:p>
        </p:txBody>
      </p:sp>
      <p:sp>
        <p:nvSpPr>
          <p:cNvPr id="86" name="Freeform 85"/>
          <p:cNvSpPr/>
          <p:nvPr/>
        </p:nvSpPr>
        <p:spPr>
          <a:xfrm>
            <a:off x="2433917" y="-690564"/>
            <a:ext cx="1895475" cy="1354139"/>
          </a:xfrm>
          <a:custGeom>
            <a:avLst/>
            <a:gdLst>
              <a:gd name="connsiteX0" fmla="*/ 1895408 w 1895408"/>
              <a:gd name="connsiteY0" fmla="*/ 1354949 h 1354949"/>
              <a:gd name="connsiteX1" fmla="*/ 1873463 w 1895408"/>
              <a:gd name="connsiteY1" fmla="*/ 1340319 h 1354949"/>
              <a:gd name="connsiteX2" fmla="*/ 1844202 w 1895408"/>
              <a:gd name="connsiteY2" fmla="*/ 1311058 h 1354949"/>
              <a:gd name="connsiteX3" fmla="*/ 1836887 w 1895408"/>
              <a:gd name="connsiteY3" fmla="*/ 1289113 h 1354949"/>
              <a:gd name="connsiteX4" fmla="*/ 1822256 w 1895408"/>
              <a:gd name="connsiteY4" fmla="*/ 1274482 h 1354949"/>
              <a:gd name="connsiteX5" fmla="*/ 1800311 w 1895408"/>
              <a:gd name="connsiteY5" fmla="*/ 1245221 h 1354949"/>
              <a:gd name="connsiteX6" fmla="*/ 1785680 w 1895408"/>
              <a:gd name="connsiteY6" fmla="*/ 1194015 h 1354949"/>
              <a:gd name="connsiteX7" fmla="*/ 1771050 w 1895408"/>
              <a:gd name="connsiteY7" fmla="*/ 1142809 h 1354949"/>
              <a:gd name="connsiteX8" fmla="*/ 1763735 w 1895408"/>
              <a:gd name="connsiteY8" fmla="*/ 1069657 h 1354949"/>
              <a:gd name="connsiteX9" fmla="*/ 1741789 w 1895408"/>
              <a:gd name="connsiteY9" fmla="*/ 1062341 h 1354949"/>
              <a:gd name="connsiteX10" fmla="*/ 1719843 w 1895408"/>
              <a:gd name="connsiteY10" fmla="*/ 1018450 h 1354949"/>
              <a:gd name="connsiteX11" fmla="*/ 1712528 w 1895408"/>
              <a:gd name="connsiteY11" fmla="*/ 981874 h 1354949"/>
              <a:gd name="connsiteX12" fmla="*/ 1690583 w 1895408"/>
              <a:gd name="connsiteY12" fmla="*/ 967244 h 1354949"/>
              <a:gd name="connsiteX13" fmla="*/ 1558909 w 1895408"/>
              <a:gd name="connsiteY13" fmla="*/ 974559 h 1354949"/>
              <a:gd name="connsiteX14" fmla="*/ 1536963 w 1895408"/>
              <a:gd name="connsiteY14" fmla="*/ 981874 h 1354949"/>
              <a:gd name="connsiteX15" fmla="*/ 1485757 w 1895408"/>
              <a:gd name="connsiteY15" fmla="*/ 974559 h 1354949"/>
              <a:gd name="connsiteX16" fmla="*/ 1383344 w 1895408"/>
              <a:gd name="connsiteY16" fmla="*/ 967244 h 1354949"/>
              <a:gd name="connsiteX17" fmla="*/ 1346768 w 1895408"/>
              <a:gd name="connsiteY17" fmla="*/ 945298 h 1354949"/>
              <a:gd name="connsiteX18" fmla="*/ 1288247 w 1895408"/>
              <a:gd name="connsiteY18" fmla="*/ 930668 h 1354949"/>
              <a:gd name="connsiteX19" fmla="*/ 1244355 w 1895408"/>
              <a:gd name="connsiteY19" fmla="*/ 916037 h 1354949"/>
              <a:gd name="connsiteX20" fmla="*/ 1222410 w 1895408"/>
              <a:gd name="connsiteY20" fmla="*/ 908722 h 1354949"/>
              <a:gd name="connsiteX21" fmla="*/ 1178519 w 1895408"/>
              <a:gd name="connsiteY21" fmla="*/ 886777 h 1354949"/>
              <a:gd name="connsiteX22" fmla="*/ 1163888 w 1895408"/>
              <a:gd name="connsiteY22" fmla="*/ 872146 h 1354949"/>
              <a:gd name="connsiteX23" fmla="*/ 1119997 w 1895408"/>
              <a:gd name="connsiteY23" fmla="*/ 857516 h 1354949"/>
              <a:gd name="connsiteX24" fmla="*/ 1061475 w 1895408"/>
              <a:gd name="connsiteY24" fmla="*/ 842885 h 1354949"/>
              <a:gd name="connsiteX25" fmla="*/ 1054160 w 1895408"/>
              <a:gd name="connsiteY25" fmla="*/ 820940 h 1354949"/>
              <a:gd name="connsiteX26" fmla="*/ 995639 w 1895408"/>
              <a:gd name="connsiteY26" fmla="*/ 784364 h 1354949"/>
              <a:gd name="connsiteX27" fmla="*/ 981008 w 1895408"/>
              <a:gd name="connsiteY27" fmla="*/ 725842 h 1354949"/>
              <a:gd name="connsiteX28" fmla="*/ 973693 w 1895408"/>
              <a:gd name="connsiteY28" fmla="*/ 689266 h 1354949"/>
              <a:gd name="connsiteX29" fmla="*/ 959063 w 1895408"/>
              <a:gd name="connsiteY29" fmla="*/ 667321 h 1354949"/>
              <a:gd name="connsiteX30" fmla="*/ 937117 w 1895408"/>
              <a:gd name="connsiteY30" fmla="*/ 660005 h 1354949"/>
              <a:gd name="connsiteX31" fmla="*/ 915171 w 1895408"/>
              <a:gd name="connsiteY31" fmla="*/ 645375 h 1354949"/>
              <a:gd name="connsiteX32" fmla="*/ 907856 w 1895408"/>
              <a:gd name="connsiteY32" fmla="*/ 623429 h 1354949"/>
              <a:gd name="connsiteX33" fmla="*/ 885911 w 1895408"/>
              <a:gd name="connsiteY33" fmla="*/ 616114 h 1354949"/>
              <a:gd name="connsiteX34" fmla="*/ 834704 w 1895408"/>
              <a:gd name="connsiteY34" fmla="*/ 601484 h 1354949"/>
              <a:gd name="connsiteX35" fmla="*/ 820074 w 1895408"/>
              <a:gd name="connsiteY35" fmla="*/ 586853 h 1354949"/>
              <a:gd name="connsiteX36" fmla="*/ 798128 w 1895408"/>
              <a:gd name="connsiteY36" fmla="*/ 579538 h 1354949"/>
              <a:gd name="connsiteX37" fmla="*/ 783498 w 1895408"/>
              <a:gd name="connsiteY37" fmla="*/ 535647 h 1354949"/>
              <a:gd name="connsiteX38" fmla="*/ 776183 w 1895408"/>
              <a:gd name="connsiteY38" fmla="*/ 513701 h 1354949"/>
              <a:gd name="connsiteX39" fmla="*/ 761552 w 1895408"/>
              <a:gd name="connsiteY39" fmla="*/ 499071 h 1354949"/>
              <a:gd name="connsiteX40" fmla="*/ 732291 w 1895408"/>
              <a:gd name="connsiteY40" fmla="*/ 462495 h 1354949"/>
              <a:gd name="connsiteX41" fmla="*/ 703031 w 1895408"/>
              <a:gd name="connsiteY41" fmla="*/ 455180 h 1354949"/>
              <a:gd name="connsiteX42" fmla="*/ 644509 w 1895408"/>
              <a:gd name="connsiteY42" fmla="*/ 425919 h 1354949"/>
              <a:gd name="connsiteX43" fmla="*/ 622563 w 1895408"/>
              <a:gd name="connsiteY43" fmla="*/ 418604 h 1354949"/>
              <a:gd name="connsiteX44" fmla="*/ 607933 w 1895408"/>
              <a:gd name="connsiteY44" fmla="*/ 403973 h 1354949"/>
              <a:gd name="connsiteX45" fmla="*/ 585987 w 1895408"/>
              <a:gd name="connsiteY45" fmla="*/ 396658 h 1354949"/>
              <a:gd name="connsiteX46" fmla="*/ 571357 w 1895408"/>
              <a:gd name="connsiteY46" fmla="*/ 352767 h 1354949"/>
              <a:gd name="connsiteX47" fmla="*/ 542096 w 1895408"/>
              <a:gd name="connsiteY47" fmla="*/ 286930 h 1354949"/>
              <a:gd name="connsiteX48" fmla="*/ 534781 w 1895408"/>
              <a:gd name="connsiteY48" fmla="*/ 264985 h 1354949"/>
              <a:gd name="connsiteX49" fmla="*/ 520151 w 1895408"/>
              <a:gd name="connsiteY49" fmla="*/ 250354 h 1354949"/>
              <a:gd name="connsiteX50" fmla="*/ 490890 w 1895408"/>
              <a:gd name="connsiteY50" fmla="*/ 213778 h 1354949"/>
              <a:gd name="connsiteX51" fmla="*/ 454314 w 1895408"/>
              <a:gd name="connsiteY51" fmla="*/ 184517 h 1354949"/>
              <a:gd name="connsiteX52" fmla="*/ 439683 w 1895408"/>
              <a:gd name="connsiteY52" fmla="*/ 140626 h 1354949"/>
              <a:gd name="connsiteX53" fmla="*/ 432368 w 1895408"/>
              <a:gd name="connsiteY53" fmla="*/ 118681 h 1354949"/>
              <a:gd name="connsiteX54" fmla="*/ 425053 w 1895408"/>
              <a:gd name="connsiteY54" fmla="*/ 96735 h 1354949"/>
              <a:gd name="connsiteX55" fmla="*/ 410423 w 1895408"/>
              <a:gd name="connsiteY55" fmla="*/ 74789 h 1354949"/>
              <a:gd name="connsiteX56" fmla="*/ 395792 w 1895408"/>
              <a:gd name="connsiteY56" fmla="*/ 60159 h 1354949"/>
              <a:gd name="connsiteX57" fmla="*/ 351901 w 1895408"/>
              <a:gd name="connsiteY57" fmla="*/ 30898 h 1354949"/>
              <a:gd name="connsiteX58" fmla="*/ 322640 w 1895408"/>
              <a:gd name="connsiteY58" fmla="*/ 38213 h 1354949"/>
              <a:gd name="connsiteX59" fmla="*/ 278749 w 1895408"/>
              <a:gd name="connsiteY59" fmla="*/ 52844 h 1354949"/>
              <a:gd name="connsiteX60" fmla="*/ 271434 w 1895408"/>
              <a:gd name="connsiteY60" fmla="*/ 30898 h 1354949"/>
              <a:gd name="connsiteX61" fmla="*/ 242173 w 1895408"/>
              <a:gd name="connsiteY61" fmla="*/ 1637 h 1354949"/>
              <a:gd name="connsiteX62" fmla="*/ 125130 w 1895408"/>
              <a:gd name="connsiteY62" fmla="*/ 8953 h 1354949"/>
              <a:gd name="connsiteX63" fmla="*/ 117815 w 1895408"/>
              <a:gd name="connsiteY63" fmla="*/ 30898 h 1354949"/>
              <a:gd name="connsiteX64" fmla="*/ 95869 w 1895408"/>
              <a:gd name="connsiteY64" fmla="*/ 38213 h 1354949"/>
              <a:gd name="connsiteX65" fmla="*/ 30032 w 1895408"/>
              <a:gd name="connsiteY65" fmla="*/ 45529 h 1354949"/>
              <a:gd name="connsiteX66" fmla="*/ 15402 w 1895408"/>
              <a:gd name="connsiteY66" fmla="*/ 67474 h 1354949"/>
              <a:gd name="connsiteX67" fmla="*/ 771 w 1895408"/>
              <a:gd name="connsiteY67" fmla="*/ 118681 h 1354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1895408" h="1354949">
                <a:moveTo>
                  <a:pt x="1895408" y="1354949"/>
                </a:moveTo>
                <a:cubicBezTo>
                  <a:pt x="1888093" y="1350072"/>
                  <a:pt x="1880138" y="1346040"/>
                  <a:pt x="1873463" y="1340319"/>
                </a:cubicBezTo>
                <a:cubicBezTo>
                  <a:pt x="1862990" y="1331342"/>
                  <a:pt x="1844202" y="1311058"/>
                  <a:pt x="1844202" y="1311058"/>
                </a:cubicBezTo>
                <a:cubicBezTo>
                  <a:pt x="1841764" y="1303743"/>
                  <a:pt x="1840854" y="1295725"/>
                  <a:pt x="1836887" y="1289113"/>
                </a:cubicBezTo>
                <a:cubicBezTo>
                  <a:pt x="1833338" y="1283199"/>
                  <a:pt x="1826671" y="1279781"/>
                  <a:pt x="1822256" y="1274482"/>
                </a:cubicBezTo>
                <a:cubicBezTo>
                  <a:pt x="1814451" y="1265116"/>
                  <a:pt x="1807626" y="1254975"/>
                  <a:pt x="1800311" y="1245221"/>
                </a:cubicBezTo>
                <a:cubicBezTo>
                  <a:pt x="1782778" y="1192631"/>
                  <a:pt x="1804040" y="1258278"/>
                  <a:pt x="1785680" y="1194015"/>
                </a:cubicBezTo>
                <a:cubicBezTo>
                  <a:pt x="1764689" y="1120544"/>
                  <a:pt x="1793921" y="1234293"/>
                  <a:pt x="1771050" y="1142809"/>
                </a:cubicBezTo>
                <a:cubicBezTo>
                  <a:pt x="1768612" y="1118425"/>
                  <a:pt x="1772110" y="1092687"/>
                  <a:pt x="1763735" y="1069657"/>
                </a:cubicBezTo>
                <a:cubicBezTo>
                  <a:pt x="1761100" y="1062410"/>
                  <a:pt x="1747810" y="1067158"/>
                  <a:pt x="1741789" y="1062341"/>
                </a:cubicBezTo>
                <a:cubicBezTo>
                  <a:pt x="1730616" y="1053402"/>
                  <a:pt x="1723156" y="1031701"/>
                  <a:pt x="1719843" y="1018450"/>
                </a:cubicBezTo>
                <a:cubicBezTo>
                  <a:pt x="1716827" y="1006388"/>
                  <a:pt x="1718697" y="992669"/>
                  <a:pt x="1712528" y="981874"/>
                </a:cubicBezTo>
                <a:cubicBezTo>
                  <a:pt x="1708166" y="974241"/>
                  <a:pt x="1697898" y="972121"/>
                  <a:pt x="1690583" y="967244"/>
                </a:cubicBezTo>
                <a:cubicBezTo>
                  <a:pt x="1646692" y="969682"/>
                  <a:pt x="1602670" y="970391"/>
                  <a:pt x="1558909" y="974559"/>
                </a:cubicBezTo>
                <a:cubicBezTo>
                  <a:pt x="1551233" y="975290"/>
                  <a:pt x="1544674" y="981874"/>
                  <a:pt x="1536963" y="981874"/>
                </a:cubicBezTo>
                <a:cubicBezTo>
                  <a:pt x="1519721" y="981874"/>
                  <a:pt x="1502921" y="976194"/>
                  <a:pt x="1485757" y="974559"/>
                </a:cubicBezTo>
                <a:cubicBezTo>
                  <a:pt x="1451687" y="971314"/>
                  <a:pt x="1417482" y="969682"/>
                  <a:pt x="1383344" y="967244"/>
                </a:cubicBezTo>
                <a:cubicBezTo>
                  <a:pt x="1321180" y="946523"/>
                  <a:pt x="1396974" y="975422"/>
                  <a:pt x="1346768" y="945298"/>
                </a:cubicBezTo>
                <a:cubicBezTo>
                  <a:pt x="1334437" y="937899"/>
                  <a:pt x="1297861" y="933290"/>
                  <a:pt x="1288247" y="930668"/>
                </a:cubicBezTo>
                <a:cubicBezTo>
                  <a:pt x="1273368" y="926610"/>
                  <a:pt x="1258986" y="920914"/>
                  <a:pt x="1244355" y="916037"/>
                </a:cubicBezTo>
                <a:lnTo>
                  <a:pt x="1222410" y="908722"/>
                </a:lnTo>
                <a:cubicBezTo>
                  <a:pt x="1188336" y="874650"/>
                  <a:pt x="1232449" y="913743"/>
                  <a:pt x="1178519" y="886777"/>
                </a:cubicBezTo>
                <a:cubicBezTo>
                  <a:pt x="1172350" y="883692"/>
                  <a:pt x="1170057" y="875230"/>
                  <a:pt x="1163888" y="872146"/>
                </a:cubicBezTo>
                <a:cubicBezTo>
                  <a:pt x="1150094" y="865249"/>
                  <a:pt x="1134627" y="862393"/>
                  <a:pt x="1119997" y="857516"/>
                </a:cubicBezTo>
                <a:cubicBezTo>
                  <a:pt x="1086257" y="846270"/>
                  <a:pt x="1105610" y="851713"/>
                  <a:pt x="1061475" y="842885"/>
                </a:cubicBezTo>
                <a:cubicBezTo>
                  <a:pt x="1059037" y="835570"/>
                  <a:pt x="1058642" y="827214"/>
                  <a:pt x="1054160" y="820940"/>
                </a:cubicBezTo>
                <a:cubicBezTo>
                  <a:pt x="1030440" y="787733"/>
                  <a:pt x="1029061" y="792719"/>
                  <a:pt x="995639" y="784364"/>
                </a:cubicBezTo>
                <a:cubicBezTo>
                  <a:pt x="990762" y="764857"/>
                  <a:pt x="984951" y="745559"/>
                  <a:pt x="981008" y="725842"/>
                </a:cubicBezTo>
                <a:cubicBezTo>
                  <a:pt x="978570" y="713650"/>
                  <a:pt x="978059" y="700908"/>
                  <a:pt x="973693" y="689266"/>
                </a:cubicBezTo>
                <a:cubicBezTo>
                  <a:pt x="970606" y="681034"/>
                  <a:pt x="965928" y="672813"/>
                  <a:pt x="959063" y="667321"/>
                </a:cubicBezTo>
                <a:cubicBezTo>
                  <a:pt x="953042" y="662504"/>
                  <a:pt x="944014" y="663454"/>
                  <a:pt x="937117" y="660005"/>
                </a:cubicBezTo>
                <a:cubicBezTo>
                  <a:pt x="929253" y="656073"/>
                  <a:pt x="922486" y="650252"/>
                  <a:pt x="915171" y="645375"/>
                </a:cubicBezTo>
                <a:cubicBezTo>
                  <a:pt x="912733" y="638060"/>
                  <a:pt x="913308" y="628882"/>
                  <a:pt x="907856" y="623429"/>
                </a:cubicBezTo>
                <a:cubicBezTo>
                  <a:pt x="902404" y="617977"/>
                  <a:pt x="893325" y="618232"/>
                  <a:pt x="885911" y="616114"/>
                </a:cubicBezTo>
                <a:cubicBezTo>
                  <a:pt x="821605" y="597741"/>
                  <a:pt x="887329" y="619025"/>
                  <a:pt x="834704" y="601484"/>
                </a:cubicBezTo>
                <a:cubicBezTo>
                  <a:pt x="829827" y="596607"/>
                  <a:pt x="825988" y="590401"/>
                  <a:pt x="820074" y="586853"/>
                </a:cubicBezTo>
                <a:cubicBezTo>
                  <a:pt x="813462" y="582886"/>
                  <a:pt x="802610" y="585813"/>
                  <a:pt x="798128" y="579538"/>
                </a:cubicBezTo>
                <a:cubicBezTo>
                  <a:pt x="789164" y="566989"/>
                  <a:pt x="788375" y="550277"/>
                  <a:pt x="783498" y="535647"/>
                </a:cubicBezTo>
                <a:cubicBezTo>
                  <a:pt x="781060" y="528332"/>
                  <a:pt x="781636" y="519153"/>
                  <a:pt x="776183" y="513701"/>
                </a:cubicBezTo>
                <a:cubicBezTo>
                  <a:pt x="771306" y="508824"/>
                  <a:pt x="765860" y="504457"/>
                  <a:pt x="761552" y="499071"/>
                </a:cubicBezTo>
                <a:cubicBezTo>
                  <a:pt x="754658" y="490453"/>
                  <a:pt x="744069" y="468384"/>
                  <a:pt x="732291" y="462495"/>
                </a:cubicBezTo>
                <a:cubicBezTo>
                  <a:pt x="723299" y="457999"/>
                  <a:pt x="712784" y="457618"/>
                  <a:pt x="703031" y="455180"/>
                </a:cubicBezTo>
                <a:cubicBezTo>
                  <a:pt x="677495" y="429644"/>
                  <a:pt x="694943" y="442730"/>
                  <a:pt x="644509" y="425919"/>
                </a:cubicBezTo>
                <a:lnTo>
                  <a:pt x="622563" y="418604"/>
                </a:lnTo>
                <a:cubicBezTo>
                  <a:pt x="617686" y="413727"/>
                  <a:pt x="613847" y="407521"/>
                  <a:pt x="607933" y="403973"/>
                </a:cubicBezTo>
                <a:cubicBezTo>
                  <a:pt x="601321" y="400006"/>
                  <a:pt x="590469" y="402933"/>
                  <a:pt x="585987" y="396658"/>
                </a:cubicBezTo>
                <a:cubicBezTo>
                  <a:pt x="577023" y="384109"/>
                  <a:pt x="579911" y="365599"/>
                  <a:pt x="571357" y="352767"/>
                </a:cubicBezTo>
                <a:cubicBezTo>
                  <a:pt x="548173" y="317990"/>
                  <a:pt x="559507" y="339161"/>
                  <a:pt x="542096" y="286930"/>
                </a:cubicBezTo>
                <a:cubicBezTo>
                  <a:pt x="539658" y="279615"/>
                  <a:pt x="540233" y="270437"/>
                  <a:pt x="534781" y="264985"/>
                </a:cubicBezTo>
                <a:cubicBezTo>
                  <a:pt x="529904" y="260108"/>
                  <a:pt x="524459" y="255740"/>
                  <a:pt x="520151" y="250354"/>
                </a:cubicBezTo>
                <a:cubicBezTo>
                  <a:pt x="503258" y="229238"/>
                  <a:pt x="510509" y="229474"/>
                  <a:pt x="490890" y="213778"/>
                </a:cubicBezTo>
                <a:cubicBezTo>
                  <a:pt x="444750" y="176866"/>
                  <a:pt x="489638" y="219844"/>
                  <a:pt x="454314" y="184517"/>
                </a:cubicBezTo>
                <a:lnTo>
                  <a:pt x="439683" y="140626"/>
                </a:lnTo>
                <a:lnTo>
                  <a:pt x="432368" y="118681"/>
                </a:lnTo>
                <a:cubicBezTo>
                  <a:pt x="429930" y="111366"/>
                  <a:pt x="429330" y="103151"/>
                  <a:pt x="425053" y="96735"/>
                </a:cubicBezTo>
                <a:cubicBezTo>
                  <a:pt x="420176" y="89420"/>
                  <a:pt x="415915" y="81654"/>
                  <a:pt x="410423" y="74789"/>
                </a:cubicBezTo>
                <a:cubicBezTo>
                  <a:pt x="406115" y="69403"/>
                  <a:pt x="401310" y="64297"/>
                  <a:pt x="395792" y="60159"/>
                </a:cubicBezTo>
                <a:cubicBezTo>
                  <a:pt x="381725" y="49609"/>
                  <a:pt x="351901" y="30898"/>
                  <a:pt x="351901" y="30898"/>
                </a:cubicBezTo>
                <a:cubicBezTo>
                  <a:pt x="342147" y="33336"/>
                  <a:pt x="330491" y="31932"/>
                  <a:pt x="322640" y="38213"/>
                </a:cubicBezTo>
                <a:cubicBezTo>
                  <a:pt x="286649" y="67006"/>
                  <a:pt x="362784" y="69651"/>
                  <a:pt x="278749" y="52844"/>
                </a:cubicBezTo>
                <a:cubicBezTo>
                  <a:pt x="276311" y="45529"/>
                  <a:pt x="275916" y="37173"/>
                  <a:pt x="271434" y="30898"/>
                </a:cubicBezTo>
                <a:cubicBezTo>
                  <a:pt x="263417" y="19674"/>
                  <a:pt x="242173" y="1637"/>
                  <a:pt x="242173" y="1637"/>
                </a:cubicBezTo>
                <a:cubicBezTo>
                  <a:pt x="203159" y="4076"/>
                  <a:pt x="163181" y="0"/>
                  <a:pt x="125130" y="8953"/>
                </a:cubicBezTo>
                <a:cubicBezTo>
                  <a:pt x="117624" y="10719"/>
                  <a:pt x="123267" y="25446"/>
                  <a:pt x="117815" y="30898"/>
                </a:cubicBezTo>
                <a:cubicBezTo>
                  <a:pt x="112362" y="36350"/>
                  <a:pt x="103475" y="36945"/>
                  <a:pt x="95869" y="38213"/>
                </a:cubicBezTo>
                <a:cubicBezTo>
                  <a:pt x="74089" y="41843"/>
                  <a:pt x="51978" y="43090"/>
                  <a:pt x="30032" y="45529"/>
                </a:cubicBezTo>
                <a:cubicBezTo>
                  <a:pt x="25155" y="52844"/>
                  <a:pt x="18973" y="59440"/>
                  <a:pt x="15402" y="67474"/>
                </a:cubicBezTo>
                <a:cubicBezTo>
                  <a:pt x="0" y="102128"/>
                  <a:pt x="771" y="97770"/>
                  <a:pt x="771" y="118681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7" name="Freeform 86"/>
          <p:cNvSpPr/>
          <p:nvPr/>
        </p:nvSpPr>
        <p:spPr>
          <a:xfrm>
            <a:off x="1738592" y="452439"/>
            <a:ext cx="2378075" cy="409575"/>
          </a:xfrm>
          <a:custGeom>
            <a:avLst/>
            <a:gdLst>
              <a:gd name="connsiteX0" fmla="*/ 2421331 w 2421331"/>
              <a:gd name="connsiteY0" fmla="*/ 248716 h 409651"/>
              <a:gd name="connsiteX1" fmla="*/ 2245766 w 2421331"/>
              <a:gd name="connsiteY1" fmla="*/ 241401 h 409651"/>
              <a:gd name="connsiteX2" fmla="*/ 2201875 w 2421331"/>
              <a:gd name="connsiteY2" fmla="*/ 204825 h 409651"/>
              <a:gd name="connsiteX3" fmla="*/ 2179929 w 2421331"/>
              <a:gd name="connsiteY3" fmla="*/ 190195 h 409651"/>
              <a:gd name="connsiteX4" fmla="*/ 2165299 w 2421331"/>
              <a:gd name="connsiteY4" fmla="*/ 175564 h 409651"/>
              <a:gd name="connsiteX5" fmla="*/ 2150669 w 2421331"/>
              <a:gd name="connsiteY5" fmla="*/ 153619 h 409651"/>
              <a:gd name="connsiteX6" fmla="*/ 2128723 w 2421331"/>
              <a:gd name="connsiteY6" fmla="*/ 146304 h 409651"/>
              <a:gd name="connsiteX7" fmla="*/ 2077517 w 2421331"/>
              <a:gd name="connsiteY7" fmla="*/ 124358 h 409651"/>
              <a:gd name="connsiteX8" fmla="*/ 2055571 w 2421331"/>
              <a:gd name="connsiteY8" fmla="*/ 109728 h 409651"/>
              <a:gd name="connsiteX9" fmla="*/ 2011680 w 2421331"/>
              <a:gd name="connsiteY9" fmla="*/ 95097 h 409651"/>
              <a:gd name="connsiteX10" fmla="*/ 1945843 w 2421331"/>
              <a:gd name="connsiteY10" fmla="*/ 102412 h 409651"/>
              <a:gd name="connsiteX11" fmla="*/ 1916582 w 2421331"/>
              <a:gd name="connsiteY11" fmla="*/ 109728 h 409651"/>
              <a:gd name="connsiteX12" fmla="*/ 1814169 w 2421331"/>
              <a:gd name="connsiteY12" fmla="*/ 102412 h 409651"/>
              <a:gd name="connsiteX13" fmla="*/ 1762963 w 2421331"/>
              <a:gd name="connsiteY13" fmla="*/ 87782 h 409651"/>
              <a:gd name="connsiteX14" fmla="*/ 1741017 w 2421331"/>
              <a:gd name="connsiteY14" fmla="*/ 80467 h 409651"/>
              <a:gd name="connsiteX15" fmla="*/ 1558137 w 2421331"/>
              <a:gd name="connsiteY15" fmla="*/ 73152 h 409651"/>
              <a:gd name="connsiteX16" fmla="*/ 1477670 w 2421331"/>
              <a:gd name="connsiteY16" fmla="*/ 51206 h 409651"/>
              <a:gd name="connsiteX17" fmla="*/ 1455725 w 2421331"/>
              <a:gd name="connsiteY17" fmla="*/ 36576 h 409651"/>
              <a:gd name="connsiteX18" fmla="*/ 1367942 w 2421331"/>
              <a:gd name="connsiteY18" fmla="*/ 51206 h 409651"/>
              <a:gd name="connsiteX19" fmla="*/ 1345997 w 2421331"/>
              <a:gd name="connsiteY19" fmla="*/ 65836 h 409651"/>
              <a:gd name="connsiteX20" fmla="*/ 1243584 w 2421331"/>
              <a:gd name="connsiteY20" fmla="*/ 65836 h 409651"/>
              <a:gd name="connsiteX21" fmla="*/ 1185062 w 2421331"/>
              <a:gd name="connsiteY21" fmla="*/ 51206 h 409651"/>
              <a:gd name="connsiteX22" fmla="*/ 1163117 w 2421331"/>
              <a:gd name="connsiteY22" fmla="*/ 43891 h 409651"/>
              <a:gd name="connsiteX23" fmla="*/ 1111910 w 2421331"/>
              <a:gd name="connsiteY23" fmla="*/ 29260 h 409651"/>
              <a:gd name="connsiteX24" fmla="*/ 1089965 w 2421331"/>
              <a:gd name="connsiteY24" fmla="*/ 14630 h 409651"/>
              <a:gd name="connsiteX25" fmla="*/ 1060704 w 2421331"/>
              <a:gd name="connsiteY25" fmla="*/ 7315 h 409651"/>
              <a:gd name="connsiteX26" fmla="*/ 1038758 w 2421331"/>
              <a:gd name="connsiteY26" fmla="*/ 0 h 409651"/>
              <a:gd name="connsiteX27" fmla="*/ 1002182 w 2421331"/>
              <a:gd name="connsiteY27" fmla="*/ 7315 h 409651"/>
              <a:gd name="connsiteX28" fmla="*/ 980237 w 2421331"/>
              <a:gd name="connsiteY28" fmla="*/ 21945 h 409651"/>
              <a:gd name="connsiteX29" fmla="*/ 958291 w 2421331"/>
              <a:gd name="connsiteY29" fmla="*/ 29260 h 409651"/>
              <a:gd name="connsiteX30" fmla="*/ 929030 w 2421331"/>
              <a:gd name="connsiteY30" fmla="*/ 21945 h 409651"/>
              <a:gd name="connsiteX31" fmla="*/ 885139 w 2421331"/>
              <a:gd name="connsiteY31" fmla="*/ 7315 h 409651"/>
              <a:gd name="connsiteX32" fmla="*/ 746150 w 2421331"/>
              <a:gd name="connsiteY32" fmla="*/ 21945 h 409651"/>
              <a:gd name="connsiteX33" fmla="*/ 724205 w 2421331"/>
              <a:gd name="connsiteY33" fmla="*/ 58521 h 409651"/>
              <a:gd name="connsiteX34" fmla="*/ 716889 w 2421331"/>
              <a:gd name="connsiteY34" fmla="*/ 102412 h 409651"/>
              <a:gd name="connsiteX35" fmla="*/ 709574 w 2421331"/>
              <a:gd name="connsiteY35" fmla="*/ 131673 h 409651"/>
              <a:gd name="connsiteX36" fmla="*/ 687629 w 2421331"/>
              <a:gd name="connsiteY36" fmla="*/ 138988 h 409651"/>
              <a:gd name="connsiteX37" fmla="*/ 665683 w 2421331"/>
              <a:gd name="connsiteY37" fmla="*/ 153619 h 409651"/>
              <a:gd name="connsiteX38" fmla="*/ 643737 w 2421331"/>
              <a:gd name="connsiteY38" fmla="*/ 160934 h 409651"/>
              <a:gd name="connsiteX39" fmla="*/ 599846 w 2421331"/>
              <a:gd name="connsiteY39" fmla="*/ 197510 h 409651"/>
              <a:gd name="connsiteX40" fmla="*/ 592531 w 2421331"/>
              <a:gd name="connsiteY40" fmla="*/ 219456 h 409651"/>
              <a:gd name="connsiteX41" fmla="*/ 570585 w 2421331"/>
              <a:gd name="connsiteY41" fmla="*/ 234086 h 409651"/>
              <a:gd name="connsiteX42" fmla="*/ 526694 w 2421331"/>
              <a:gd name="connsiteY42" fmla="*/ 248716 h 409651"/>
              <a:gd name="connsiteX43" fmla="*/ 504749 w 2421331"/>
              <a:gd name="connsiteY43" fmla="*/ 256032 h 409651"/>
              <a:gd name="connsiteX44" fmla="*/ 446227 w 2421331"/>
              <a:gd name="connsiteY44" fmla="*/ 263347 h 409651"/>
              <a:gd name="connsiteX45" fmla="*/ 424281 w 2421331"/>
              <a:gd name="connsiteY45" fmla="*/ 277977 h 409651"/>
              <a:gd name="connsiteX46" fmla="*/ 416966 w 2421331"/>
              <a:gd name="connsiteY46" fmla="*/ 299923 h 409651"/>
              <a:gd name="connsiteX47" fmla="*/ 373075 w 2421331"/>
              <a:gd name="connsiteY47" fmla="*/ 343814 h 409651"/>
              <a:gd name="connsiteX48" fmla="*/ 373075 w 2421331"/>
              <a:gd name="connsiteY48" fmla="*/ 343814 h 409651"/>
              <a:gd name="connsiteX49" fmla="*/ 314553 w 2421331"/>
              <a:gd name="connsiteY49" fmla="*/ 365760 h 409651"/>
              <a:gd name="connsiteX50" fmla="*/ 138989 w 2421331"/>
              <a:gd name="connsiteY50" fmla="*/ 387705 h 409651"/>
              <a:gd name="connsiteX51" fmla="*/ 124358 w 2421331"/>
              <a:gd name="connsiteY51" fmla="*/ 402336 h 409651"/>
              <a:gd name="connsiteX52" fmla="*/ 102413 w 2421331"/>
              <a:gd name="connsiteY52" fmla="*/ 409651 h 409651"/>
              <a:gd name="connsiteX53" fmla="*/ 14630 w 2421331"/>
              <a:gd name="connsiteY53" fmla="*/ 402336 h 409651"/>
              <a:gd name="connsiteX54" fmla="*/ 0 w 2421331"/>
              <a:gd name="connsiteY54" fmla="*/ 402336 h 409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2421331" h="409651">
                <a:moveTo>
                  <a:pt x="2421331" y="248716"/>
                </a:moveTo>
                <a:cubicBezTo>
                  <a:pt x="2362809" y="246278"/>
                  <a:pt x="2303980" y="247869"/>
                  <a:pt x="2245766" y="241401"/>
                </a:cubicBezTo>
                <a:cubicBezTo>
                  <a:pt x="2233192" y="240004"/>
                  <a:pt x="2208880" y="210663"/>
                  <a:pt x="2201875" y="204825"/>
                </a:cubicBezTo>
                <a:cubicBezTo>
                  <a:pt x="2195121" y="199197"/>
                  <a:pt x="2186794" y="195687"/>
                  <a:pt x="2179929" y="190195"/>
                </a:cubicBezTo>
                <a:cubicBezTo>
                  <a:pt x="2174543" y="185887"/>
                  <a:pt x="2169607" y="180950"/>
                  <a:pt x="2165299" y="175564"/>
                </a:cubicBezTo>
                <a:cubicBezTo>
                  <a:pt x="2159807" y="168699"/>
                  <a:pt x="2157534" y="159111"/>
                  <a:pt x="2150669" y="153619"/>
                </a:cubicBezTo>
                <a:cubicBezTo>
                  <a:pt x="2144648" y="148802"/>
                  <a:pt x="2136038" y="148742"/>
                  <a:pt x="2128723" y="146304"/>
                </a:cubicBezTo>
                <a:cubicBezTo>
                  <a:pt x="2098571" y="116150"/>
                  <a:pt x="2132989" y="145159"/>
                  <a:pt x="2077517" y="124358"/>
                </a:cubicBezTo>
                <a:cubicBezTo>
                  <a:pt x="2069285" y="121271"/>
                  <a:pt x="2063605" y="113299"/>
                  <a:pt x="2055571" y="109728"/>
                </a:cubicBezTo>
                <a:cubicBezTo>
                  <a:pt x="2041478" y="103465"/>
                  <a:pt x="2011680" y="95097"/>
                  <a:pt x="2011680" y="95097"/>
                </a:cubicBezTo>
                <a:cubicBezTo>
                  <a:pt x="1989734" y="97535"/>
                  <a:pt x="1967667" y="99054"/>
                  <a:pt x="1945843" y="102412"/>
                </a:cubicBezTo>
                <a:cubicBezTo>
                  <a:pt x="1935906" y="103941"/>
                  <a:pt x="1926636" y="109728"/>
                  <a:pt x="1916582" y="109728"/>
                </a:cubicBezTo>
                <a:cubicBezTo>
                  <a:pt x="1882357" y="109728"/>
                  <a:pt x="1848307" y="104851"/>
                  <a:pt x="1814169" y="102412"/>
                </a:cubicBezTo>
                <a:cubicBezTo>
                  <a:pt x="1761559" y="84875"/>
                  <a:pt x="1827252" y="106150"/>
                  <a:pt x="1762963" y="87782"/>
                </a:cubicBezTo>
                <a:cubicBezTo>
                  <a:pt x="1755549" y="85664"/>
                  <a:pt x="1748708" y="81016"/>
                  <a:pt x="1741017" y="80467"/>
                </a:cubicBezTo>
                <a:cubicBezTo>
                  <a:pt x="1680163" y="76120"/>
                  <a:pt x="1619097" y="75590"/>
                  <a:pt x="1558137" y="73152"/>
                </a:cubicBezTo>
                <a:cubicBezTo>
                  <a:pt x="1492135" y="56651"/>
                  <a:pt x="1518692" y="64879"/>
                  <a:pt x="1477670" y="51206"/>
                </a:cubicBezTo>
                <a:cubicBezTo>
                  <a:pt x="1470355" y="46329"/>
                  <a:pt x="1464486" y="37306"/>
                  <a:pt x="1455725" y="36576"/>
                </a:cubicBezTo>
                <a:cubicBezTo>
                  <a:pt x="1416525" y="33309"/>
                  <a:pt x="1398857" y="40901"/>
                  <a:pt x="1367942" y="51206"/>
                </a:cubicBezTo>
                <a:cubicBezTo>
                  <a:pt x="1360627" y="56083"/>
                  <a:pt x="1354078" y="62373"/>
                  <a:pt x="1345997" y="65836"/>
                </a:cubicBezTo>
                <a:cubicBezTo>
                  <a:pt x="1310877" y="80888"/>
                  <a:pt x="1283074" y="69785"/>
                  <a:pt x="1243584" y="65836"/>
                </a:cubicBezTo>
                <a:cubicBezTo>
                  <a:pt x="1224077" y="60959"/>
                  <a:pt x="1204138" y="57565"/>
                  <a:pt x="1185062" y="51206"/>
                </a:cubicBezTo>
                <a:cubicBezTo>
                  <a:pt x="1177747" y="48768"/>
                  <a:pt x="1170531" y="46009"/>
                  <a:pt x="1163117" y="43891"/>
                </a:cubicBezTo>
                <a:cubicBezTo>
                  <a:pt x="1152172" y="40764"/>
                  <a:pt x="1123608" y="35109"/>
                  <a:pt x="1111910" y="29260"/>
                </a:cubicBezTo>
                <a:cubicBezTo>
                  <a:pt x="1104047" y="25328"/>
                  <a:pt x="1098046" y="18093"/>
                  <a:pt x="1089965" y="14630"/>
                </a:cubicBezTo>
                <a:cubicBezTo>
                  <a:pt x="1080724" y="10670"/>
                  <a:pt x="1070371" y="10077"/>
                  <a:pt x="1060704" y="7315"/>
                </a:cubicBezTo>
                <a:cubicBezTo>
                  <a:pt x="1053290" y="5197"/>
                  <a:pt x="1046073" y="2438"/>
                  <a:pt x="1038758" y="0"/>
                </a:cubicBezTo>
                <a:cubicBezTo>
                  <a:pt x="1026566" y="2438"/>
                  <a:pt x="1013824" y="2949"/>
                  <a:pt x="1002182" y="7315"/>
                </a:cubicBezTo>
                <a:cubicBezTo>
                  <a:pt x="993950" y="10402"/>
                  <a:pt x="988100" y="18013"/>
                  <a:pt x="980237" y="21945"/>
                </a:cubicBezTo>
                <a:cubicBezTo>
                  <a:pt x="973340" y="25393"/>
                  <a:pt x="965606" y="26822"/>
                  <a:pt x="958291" y="29260"/>
                </a:cubicBezTo>
                <a:cubicBezTo>
                  <a:pt x="948537" y="26822"/>
                  <a:pt x="938660" y="24834"/>
                  <a:pt x="929030" y="21945"/>
                </a:cubicBezTo>
                <a:cubicBezTo>
                  <a:pt x="914259" y="17514"/>
                  <a:pt x="885139" y="7315"/>
                  <a:pt x="885139" y="7315"/>
                </a:cubicBezTo>
                <a:cubicBezTo>
                  <a:pt x="838809" y="12192"/>
                  <a:pt x="791913" y="13228"/>
                  <a:pt x="746150" y="21945"/>
                </a:cubicBezTo>
                <a:cubicBezTo>
                  <a:pt x="732797" y="24488"/>
                  <a:pt x="726178" y="49643"/>
                  <a:pt x="724205" y="58521"/>
                </a:cubicBezTo>
                <a:cubicBezTo>
                  <a:pt x="720987" y="73000"/>
                  <a:pt x="719798" y="87868"/>
                  <a:pt x="716889" y="102412"/>
                </a:cubicBezTo>
                <a:cubicBezTo>
                  <a:pt x="714917" y="112271"/>
                  <a:pt x="715854" y="123822"/>
                  <a:pt x="709574" y="131673"/>
                </a:cubicBezTo>
                <a:cubicBezTo>
                  <a:pt x="704757" y="137694"/>
                  <a:pt x="694944" y="136550"/>
                  <a:pt x="687629" y="138988"/>
                </a:cubicBezTo>
                <a:cubicBezTo>
                  <a:pt x="680314" y="143865"/>
                  <a:pt x="673547" y="149687"/>
                  <a:pt x="665683" y="153619"/>
                </a:cubicBezTo>
                <a:cubicBezTo>
                  <a:pt x="658786" y="157067"/>
                  <a:pt x="650432" y="157108"/>
                  <a:pt x="643737" y="160934"/>
                </a:cubicBezTo>
                <a:cubicBezTo>
                  <a:pt x="623455" y="172524"/>
                  <a:pt x="614898" y="182459"/>
                  <a:pt x="599846" y="197510"/>
                </a:cubicBezTo>
                <a:cubicBezTo>
                  <a:pt x="597408" y="204825"/>
                  <a:pt x="597348" y="213435"/>
                  <a:pt x="592531" y="219456"/>
                </a:cubicBezTo>
                <a:cubicBezTo>
                  <a:pt x="587039" y="226321"/>
                  <a:pt x="578619" y="230515"/>
                  <a:pt x="570585" y="234086"/>
                </a:cubicBezTo>
                <a:cubicBezTo>
                  <a:pt x="556492" y="240349"/>
                  <a:pt x="541324" y="243839"/>
                  <a:pt x="526694" y="248716"/>
                </a:cubicBezTo>
                <a:cubicBezTo>
                  <a:pt x="519379" y="251154"/>
                  <a:pt x="512400" y="255076"/>
                  <a:pt x="504749" y="256032"/>
                </a:cubicBezTo>
                <a:lnTo>
                  <a:pt x="446227" y="263347"/>
                </a:lnTo>
                <a:cubicBezTo>
                  <a:pt x="438912" y="268224"/>
                  <a:pt x="429773" y="271112"/>
                  <a:pt x="424281" y="277977"/>
                </a:cubicBezTo>
                <a:cubicBezTo>
                  <a:pt x="419464" y="283998"/>
                  <a:pt x="421700" y="293836"/>
                  <a:pt x="416966" y="299923"/>
                </a:cubicBezTo>
                <a:cubicBezTo>
                  <a:pt x="404263" y="316255"/>
                  <a:pt x="387705" y="329184"/>
                  <a:pt x="373075" y="343814"/>
                </a:cubicBezTo>
                <a:lnTo>
                  <a:pt x="373075" y="343814"/>
                </a:lnTo>
                <a:cubicBezTo>
                  <a:pt x="334884" y="369273"/>
                  <a:pt x="368093" y="351158"/>
                  <a:pt x="314553" y="365760"/>
                </a:cubicBezTo>
                <a:cubicBezTo>
                  <a:pt x="205078" y="395617"/>
                  <a:pt x="354131" y="375753"/>
                  <a:pt x="138989" y="387705"/>
                </a:cubicBezTo>
                <a:cubicBezTo>
                  <a:pt x="134112" y="392582"/>
                  <a:pt x="130272" y="398787"/>
                  <a:pt x="124358" y="402336"/>
                </a:cubicBezTo>
                <a:cubicBezTo>
                  <a:pt x="117746" y="406303"/>
                  <a:pt x="110124" y="409651"/>
                  <a:pt x="102413" y="409651"/>
                </a:cubicBezTo>
                <a:cubicBezTo>
                  <a:pt x="73051" y="409651"/>
                  <a:pt x="43918" y="404428"/>
                  <a:pt x="14630" y="402336"/>
                </a:cubicBezTo>
                <a:cubicBezTo>
                  <a:pt x="9766" y="401989"/>
                  <a:pt x="4877" y="402336"/>
                  <a:pt x="0" y="402336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8" name="Freeform 87"/>
          <p:cNvSpPr/>
          <p:nvPr/>
        </p:nvSpPr>
        <p:spPr>
          <a:xfrm>
            <a:off x="1898926" y="-441325"/>
            <a:ext cx="868362" cy="1281112"/>
          </a:xfrm>
          <a:custGeom>
            <a:avLst/>
            <a:gdLst>
              <a:gd name="connsiteX0" fmla="*/ 0 w 867253"/>
              <a:gd name="connsiteY0" fmla="*/ 1280160 h 1280160"/>
              <a:gd name="connsiteX1" fmla="*/ 21946 w 867253"/>
              <a:gd name="connsiteY1" fmla="*/ 1199693 h 1280160"/>
              <a:gd name="connsiteX2" fmla="*/ 36576 w 867253"/>
              <a:gd name="connsiteY2" fmla="*/ 1177747 h 1280160"/>
              <a:gd name="connsiteX3" fmla="*/ 43892 w 867253"/>
              <a:gd name="connsiteY3" fmla="*/ 1148487 h 1280160"/>
              <a:gd name="connsiteX4" fmla="*/ 51207 w 867253"/>
              <a:gd name="connsiteY4" fmla="*/ 1097280 h 1280160"/>
              <a:gd name="connsiteX5" fmla="*/ 65837 w 867253"/>
              <a:gd name="connsiteY5" fmla="*/ 1075335 h 1280160"/>
              <a:gd name="connsiteX6" fmla="*/ 87783 w 867253"/>
              <a:gd name="connsiteY6" fmla="*/ 1002183 h 1280160"/>
              <a:gd name="connsiteX7" fmla="*/ 87783 w 867253"/>
              <a:gd name="connsiteY7" fmla="*/ 929031 h 1280160"/>
              <a:gd name="connsiteX8" fmla="*/ 109728 w 867253"/>
              <a:gd name="connsiteY8" fmla="*/ 914400 h 1280160"/>
              <a:gd name="connsiteX9" fmla="*/ 117044 w 867253"/>
              <a:gd name="connsiteY9" fmla="*/ 790042 h 1280160"/>
              <a:gd name="connsiteX10" fmla="*/ 102413 w 867253"/>
              <a:gd name="connsiteY10" fmla="*/ 768096 h 1280160"/>
              <a:gd name="connsiteX11" fmla="*/ 109728 w 867253"/>
              <a:gd name="connsiteY11" fmla="*/ 709575 h 1280160"/>
              <a:gd name="connsiteX12" fmla="*/ 124359 w 867253"/>
              <a:gd name="connsiteY12" fmla="*/ 694944 h 1280160"/>
              <a:gd name="connsiteX13" fmla="*/ 138989 w 867253"/>
              <a:gd name="connsiteY13" fmla="*/ 672999 h 1280160"/>
              <a:gd name="connsiteX14" fmla="*/ 146304 w 867253"/>
              <a:gd name="connsiteY14" fmla="*/ 636423 h 1280160"/>
              <a:gd name="connsiteX15" fmla="*/ 160935 w 867253"/>
              <a:gd name="connsiteY15" fmla="*/ 621792 h 1280160"/>
              <a:gd name="connsiteX16" fmla="*/ 175565 w 867253"/>
              <a:gd name="connsiteY16" fmla="*/ 599847 h 1280160"/>
              <a:gd name="connsiteX17" fmla="*/ 190196 w 867253"/>
              <a:gd name="connsiteY17" fmla="*/ 512064 h 1280160"/>
              <a:gd name="connsiteX18" fmla="*/ 197511 w 867253"/>
              <a:gd name="connsiteY18" fmla="*/ 490119 h 1280160"/>
              <a:gd name="connsiteX19" fmla="*/ 212141 w 867253"/>
              <a:gd name="connsiteY19" fmla="*/ 438912 h 1280160"/>
              <a:gd name="connsiteX20" fmla="*/ 212141 w 867253"/>
              <a:gd name="connsiteY20" fmla="*/ 226771 h 1280160"/>
              <a:gd name="connsiteX21" fmla="*/ 234087 w 867253"/>
              <a:gd name="connsiteY21" fmla="*/ 219456 h 1280160"/>
              <a:gd name="connsiteX22" fmla="*/ 270663 w 867253"/>
              <a:gd name="connsiteY22" fmla="*/ 212141 h 1280160"/>
              <a:gd name="connsiteX23" fmla="*/ 292608 w 867253"/>
              <a:gd name="connsiteY23" fmla="*/ 168250 h 1280160"/>
              <a:gd name="connsiteX24" fmla="*/ 307239 w 867253"/>
              <a:gd name="connsiteY24" fmla="*/ 153619 h 1280160"/>
              <a:gd name="connsiteX25" fmla="*/ 321869 w 867253"/>
              <a:gd name="connsiteY25" fmla="*/ 131674 h 1280160"/>
              <a:gd name="connsiteX26" fmla="*/ 343815 w 867253"/>
              <a:gd name="connsiteY26" fmla="*/ 124359 h 1280160"/>
              <a:gd name="connsiteX27" fmla="*/ 409652 w 867253"/>
              <a:gd name="connsiteY27" fmla="*/ 117043 h 1280160"/>
              <a:gd name="connsiteX28" fmla="*/ 416967 w 867253"/>
              <a:gd name="connsiteY28" fmla="*/ 87783 h 1280160"/>
              <a:gd name="connsiteX29" fmla="*/ 490119 w 867253"/>
              <a:gd name="connsiteY29" fmla="*/ 80467 h 1280160"/>
              <a:gd name="connsiteX30" fmla="*/ 519380 w 867253"/>
              <a:gd name="connsiteY30" fmla="*/ 73152 h 1280160"/>
              <a:gd name="connsiteX31" fmla="*/ 563271 w 867253"/>
              <a:gd name="connsiteY31" fmla="*/ 58522 h 1280160"/>
              <a:gd name="connsiteX32" fmla="*/ 585216 w 867253"/>
              <a:gd name="connsiteY32" fmla="*/ 43891 h 1280160"/>
              <a:gd name="connsiteX33" fmla="*/ 621792 w 867253"/>
              <a:gd name="connsiteY33" fmla="*/ 36576 h 1280160"/>
              <a:gd name="connsiteX34" fmla="*/ 643738 w 867253"/>
              <a:gd name="connsiteY34" fmla="*/ 29261 h 1280160"/>
              <a:gd name="connsiteX35" fmla="*/ 680314 w 867253"/>
              <a:gd name="connsiteY35" fmla="*/ 36576 h 1280160"/>
              <a:gd name="connsiteX36" fmla="*/ 694944 w 867253"/>
              <a:gd name="connsiteY36" fmla="*/ 80467 h 1280160"/>
              <a:gd name="connsiteX37" fmla="*/ 702260 w 867253"/>
              <a:gd name="connsiteY37" fmla="*/ 102413 h 1280160"/>
              <a:gd name="connsiteX38" fmla="*/ 738836 w 867253"/>
              <a:gd name="connsiteY38" fmla="*/ 109728 h 1280160"/>
              <a:gd name="connsiteX39" fmla="*/ 790042 w 867253"/>
              <a:gd name="connsiteY39" fmla="*/ 102413 h 1280160"/>
              <a:gd name="connsiteX40" fmla="*/ 819303 w 867253"/>
              <a:gd name="connsiteY40" fmla="*/ 29261 h 1280160"/>
              <a:gd name="connsiteX41" fmla="*/ 833933 w 867253"/>
              <a:gd name="connsiteY41" fmla="*/ 0 h 1280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867253" h="1280160">
                <a:moveTo>
                  <a:pt x="0" y="1280160"/>
                </a:moveTo>
                <a:cubicBezTo>
                  <a:pt x="3926" y="1260532"/>
                  <a:pt x="11341" y="1215602"/>
                  <a:pt x="21946" y="1199693"/>
                </a:cubicBezTo>
                <a:lnTo>
                  <a:pt x="36576" y="1177747"/>
                </a:lnTo>
                <a:cubicBezTo>
                  <a:pt x="39015" y="1167994"/>
                  <a:pt x="42093" y="1158378"/>
                  <a:pt x="43892" y="1148487"/>
                </a:cubicBezTo>
                <a:cubicBezTo>
                  <a:pt x="46977" y="1131523"/>
                  <a:pt x="46253" y="1113795"/>
                  <a:pt x="51207" y="1097280"/>
                </a:cubicBezTo>
                <a:cubicBezTo>
                  <a:pt x="53733" y="1088859"/>
                  <a:pt x="60960" y="1082650"/>
                  <a:pt x="65837" y="1075335"/>
                </a:cubicBezTo>
                <a:cubicBezTo>
                  <a:pt x="83647" y="1021905"/>
                  <a:pt x="76728" y="1046405"/>
                  <a:pt x="87783" y="1002183"/>
                </a:cubicBezTo>
                <a:cubicBezTo>
                  <a:pt x="82726" y="976896"/>
                  <a:pt x="73334" y="954318"/>
                  <a:pt x="87783" y="929031"/>
                </a:cubicBezTo>
                <a:cubicBezTo>
                  <a:pt x="92145" y="921398"/>
                  <a:pt x="102413" y="919277"/>
                  <a:pt x="109728" y="914400"/>
                </a:cubicBezTo>
                <a:cubicBezTo>
                  <a:pt x="128755" y="857320"/>
                  <a:pt x="132952" y="864278"/>
                  <a:pt x="117044" y="790042"/>
                </a:cubicBezTo>
                <a:cubicBezTo>
                  <a:pt x="115202" y="781445"/>
                  <a:pt x="107290" y="775411"/>
                  <a:pt x="102413" y="768096"/>
                </a:cubicBezTo>
                <a:cubicBezTo>
                  <a:pt x="104851" y="748589"/>
                  <a:pt x="104079" y="728405"/>
                  <a:pt x="109728" y="709575"/>
                </a:cubicBezTo>
                <a:cubicBezTo>
                  <a:pt x="111710" y="702969"/>
                  <a:pt x="120050" y="700330"/>
                  <a:pt x="124359" y="694944"/>
                </a:cubicBezTo>
                <a:cubicBezTo>
                  <a:pt x="129851" y="688079"/>
                  <a:pt x="134112" y="680314"/>
                  <a:pt x="138989" y="672999"/>
                </a:cubicBezTo>
                <a:cubicBezTo>
                  <a:pt x="141427" y="660807"/>
                  <a:pt x="141406" y="647851"/>
                  <a:pt x="146304" y="636423"/>
                </a:cubicBezTo>
                <a:cubicBezTo>
                  <a:pt x="149021" y="630084"/>
                  <a:pt x="156626" y="627178"/>
                  <a:pt x="160935" y="621792"/>
                </a:cubicBezTo>
                <a:cubicBezTo>
                  <a:pt x="166427" y="614927"/>
                  <a:pt x="170688" y="607162"/>
                  <a:pt x="175565" y="599847"/>
                </a:cubicBezTo>
                <a:cubicBezTo>
                  <a:pt x="192714" y="548397"/>
                  <a:pt x="173861" y="610067"/>
                  <a:pt x="190196" y="512064"/>
                </a:cubicBezTo>
                <a:cubicBezTo>
                  <a:pt x="191464" y="504458"/>
                  <a:pt x="195393" y="497533"/>
                  <a:pt x="197511" y="490119"/>
                </a:cubicBezTo>
                <a:cubicBezTo>
                  <a:pt x="215884" y="425813"/>
                  <a:pt x="194600" y="491537"/>
                  <a:pt x="212141" y="438912"/>
                </a:cubicBezTo>
                <a:cubicBezTo>
                  <a:pt x="209679" y="397060"/>
                  <a:pt x="196727" y="276867"/>
                  <a:pt x="212141" y="226771"/>
                </a:cubicBezTo>
                <a:cubicBezTo>
                  <a:pt x="214409" y="219401"/>
                  <a:pt x="226606" y="221326"/>
                  <a:pt x="234087" y="219456"/>
                </a:cubicBezTo>
                <a:cubicBezTo>
                  <a:pt x="246149" y="216441"/>
                  <a:pt x="258471" y="214579"/>
                  <a:pt x="270663" y="212141"/>
                </a:cubicBezTo>
                <a:cubicBezTo>
                  <a:pt x="278389" y="188962"/>
                  <a:pt x="276402" y="188508"/>
                  <a:pt x="292608" y="168250"/>
                </a:cubicBezTo>
                <a:cubicBezTo>
                  <a:pt x="296917" y="162864"/>
                  <a:pt x="302930" y="159005"/>
                  <a:pt x="307239" y="153619"/>
                </a:cubicBezTo>
                <a:cubicBezTo>
                  <a:pt x="312731" y="146754"/>
                  <a:pt x="315004" y="137166"/>
                  <a:pt x="321869" y="131674"/>
                </a:cubicBezTo>
                <a:cubicBezTo>
                  <a:pt x="327890" y="126857"/>
                  <a:pt x="336209" y="125627"/>
                  <a:pt x="343815" y="124359"/>
                </a:cubicBezTo>
                <a:cubicBezTo>
                  <a:pt x="365595" y="120729"/>
                  <a:pt x="387706" y="119482"/>
                  <a:pt x="409652" y="117043"/>
                </a:cubicBezTo>
                <a:cubicBezTo>
                  <a:pt x="412090" y="107290"/>
                  <a:pt x="412471" y="96775"/>
                  <a:pt x="416967" y="87783"/>
                </a:cubicBezTo>
                <a:cubicBezTo>
                  <a:pt x="432072" y="57572"/>
                  <a:pt x="463022" y="77080"/>
                  <a:pt x="490119" y="80467"/>
                </a:cubicBezTo>
                <a:cubicBezTo>
                  <a:pt x="499873" y="78029"/>
                  <a:pt x="509750" y="76041"/>
                  <a:pt x="519380" y="73152"/>
                </a:cubicBezTo>
                <a:cubicBezTo>
                  <a:pt x="534151" y="68721"/>
                  <a:pt x="563271" y="58522"/>
                  <a:pt x="563271" y="58522"/>
                </a:cubicBezTo>
                <a:cubicBezTo>
                  <a:pt x="570586" y="53645"/>
                  <a:pt x="576984" y="46978"/>
                  <a:pt x="585216" y="43891"/>
                </a:cubicBezTo>
                <a:cubicBezTo>
                  <a:pt x="596858" y="39525"/>
                  <a:pt x="609730" y="39591"/>
                  <a:pt x="621792" y="36576"/>
                </a:cubicBezTo>
                <a:cubicBezTo>
                  <a:pt x="629273" y="34706"/>
                  <a:pt x="636423" y="31699"/>
                  <a:pt x="643738" y="29261"/>
                </a:cubicBezTo>
                <a:cubicBezTo>
                  <a:pt x="655930" y="31699"/>
                  <a:pt x="671522" y="27784"/>
                  <a:pt x="680314" y="36576"/>
                </a:cubicBezTo>
                <a:cubicBezTo>
                  <a:pt x="691219" y="47481"/>
                  <a:pt x="690067" y="65837"/>
                  <a:pt x="694944" y="80467"/>
                </a:cubicBezTo>
                <a:cubicBezTo>
                  <a:pt x="697383" y="87782"/>
                  <a:pt x="694699" y="100901"/>
                  <a:pt x="702260" y="102413"/>
                </a:cubicBezTo>
                <a:lnTo>
                  <a:pt x="738836" y="109728"/>
                </a:lnTo>
                <a:lnTo>
                  <a:pt x="790042" y="102413"/>
                </a:lnTo>
                <a:cubicBezTo>
                  <a:pt x="867253" y="5898"/>
                  <a:pt x="752298" y="51595"/>
                  <a:pt x="819303" y="29261"/>
                </a:cubicBezTo>
                <a:cubicBezTo>
                  <a:pt x="835286" y="5286"/>
                  <a:pt x="833933" y="16107"/>
                  <a:pt x="833933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9" name="Freeform 88"/>
          <p:cNvSpPr/>
          <p:nvPr/>
        </p:nvSpPr>
        <p:spPr>
          <a:xfrm>
            <a:off x="1979888" y="201614"/>
            <a:ext cx="1155700" cy="301625"/>
          </a:xfrm>
          <a:custGeom>
            <a:avLst/>
            <a:gdLst>
              <a:gd name="connsiteX0" fmla="*/ 0 w 1155801"/>
              <a:gd name="connsiteY0" fmla="*/ 301454 h 301454"/>
              <a:gd name="connsiteX1" fmla="*/ 14630 w 1155801"/>
              <a:gd name="connsiteY1" fmla="*/ 279508 h 301454"/>
              <a:gd name="connsiteX2" fmla="*/ 36576 w 1155801"/>
              <a:gd name="connsiteY2" fmla="*/ 264878 h 301454"/>
              <a:gd name="connsiteX3" fmla="*/ 51206 w 1155801"/>
              <a:gd name="connsiteY3" fmla="*/ 220987 h 301454"/>
              <a:gd name="connsiteX4" fmla="*/ 58521 w 1155801"/>
              <a:gd name="connsiteY4" fmla="*/ 199041 h 301454"/>
              <a:gd name="connsiteX5" fmla="*/ 73152 w 1155801"/>
              <a:gd name="connsiteY5" fmla="*/ 184411 h 301454"/>
              <a:gd name="connsiteX6" fmla="*/ 182880 w 1155801"/>
              <a:gd name="connsiteY6" fmla="*/ 177096 h 301454"/>
              <a:gd name="connsiteX7" fmla="*/ 197510 w 1155801"/>
              <a:gd name="connsiteY7" fmla="*/ 162465 h 301454"/>
              <a:gd name="connsiteX8" fmla="*/ 212140 w 1155801"/>
              <a:gd name="connsiteY8" fmla="*/ 140520 h 301454"/>
              <a:gd name="connsiteX9" fmla="*/ 234086 w 1155801"/>
              <a:gd name="connsiteY9" fmla="*/ 133204 h 301454"/>
              <a:gd name="connsiteX10" fmla="*/ 424281 w 1155801"/>
              <a:gd name="connsiteY10" fmla="*/ 118574 h 301454"/>
              <a:gd name="connsiteX11" fmla="*/ 446227 w 1155801"/>
              <a:gd name="connsiteY11" fmla="*/ 103944 h 301454"/>
              <a:gd name="connsiteX12" fmla="*/ 468172 w 1155801"/>
              <a:gd name="connsiteY12" fmla="*/ 96628 h 301454"/>
              <a:gd name="connsiteX13" fmla="*/ 504748 w 1155801"/>
              <a:gd name="connsiteY13" fmla="*/ 74683 h 301454"/>
              <a:gd name="connsiteX14" fmla="*/ 599846 w 1155801"/>
              <a:gd name="connsiteY14" fmla="*/ 67368 h 301454"/>
              <a:gd name="connsiteX15" fmla="*/ 724204 w 1155801"/>
              <a:gd name="connsiteY15" fmla="*/ 60052 h 301454"/>
              <a:gd name="connsiteX16" fmla="*/ 760780 w 1155801"/>
              <a:gd name="connsiteY16" fmla="*/ 23476 h 301454"/>
              <a:gd name="connsiteX17" fmla="*/ 768096 w 1155801"/>
              <a:gd name="connsiteY17" fmla="*/ 1531 h 301454"/>
              <a:gd name="connsiteX18" fmla="*/ 870508 w 1155801"/>
              <a:gd name="connsiteY18" fmla="*/ 30792 h 301454"/>
              <a:gd name="connsiteX19" fmla="*/ 892454 w 1155801"/>
              <a:gd name="connsiteY19" fmla="*/ 38107 h 301454"/>
              <a:gd name="connsiteX20" fmla="*/ 1009497 w 1155801"/>
              <a:gd name="connsiteY20" fmla="*/ 45422 h 301454"/>
              <a:gd name="connsiteX21" fmla="*/ 1126540 w 1155801"/>
              <a:gd name="connsiteY21" fmla="*/ 23476 h 301454"/>
              <a:gd name="connsiteX22" fmla="*/ 1155801 w 1155801"/>
              <a:gd name="connsiteY22" fmla="*/ 8846 h 301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55801" h="301454">
                <a:moveTo>
                  <a:pt x="0" y="301454"/>
                </a:moveTo>
                <a:cubicBezTo>
                  <a:pt x="4877" y="294139"/>
                  <a:pt x="8413" y="285725"/>
                  <a:pt x="14630" y="279508"/>
                </a:cubicBezTo>
                <a:cubicBezTo>
                  <a:pt x="20847" y="273291"/>
                  <a:pt x="31916" y="272333"/>
                  <a:pt x="36576" y="264878"/>
                </a:cubicBezTo>
                <a:cubicBezTo>
                  <a:pt x="44750" y="251800"/>
                  <a:pt x="46329" y="235617"/>
                  <a:pt x="51206" y="220987"/>
                </a:cubicBezTo>
                <a:cubicBezTo>
                  <a:pt x="53644" y="213672"/>
                  <a:pt x="53068" y="204493"/>
                  <a:pt x="58521" y="199041"/>
                </a:cubicBezTo>
                <a:cubicBezTo>
                  <a:pt x="63398" y="194164"/>
                  <a:pt x="66360" y="185610"/>
                  <a:pt x="73152" y="184411"/>
                </a:cubicBezTo>
                <a:cubicBezTo>
                  <a:pt x="109251" y="178041"/>
                  <a:pt x="146304" y="179534"/>
                  <a:pt x="182880" y="177096"/>
                </a:cubicBezTo>
                <a:cubicBezTo>
                  <a:pt x="187757" y="172219"/>
                  <a:pt x="193202" y="167851"/>
                  <a:pt x="197510" y="162465"/>
                </a:cubicBezTo>
                <a:cubicBezTo>
                  <a:pt x="203002" y="155600"/>
                  <a:pt x="205275" y="146012"/>
                  <a:pt x="212140" y="140520"/>
                </a:cubicBezTo>
                <a:cubicBezTo>
                  <a:pt x="218161" y="135703"/>
                  <a:pt x="226416" y="133997"/>
                  <a:pt x="234086" y="133204"/>
                </a:cubicBezTo>
                <a:cubicBezTo>
                  <a:pt x="297334" y="126661"/>
                  <a:pt x="360883" y="123451"/>
                  <a:pt x="424281" y="118574"/>
                </a:cubicBezTo>
                <a:cubicBezTo>
                  <a:pt x="431596" y="113697"/>
                  <a:pt x="438363" y="107876"/>
                  <a:pt x="446227" y="103944"/>
                </a:cubicBezTo>
                <a:cubicBezTo>
                  <a:pt x="453124" y="100496"/>
                  <a:pt x="461560" y="100595"/>
                  <a:pt x="468172" y="96628"/>
                </a:cubicBezTo>
                <a:cubicBezTo>
                  <a:pt x="493988" y="81138"/>
                  <a:pt x="469851" y="79045"/>
                  <a:pt x="504748" y="74683"/>
                </a:cubicBezTo>
                <a:cubicBezTo>
                  <a:pt x="536295" y="70740"/>
                  <a:pt x="568147" y="69806"/>
                  <a:pt x="599846" y="67368"/>
                </a:cubicBezTo>
                <a:cubicBezTo>
                  <a:pt x="647629" y="73341"/>
                  <a:pt x="676966" y="83671"/>
                  <a:pt x="724204" y="60052"/>
                </a:cubicBezTo>
                <a:cubicBezTo>
                  <a:pt x="739626" y="52341"/>
                  <a:pt x="760780" y="23476"/>
                  <a:pt x="760780" y="23476"/>
                </a:cubicBezTo>
                <a:cubicBezTo>
                  <a:pt x="763219" y="16161"/>
                  <a:pt x="760432" y="2382"/>
                  <a:pt x="768096" y="1531"/>
                </a:cubicBezTo>
                <a:cubicBezTo>
                  <a:pt x="781877" y="0"/>
                  <a:pt x="853331" y="25066"/>
                  <a:pt x="870508" y="30792"/>
                </a:cubicBezTo>
                <a:cubicBezTo>
                  <a:pt x="877823" y="33230"/>
                  <a:pt x="884758" y="37626"/>
                  <a:pt x="892454" y="38107"/>
                </a:cubicBezTo>
                <a:lnTo>
                  <a:pt x="1009497" y="45422"/>
                </a:lnTo>
                <a:cubicBezTo>
                  <a:pt x="1097999" y="36572"/>
                  <a:pt x="1059398" y="45857"/>
                  <a:pt x="1126540" y="23476"/>
                </a:cubicBezTo>
                <a:cubicBezTo>
                  <a:pt x="1151758" y="15070"/>
                  <a:pt x="1143033" y="21614"/>
                  <a:pt x="1155801" y="8846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0" name="Freeform 89"/>
          <p:cNvSpPr/>
          <p:nvPr/>
        </p:nvSpPr>
        <p:spPr>
          <a:xfrm>
            <a:off x="2046565" y="-100012"/>
            <a:ext cx="1082675" cy="309563"/>
          </a:xfrm>
          <a:custGeom>
            <a:avLst/>
            <a:gdLst>
              <a:gd name="connsiteX0" fmla="*/ 0 w 1082650"/>
              <a:gd name="connsiteY0" fmla="*/ 309863 h 309863"/>
              <a:gd name="connsiteX1" fmla="*/ 95098 w 1082650"/>
              <a:gd name="connsiteY1" fmla="*/ 287917 h 309863"/>
              <a:gd name="connsiteX2" fmla="*/ 117044 w 1082650"/>
              <a:gd name="connsiteY2" fmla="*/ 280602 h 309863"/>
              <a:gd name="connsiteX3" fmla="*/ 138989 w 1082650"/>
              <a:gd name="connsiteY3" fmla="*/ 265972 h 309863"/>
              <a:gd name="connsiteX4" fmla="*/ 160935 w 1082650"/>
              <a:gd name="connsiteY4" fmla="*/ 258657 h 309863"/>
              <a:gd name="connsiteX5" fmla="*/ 299924 w 1082650"/>
              <a:gd name="connsiteY5" fmla="*/ 251341 h 309863"/>
              <a:gd name="connsiteX6" fmla="*/ 321869 w 1082650"/>
              <a:gd name="connsiteY6" fmla="*/ 244026 h 309863"/>
              <a:gd name="connsiteX7" fmla="*/ 431597 w 1082650"/>
              <a:gd name="connsiteY7" fmla="*/ 236711 h 309863"/>
              <a:gd name="connsiteX8" fmla="*/ 460858 w 1082650"/>
              <a:gd name="connsiteY8" fmla="*/ 207450 h 309863"/>
              <a:gd name="connsiteX9" fmla="*/ 482804 w 1082650"/>
              <a:gd name="connsiteY9" fmla="*/ 192820 h 309863"/>
              <a:gd name="connsiteX10" fmla="*/ 526695 w 1082650"/>
              <a:gd name="connsiteY10" fmla="*/ 178189 h 309863"/>
              <a:gd name="connsiteX11" fmla="*/ 534010 w 1082650"/>
              <a:gd name="connsiteY11" fmla="*/ 156244 h 309863"/>
              <a:gd name="connsiteX12" fmla="*/ 541325 w 1082650"/>
              <a:gd name="connsiteY12" fmla="*/ 119668 h 309863"/>
              <a:gd name="connsiteX13" fmla="*/ 563271 w 1082650"/>
              <a:gd name="connsiteY13" fmla="*/ 112353 h 309863"/>
              <a:gd name="connsiteX14" fmla="*/ 629108 w 1082650"/>
              <a:gd name="connsiteY14" fmla="*/ 119668 h 309863"/>
              <a:gd name="connsiteX15" fmla="*/ 651053 w 1082650"/>
              <a:gd name="connsiteY15" fmla="*/ 126983 h 309863"/>
              <a:gd name="connsiteX16" fmla="*/ 702260 w 1082650"/>
              <a:gd name="connsiteY16" fmla="*/ 119668 h 309863"/>
              <a:gd name="connsiteX17" fmla="*/ 709575 w 1082650"/>
              <a:gd name="connsiteY17" fmla="*/ 97722 h 309863"/>
              <a:gd name="connsiteX18" fmla="*/ 694944 w 1082650"/>
              <a:gd name="connsiteY18" fmla="*/ 46516 h 309863"/>
              <a:gd name="connsiteX19" fmla="*/ 680314 w 1082650"/>
              <a:gd name="connsiteY19" fmla="*/ 31885 h 309863"/>
              <a:gd name="connsiteX20" fmla="*/ 694944 w 1082650"/>
              <a:gd name="connsiteY20" fmla="*/ 9940 h 309863"/>
              <a:gd name="connsiteX21" fmla="*/ 775412 w 1082650"/>
              <a:gd name="connsiteY21" fmla="*/ 31885 h 309863"/>
              <a:gd name="connsiteX22" fmla="*/ 797357 w 1082650"/>
              <a:gd name="connsiteY22" fmla="*/ 75777 h 309863"/>
              <a:gd name="connsiteX23" fmla="*/ 833933 w 1082650"/>
              <a:gd name="connsiteY23" fmla="*/ 83092 h 309863"/>
              <a:gd name="connsiteX24" fmla="*/ 863194 w 1082650"/>
              <a:gd name="connsiteY24" fmla="*/ 112353 h 309863"/>
              <a:gd name="connsiteX25" fmla="*/ 877824 w 1082650"/>
              <a:gd name="connsiteY25" fmla="*/ 134298 h 309863"/>
              <a:gd name="connsiteX26" fmla="*/ 899770 w 1082650"/>
              <a:gd name="connsiteY26" fmla="*/ 148929 h 309863"/>
              <a:gd name="connsiteX27" fmla="*/ 980237 w 1082650"/>
              <a:gd name="connsiteY27" fmla="*/ 156244 h 309863"/>
              <a:gd name="connsiteX28" fmla="*/ 1038759 w 1082650"/>
              <a:gd name="connsiteY28" fmla="*/ 148929 h 309863"/>
              <a:gd name="connsiteX29" fmla="*/ 1060704 w 1082650"/>
              <a:gd name="connsiteY29" fmla="*/ 141613 h 309863"/>
              <a:gd name="connsiteX30" fmla="*/ 1082650 w 1082650"/>
              <a:gd name="connsiteY30" fmla="*/ 148929 h 309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082650" h="309863">
                <a:moveTo>
                  <a:pt x="0" y="309863"/>
                </a:moveTo>
                <a:cubicBezTo>
                  <a:pt x="29021" y="304059"/>
                  <a:pt x="68620" y="296743"/>
                  <a:pt x="95098" y="287917"/>
                </a:cubicBezTo>
                <a:lnTo>
                  <a:pt x="117044" y="280602"/>
                </a:lnTo>
                <a:cubicBezTo>
                  <a:pt x="124359" y="275725"/>
                  <a:pt x="131126" y="269904"/>
                  <a:pt x="138989" y="265972"/>
                </a:cubicBezTo>
                <a:cubicBezTo>
                  <a:pt x="145886" y="262524"/>
                  <a:pt x="153256" y="259355"/>
                  <a:pt x="160935" y="258657"/>
                </a:cubicBezTo>
                <a:cubicBezTo>
                  <a:pt x="207138" y="254457"/>
                  <a:pt x="253594" y="253780"/>
                  <a:pt x="299924" y="251341"/>
                </a:cubicBezTo>
                <a:cubicBezTo>
                  <a:pt x="307239" y="248903"/>
                  <a:pt x="314205" y="244877"/>
                  <a:pt x="321869" y="244026"/>
                </a:cubicBezTo>
                <a:cubicBezTo>
                  <a:pt x="358302" y="239978"/>
                  <a:pt x="396147" y="246040"/>
                  <a:pt x="431597" y="236711"/>
                </a:cubicBezTo>
                <a:cubicBezTo>
                  <a:pt x="444937" y="233201"/>
                  <a:pt x="449381" y="215101"/>
                  <a:pt x="460858" y="207450"/>
                </a:cubicBezTo>
                <a:cubicBezTo>
                  <a:pt x="468173" y="202573"/>
                  <a:pt x="474770" y="196391"/>
                  <a:pt x="482804" y="192820"/>
                </a:cubicBezTo>
                <a:cubicBezTo>
                  <a:pt x="496897" y="186557"/>
                  <a:pt x="526695" y="178189"/>
                  <a:pt x="526695" y="178189"/>
                </a:cubicBezTo>
                <a:cubicBezTo>
                  <a:pt x="529133" y="170874"/>
                  <a:pt x="532140" y="163724"/>
                  <a:pt x="534010" y="156244"/>
                </a:cubicBezTo>
                <a:cubicBezTo>
                  <a:pt x="537026" y="144182"/>
                  <a:pt x="534428" y="130013"/>
                  <a:pt x="541325" y="119668"/>
                </a:cubicBezTo>
                <a:cubicBezTo>
                  <a:pt x="545602" y="113252"/>
                  <a:pt x="555956" y="114791"/>
                  <a:pt x="563271" y="112353"/>
                </a:cubicBezTo>
                <a:cubicBezTo>
                  <a:pt x="585217" y="114791"/>
                  <a:pt x="607328" y="116038"/>
                  <a:pt x="629108" y="119668"/>
                </a:cubicBezTo>
                <a:cubicBezTo>
                  <a:pt x="636714" y="120936"/>
                  <a:pt x="643342" y="126983"/>
                  <a:pt x="651053" y="126983"/>
                </a:cubicBezTo>
                <a:cubicBezTo>
                  <a:pt x="668295" y="126983"/>
                  <a:pt x="685191" y="122106"/>
                  <a:pt x="702260" y="119668"/>
                </a:cubicBezTo>
                <a:cubicBezTo>
                  <a:pt x="704698" y="112353"/>
                  <a:pt x="709575" y="105433"/>
                  <a:pt x="709575" y="97722"/>
                </a:cubicBezTo>
                <a:cubicBezTo>
                  <a:pt x="709575" y="94530"/>
                  <a:pt x="698395" y="52268"/>
                  <a:pt x="694944" y="46516"/>
                </a:cubicBezTo>
                <a:cubicBezTo>
                  <a:pt x="691396" y="40602"/>
                  <a:pt x="685191" y="36762"/>
                  <a:pt x="680314" y="31885"/>
                </a:cubicBezTo>
                <a:cubicBezTo>
                  <a:pt x="685191" y="24570"/>
                  <a:pt x="686294" y="11513"/>
                  <a:pt x="694944" y="9940"/>
                </a:cubicBezTo>
                <a:cubicBezTo>
                  <a:pt x="749617" y="0"/>
                  <a:pt x="750795" y="7270"/>
                  <a:pt x="775412" y="31885"/>
                </a:cubicBezTo>
                <a:cubicBezTo>
                  <a:pt x="779167" y="43149"/>
                  <a:pt x="785679" y="69104"/>
                  <a:pt x="797357" y="75777"/>
                </a:cubicBezTo>
                <a:cubicBezTo>
                  <a:pt x="808152" y="81946"/>
                  <a:pt x="821741" y="80654"/>
                  <a:pt x="833933" y="83092"/>
                </a:cubicBezTo>
                <a:cubicBezTo>
                  <a:pt x="843687" y="92846"/>
                  <a:pt x="855543" y="100876"/>
                  <a:pt x="863194" y="112353"/>
                </a:cubicBezTo>
                <a:cubicBezTo>
                  <a:pt x="868071" y="119668"/>
                  <a:pt x="871607" y="128081"/>
                  <a:pt x="877824" y="134298"/>
                </a:cubicBezTo>
                <a:cubicBezTo>
                  <a:pt x="884041" y="140515"/>
                  <a:pt x="891173" y="147087"/>
                  <a:pt x="899770" y="148929"/>
                </a:cubicBezTo>
                <a:cubicBezTo>
                  <a:pt x="926105" y="154572"/>
                  <a:pt x="953415" y="153806"/>
                  <a:pt x="980237" y="156244"/>
                </a:cubicBezTo>
                <a:cubicBezTo>
                  <a:pt x="999744" y="153806"/>
                  <a:pt x="1019417" y="152446"/>
                  <a:pt x="1038759" y="148929"/>
                </a:cubicBezTo>
                <a:cubicBezTo>
                  <a:pt x="1046345" y="147550"/>
                  <a:pt x="1052993" y="141613"/>
                  <a:pt x="1060704" y="141613"/>
                </a:cubicBezTo>
                <a:cubicBezTo>
                  <a:pt x="1068415" y="141613"/>
                  <a:pt x="1082650" y="148929"/>
                  <a:pt x="1082650" y="14892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1" name="Rectangle 3"/>
          <p:cNvSpPr>
            <a:spLocks noChangeArrowheads="1"/>
          </p:cNvSpPr>
          <p:nvPr/>
        </p:nvSpPr>
        <p:spPr bwMode="auto">
          <a:xfrm rot="16822743">
            <a:off x="505897" y="1361252"/>
            <a:ext cx="1290639" cy="40011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2000">
                <a:solidFill>
                  <a:srgbClr val="009900"/>
                </a:solidFill>
                <a:latin typeface="Ponnala" pitchFamily="2" charset="0"/>
                <a:cs typeface="Ponnala" pitchFamily="2" charset="0"/>
              </a:rPr>
              <a:t>సింధూ నది</a:t>
            </a:r>
            <a:endParaRPr lang="en-US" sz="6000">
              <a:solidFill>
                <a:srgbClr val="009900"/>
              </a:solidFill>
              <a:latin typeface="Ponnala" pitchFamily="2" charset="0"/>
              <a:cs typeface="Ponnala" pitchFamily="2" charset="0"/>
            </a:endParaRPr>
          </a:p>
        </p:txBody>
      </p:sp>
      <p:sp>
        <p:nvSpPr>
          <p:cNvPr id="92" name="Rectangle 7"/>
          <p:cNvSpPr>
            <a:spLocks noChangeArrowheads="1"/>
          </p:cNvSpPr>
          <p:nvPr/>
        </p:nvSpPr>
        <p:spPr bwMode="auto">
          <a:xfrm rot="2368973">
            <a:off x="2935567" y="-314841"/>
            <a:ext cx="969963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జీలం</a:t>
            </a:r>
          </a:p>
        </p:txBody>
      </p:sp>
      <p:sp>
        <p:nvSpPr>
          <p:cNvPr id="93" name="Rectangle 8"/>
          <p:cNvSpPr>
            <a:spLocks noChangeArrowheads="1"/>
          </p:cNvSpPr>
          <p:nvPr/>
        </p:nvSpPr>
        <p:spPr bwMode="auto">
          <a:xfrm rot="16805234">
            <a:off x="1653660" y="-418820"/>
            <a:ext cx="823913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ీనాబ్</a:t>
            </a:r>
          </a:p>
        </p:txBody>
      </p:sp>
      <p:sp>
        <p:nvSpPr>
          <p:cNvPr id="94" name="Rectangle 9"/>
          <p:cNvSpPr>
            <a:spLocks noChangeArrowheads="1"/>
          </p:cNvSpPr>
          <p:nvPr/>
        </p:nvSpPr>
        <p:spPr bwMode="auto">
          <a:xfrm>
            <a:off x="2165626" y="-312739"/>
            <a:ext cx="868362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>
                <a:solidFill>
                  <a:srgbClr val="FF00FF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వి</a:t>
            </a:r>
          </a:p>
        </p:txBody>
      </p:sp>
      <p:sp>
        <p:nvSpPr>
          <p:cNvPr id="95" name="Rectangle 10"/>
          <p:cNvSpPr>
            <a:spLocks noChangeArrowheads="1"/>
          </p:cNvSpPr>
          <p:nvPr/>
        </p:nvSpPr>
        <p:spPr bwMode="auto">
          <a:xfrm rot="216591">
            <a:off x="2622826" y="12736"/>
            <a:ext cx="996950" cy="353943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7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ియాస్</a:t>
            </a:r>
          </a:p>
        </p:txBody>
      </p:sp>
      <p:sp>
        <p:nvSpPr>
          <p:cNvPr id="96" name="Rectangle 11"/>
          <p:cNvSpPr>
            <a:spLocks noChangeArrowheads="1"/>
          </p:cNvSpPr>
          <p:nvPr/>
        </p:nvSpPr>
        <p:spPr bwMode="auto">
          <a:xfrm rot="19645790">
            <a:off x="1935438" y="349528"/>
            <a:ext cx="730250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>
                <a:solidFill>
                  <a:srgbClr val="32BADA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ట్లెజ్</a:t>
            </a:r>
          </a:p>
        </p:txBody>
      </p:sp>
      <p:sp>
        <p:nvSpPr>
          <p:cNvPr id="97" name="Freeform 96"/>
          <p:cNvSpPr/>
          <p:nvPr/>
        </p:nvSpPr>
        <p:spPr>
          <a:xfrm>
            <a:off x="1700492" y="-601663"/>
            <a:ext cx="733425" cy="1482725"/>
          </a:xfrm>
          <a:custGeom>
            <a:avLst/>
            <a:gdLst>
              <a:gd name="connsiteX0" fmla="*/ 733425 w 733425"/>
              <a:gd name="connsiteY0" fmla="*/ 1970 h 1483629"/>
              <a:gd name="connsiteX1" fmla="*/ 523875 w 733425"/>
              <a:gd name="connsiteY1" fmla="*/ 11495 h 1483629"/>
              <a:gd name="connsiteX2" fmla="*/ 504825 w 733425"/>
              <a:gd name="connsiteY2" fmla="*/ 40070 h 1483629"/>
              <a:gd name="connsiteX3" fmla="*/ 466725 w 733425"/>
              <a:gd name="connsiteY3" fmla="*/ 97220 h 1483629"/>
              <a:gd name="connsiteX4" fmla="*/ 409575 w 733425"/>
              <a:gd name="connsiteY4" fmla="*/ 106745 h 1483629"/>
              <a:gd name="connsiteX5" fmla="*/ 238125 w 733425"/>
              <a:gd name="connsiteY5" fmla="*/ 116270 h 1483629"/>
              <a:gd name="connsiteX6" fmla="*/ 209550 w 733425"/>
              <a:gd name="connsiteY6" fmla="*/ 125795 h 1483629"/>
              <a:gd name="connsiteX7" fmla="*/ 200025 w 733425"/>
              <a:gd name="connsiteY7" fmla="*/ 163895 h 1483629"/>
              <a:gd name="connsiteX8" fmla="*/ 180975 w 733425"/>
              <a:gd name="connsiteY8" fmla="*/ 221045 h 1483629"/>
              <a:gd name="connsiteX9" fmla="*/ 171450 w 733425"/>
              <a:gd name="connsiteY9" fmla="*/ 249620 h 1483629"/>
              <a:gd name="connsiteX10" fmla="*/ 104775 w 733425"/>
              <a:gd name="connsiteY10" fmla="*/ 278195 h 1483629"/>
              <a:gd name="connsiteX11" fmla="*/ 66675 w 733425"/>
              <a:gd name="connsiteY11" fmla="*/ 325820 h 1483629"/>
              <a:gd name="connsiteX12" fmla="*/ 28575 w 733425"/>
              <a:gd name="connsiteY12" fmla="*/ 382970 h 1483629"/>
              <a:gd name="connsiteX13" fmla="*/ 28575 w 733425"/>
              <a:gd name="connsiteY13" fmla="*/ 478220 h 1483629"/>
              <a:gd name="connsiteX14" fmla="*/ 47625 w 733425"/>
              <a:gd name="connsiteY14" fmla="*/ 506795 h 1483629"/>
              <a:gd name="connsiteX15" fmla="*/ 66675 w 733425"/>
              <a:gd name="connsiteY15" fmla="*/ 563945 h 1483629"/>
              <a:gd name="connsiteX16" fmla="*/ 76200 w 733425"/>
              <a:gd name="connsiteY16" fmla="*/ 678245 h 1483629"/>
              <a:gd name="connsiteX17" fmla="*/ 85725 w 733425"/>
              <a:gd name="connsiteY17" fmla="*/ 706820 h 1483629"/>
              <a:gd name="connsiteX18" fmla="*/ 57150 w 733425"/>
              <a:gd name="connsiteY18" fmla="*/ 811595 h 1483629"/>
              <a:gd name="connsiteX19" fmla="*/ 47625 w 733425"/>
              <a:gd name="connsiteY19" fmla="*/ 859220 h 1483629"/>
              <a:gd name="connsiteX20" fmla="*/ 57150 w 733425"/>
              <a:gd name="connsiteY20" fmla="*/ 1059245 h 1483629"/>
              <a:gd name="connsiteX21" fmla="*/ 66675 w 733425"/>
              <a:gd name="connsiteY21" fmla="*/ 1087820 h 1483629"/>
              <a:gd name="connsiteX22" fmla="*/ 95250 w 733425"/>
              <a:gd name="connsiteY22" fmla="*/ 1202120 h 1483629"/>
              <a:gd name="connsiteX23" fmla="*/ 104775 w 733425"/>
              <a:gd name="connsiteY23" fmla="*/ 1230695 h 1483629"/>
              <a:gd name="connsiteX24" fmla="*/ 85725 w 733425"/>
              <a:gd name="connsiteY24" fmla="*/ 1364045 h 1483629"/>
              <a:gd name="connsiteX25" fmla="*/ 66675 w 733425"/>
              <a:gd name="connsiteY25" fmla="*/ 1392620 h 1483629"/>
              <a:gd name="connsiteX26" fmla="*/ 57150 w 733425"/>
              <a:gd name="connsiteY26" fmla="*/ 1421195 h 1483629"/>
              <a:gd name="connsiteX27" fmla="*/ 0 w 733425"/>
              <a:gd name="connsiteY27" fmla="*/ 1478345 h 1483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33425" h="1483629">
                <a:moveTo>
                  <a:pt x="733425" y="1970"/>
                </a:moveTo>
                <a:cubicBezTo>
                  <a:pt x="663575" y="5145"/>
                  <a:pt x="592846" y="0"/>
                  <a:pt x="523875" y="11495"/>
                </a:cubicBezTo>
                <a:cubicBezTo>
                  <a:pt x="512583" y="13377"/>
                  <a:pt x="509334" y="29548"/>
                  <a:pt x="504825" y="40070"/>
                </a:cubicBezTo>
                <a:cubicBezTo>
                  <a:pt x="489794" y="75141"/>
                  <a:pt x="508579" y="83269"/>
                  <a:pt x="466725" y="97220"/>
                </a:cubicBezTo>
                <a:cubicBezTo>
                  <a:pt x="448403" y="103327"/>
                  <a:pt x="428821" y="105141"/>
                  <a:pt x="409575" y="106745"/>
                </a:cubicBezTo>
                <a:cubicBezTo>
                  <a:pt x="352535" y="111498"/>
                  <a:pt x="295275" y="113095"/>
                  <a:pt x="238125" y="116270"/>
                </a:cubicBezTo>
                <a:cubicBezTo>
                  <a:pt x="228600" y="119445"/>
                  <a:pt x="215822" y="117955"/>
                  <a:pt x="209550" y="125795"/>
                </a:cubicBezTo>
                <a:cubicBezTo>
                  <a:pt x="201372" y="136017"/>
                  <a:pt x="203787" y="151356"/>
                  <a:pt x="200025" y="163895"/>
                </a:cubicBezTo>
                <a:cubicBezTo>
                  <a:pt x="194255" y="183129"/>
                  <a:pt x="187325" y="201995"/>
                  <a:pt x="180975" y="221045"/>
                </a:cubicBezTo>
                <a:cubicBezTo>
                  <a:pt x="177800" y="230570"/>
                  <a:pt x="179804" y="244051"/>
                  <a:pt x="171450" y="249620"/>
                </a:cubicBezTo>
                <a:cubicBezTo>
                  <a:pt x="131983" y="275932"/>
                  <a:pt x="153981" y="265894"/>
                  <a:pt x="104775" y="278195"/>
                </a:cubicBezTo>
                <a:cubicBezTo>
                  <a:pt x="51977" y="313394"/>
                  <a:pt x="93738" y="277106"/>
                  <a:pt x="66675" y="325820"/>
                </a:cubicBezTo>
                <a:cubicBezTo>
                  <a:pt x="55556" y="345834"/>
                  <a:pt x="28575" y="382970"/>
                  <a:pt x="28575" y="382970"/>
                </a:cubicBezTo>
                <a:cubicBezTo>
                  <a:pt x="19740" y="427144"/>
                  <a:pt x="12010" y="434046"/>
                  <a:pt x="28575" y="478220"/>
                </a:cubicBezTo>
                <a:cubicBezTo>
                  <a:pt x="32595" y="488939"/>
                  <a:pt x="42976" y="496334"/>
                  <a:pt x="47625" y="506795"/>
                </a:cubicBezTo>
                <a:cubicBezTo>
                  <a:pt x="55780" y="525145"/>
                  <a:pt x="66675" y="563945"/>
                  <a:pt x="66675" y="563945"/>
                </a:cubicBezTo>
                <a:cubicBezTo>
                  <a:pt x="69850" y="602045"/>
                  <a:pt x="71147" y="640348"/>
                  <a:pt x="76200" y="678245"/>
                </a:cubicBezTo>
                <a:cubicBezTo>
                  <a:pt x="77527" y="688197"/>
                  <a:pt x="85725" y="696780"/>
                  <a:pt x="85725" y="706820"/>
                </a:cubicBezTo>
                <a:cubicBezTo>
                  <a:pt x="85725" y="745792"/>
                  <a:pt x="64621" y="774242"/>
                  <a:pt x="57150" y="811595"/>
                </a:cubicBezTo>
                <a:lnTo>
                  <a:pt x="47625" y="859220"/>
                </a:lnTo>
                <a:cubicBezTo>
                  <a:pt x="50800" y="925895"/>
                  <a:pt x="51607" y="992725"/>
                  <a:pt x="57150" y="1059245"/>
                </a:cubicBezTo>
                <a:cubicBezTo>
                  <a:pt x="57984" y="1069251"/>
                  <a:pt x="64497" y="1078019"/>
                  <a:pt x="66675" y="1087820"/>
                </a:cubicBezTo>
                <a:cubicBezTo>
                  <a:pt x="92327" y="1203256"/>
                  <a:pt x="56757" y="1086640"/>
                  <a:pt x="95250" y="1202120"/>
                </a:cubicBezTo>
                <a:lnTo>
                  <a:pt x="104775" y="1230695"/>
                </a:lnTo>
                <a:cubicBezTo>
                  <a:pt x="103095" y="1247493"/>
                  <a:pt x="99236" y="1332520"/>
                  <a:pt x="85725" y="1364045"/>
                </a:cubicBezTo>
                <a:cubicBezTo>
                  <a:pt x="81216" y="1374567"/>
                  <a:pt x="71795" y="1382381"/>
                  <a:pt x="66675" y="1392620"/>
                </a:cubicBezTo>
                <a:cubicBezTo>
                  <a:pt x="62185" y="1401600"/>
                  <a:pt x="62026" y="1412418"/>
                  <a:pt x="57150" y="1421195"/>
                </a:cubicBezTo>
                <a:cubicBezTo>
                  <a:pt x="22465" y="1483629"/>
                  <a:pt x="40021" y="1478345"/>
                  <a:pt x="0" y="147834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" name="Freeform 97"/>
          <p:cNvSpPr/>
          <p:nvPr/>
        </p:nvSpPr>
        <p:spPr>
          <a:xfrm>
            <a:off x="1033738" y="866778"/>
            <a:ext cx="704850" cy="1495425"/>
          </a:xfrm>
          <a:custGeom>
            <a:avLst/>
            <a:gdLst>
              <a:gd name="connsiteX0" fmla="*/ 704850 w 704850"/>
              <a:gd name="connsiteY0" fmla="*/ 0 h 1495425"/>
              <a:gd name="connsiteX1" fmla="*/ 676275 w 704850"/>
              <a:gd name="connsiteY1" fmla="*/ 9525 h 1495425"/>
              <a:gd name="connsiteX2" fmla="*/ 666750 w 704850"/>
              <a:gd name="connsiteY2" fmla="*/ 38100 h 1495425"/>
              <a:gd name="connsiteX3" fmla="*/ 628650 w 704850"/>
              <a:gd name="connsiteY3" fmla="*/ 95250 h 1495425"/>
              <a:gd name="connsiteX4" fmla="*/ 619125 w 704850"/>
              <a:gd name="connsiteY4" fmla="*/ 123825 h 1495425"/>
              <a:gd name="connsiteX5" fmla="*/ 571500 w 704850"/>
              <a:gd name="connsiteY5" fmla="*/ 171450 h 1495425"/>
              <a:gd name="connsiteX6" fmla="*/ 542925 w 704850"/>
              <a:gd name="connsiteY6" fmla="*/ 200025 h 1495425"/>
              <a:gd name="connsiteX7" fmla="*/ 504825 w 704850"/>
              <a:gd name="connsiteY7" fmla="*/ 219075 h 1495425"/>
              <a:gd name="connsiteX8" fmla="*/ 447675 w 704850"/>
              <a:gd name="connsiteY8" fmla="*/ 257175 h 1495425"/>
              <a:gd name="connsiteX9" fmla="*/ 419100 w 704850"/>
              <a:gd name="connsiteY9" fmla="*/ 285750 h 1495425"/>
              <a:gd name="connsiteX10" fmla="*/ 400050 w 704850"/>
              <a:gd name="connsiteY10" fmla="*/ 314325 h 1495425"/>
              <a:gd name="connsiteX11" fmla="*/ 304800 w 704850"/>
              <a:gd name="connsiteY11" fmla="*/ 371475 h 1495425"/>
              <a:gd name="connsiteX12" fmla="*/ 285750 w 704850"/>
              <a:gd name="connsiteY12" fmla="*/ 428625 h 1495425"/>
              <a:gd name="connsiteX13" fmla="*/ 276225 w 704850"/>
              <a:gd name="connsiteY13" fmla="*/ 485775 h 1495425"/>
              <a:gd name="connsiteX14" fmla="*/ 266700 w 704850"/>
              <a:gd name="connsiteY14" fmla="*/ 514350 h 1495425"/>
              <a:gd name="connsiteX15" fmla="*/ 257175 w 704850"/>
              <a:gd name="connsiteY15" fmla="*/ 561975 h 1495425"/>
              <a:gd name="connsiteX16" fmla="*/ 238125 w 704850"/>
              <a:gd name="connsiteY16" fmla="*/ 628650 h 1495425"/>
              <a:gd name="connsiteX17" fmla="*/ 228600 w 704850"/>
              <a:gd name="connsiteY17" fmla="*/ 800100 h 1495425"/>
              <a:gd name="connsiteX18" fmla="*/ 190500 w 704850"/>
              <a:gd name="connsiteY18" fmla="*/ 857250 h 1495425"/>
              <a:gd name="connsiteX19" fmla="*/ 171450 w 704850"/>
              <a:gd name="connsiteY19" fmla="*/ 914400 h 1495425"/>
              <a:gd name="connsiteX20" fmla="*/ 200025 w 704850"/>
              <a:gd name="connsiteY20" fmla="*/ 1009650 h 1495425"/>
              <a:gd name="connsiteX21" fmla="*/ 209550 w 704850"/>
              <a:gd name="connsiteY21" fmla="*/ 1038225 h 1495425"/>
              <a:gd name="connsiteX22" fmla="*/ 219075 w 704850"/>
              <a:gd name="connsiteY22" fmla="*/ 1066800 h 1495425"/>
              <a:gd name="connsiteX23" fmla="*/ 190500 w 704850"/>
              <a:gd name="connsiteY23" fmla="*/ 1162050 h 1495425"/>
              <a:gd name="connsiteX24" fmla="*/ 180975 w 704850"/>
              <a:gd name="connsiteY24" fmla="*/ 1190625 h 1495425"/>
              <a:gd name="connsiteX25" fmla="*/ 171450 w 704850"/>
              <a:gd name="connsiteY25" fmla="*/ 1238250 h 1495425"/>
              <a:gd name="connsiteX26" fmla="*/ 114300 w 704850"/>
              <a:gd name="connsiteY26" fmla="*/ 1276350 h 1495425"/>
              <a:gd name="connsiteX27" fmla="*/ 95250 w 704850"/>
              <a:gd name="connsiteY27" fmla="*/ 1304925 h 1495425"/>
              <a:gd name="connsiteX28" fmla="*/ 76200 w 704850"/>
              <a:gd name="connsiteY28" fmla="*/ 1362075 h 1495425"/>
              <a:gd name="connsiteX29" fmla="*/ 57150 w 704850"/>
              <a:gd name="connsiteY29" fmla="*/ 1390650 h 1495425"/>
              <a:gd name="connsiteX30" fmla="*/ 47625 w 704850"/>
              <a:gd name="connsiteY30" fmla="*/ 1419225 h 1495425"/>
              <a:gd name="connsiteX31" fmla="*/ 9525 w 704850"/>
              <a:gd name="connsiteY31" fmla="*/ 1476375 h 1495425"/>
              <a:gd name="connsiteX32" fmla="*/ 0 w 704850"/>
              <a:gd name="connsiteY32" fmla="*/ 1495425 h 149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04850" h="1495425">
                <a:moveTo>
                  <a:pt x="704850" y="0"/>
                </a:moveTo>
                <a:cubicBezTo>
                  <a:pt x="695325" y="3175"/>
                  <a:pt x="683375" y="2425"/>
                  <a:pt x="676275" y="9525"/>
                </a:cubicBezTo>
                <a:cubicBezTo>
                  <a:pt x="669175" y="16625"/>
                  <a:pt x="671626" y="29323"/>
                  <a:pt x="666750" y="38100"/>
                </a:cubicBezTo>
                <a:cubicBezTo>
                  <a:pt x="655631" y="58114"/>
                  <a:pt x="635890" y="73530"/>
                  <a:pt x="628650" y="95250"/>
                </a:cubicBezTo>
                <a:cubicBezTo>
                  <a:pt x="625475" y="104775"/>
                  <a:pt x="623615" y="114845"/>
                  <a:pt x="619125" y="123825"/>
                </a:cubicBezTo>
                <a:cubicBezTo>
                  <a:pt x="599168" y="163739"/>
                  <a:pt x="604157" y="144236"/>
                  <a:pt x="571500" y="171450"/>
                </a:cubicBezTo>
                <a:cubicBezTo>
                  <a:pt x="561152" y="180074"/>
                  <a:pt x="553886" y="192195"/>
                  <a:pt x="542925" y="200025"/>
                </a:cubicBezTo>
                <a:cubicBezTo>
                  <a:pt x="531371" y="208278"/>
                  <a:pt x="516379" y="210822"/>
                  <a:pt x="504825" y="219075"/>
                </a:cubicBezTo>
                <a:cubicBezTo>
                  <a:pt x="442395" y="263668"/>
                  <a:pt x="508972" y="236743"/>
                  <a:pt x="447675" y="257175"/>
                </a:cubicBezTo>
                <a:cubicBezTo>
                  <a:pt x="438150" y="266700"/>
                  <a:pt x="427724" y="275402"/>
                  <a:pt x="419100" y="285750"/>
                </a:cubicBezTo>
                <a:cubicBezTo>
                  <a:pt x="411771" y="294544"/>
                  <a:pt x="408665" y="306787"/>
                  <a:pt x="400050" y="314325"/>
                </a:cubicBezTo>
                <a:cubicBezTo>
                  <a:pt x="369399" y="341144"/>
                  <a:pt x="339617" y="354066"/>
                  <a:pt x="304800" y="371475"/>
                </a:cubicBezTo>
                <a:cubicBezTo>
                  <a:pt x="298450" y="390525"/>
                  <a:pt x="289051" y="408818"/>
                  <a:pt x="285750" y="428625"/>
                </a:cubicBezTo>
                <a:cubicBezTo>
                  <a:pt x="282575" y="447675"/>
                  <a:pt x="280415" y="466922"/>
                  <a:pt x="276225" y="485775"/>
                </a:cubicBezTo>
                <a:cubicBezTo>
                  <a:pt x="274047" y="495576"/>
                  <a:pt x="269135" y="504610"/>
                  <a:pt x="266700" y="514350"/>
                </a:cubicBezTo>
                <a:cubicBezTo>
                  <a:pt x="262773" y="530056"/>
                  <a:pt x="260687" y="546171"/>
                  <a:pt x="257175" y="561975"/>
                </a:cubicBezTo>
                <a:cubicBezTo>
                  <a:pt x="249202" y="597855"/>
                  <a:pt x="248732" y="596829"/>
                  <a:pt x="238125" y="628650"/>
                </a:cubicBezTo>
                <a:cubicBezTo>
                  <a:pt x="234950" y="685800"/>
                  <a:pt x="240274" y="744065"/>
                  <a:pt x="228600" y="800100"/>
                </a:cubicBezTo>
                <a:cubicBezTo>
                  <a:pt x="223930" y="822514"/>
                  <a:pt x="197740" y="835530"/>
                  <a:pt x="190500" y="857250"/>
                </a:cubicBezTo>
                <a:lnTo>
                  <a:pt x="171450" y="914400"/>
                </a:lnTo>
                <a:cubicBezTo>
                  <a:pt x="185845" y="971981"/>
                  <a:pt x="176835" y="940081"/>
                  <a:pt x="200025" y="1009650"/>
                </a:cubicBezTo>
                <a:lnTo>
                  <a:pt x="209550" y="1038225"/>
                </a:lnTo>
                <a:lnTo>
                  <a:pt x="219075" y="1066800"/>
                </a:lnTo>
                <a:cubicBezTo>
                  <a:pt x="204680" y="1124381"/>
                  <a:pt x="213690" y="1092481"/>
                  <a:pt x="190500" y="1162050"/>
                </a:cubicBezTo>
                <a:cubicBezTo>
                  <a:pt x="187325" y="1171575"/>
                  <a:pt x="182944" y="1180780"/>
                  <a:pt x="180975" y="1190625"/>
                </a:cubicBezTo>
                <a:cubicBezTo>
                  <a:pt x="177800" y="1206500"/>
                  <a:pt x="178690" y="1223770"/>
                  <a:pt x="171450" y="1238250"/>
                </a:cubicBezTo>
                <a:cubicBezTo>
                  <a:pt x="157180" y="1266790"/>
                  <a:pt x="139700" y="1267883"/>
                  <a:pt x="114300" y="1276350"/>
                </a:cubicBezTo>
                <a:cubicBezTo>
                  <a:pt x="107950" y="1285875"/>
                  <a:pt x="99899" y="1294464"/>
                  <a:pt x="95250" y="1304925"/>
                </a:cubicBezTo>
                <a:cubicBezTo>
                  <a:pt x="87095" y="1323275"/>
                  <a:pt x="87339" y="1345367"/>
                  <a:pt x="76200" y="1362075"/>
                </a:cubicBezTo>
                <a:cubicBezTo>
                  <a:pt x="69850" y="1371600"/>
                  <a:pt x="62270" y="1380411"/>
                  <a:pt x="57150" y="1390650"/>
                </a:cubicBezTo>
                <a:cubicBezTo>
                  <a:pt x="52660" y="1399630"/>
                  <a:pt x="52501" y="1410448"/>
                  <a:pt x="47625" y="1419225"/>
                </a:cubicBezTo>
                <a:cubicBezTo>
                  <a:pt x="36506" y="1439239"/>
                  <a:pt x="19764" y="1455897"/>
                  <a:pt x="9525" y="1476375"/>
                </a:cubicBezTo>
                <a:lnTo>
                  <a:pt x="0" y="1495425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9" name="Freeform 98"/>
          <p:cNvSpPr/>
          <p:nvPr/>
        </p:nvSpPr>
        <p:spPr>
          <a:xfrm>
            <a:off x="3554688" y="1733551"/>
            <a:ext cx="2374900" cy="717551"/>
          </a:xfrm>
          <a:custGeom>
            <a:avLst/>
            <a:gdLst>
              <a:gd name="connsiteX0" fmla="*/ 2374900 w 2374900"/>
              <a:gd name="connsiteY0" fmla="*/ 717550 h 717550"/>
              <a:gd name="connsiteX1" fmla="*/ 2362200 w 2374900"/>
              <a:gd name="connsiteY1" fmla="*/ 698500 h 717550"/>
              <a:gd name="connsiteX2" fmla="*/ 2254250 w 2374900"/>
              <a:gd name="connsiteY2" fmla="*/ 666750 h 717550"/>
              <a:gd name="connsiteX3" fmla="*/ 2216150 w 2374900"/>
              <a:gd name="connsiteY3" fmla="*/ 654050 h 717550"/>
              <a:gd name="connsiteX4" fmla="*/ 2203450 w 2374900"/>
              <a:gd name="connsiteY4" fmla="*/ 635000 h 717550"/>
              <a:gd name="connsiteX5" fmla="*/ 2178050 w 2374900"/>
              <a:gd name="connsiteY5" fmla="*/ 596900 h 717550"/>
              <a:gd name="connsiteX6" fmla="*/ 2146300 w 2374900"/>
              <a:gd name="connsiteY6" fmla="*/ 590550 h 717550"/>
              <a:gd name="connsiteX7" fmla="*/ 2120900 w 2374900"/>
              <a:gd name="connsiteY7" fmla="*/ 546100 h 717550"/>
              <a:gd name="connsiteX8" fmla="*/ 2108200 w 2374900"/>
              <a:gd name="connsiteY8" fmla="*/ 508000 h 717550"/>
              <a:gd name="connsiteX9" fmla="*/ 2051050 w 2374900"/>
              <a:gd name="connsiteY9" fmla="*/ 495300 h 717550"/>
              <a:gd name="connsiteX10" fmla="*/ 2038350 w 2374900"/>
              <a:gd name="connsiteY10" fmla="*/ 476250 h 717550"/>
              <a:gd name="connsiteX11" fmla="*/ 2000250 w 2374900"/>
              <a:gd name="connsiteY11" fmla="*/ 457200 h 717550"/>
              <a:gd name="connsiteX12" fmla="*/ 1962150 w 2374900"/>
              <a:gd name="connsiteY12" fmla="*/ 450850 h 717550"/>
              <a:gd name="connsiteX13" fmla="*/ 1905000 w 2374900"/>
              <a:gd name="connsiteY13" fmla="*/ 431800 h 717550"/>
              <a:gd name="connsiteX14" fmla="*/ 1885950 w 2374900"/>
              <a:gd name="connsiteY14" fmla="*/ 425450 h 717550"/>
              <a:gd name="connsiteX15" fmla="*/ 1847850 w 2374900"/>
              <a:gd name="connsiteY15" fmla="*/ 406400 h 717550"/>
              <a:gd name="connsiteX16" fmla="*/ 1803400 w 2374900"/>
              <a:gd name="connsiteY16" fmla="*/ 412750 h 717550"/>
              <a:gd name="connsiteX17" fmla="*/ 1644650 w 2374900"/>
              <a:gd name="connsiteY17" fmla="*/ 400050 h 717550"/>
              <a:gd name="connsiteX18" fmla="*/ 1606550 w 2374900"/>
              <a:gd name="connsiteY18" fmla="*/ 387350 h 717550"/>
              <a:gd name="connsiteX19" fmla="*/ 1568450 w 2374900"/>
              <a:gd name="connsiteY19" fmla="*/ 368300 h 717550"/>
              <a:gd name="connsiteX20" fmla="*/ 1530350 w 2374900"/>
              <a:gd name="connsiteY20" fmla="*/ 342900 h 717550"/>
              <a:gd name="connsiteX21" fmla="*/ 1511300 w 2374900"/>
              <a:gd name="connsiteY21" fmla="*/ 330200 h 717550"/>
              <a:gd name="connsiteX22" fmla="*/ 1492250 w 2374900"/>
              <a:gd name="connsiteY22" fmla="*/ 323850 h 717550"/>
              <a:gd name="connsiteX23" fmla="*/ 1441450 w 2374900"/>
              <a:gd name="connsiteY23" fmla="*/ 304800 h 717550"/>
              <a:gd name="connsiteX24" fmla="*/ 1377950 w 2374900"/>
              <a:gd name="connsiteY24" fmla="*/ 311150 h 717550"/>
              <a:gd name="connsiteX25" fmla="*/ 1358900 w 2374900"/>
              <a:gd name="connsiteY25" fmla="*/ 330200 h 717550"/>
              <a:gd name="connsiteX26" fmla="*/ 1346200 w 2374900"/>
              <a:gd name="connsiteY26" fmla="*/ 349250 h 717550"/>
              <a:gd name="connsiteX27" fmla="*/ 1327150 w 2374900"/>
              <a:gd name="connsiteY27" fmla="*/ 368300 h 717550"/>
              <a:gd name="connsiteX28" fmla="*/ 1314450 w 2374900"/>
              <a:gd name="connsiteY28" fmla="*/ 387350 h 717550"/>
              <a:gd name="connsiteX29" fmla="*/ 1295400 w 2374900"/>
              <a:gd name="connsiteY29" fmla="*/ 393700 h 717550"/>
              <a:gd name="connsiteX30" fmla="*/ 1200150 w 2374900"/>
              <a:gd name="connsiteY30" fmla="*/ 400050 h 717550"/>
              <a:gd name="connsiteX31" fmla="*/ 1162050 w 2374900"/>
              <a:gd name="connsiteY31" fmla="*/ 412750 h 717550"/>
              <a:gd name="connsiteX32" fmla="*/ 1123950 w 2374900"/>
              <a:gd name="connsiteY32" fmla="*/ 406400 h 717550"/>
              <a:gd name="connsiteX33" fmla="*/ 1085850 w 2374900"/>
              <a:gd name="connsiteY33" fmla="*/ 393700 h 717550"/>
              <a:gd name="connsiteX34" fmla="*/ 1066800 w 2374900"/>
              <a:gd name="connsiteY34" fmla="*/ 387350 h 717550"/>
              <a:gd name="connsiteX35" fmla="*/ 1041400 w 2374900"/>
              <a:gd name="connsiteY35" fmla="*/ 381000 h 717550"/>
              <a:gd name="connsiteX36" fmla="*/ 1009650 w 2374900"/>
              <a:gd name="connsiteY36" fmla="*/ 374650 h 717550"/>
              <a:gd name="connsiteX37" fmla="*/ 990600 w 2374900"/>
              <a:gd name="connsiteY37" fmla="*/ 368300 h 717550"/>
              <a:gd name="connsiteX38" fmla="*/ 984250 w 2374900"/>
              <a:gd name="connsiteY38" fmla="*/ 349250 h 717550"/>
              <a:gd name="connsiteX39" fmla="*/ 965200 w 2374900"/>
              <a:gd name="connsiteY39" fmla="*/ 336550 h 717550"/>
              <a:gd name="connsiteX40" fmla="*/ 914400 w 2374900"/>
              <a:gd name="connsiteY40" fmla="*/ 323850 h 717550"/>
              <a:gd name="connsiteX41" fmla="*/ 882650 w 2374900"/>
              <a:gd name="connsiteY41" fmla="*/ 330200 h 717550"/>
              <a:gd name="connsiteX42" fmla="*/ 762000 w 2374900"/>
              <a:gd name="connsiteY42" fmla="*/ 317500 h 717550"/>
              <a:gd name="connsiteX43" fmla="*/ 520700 w 2374900"/>
              <a:gd name="connsiteY43" fmla="*/ 336550 h 717550"/>
              <a:gd name="connsiteX44" fmla="*/ 501650 w 2374900"/>
              <a:gd name="connsiteY44" fmla="*/ 342900 h 717550"/>
              <a:gd name="connsiteX45" fmla="*/ 482600 w 2374900"/>
              <a:gd name="connsiteY45" fmla="*/ 355600 h 717550"/>
              <a:gd name="connsiteX46" fmla="*/ 419100 w 2374900"/>
              <a:gd name="connsiteY46" fmla="*/ 349250 h 717550"/>
              <a:gd name="connsiteX47" fmla="*/ 400050 w 2374900"/>
              <a:gd name="connsiteY47" fmla="*/ 342900 h 717550"/>
              <a:gd name="connsiteX48" fmla="*/ 374650 w 2374900"/>
              <a:gd name="connsiteY48" fmla="*/ 336550 h 717550"/>
              <a:gd name="connsiteX49" fmla="*/ 349250 w 2374900"/>
              <a:gd name="connsiteY49" fmla="*/ 323850 h 717550"/>
              <a:gd name="connsiteX50" fmla="*/ 330200 w 2374900"/>
              <a:gd name="connsiteY50" fmla="*/ 317500 h 717550"/>
              <a:gd name="connsiteX51" fmla="*/ 304800 w 2374900"/>
              <a:gd name="connsiteY51" fmla="*/ 273050 h 717550"/>
              <a:gd name="connsiteX52" fmla="*/ 298450 w 2374900"/>
              <a:gd name="connsiteY52" fmla="*/ 247650 h 717550"/>
              <a:gd name="connsiteX53" fmla="*/ 292100 w 2374900"/>
              <a:gd name="connsiteY53" fmla="*/ 215900 h 717550"/>
              <a:gd name="connsiteX54" fmla="*/ 273050 w 2374900"/>
              <a:gd name="connsiteY54" fmla="*/ 190500 h 717550"/>
              <a:gd name="connsiteX55" fmla="*/ 196850 w 2374900"/>
              <a:gd name="connsiteY55" fmla="*/ 152400 h 717550"/>
              <a:gd name="connsiteX56" fmla="*/ 171450 w 2374900"/>
              <a:gd name="connsiteY56" fmla="*/ 146050 h 717550"/>
              <a:gd name="connsiteX57" fmla="*/ 146050 w 2374900"/>
              <a:gd name="connsiteY57" fmla="*/ 133350 h 717550"/>
              <a:gd name="connsiteX58" fmla="*/ 133350 w 2374900"/>
              <a:gd name="connsiteY58" fmla="*/ 114300 h 717550"/>
              <a:gd name="connsiteX59" fmla="*/ 114300 w 2374900"/>
              <a:gd name="connsiteY59" fmla="*/ 63500 h 717550"/>
              <a:gd name="connsiteX60" fmla="*/ 57150 w 2374900"/>
              <a:gd name="connsiteY60" fmla="*/ 44450 h 717550"/>
              <a:gd name="connsiteX61" fmla="*/ 38100 w 2374900"/>
              <a:gd name="connsiteY61" fmla="*/ 38100 h 717550"/>
              <a:gd name="connsiteX62" fmla="*/ 19050 w 2374900"/>
              <a:gd name="connsiteY62" fmla="*/ 19050 h 717550"/>
              <a:gd name="connsiteX63" fmla="*/ 0 w 2374900"/>
              <a:gd name="connsiteY63" fmla="*/ 6350 h 717550"/>
              <a:gd name="connsiteX64" fmla="*/ 0 w 2374900"/>
              <a:gd name="connsiteY64" fmla="*/ 0 h 717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2374900" h="717550">
                <a:moveTo>
                  <a:pt x="2374900" y="717550"/>
                </a:moveTo>
                <a:cubicBezTo>
                  <a:pt x="2370667" y="711200"/>
                  <a:pt x="2367943" y="703526"/>
                  <a:pt x="2362200" y="698500"/>
                </a:cubicBezTo>
                <a:cubicBezTo>
                  <a:pt x="2319939" y="661522"/>
                  <a:pt x="2315878" y="672353"/>
                  <a:pt x="2254250" y="666750"/>
                </a:cubicBezTo>
                <a:cubicBezTo>
                  <a:pt x="2241550" y="662517"/>
                  <a:pt x="2223576" y="665189"/>
                  <a:pt x="2216150" y="654050"/>
                </a:cubicBezTo>
                <a:cubicBezTo>
                  <a:pt x="2211917" y="647700"/>
                  <a:pt x="2206863" y="641826"/>
                  <a:pt x="2203450" y="635000"/>
                </a:cubicBezTo>
                <a:cubicBezTo>
                  <a:pt x="2194043" y="616185"/>
                  <a:pt x="2202125" y="608937"/>
                  <a:pt x="2178050" y="596900"/>
                </a:cubicBezTo>
                <a:cubicBezTo>
                  <a:pt x="2168397" y="592073"/>
                  <a:pt x="2156883" y="592667"/>
                  <a:pt x="2146300" y="590550"/>
                </a:cubicBezTo>
                <a:cubicBezTo>
                  <a:pt x="2115804" y="570219"/>
                  <a:pt x="2132234" y="587658"/>
                  <a:pt x="2120900" y="546100"/>
                </a:cubicBezTo>
                <a:cubicBezTo>
                  <a:pt x="2117378" y="533185"/>
                  <a:pt x="2120900" y="512233"/>
                  <a:pt x="2108200" y="508000"/>
                </a:cubicBezTo>
                <a:cubicBezTo>
                  <a:pt x="2076936" y="497579"/>
                  <a:pt x="2095752" y="502750"/>
                  <a:pt x="2051050" y="495300"/>
                </a:cubicBezTo>
                <a:cubicBezTo>
                  <a:pt x="2046817" y="488950"/>
                  <a:pt x="2043746" y="481646"/>
                  <a:pt x="2038350" y="476250"/>
                </a:cubicBezTo>
                <a:cubicBezTo>
                  <a:pt x="2028564" y="466464"/>
                  <a:pt x="2013530" y="460151"/>
                  <a:pt x="2000250" y="457200"/>
                </a:cubicBezTo>
                <a:cubicBezTo>
                  <a:pt x="1987681" y="454407"/>
                  <a:pt x="1974641" y="453973"/>
                  <a:pt x="1962150" y="450850"/>
                </a:cubicBezTo>
                <a:lnTo>
                  <a:pt x="1905000" y="431800"/>
                </a:lnTo>
                <a:cubicBezTo>
                  <a:pt x="1898650" y="429683"/>
                  <a:pt x="1891519" y="429163"/>
                  <a:pt x="1885950" y="425450"/>
                </a:cubicBezTo>
                <a:cubicBezTo>
                  <a:pt x="1861331" y="409037"/>
                  <a:pt x="1874140" y="415163"/>
                  <a:pt x="1847850" y="406400"/>
                </a:cubicBezTo>
                <a:cubicBezTo>
                  <a:pt x="1833033" y="408517"/>
                  <a:pt x="1818367" y="412750"/>
                  <a:pt x="1803400" y="412750"/>
                </a:cubicBezTo>
                <a:cubicBezTo>
                  <a:pt x="1764575" y="412750"/>
                  <a:pt x="1687903" y="404375"/>
                  <a:pt x="1644650" y="400050"/>
                </a:cubicBezTo>
                <a:cubicBezTo>
                  <a:pt x="1631950" y="395817"/>
                  <a:pt x="1617689" y="394776"/>
                  <a:pt x="1606550" y="387350"/>
                </a:cubicBezTo>
                <a:cubicBezTo>
                  <a:pt x="1581931" y="370937"/>
                  <a:pt x="1594740" y="377063"/>
                  <a:pt x="1568450" y="368300"/>
                </a:cubicBezTo>
                <a:cubicBezTo>
                  <a:pt x="1532338" y="332188"/>
                  <a:pt x="1567109" y="361280"/>
                  <a:pt x="1530350" y="342900"/>
                </a:cubicBezTo>
                <a:cubicBezTo>
                  <a:pt x="1523524" y="339487"/>
                  <a:pt x="1518126" y="333613"/>
                  <a:pt x="1511300" y="330200"/>
                </a:cubicBezTo>
                <a:cubicBezTo>
                  <a:pt x="1505313" y="327207"/>
                  <a:pt x="1498402" y="326487"/>
                  <a:pt x="1492250" y="323850"/>
                </a:cubicBezTo>
                <a:cubicBezTo>
                  <a:pt x="1445762" y="303926"/>
                  <a:pt x="1488279" y="316507"/>
                  <a:pt x="1441450" y="304800"/>
                </a:cubicBezTo>
                <a:cubicBezTo>
                  <a:pt x="1420283" y="306917"/>
                  <a:pt x="1398282" y="304894"/>
                  <a:pt x="1377950" y="311150"/>
                </a:cubicBezTo>
                <a:cubicBezTo>
                  <a:pt x="1369367" y="313791"/>
                  <a:pt x="1364649" y="323301"/>
                  <a:pt x="1358900" y="330200"/>
                </a:cubicBezTo>
                <a:cubicBezTo>
                  <a:pt x="1354014" y="336063"/>
                  <a:pt x="1351086" y="343387"/>
                  <a:pt x="1346200" y="349250"/>
                </a:cubicBezTo>
                <a:cubicBezTo>
                  <a:pt x="1340451" y="356149"/>
                  <a:pt x="1332899" y="361401"/>
                  <a:pt x="1327150" y="368300"/>
                </a:cubicBezTo>
                <a:cubicBezTo>
                  <a:pt x="1322264" y="374163"/>
                  <a:pt x="1320409" y="382582"/>
                  <a:pt x="1314450" y="387350"/>
                </a:cubicBezTo>
                <a:cubicBezTo>
                  <a:pt x="1309223" y="391531"/>
                  <a:pt x="1302053" y="392961"/>
                  <a:pt x="1295400" y="393700"/>
                </a:cubicBezTo>
                <a:cubicBezTo>
                  <a:pt x="1263774" y="397214"/>
                  <a:pt x="1231900" y="397933"/>
                  <a:pt x="1200150" y="400050"/>
                </a:cubicBezTo>
                <a:cubicBezTo>
                  <a:pt x="1187450" y="404283"/>
                  <a:pt x="1175255" y="414951"/>
                  <a:pt x="1162050" y="412750"/>
                </a:cubicBezTo>
                <a:cubicBezTo>
                  <a:pt x="1149350" y="410633"/>
                  <a:pt x="1136441" y="409523"/>
                  <a:pt x="1123950" y="406400"/>
                </a:cubicBezTo>
                <a:cubicBezTo>
                  <a:pt x="1110963" y="403153"/>
                  <a:pt x="1098550" y="397933"/>
                  <a:pt x="1085850" y="393700"/>
                </a:cubicBezTo>
                <a:cubicBezTo>
                  <a:pt x="1079500" y="391583"/>
                  <a:pt x="1073294" y="388973"/>
                  <a:pt x="1066800" y="387350"/>
                </a:cubicBezTo>
                <a:cubicBezTo>
                  <a:pt x="1058333" y="385233"/>
                  <a:pt x="1049919" y="382893"/>
                  <a:pt x="1041400" y="381000"/>
                </a:cubicBezTo>
                <a:cubicBezTo>
                  <a:pt x="1030864" y="378659"/>
                  <a:pt x="1020121" y="377268"/>
                  <a:pt x="1009650" y="374650"/>
                </a:cubicBezTo>
                <a:cubicBezTo>
                  <a:pt x="1003156" y="373027"/>
                  <a:pt x="996950" y="370417"/>
                  <a:pt x="990600" y="368300"/>
                </a:cubicBezTo>
                <a:cubicBezTo>
                  <a:pt x="988483" y="361950"/>
                  <a:pt x="988431" y="354477"/>
                  <a:pt x="984250" y="349250"/>
                </a:cubicBezTo>
                <a:cubicBezTo>
                  <a:pt x="979482" y="343291"/>
                  <a:pt x="972026" y="339963"/>
                  <a:pt x="965200" y="336550"/>
                </a:cubicBezTo>
                <a:cubicBezTo>
                  <a:pt x="952183" y="330041"/>
                  <a:pt x="926476" y="326265"/>
                  <a:pt x="914400" y="323850"/>
                </a:cubicBezTo>
                <a:cubicBezTo>
                  <a:pt x="903817" y="325967"/>
                  <a:pt x="893443" y="330200"/>
                  <a:pt x="882650" y="330200"/>
                </a:cubicBezTo>
                <a:cubicBezTo>
                  <a:pt x="794672" y="330200"/>
                  <a:pt x="809237" y="333246"/>
                  <a:pt x="762000" y="317500"/>
                </a:cubicBezTo>
                <a:cubicBezTo>
                  <a:pt x="545420" y="324268"/>
                  <a:pt x="623089" y="302420"/>
                  <a:pt x="520700" y="336550"/>
                </a:cubicBezTo>
                <a:cubicBezTo>
                  <a:pt x="514350" y="338667"/>
                  <a:pt x="507219" y="339187"/>
                  <a:pt x="501650" y="342900"/>
                </a:cubicBezTo>
                <a:lnTo>
                  <a:pt x="482600" y="355600"/>
                </a:lnTo>
                <a:cubicBezTo>
                  <a:pt x="461433" y="353483"/>
                  <a:pt x="440125" y="352485"/>
                  <a:pt x="419100" y="349250"/>
                </a:cubicBezTo>
                <a:cubicBezTo>
                  <a:pt x="412484" y="348232"/>
                  <a:pt x="406486" y="344739"/>
                  <a:pt x="400050" y="342900"/>
                </a:cubicBezTo>
                <a:cubicBezTo>
                  <a:pt x="391659" y="340502"/>
                  <a:pt x="382822" y="339614"/>
                  <a:pt x="374650" y="336550"/>
                </a:cubicBezTo>
                <a:cubicBezTo>
                  <a:pt x="365787" y="333226"/>
                  <a:pt x="357951" y="327579"/>
                  <a:pt x="349250" y="323850"/>
                </a:cubicBezTo>
                <a:cubicBezTo>
                  <a:pt x="343098" y="321213"/>
                  <a:pt x="336550" y="319617"/>
                  <a:pt x="330200" y="317500"/>
                </a:cubicBezTo>
                <a:cubicBezTo>
                  <a:pt x="310672" y="291463"/>
                  <a:pt x="312259" y="299157"/>
                  <a:pt x="304800" y="273050"/>
                </a:cubicBezTo>
                <a:cubicBezTo>
                  <a:pt x="302402" y="264659"/>
                  <a:pt x="300343" y="256169"/>
                  <a:pt x="298450" y="247650"/>
                </a:cubicBezTo>
                <a:cubicBezTo>
                  <a:pt x="296109" y="237114"/>
                  <a:pt x="296483" y="225763"/>
                  <a:pt x="292100" y="215900"/>
                </a:cubicBezTo>
                <a:cubicBezTo>
                  <a:pt x="287802" y="206229"/>
                  <a:pt x="280960" y="197531"/>
                  <a:pt x="273050" y="190500"/>
                </a:cubicBezTo>
                <a:cubicBezTo>
                  <a:pt x="248757" y="168907"/>
                  <a:pt x="227551" y="160075"/>
                  <a:pt x="196850" y="152400"/>
                </a:cubicBezTo>
                <a:cubicBezTo>
                  <a:pt x="188383" y="150283"/>
                  <a:pt x="179622" y="149114"/>
                  <a:pt x="171450" y="146050"/>
                </a:cubicBezTo>
                <a:cubicBezTo>
                  <a:pt x="162587" y="142726"/>
                  <a:pt x="154517" y="137583"/>
                  <a:pt x="146050" y="133350"/>
                </a:cubicBezTo>
                <a:cubicBezTo>
                  <a:pt x="141817" y="127000"/>
                  <a:pt x="136030" y="121446"/>
                  <a:pt x="133350" y="114300"/>
                </a:cubicBezTo>
                <a:cubicBezTo>
                  <a:pt x="127862" y="99664"/>
                  <a:pt x="131319" y="74137"/>
                  <a:pt x="114300" y="63500"/>
                </a:cubicBezTo>
                <a:lnTo>
                  <a:pt x="57150" y="44450"/>
                </a:lnTo>
                <a:lnTo>
                  <a:pt x="38100" y="38100"/>
                </a:lnTo>
                <a:cubicBezTo>
                  <a:pt x="31750" y="31750"/>
                  <a:pt x="25949" y="24799"/>
                  <a:pt x="19050" y="19050"/>
                </a:cubicBezTo>
                <a:cubicBezTo>
                  <a:pt x="13187" y="14164"/>
                  <a:pt x="5396" y="11746"/>
                  <a:pt x="0" y="6350"/>
                </a:cubicBezTo>
                <a:lnTo>
                  <a:pt x="0" y="0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Freeform 99"/>
          <p:cNvSpPr/>
          <p:nvPr/>
        </p:nvSpPr>
        <p:spPr>
          <a:xfrm>
            <a:off x="3184805" y="641349"/>
            <a:ext cx="363537" cy="1092200"/>
          </a:xfrm>
          <a:custGeom>
            <a:avLst/>
            <a:gdLst>
              <a:gd name="connsiteX0" fmla="*/ 363282 w 363282"/>
              <a:gd name="connsiteY0" fmla="*/ 1092200 h 1092200"/>
              <a:gd name="connsiteX1" fmla="*/ 331532 w 363282"/>
              <a:gd name="connsiteY1" fmla="*/ 1085850 h 1092200"/>
              <a:gd name="connsiteX2" fmla="*/ 306132 w 363282"/>
              <a:gd name="connsiteY2" fmla="*/ 1047750 h 1092200"/>
              <a:gd name="connsiteX3" fmla="*/ 261682 w 363282"/>
              <a:gd name="connsiteY3" fmla="*/ 1022350 h 1092200"/>
              <a:gd name="connsiteX4" fmla="*/ 242632 w 363282"/>
              <a:gd name="connsiteY4" fmla="*/ 1009650 h 1092200"/>
              <a:gd name="connsiteX5" fmla="*/ 204532 w 363282"/>
              <a:gd name="connsiteY5" fmla="*/ 984250 h 1092200"/>
              <a:gd name="connsiteX6" fmla="*/ 191832 w 363282"/>
              <a:gd name="connsiteY6" fmla="*/ 958850 h 1092200"/>
              <a:gd name="connsiteX7" fmla="*/ 179132 w 363282"/>
              <a:gd name="connsiteY7" fmla="*/ 939800 h 1092200"/>
              <a:gd name="connsiteX8" fmla="*/ 147382 w 363282"/>
              <a:gd name="connsiteY8" fmla="*/ 876300 h 1092200"/>
              <a:gd name="connsiteX9" fmla="*/ 128332 w 363282"/>
              <a:gd name="connsiteY9" fmla="*/ 869950 h 1092200"/>
              <a:gd name="connsiteX10" fmla="*/ 102932 w 363282"/>
              <a:gd name="connsiteY10" fmla="*/ 831850 h 1092200"/>
              <a:gd name="connsiteX11" fmla="*/ 90232 w 363282"/>
              <a:gd name="connsiteY11" fmla="*/ 781050 h 1092200"/>
              <a:gd name="connsiteX12" fmla="*/ 83882 w 363282"/>
              <a:gd name="connsiteY12" fmla="*/ 723900 h 1092200"/>
              <a:gd name="connsiteX13" fmla="*/ 64832 w 363282"/>
              <a:gd name="connsiteY13" fmla="*/ 698500 h 1092200"/>
              <a:gd name="connsiteX14" fmla="*/ 52132 w 363282"/>
              <a:gd name="connsiteY14" fmla="*/ 679450 h 1092200"/>
              <a:gd name="connsiteX15" fmla="*/ 14032 w 363282"/>
              <a:gd name="connsiteY15" fmla="*/ 647700 h 1092200"/>
              <a:gd name="connsiteX16" fmla="*/ 1332 w 363282"/>
              <a:gd name="connsiteY16" fmla="*/ 609600 h 1092200"/>
              <a:gd name="connsiteX17" fmla="*/ 14032 w 363282"/>
              <a:gd name="connsiteY17" fmla="*/ 527050 h 1092200"/>
              <a:gd name="connsiteX18" fmla="*/ 26732 w 363282"/>
              <a:gd name="connsiteY18" fmla="*/ 508000 h 1092200"/>
              <a:gd name="connsiteX19" fmla="*/ 33082 w 363282"/>
              <a:gd name="connsiteY19" fmla="*/ 482600 h 1092200"/>
              <a:gd name="connsiteX20" fmla="*/ 33082 w 363282"/>
              <a:gd name="connsiteY20" fmla="*/ 361950 h 1092200"/>
              <a:gd name="connsiteX21" fmla="*/ 52132 w 363282"/>
              <a:gd name="connsiteY21" fmla="*/ 342900 h 1092200"/>
              <a:gd name="connsiteX22" fmla="*/ 71182 w 363282"/>
              <a:gd name="connsiteY22" fmla="*/ 234950 h 1092200"/>
              <a:gd name="connsiteX23" fmla="*/ 96582 w 363282"/>
              <a:gd name="connsiteY23" fmla="*/ 196850 h 1092200"/>
              <a:gd name="connsiteX24" fmla="*/ 160082 w 363282"/>
              <a:gd name="connsiteY24" fmla="*/ 190500 h 1092200"/>
              <a:gd name="connsiteX25" fmla="*/ 172782 w 363282"/>
              <a:gd name="connsiteY25" fmla="*/ 152400 h 1092200"/>
              <a:gd name="connsiteX26" fmla="*/ 179132 w 363282"/>
              <a:gd name="connsiteY26" fmla="*/ 133350 h 1092200"/>
              <a:gd name="connsiteX27" fmla="*/ 191832 w 363282"/>
              <a:gd name="connsiteY27" fmla="*/ 69850 h 1092200"/>
              <a:gd name="connsiteX28" fmla="*/ 204532 w 363282"/>
              <a:gd name="connsiteY28" fmla="*/ 50800 h 1092200"/>
              <a:gd name="connsiteX29" fmla="*/ 210882 w 363282"/>
              <a:gd name="connsiteY29" fmla="*/ 31750 h 1092200"/>
              <a:gd name="connsiteX30" fmla="*/ 229932 w 363282"/>
              <a:gd name="connsiteY30" fmla="*/ 0 h 109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363282" h="1092200">
                <a:moveTo>
                  <a:pt x="363282" y="1092200"/>
                </a:moveTo>
                <a:cubicBezTo>
                  <a:pt x="352699" y="1090083"/>
                  <a:pt x="341185" y="1090677"/>
                  <a:pt x="331532" y="1085850"/>
                </a:cubicBezTo>
                <a:cubicBezTo>
                  <a:pt x="301146" y="1070657"/>
                  <a:pt x="320243" y="1068917"/>
                  <a:pt x="306132" y="1047750"/>
                </a:cubicBezTo>
                <a:cubicBezTo>
                  <a:pt x="290999" y="1025051"/>
                  <a:pt x="285990" y="1028427"/>
                  <a:pt x="261682" y="1022350"/>
                </a:cubicBezTo>
                <a:cubicBezTo>
                  <a:pt x="255332" y="1018117"/>
                  <a:pt x="249458" y="1013063"/>
                  <a:pt x="242632" y="1009650"/>
                </a:cubicBezTo>
                <a:cubicBezTo>
                  <a:pt x="217836" y="997252"/>
                  <a:pt x="224594" y="1012337"/>
                  <a:pt x="204532" y="984250"/>
                </a:cubicBezTo>
                <a:cubicBezTo>
                  <a:pt x="199030" y="976547"/>
                  <a:pt x="196528" y="967069"/>
                  <a:pt x="191832" y="958850"/>
                </a:cubicBezTo>
                <a:cubicBezTo>
                  <a:pt x="188046" y="952224"/>
                  <a:pt x="182232" y="946774"/>
                  <a:pt x="179132" y="939800"/>
                </a:cubicBezTo>
                <a:cubicBezTo>
                  <a:pt x="166680" y="911784"/>
                  <a:pt x="171622" y="896500"/>
                  <a:pt x="147382" y="876300"/>
                </a:cubicBezTo>
                <a:cubicBezTo>
                  <a:pt x="142240" y="872015"/>
                  <a:pt x="134682" y="872067"/>
                  <a:pt x="128332" y="869950"/>
                </a:cubicBezTo>
                <a:cubicBezTo>
                  <a:pt x="107631" y="849249"/>
                  <a:pt x="109824" y="857122"/>
                  <a:pt x="102932" y="831850"/>
                </a:cubicBezTo>
                <a:cubicBezTo>
                  <a:pt x="98339" y="815011"/>
                  <a:pt x="90232" y="781050"/>
                  <a:pt x="90232" y="781050"/>
                </a:cubicBezTo>
                <a:cubicBezTo>
                  <a:pt x="88115" y="762000"/>
                  <a:pt x="89519" y="742220"/>
                  <a:pt x="83882" y="723900"/>
                </a:cubicBezTo>
                <a:cubicBezTo>
                  <a:pt x="80770" y="713785"/>
                  <a:pt x="70983" y="707112"/>
                  <a:pt x="64832" y="698500"/>
                </a:cubicBezTo>
                <a:cubicBezTo>
                  <a:pt x="60396" y="692290"/>
                  <a:pt x="57018" y="685313"/>
                  <a:pt x="52132" y="679450"/>
                </a:cubicBezTo>
                <a:cubicBezTo>
                  <a:pt x="36853" y="661115"/>
                  <a:pt x="32763" y="660187"/>
                  <a:pt x="14032" y="647700"/>
                </a:cubicBezTo>
                <a:cubicBezTo>
                  <a:pt x="9799" y="635000"/>
                  <a:pt x="0" y="622921"/>
                  <a:pt x="1332" y="609600"/>
                </a:cubicBezTo>
                <a:cubicBezTo>
                  <a:pt x="3153" y="591388"/>
                  <a:pt x="2590" y="549935"/>
                  <a:pt x="14032" y="527050"/>
                </a:cubicBezTo>
                <a:cubicBezTo>
                  <a:pt x="17445" y="520224"/>
                  <a:pt x="22499" y="514350"/>
                  <a:pt x="26732" y="508000"/>
                </a:cubicBezTo>
                <a:cubicBezTo>
                  <a:pt x="28849" y="499533"/>
                  <a:pt x="33082" y="491327"/>
                  <a:pt x="33082" y="482600"/>
                </a:cubicBezTo>
                <a:cubicBezTo>
                  <a:pt x="33082" y="440574"/>
                  <a:pt x="18069" y="403235"/>
                  <a:pt x="33082" y="361950"/>
                </a:cubicBezTo>
                <a:cubicBezTo>
                  <a:pt x="36151" y="353510"/>
                  <a:pt x="45782" y="349250"/>
                  <a:pt x="52132" y="342900"/>
                </a:cubicBezTo>
                <a:cubicBezTo>
                  <a:pt x="75593" y="272517"/>
                  <a:pt x="57738" y="335777"/>
                  <a:pt x="71182" y="234950"/>
                </a:cubicBezTo>
                <a:cubicBezTo>
                  <a:pt x="73630" y="216589"/>
                  <a:pt x="75301" y="201761"/>
                  <a:pt x="96582" y="196850"/>
                </a:cubicBezTo>
                <a:cubicBezTo>
                  <a:pt x="117309" y="192067"/>
                  <a:pt x="138915" y="192617"/>
                  <a:pt x="160082" y="190500"/>
                </a:cubicBezTo>
                <a:lnTo>
                  <a:pt x="172782" y="152400"/>
                </a:lnTo>
                <a:lnTo>
                  <a:pt x="179132" y="133350"/>
                </a:lnTo>
                <a:cubicBezTo>
                  <a:pt x="181472" y="116969"/>
                  <a:pt x="182966" y="87583"/>
                  <a:pt x="191832" y="69850"/>
                </a:cubicBezTo>
                <a:cubicBezTo>
                  <a:pt x="195245" y="63024"/>
                  <a:pt x="201119" y="57626"/>
                  <a:pt x="204532" y="50800"/>
                </a:cubicBezTo>
                <a:cubicBezTo>
                  <a:pt x="207525" y="44813"/>
                  <a:pt x="208245" y="37902"/>
                  <a:pt x="210882" y="31750"/>
                </a:cubicBezTo>
                <a:cubicBezTo>
                  <a:pt x="221411" y="7182"/>
                  <a:pt x="217998" y="11934"/>
                  <a:pt x="229932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1" name="Freeform 100"/>
          <p:cNvSpPr/>
          <p:nvPr/>
        </p:nvSpPr>
        <p:spPr>
          <a:xfrm>
            <a:off x="2881588" y="1809753"/>
            <a:ext cx="869950" cy="765175"/>
          </a:xfrm>
          <a:custGeom>
            <a:avLst/>
            <a:gdLst>
              <a:gd name="connsiteX0" fmla="*/ 869169 w 869169"/>
              <a:gd name="connsiteY0" fmla="*/ 34626 h 764876"/>
              <a:gd name="connsiteX1" fmla="*/ 805669 w 869169"/>
              <a:gd name="connsiteY1" fmla="*/ 21926 h 764876"/>
              <a:gd name="connsiteX2" fmla="*/ 761219 w 869169"/>
              <a:gd name="connsiteY2" fmla="*/ 2876 h 764876"/>
              <a:gd name="connsiteX3" fmla="*/ 729469 w 869169"/>
              <a:gd name="connsiteY3" fmla="*/ 9226 h 764876"/>
              <a:gd name="connsiteX4" fmla="*/ 691369 w 869169"/>
              <a:gd name="connsiteY4" fmla="*/ 21926 h 764876"/>
              <a:gd name="connsiteX5" fmla="*/ 646919 w 869169"/>
              <a:gd name="connsiteY5" fmla="*/ 28276 h 764876"/>
              <a:gd name="connsiteX6" fmla="*/ 627869 w 869169"/>
              <a:gd name="connsiteY6" fmla="*/ 34626 h 764876"/>
              <a:gd name="connsiteX7" fmla="*/ 589769 w 869169"/>
              <a:gd name="connsiteY7" fmla="*/ 40976 h 764876"/>
              <a:gd name="connsiteX8" fmla="*/ 583419 w 869169"/>
              <a:gd name="connsiteY8" fmla="*/ 60026 h 764876"/>
              <a:gd name="connsiteX9" fmla="*/ 570719 w 869169"/>
              <a:gd name="connsiteY9" fmla="*/ 79076 h 764876"/>
              <a:gd name="connsiteX10" fmla="*/ 564369 w 869169"/>
              <a:gd name="connsiteY10" fmla="*/ 98126 h 764876"/>
              <a:gd name="connsiteX11" fmla="*/ 545319 w 869169"/>
              <a:gd name="connsiteY11" fmla="*/ 104476 h 764876"/>
              <a:gd name="connsiteX12" fmla="*/ 431019 w 869169"/>
              <a:gd name="connsiteY12" fmla="*/ 110826 h 764876"/>
              <a:gd name="connsiteX13" fmla="*/ 418319 w 869169"/>
              <a:gd name="connsiteY13" fmla="*/ 129876 h 764876"/>
              <a:gd name="connsiteX14" fmla="*/ 411969 w 869169"/>
              <a:gd name="connsiteY14" fmla="*/ 148926 h 764876"/>
              <a:gd name="connsiteX15" fmla="*/ 386569 w 869169"/>
              <a:gd name="connsiteY15" fmla="*/ 155276 h 764876"/>
              <a:gd name="connsiteX16" fmla="*/ 246869 w 869169"/>
              <a:gd name="connsiteY16" fmla="*/ 161626 h 764876"/>
              <a:gd name="connsiteX17" fmla="*/ 240519 w 869169"/>
              <a:gd name="connsiteY17" fmla="*/ 180676 h 764876"/>
              <a:gd name="connsiteX18" fmla="*/ 234169 w 869169"/>
              <a:gd name="connsiteY18" fmla="*/ 250526 h 764876"/>
              <a:gd name="connsiteX19" fmla="*/ 215119 w 869169"/>
              <a:gd name="connsiteY19" fmla="*/ 256876 h 764876"/>
              <a:gd name="connsiteX20" fmla="*/ 189719 w 869169"/>
              <a:gd name="connsiteY20" fmla="*/ 263226 h 764876"/>
              <a:gd name="connsiteX21" fmla="*/ 164319 w 869169"/>
              <a:gd name="connsiteY21" fmla="*/ 275926 h 764876"/>
              <a:gd name="connsiteX22" fmla="*/ 126219 w 869169"/>
              <a:gd name="connsiteY22" fmla="*/ 288626 h 764876"/>
              <a:gd name="connsiteX23" fmla="*/ 107169 w 869169"/>
              <a:gd name="connsiteY23" fmla="*/ 307676 h 764876"/>
              <a:gd name="connsiteX24" fmla="*/ 126219 w 869169"/>
              <a:gd name="connsiteY24" fmla="*/ 402926 h 764876"/>
              <a:gd name="connsiteX25" fmla="*/ 119869 w 869169"/>
              <a:gd name="connsiteY25" fmla="*/ 434676 h 764876"/>
              <a:gd name="connsiteX26" fmla="*/ 94469 w 869169"/>
              <a:gd name="connsiteY26" fmla="*/ 447376 h 764876"/>
              <a:gd name="connsiteX27" fmla="*/ 56369 w 869169"/>
              <a:gd name="connsiteY27" fmla="*/ 466426 h 764876"/>
              <a:gd name="connsiteX28" fmla="*/ 43669 w 869169"/>
              <a:gd name="connsiteY28" fmla="*/ 504526 h 764876"/>
              <a:gd name="connsiteX29" fmla="*/ 37319 w 869169"/>
              <a:gd name="connsiteY29" fmla="*/ 523576 h 764876"/>
              <a:gd name="connsiteX30" fmla="*/ 24619 w 869169"/>
              <a:gd name="connsiteY30" fmla="*/ 587076 h 764876"/>
              <a:gd name="connsiteX31" fmla="*/ 5569 w 869169"/>
              <a:gd name="connsiteY31" fmla="*/ 625176 h 764876"/>
              <a:gd name="connsiteX32" fmla="*/ 43669 w 869169"/>
              <a:gd name="connsiteY32" fmla="*/ 656926 h 764876"/>
              <a:gd name="connsiteX33" fmla="*/ 56369 w 869169"/>
              <a:gd name="connsiteY33" fmla="*/ 675976 h 764876"/>
              <a:gd name="connsiteX34" fmla="*/ 50019 w 869169"/>
              <a:gd name="connsiteY34" fmla="*/ 714076 h 764876"/>
              <a:gd name="connsiteX35" fmla="*/ 30969 w 869169"/>
              <a:gd name="connsiteY35" fmla="*/ 733126 h 764876"/>
              <a:gd name="connsiteX36" fmla="*/ 24619 w 869169"/>
              <a:gd name="connsiteY36" fmla="*/ 764876 h 764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69169" h="764876">
                <a:moveTo>
                  <a:pt x="869169" y="34626"/>
                </a:moveTo>
                <a:cubicBezTo>
                  <a:pt x="852788" y="32286"/>
                  <a:pt x="823402" y="30792"/>
                  <a:pt x="805669" y="21926"/>
                </a:cubicBezTo>
                <a:cubicBezTo>
                  <a:pt x="761816" y="0"/>
                  <a:pt x="814082" y="16092"/>
                  <a:pt x="761219" y="2876"/>
                </a:cubicBezTo>
                <a:cubicBezTo>
                  <a:pt x="750636" y="4993"/>
                  <a:pt x="739882" y="6386"/>
                  <a:pt x="729469" y="9226"/>
                </a:cubicBezTo>
                <a:cubicBezTo>
                  <a:pt x="716554" y="12748"/>
                  <a:pt x="704621" y="20033"/>
                  <a:pt x="691369" y="21926"/>
                </a:cubicBezTo>
                <a:lnTo>
                  <a:pt x="646919" y="28276"/>
                </a:lnTo>
                <a:cubicBezTo>
                  <a:pt x="640569" y="30393"/>
                  <a:pt x="634403" y="33174"/>
                  <a:pt x="627869" y="34626"/>
                </a:cubicBezTo>
                <a:cubicBezTo>
                  <a:pt x="615300" y="37419"/>
                  <a:pt x="600948" y="34588"/>
                  <a:pt x="589769" y="40976"/>
                </a:cubicBezTo>
                <a:cubicBezTo>
                  <a:pt x="583957" y="44297"/>
                  <a:pt x="586412" y="54039"/>
                  <a:pt x="583419" y="60026"/>
                </a:cubicBezTo>
                <a:cubicBezTo>
                  <a:pt x="580006" y="66852"/>
                  <a:pt x="574132" y="72250"/>
                  <a:pt x="570719" y="79076"/>
                </a:cubicBezTo>
                <a:cubicBezTo>
                  <a:pt x="567726" y="85063"/>
                  <a:pt x="569102" y="93393"/>
                  <a:pt x="564369" y="98126"/>
                </a:cubicBezTo>
                <a:cubicBezTo>
                  <a:pt x="559636" y="102859"/>
                  <a:pt x="551982" y="103841"/>
                  <a:pt x="545319" y="104476"/>
                </a:cubicBezTo>
                <a:cubicBezTo>
                  <a:pt x="507332" y="108094"/>
                  <a:pt x="469119" y="108709"/>
                  <a:pt x="431019" y="110826"/>
                </a:cubicBezTo>
                <a:cubicBezTo>
                  <a:pt x="426786" y="117176"/>
                  <a:pt x="421732" y="123050"/>
                  <a:pt x="418319" y="129876"/>
                </a:cubicBezTo>
                <a:cubicBezTo>
                  <a:pt x="415326" y="135863"/>
                  <a:pt x="417196" y="144745"/>
                  <a:pt x="411969" y="148926"/>
                </a:cubicBezTo>
                <a:cubicBezTo>
                  <a:pt x="405154" y="154378"/>
                  <a:pt x="395271" y="154607"/>
                  <a:pt x="386569" y="155276"/>
                </a:cubicBezTo>
                <a:cubicBezTo>
                  <a:pt x="340092" y="158851"/>
                  <a:pt x="293436" y="159509"/>
                  <a:pt x="246869" y="161626"/>
                </a:cubicBezTo>
                <a:cubicBezTo>
                  <a:pt x="244752" y="167976"/>
                  <a:pt x="241466" y="174050"/>
                  <a:pt x="240519" y="180676"/>
                </a:cubicBezTo>
                <a:cubicBezTo>
                  <a:pt x="237213" y="203820"/>
                  <a:pt x="241562" y="228346"/>
                  <a:pt x="234169" y="250526"/>
                </a:cubicBezTo>
                <a:cubicBezTo>
                  <a:pt x="232052" y="256876"/>
                  <a:pt x="221555" y="255037"/>
                  <a:pt x="215119" y="256876"/>
                </a:cubicBezTo>
                <a:cubicBezTo>
                  <a:pt x="206728" y="259274"/>
                  <a:pt x="197891" y="260162"/>
                  <a:pt x="189719" y="263226"/>
                </a:cubicBezTo>
                <a:cubicBezTo>
                  <a:pt x="180856" y="266550"/>
                  <a:pt x="173108" y="272410"/>
                  <a:pt x="164319" y="275926"/>
                </a:cubicBezTo>
                <a:cubicBezTo>
                  <a:pt x="151890" y="280898"/>
                  <a:pt x="126219" y="288626"/>
                  <a:pt x="126219" y="288626"/>
                </a:cubicBezTo>
                <a:cubicBezTo>
                  <a:pt x="119869" y="294976"/>
                  <a:pt x="107766" y="298716"/>
                  <a:pt x="107169" y="307676"/>
                </a:cubicBezTo>
                <a:cubicBezTo>
                  <a:pt x="104869" y="342177"/>
                  <a:pt x="115911" y="372002"/>
                  <a:pt x="126219" y="402926"/>
                </a:cubicBezTo>
                <a:cubicBezTo>
                  <a:pt x="124102" y="413509"/>
                  <a:pt x="126142" y="425893"/>
                  <a:pt x="119869" y="434676"/>
                </a:cubicBezTo>
                <a:cubicBezTo>
                  <a:pt x="114367" y="442379"/>
                  <a:pt x="102688" y="442680"/>
                  <a:pt x="94469" y="447376"/>
                </a:cubicBezTo>
                <a:cubicBezTo>
                  <a:pt x="60002" y="467071"/>
                  <a:pt x="91296" y="454784"/>
                  <a:pt x="56369" y="466426"/>
                </a:cubicBezTo>
                <a:lnTo>
                  <a:pt x="43669" y="504526"/>
                </a:lnTo>
                <a:lnTo>
                  <a:pt x="37319" y="523576"/>
                </a:lnTo>
                <a:cubicBezTo>
                  <a:pt x="34979" y="539957"/>
                  <a:pt x="33485" y="569343"/>
                  <a:pt x="24619" y="587076"/>
                </a:cubicBezTo>
                <a:cubicBezTo>
                  <a:pt x="0" y="636315"/>
                  <a:pt x="21530" y="577293"/>
                  <a:pt x="5569" y="625176"/>
                </a:cubicBezTo>
                <a:cubicBezTo>
                  <a:pt x="24300" y="637663"/>
                  <a:pt x="28390" y="638591"/>
                  <a:pt x="43669" y="656926"/>
                </a:cubicBezTo>
                <a:cubicBezTo>
                  <a:pt x="48555" y="662789"/>
                  <a:pt x="52136" y="669626"/>
                  <a:pt x="56369" y="675976"/>
                </a:cubicBezTo>
                <a:cubicBezTo>
                  <a:pt x="54252" y="688676"/>
                  <a:pt x="55248" y="702311"/>
                  <a:pt x="50019" y="714076"/>
                </a:cubicBezTo>
                <a:cubicBezTo>
                  <a:pt x="46372" y="722282"/>
                  <a:pt x="35950" y="725654"/>
                  <a:pt x="30969" y="733126"/>
                </a:cubicBezTo>
                <a:cubicBezTo>
                  <a:pt x="23280" y="744659"/>
                  <a:pt x="24619" y="752777"/>
                  <a:pt x="24619" y="764876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2" name="Freeform 101"/>
          <p:cNvSpPr/>
          <p:nvPr/>
        </p:nvSpPr>
        <p:spPr>
          <a:xfrm>
            <a:off x="3103838" y="1882775"/>
            <a:ext cx="660400" cy="377825"/>
          </a:xfrm>
          <a:custGeom>
            <a:avLst/>
            <a:gdLst>
              <a:gd name="connsiteX0" fmla="*/ 0 w 660400"/>
              <a:gd name="connsiteY0" fmla="*/ 378388 h 378388"/>
              <a:gd name="connsiteX1" fmla="*/ 19050 w 660400"/>
              <a:gd name="connsiteY1" fmla="*/ 365688 h 378388"/>
              <a:gd name="connsiteX2" fmla="*/ 133350 w 660400"/>
              <a:gd name="connsiteY2" fmla="*/ 352988 h 378388"/>
              <a:gd name="connsiteX3" fmla="*/ 158750 w 660400"/>
              <a:gd name="connsiteY3" fmla="*/ 302188 h 378388"/>
              <a:gd name="connsiteX4" fmla="*/ 171450 w 660400"/>
              <a:gd name="connsiteY4" fmla="*/ 264088 h 378388"/>
              <a:gd name="connsiteX5" fmla="*/ 209550 w 660400"/>
              <a:gd name="connsiteY5" fmla="*/ 251388 h 378388"/>
              <a:gd name="connsiteX6" fmla="*/ 228600 w 660400"/>
              <a:gd name="connsiteY6" fmla="*/ 245038 h 378388"/>
              <a:gd name="connsiteX7" fmla="*/ 260350 w 660400"/>
              <a:gd name="connsiteY7" fmla="*/ 206938 h 378388"/>
              <a:gd name="connsiteX8" fmla="*/ 279400 w 660400"/>
              <a:gd name="connsiteY8" fmla="*/ 194238 h 378388"/>
              <a:gd name="connsiteX9" fmla="*/ 330200 w 660400"/>
              <a:gd name="connsiteY9" fmla="*/ 187888 h 378388"/>
              <a:gd name="connsiteX10" fmla="*/ 349250 w 660400"/>
              <a:gd name="connsiteY10" fmla="*/ 143438 h 378388"/>
              <a:gd name="connsiteX11" fmla="*/ 374650 w 660400"/>
              <a:gd name="connsiteY11" fmla="*/ 79938 h 378388"/>
              <a:gd name="connsiteX12" fmla="*/ 393700 w 660400"/>
              <a:gd name="connsiteY12" fmla="*/ 67238 h 378388"/>
              <a:gd name="connsiteX13" fmla="*/ 438150 w 660400"/>
              <a:gd name="connsiteY13" fmla="*/ 60888 h 378388"/>
              <a:gd name="connsiteX14" fmla="*/ 533400 w 660400"/>
              <a:gd name="connsiteY14" fmla="*/ 41838 h 378388"/>
              <a:gd name="connsiteX15" fmla="*/ 660400 w 660400"/>
              <a:gd name="connsiteY15" fmla="*/ 16438 h 378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60400" h="378388">
                <a:moveTo>
                  <a:pt x="0" y="378388"/>
                </a:moveTo>
                <a:cubicBezTo>
                  <a:pt x="6350" y="374155"/>
                  <a:pt x="12224" y="369101"/>
                  <a:pt x="19050" y="365688"/>
                </a:cubicBezTo>
                <a:cubicBezTo>
                  <a:pt x="49350" y="350538"/>
                  <a:pt x="121449" y="353781"/>
                  <a:pt x="133350" y="352988"/>
                </a:cubicBezTo>
                <a:cubicBezTo>
                  <a:pt x="163406" y="322932"/>
                  <a:pt x="146583" y="346799"/>
                  <a:pt x="158750" y="302188"/>
                </a:cubicBezTo>
                <a:cubicBezTo>
                  <a:pt x="162272" y="289273"/>
                  <a:pt x="158750" y="268321"/>
                  <a:pt x="171450" y="264088"/>
                </a:cubicBezTo>
                <a:lnTo>
                  <a:pt x="209550" y="251388"/>
                </a:lnTo>
                <a:lnTo>
                  <a:pt x="228600" y="245038"/>
                </a:lnTo>
                <a:cubicBezTo>
                  <a:pt x="241087" y="226307"/>
                  <a:pt x="242015" y="222217"/>
                  <a:pt x="260350" y="206938"/>
                </a:cubicBezTo>
                <a:cubicBezTo>
                  <a:pt x="266213" y="202052"/>
                  <a:pt x="272037" y="196246"/>
                  <a:pt x="279400" y="194238"/>
                </a:cubicBezTo>
                <a:cubicBezTo>
                  <a:pt x="295864" y="189748"/>
                  <a:pt x="313267" y="190005"/>
                  <a:pt x="330200" y="187888"/>
                </a:cubicBezTo>
                <a:cubicBezTo>
                  <a:pt x="350640" y="126567"/>
                  <a:pt x="317863" y="221905"/>
                  <a:pt x="349250" y="143438"/>
                </a:cubicBezTo>
                <a:cubicBezTo>
                  <a:pt x="354716" y="129772"/>
                  <a:pt x="363195" y="93684"/>
                  <a:pt x="374650" y="79938"/>
                </a:cubicBezTo>
                <a:cubicBezTo>
                  <a:pt x="379536" y="74075"/>
                  <a:pt x="386390" y="69431"/>
                  <a:pt x="393700" y="67238"/>
                </a:cubicBezTo>
                <a:cubicBezTo>
                  <a:pt x="408036" y="62937"/>
                  <a:pt x="423333" y="63005"/>
                  <a:pt x="438150" y="60888"/>
                </a:cubicBezTo>
                <a:cubicBezTo>
                  <a:pt x="494434" y="42127"/>
                  <a:pt x="462945" y="49666"/>
                  <a:pt x="533400" y="41838"/>
                </a:cubicBezTo>
                <a:cubicBezTo>
                  <a:pt x="596156" y="0"/>
                  <a:pt x="556236" y="16438"/>
                  <a:pt x="660400" y="16438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3" name="Freeform 102"/>
          <p:cNvSpPr/>
          <p:nvPr/>
        </p:nvSpPr>
        <p:spPr>
          <a:xfrm>
            <a:off x="3478488" y="742949"/>
            <a:ext cx="508000" cy="1339851"/>
          </a:xfrm>
          <a:custGeom>
            <a:avLst/>
            <a:gdLst>
              <a:gd name="connsiteX0" fmla="*/ 508000 w 508000"/>
              <a:gd name="connsiteY0" fmla="*/ 1339850 h 1339850"/>
              <a:gd name="connsiteX1" fmla="*/ 501650 w 508000"/>
              <a:gd name="connsiteY1" fmla="*/ 1308100 h 1339850"/>
              <a:gd name="connsiteX2" fmla="*/ 488950 w 508000"/>
              <a:gd name="connsiteY2" fmla="*/ 1289050 h 1339850"/>
              <a:gd name="connsiteX3" fmla="*/ 482600 w 508000"/>
              <a:gd name="connsiteY3" fmla="*/ 1270000 h 1339850"/>
              <a:gd name="connsiteX4" fmla="*/ 463550 w 508000"/>
              <a:gd name="connsiteY4" fmla="*/ 1231900 h 1339850"/>
              <a:gd name="connsiteX5" fmla="*/ 450850 w 508000"/>
              <a:gd name="connsiteY5" fmla="*/ 1149350 h 1339850"/>
              <a:gd name="connsiteX6" fmla="*/ 444500 w 508000"/>
              <a:gd name="connsiteY6" fmla="*/ 1123950 h 1339850"/>
              <a:gd name="connsiteX7" fmla="*/ 406400 w 508000"/>
              <a:gd name="connsiteY7" fmla="*/ 1098550 h 1339850"/>
              <a:gd name="connsiteX8" fmla="*/ 381000 w 508000"/>
              <a:gd name="connsiteY8" fmla="*/ 1060450 h 1339850"/>
              <a:gd name="connsiteX9" fmla="*/ 361950 w 508000"/>
              <a:gd name="connsiteY9" fmla="*/ 996950 h 1339850"/>
              <a:gd name="connsiteX10" fmla="*/ 342900 w 508000"/>
              <a:gd name="connsiteY10" fmla="*/ 958850 h 1339850"/>
              <a:gd name="connsiteX11" fmla="*/ 323850 w 508000"/>
              <a:gd name="connsiteY11" fmla="*/ 952500 h 1339850"/>
              <a:gd name="connsiteX12" fmla="*/ 304800 w 508000"/>
              <a:gd name="connsiteY12" fmla="*/ 939800 h 1339850"/>
              <a:gd name="connsiteX13" fmla="*/ 279400 w 508000"/>
              <a:gd name="connsiteY13" fmla="*/ 933450 h 1339850"/>
              <a:gd name="connsiteX14" fmla="*/ 241300 w 508000"/>
              <a:gd name="connsiteY14" fmla="*/ 920750 h 1339850"/>
              <a:gd name="connsiteX15" fmla="*/ 222250 w 508000"/>
              <a:gd name="connsiteY15" fmla="*/ 914400 h 1339850"/>
              <a:gd name="connsiteX16" fmla="*/ 203200 w 508000"/>
              <a:gd name="connsiteY16" fmla="*/ 908050 h 1339850"/>
              <a:gd name="connsiteX17" fmla="*/ 190500 w 508000"/>
              <a:gd name="connsiteY17" fmla="*/ 882650 h 1339850"/>
              <a:gd name="connsiteX18" fmla="*/ 165100 w 508000"/>
              <a:gd name="connsiteY18" fmla="*/ 844550 h 1339850"/>
              <a:gd name="connsiteX19" fmla="*/ 133350 w 508000"/>
              <a:gd name="connsiteY19" fmla="*/ 787400 h 1339850"/>
              <a:gd name="connsiteX20" fmla="*/ 114300 w 508000"/>
              <a:gd name="connsiteY20" fmla="*/ 781050 h 1339850"/>
              <a:gd name="connsiteX21" fmla="*/ 69850 w 508000"/>
              <a:gd name="connsiteY21" fmla="*/ 742950 h 1339850"/>
              <a:gd name="connsiteX22" fmla="*/ 57150 w 508000"/>
              <a:gd name="connsiteY22" fmla="*/ 704850 h 1339850"/>
              <a:gd name="connsiteX23" fmla="*/ 44450 w 508000"/>
              <a:gd name="connsiteY23" fmla="*/ 660400 h 1339850"/>
              <a:gd name="connsiteX24" fmla="*/ 38100 w 508000"/>
              <a:gd name="connsiteY24" fmla="*/ 641350 h 1339850"/>
              <a:gd name="connsiteX25" fmla="*/ 31750 w 508000"/>
              <a:gd name="connsiteY25" fmla="*/ 609600 h 1339850"/>
              <a:gd name="connsiteX26" fmla="*/ 19050 w 508000"/>
              <a:gd name="connsiteY26" fmla="*/ 571500 h 1339850"/>
              <a:gd name="connsiteX27" fmla="*/ 0 w 508000"/>
              <a:gd name="connsiteY27" fmla="*/ 533400 h 1339850"/>
              <a:gd name="connsiteX28" fmla="*/ 6350 w 508000"/>
              <a:gd name="connsiteY28" fmla="*/ 495300 h 1339850"/>
              <a:gd name="connsiteX29" fmla="*/ 38100 w 508000"/>
              <a:gd name="connsiteY29" fmla="*/ 457200 h 1339850"/>
              <a:gd name="connsiteX30" fmla="*/ 50800 w 508000"/>
              <a:gd name="connsiteY30" fmla="*/ 419100 h 1339850"/>
              <a:gd name="connsiteX31" fmla="*/ 31750 w 508000"/>
              <a:gd name="connsiteY31" fmla="*/ 342900 h 1339850"/>
              <a:gd name="connsiteX32" fmla="*/ 25400 w 508000"/>
              <a:gd name="connsiteY32" fmla="*/ 323850 h 1339850"/>
              <a:gd name="connsiteX33" fmla="*/ 19050 w 508000"/>
              <a:gd name="connsiteY33" fmla="*/ 304800 h 1339850"/>
              <a:gd name="connsiteX34" fmla="*/ 25400 w 508000"/>
              <a:gd name="connsiteY34" fmla="*/ 228600 h 1339850"/>
              <a:gd name="connsiteX35" fmla="*/ 44450 w 508000"/>
              <a:gd name="connsiteY35" fmla="*/ 215900 h 1339850"/>
              <a:gd name="connsiteX36" fmla="*/ 69850 w 508000"/>
              <a:gd name="connsiteY36" fmla="*/ 177800 h 1339850"/>
              <a:gd name="connsiteX37" fmla="*/ 82550 w 508000"/>
              <a:gd name="connsiteY37" fmla="*/ 139700 h 1339850"/>
              <a:gd name="connsiteX38" fmla="*/ 88900 w 508000"/>
              <a:gd name="connsiteY38" fmla="*/ 107950 h 1339850"/>
              <a:gd name="connsiteX39" fmla="*/ 101600 w 508000"/>
              <a:gd name="connsiteY39" fmla="*/ 88900 h 1339850"/>
              <a:gd name="connsiteX40" fmla="*/ 120650 w 508000"/>
              <a:gd name="connsiteY40" fmla="*/ 82550 h 1339850"/>
              <a:gd name="connsiteX41" fmla="*/ 196850 w 508000"/>
              <a:gd name="connsiteY41" fmla="*/ 69850 h 1339850"/>
              <a:gd name="connsiteX42" fmla="*/ 222250 w 508000"/>
              <a:gd name="connsiteY42" fmla="*/ 31750 h 1339850"/>
              <a:gd name="connsiteX43" fmla="*/ 228600 w 508000"/>
              <a:gd name="connsiteY43" fmla="*/ 0 h 133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08000" h="1339850">
                <a:moveTo>
                  <a:pt x="508000" y="1339850"/>
                </a:moveTo>
                <a:cubicBezTo>
                  <a:pt x="505883" y="1329267"/>
                  <a:pt x="505440" y="1318206"/>
                  <a:pt x="501650" y="1308100"/>
                </a:cubicBezTo>
                <a:cubicBezTo>
                  <a:pt x="498970" y="1300954"/>
                  <a:pt x="492363" y="1295876"/>
                  <a:pt x="488950" y="1289050"/>
                </a:cubicBezTo>
                <a:cubicBezTo>
                  <a:pt x="485957" y="1283063"/>
                  <a:pt x="485593" y="1275987"/>
                  <a:pt x="482600" y="1270000"/>
                </a:cubicBezTo>
                <a:cubicBezTo>
                  <a:pt x="457981" y="1220761"/>
                  <a:pt x="479511" y="1279783"/>
                  <a:pt x="463550" y="1231900"/>
                </a:cubicBezTo>
                <a:cubicBezTo>
                  <a:pt x="453337" y="1129771"/>
                  <a:pt x="464933" y="1198640"/>
                  <a:pt x="450850" y="1149350"/>
                </a:cubicBezTo>
                <a:cubicBezTo>
                  <a:pt x="448452" y="1140959"/>
                  <a:pt x="450247" y="1130518"/>
                  <a:pt x="444500" y="1123950"/>
                </a:cubicBezTo>
                <a:cubicBezTo>
                  <a:pt x="434449" y="1112463"/>
                  <a:pt x="406400" y="1098550"/>
                  <a:pt x="406400" y="1098550"/>
                </a:cubicBezTo>
                <a:cubicBezTo>
                  <a:pt x="397933" y="1085850"/>
                  <a:pt x="384702" y="1075258"/>
                  <a:pt x="381000" y="1060450"/>
                </a:cubicBezTo>
                <a:cubicBezTo>
                  <a:pt x="371403" y="1022063"/>
                  <a:pt x="377410" y="1043329"/>
                  <a:pt x="361950" y="996950"/>
                </a:cubicBezTo>
                <a:cubicBezTo>
                  <a:pt x="357767" y="984401"/>
                  <a:pt x="354091" y="967802"/>
                  <a:pt x="342900" y="958850"/>
                </a:cubicBezTo>
                <a:cubicBezTo>
                  <a:pt x="337673" y="954669"/>
                  <a:pt x="329837" y="955493"/>
                  <a:pt x="323850" y="952500"/>
                </a:cubicBezTo>
                <a:cubicBezTo>
                  <a:pt x="317024" y="949087"/>
                  <a:pt x="311815" y="942806"/>
                  <a:pt x="304800" y="939800"/>
                </a:cubicBezTo>
                <a:cubicBezTo>
                  <a:pt x="296778" y="936362"/>
                  <a:pt x="287759" y="935958"/>
                  <a:pt x="279400" y="933450"/>
                </a:cubicBezTo>
                <a:cubicBezTo>
                  <a:pt x="266578" y="929603"/>
                  <a:pt x="254000" y="924983"/>
                  <a:pt x="241300" y="920750"/>
                </a:cubicBezTo>
                <a:lnTo>
                  <a:pt x="222250" y="914400"/>
                </a:lnTo>
                <a:lnTo>
                  <a:pt x="203200" y="908050"/>
                </a:lnTo>
                <a:cubicBezTo>
                  <a:pt x="198967" y="899583"/>
                  <a:pt x="195370" y="890767"/>
                  <a:pt x="190500" y="882650"/>
                </a:cubicBezTo>
                <a:cubicBezTo>
                  <a:pt x="182647" y="869562"/>
                  <a:pt x="169927" y="859030"/>
                  <a:pt x="165100" y="844550"/>
                </a:cubicBezTo>
                <a:cubicBezTo>
                  <a:pt x="155633" y="816149"/>
                  <a:pt x="157792" y="803695"/>
                  <a:pt x="133350" y="787400"/>
                </a:cubicBezTo>
                <a:cubicBezTo>
                  <a:pt x="127781" y="783687"/>
                  <a:pt x="120650" y="783167"/>
                  <a:pt x="114300" y="781050"/>
                </a:cubicBezTo>
                <a:cubicBezTo>
                  <a:pt x="105541" y="774480"/>
                  <a:pt x="76168" y="754322"/>
                  <a:pt x="69850" y="742950"/>
                </a:cubicBezTo>
                <a:cubicBezTo>
                  <a:pt x="63349" y="731248"/>
                  <a:pt x="61383" y="717550"/>
                  <a:pt x="57150" y="704850"/>
                </a:cubicBezTo>
                <a:cubicBezTo>
                  <a:pt x="41925" y="659175"/>
                  <a:pt x="60397" y="716214"/>
                  <a:pt x="44450" y="660400"/>
                </a:cubicBezTo>
                <a:cubicBezTo>
                  <a:pt x="42611" y="653964"/>
                  <a:pt x="39723" y="647844"/>
                  <a:pt x="38100" y="641350"/>
                </a:cubicBezTo>
                <a:cubicBezTo>
                  <a:pt x="35482" y="630879"/>
                  <a:pt x="34590" y="620013"/>
                  <a:pt x="31750" y="609600"/>
                </a:cubicBezTo>
                <a:cubicBezTo>
                  <a:pt x="28228" y="596685"/>
                  <a:pt x="26476" y="582639"/>
                  <a:pt x="19050" y="571500"/>
                </a:cubicBezTo>
                <a:cubicBezTo>
                  <a:pt x="2637" y="546881"/>
                  <a:pt x="8763" y="559690"/>
                  <a:pt x="0" y="533400"/>
                </a:cubicBezTo>
                <a:cubicBezTo>
                  <a:pt x="2117" y="520700"/>
                  <a:pt x="2279" y="507514"/>
                  <a:pt x="6350" y="495300"/>
                </a:cubicBezTo>
                <a:cubicBezTo>
                  <a:pt x="10770" y="482039"/>
                  <a:pt x="29258" y="466042"/>
                  <a:pt x="38100" y="457200"/>
                </a:cubicBezTo>
                <a:cubicBezTo>
                  <a:pt x="42333" y="444500"/>
                  <a:pt x="53001" y="432305"/>
                  <a:pt x="50800" y="419100"/>
                </a:cubicBezTo>
                <a:cubicBezTo>
                  <a:pt x="42249" y="367795"/>
                  <a:pt x="48521" y="393214"/>
                  <a:pt x="31750" y="342900"/>
                </a:cubicBezTo>
                <a:lnTo>
                  <a:pt x="25400" y="323850"/>
                </a:lnTo>
                <a:lnTo>
                  <a:pt x="19050" y="304800"/>
                </a:lnTo>
                <a:cubicBezTo>
                  <a:pt x="21167" y="279400"/>
                  <a:pt x="18398" y="253107"/>
                  <a:pt x="25400" y="228600"/>
                </a:cubicBezTo>
                <a:cubicBezTo>
                  <a:pt x="27497" y="221262"/>
                  <a:pt x="39424" y="221643"/>
                  <a:pt x="44450" y="215900"/>
                </a:cubicBezTo>
                <a:cubicBezTo>
                  <a:pt x="54501" y="204413"/>
                  <a:pt x="65023" y="192280"/>
                  <a:pt x="69850" y="177800"/>
                </a:cubicBezTo>
                <a:cubicBezTo>
                  <a:pt x="74083" y="165100"/>
                  <a:pt x="79925" y="152827"/>
                  <a:pt x="82550" y="139700"/>
                </a:cubicBezTo>
                <a:cubicBezTo>
                  <a:pt x="84667" y="129117"/>
                  <a:pt x="85110" y="118056"/>
                  <a:pt x="88900" y="107950"/>
                </a:cubicBezTo>
                <a:cubicBezTo>
                  <a:pt x="91580" y="100804"/>
                  <a:pt x="95641" y="93668"/>
                  <a:pt x="101600" y="88900"/>
                </a:cubicBezTo>
                <a:cubicBezTo>
                  <a:pt x="106827" y="84719"/>
                  <a:pt x="114064" y="83747"/>
                  <a:pt x="120650" y="82550"/>
                </a:cubicBezTo>
                <a:cubicBezTo>
                  <a:pt x="229660" y="62730"/>
                  <a:pt x="129554" y="86674"/>
                  <a:pt x="196850" y="69850"/>
                </a:cubicBezTo>
                <a:cubicBezTo>
                  <a:pt x="211949" y="24554"/>
                  <a:pt x="190539" y="79316"/>
                  <a:pt x="222250" y="31750"/>
                </a:cubicBezTo>
                <a:cubicBezTo>
                  <a:pt x="229939" y="20217"/>
                  <a:pt x="228600" y="12099"/>
                  <a:pt x="22860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5" name="Freeform 104"/>
          <p:cNvSpPr/>
          <p:nvPr/>
        </p:nvSpPr>
        <p:spPr>
          <a:xfrm>
            <a:off x="3618188" y="984251"/>
            <a:ext cx="63500" cy="539751"/>
          </a:xfrm>
          <a:custGeom>
            <a:avLst/>
            <a:gdLst>
              <a:gd name="connsiteX0" fmla="*/ 6350 w 63500"/>
              <a:gd name="connsiteY0" fmla="*/ 539750 h 539750"/>
              <a:gd name="connsiteX1" fmla="*/ 12700 w 63500"/>
              <a:gd name="connsiteY1" fmla="*/ 488950 h 539750"/>
              <a:gd name="connsiteX2" fmla="*/ 0 w 63500"/>
              <a:gd name="connsiteY2" fmla="*/ 393700 h 539750"/>
              <a:gd name="connsiteX3" fmla="*/ 6350 w 63500"/>
              <a:gd name="connsiteY3" fmla="*/ 342900 h 539750"/>
              <a:gd name="connsiteX4" fmla="*/ 19050 w 63500"/>
              <a:gd name="connsiteY4" fmla="*/ 298450 h 539750"/>
              <a:gd name="connsiteX5" fmla="*/ 12700 w 63500"/>
              <a:gd name="connsiteY5" fmla="*/ 254000 h 539750"/>
              <a:gd name="connsiteX6" fmla="*/ 0 w 63500"/>
              <a:gd name="connsiteY6" fmla="*/ 215900 h 539750"/>
              <a:gd name="connsiteX7" fmla="*/ 6350 w 63500"/>
              <a:gd name="connsiteY7" fmla="*/ 88900 h 539750"/>
              <a:gd name="connsiteX8" fmla="*/ 12700 w 63500"/>
              <a:gd name="connsiteY8" fmla="*/ 69850 h 539750"/>
              <a:gd name="connsiteX9" fmla="*/ 31750 w 63500"/>
              <a:gd name="connsiteY9" fmla="*/ 57150 h 539750"/>
              <a:gd name="connsiteX10" fmla="*/ 50800 w 63500"/>
              <a:gd name="connsiteY10" fmla="*/ 38100 h 539750"/>
              <a:gd name="connsiteX11" fmla="*/ 63500 w 63500"/>
              <a:gd name="connsiteY11" fmla="*/ 0 h 53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3500" h="539750">
                <a:moveTo>
                  <a:pt x="6350" y="539750"/>
                </a:moveTo>
                <a:cubicBezTo>
                  <a:pt x="8467" y="522817"/>
                  <a:pt x="12700" y="506015"/>
                  <a:pt x="12700" y="488950"/>
                </a:cubicBezTo>
                <a:cubicBezTo>
                  <a:pt x="12700" y="451830"/>
                  <a:pt x="6755" y="427476"/>
                  <a:pt x="0" y="393700"/>
                </a:cubicBezTo>
                <a:cubicBezTo>
                  <a:pt x="2117" y="376767"/>
                  <a:pt x="3545" y="359733"/>
                  <a:pt x="6350" y="342900"/>
                </a:cubicBezTo>
                <a:cubicBezTo>
                  <a:pt x="9008" y="326953"/>
                  <a:pt x="14017" y="313549"/>
                  <a:pt x="19050" y="298450"/>
                </a:cubicBezTo>
                <a:cubicBezTo>
                  <a:pt x="16933" y="283633"/>
                  <a:pt x="16065" y="268584"/>
                  <a:pt x="12700" y="254000"/>
                </a:cubicBezTo>
                <a:cubicBezTo>
                  <a:pt x="9690" y="240956"/>
                  <a:pt x="0" y="215900"/>
                  <a:pt x="0" y="215900"/>
                </a:cubicBezTo>
                <a:cubicBezTo>
                  <a:pt x="2117" y="173567"/>
                  <a:pt x="2678" y="131127"/>
                  <a:pt x="6350" y="88900"/>
                </a:cubicBezTo>
                <a:cubicBezTo>
                  <a:pt x="6930" y="82232"/>
                  <a:pt x="8519" y="75077"/>
                  <a:pt x="12700" y="69850"/>
                </a:cubicBezTo>
                <a:cubicBezTo>
                  <a:pt x="17468" y="63891"/>
                  <a:pt x="25887" y="62036"/>
                  <a:pt x="31750" y="57150"/>
                </a:cubicBezTo>
                <a:cubicBezTo>
                  <a:pt x="38649" y="51401"/>
                  <a:pt x="44450" y="44450"/>
                  <a:pt x="50800" y="38100"/>
                </a:cubicBezTo>
                <a:cubicBezTo>
                  <a:pt x="58298" y="8108"/>
                  <a:pt x="53247" y="20506"/>
                  <a:pt x="6350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0" name="Freeform 109"/>
          <p:cNvSpPr/>
          <p:nvPr/>
        </p:nvSpPr>
        <p:spPr>
          <a:xfrm>
            <a:off x="4032526" y="1200151"/>
            <a:ext cx="506412" cy="869951"/>
          </a:xfrm>
          <a:custGeom>
            <a:avLst/>
            <a:gdLst>
              <a:gd name="connsiteX0" fmla="*/ 505784 w 505784"/>
              <a:gd name="connsiteY0" fmla="*/ 869950 h 869950"/>
              <a:gd name="connsiteX1" fmla="*/ 480384 w 505784"/>
              <a:gd name="connsiteY1" fmla="*/ 793750 h 869950"/>
              <a:gd name="connsiteX2" fmla="*/ 461334 w 505784"/>
              <a:gd name="connsiteY2" fmla="*/ 781050 h 869950"/>
              <a:gd name="connsiteX3" fmla="*/ 448634 w 505784"/>
              <a:gd name="connsiteY3" fmla="*/ 762000 h 869950"/>
              <a:gd name="connsiteX4" fmla="*/ 289884 w 505784"/>
              <a:gd name="connsiteY4" fmla="*/ 730250 h 869950"/>
              <a:gd name="connsiteX5" fmla="*/ 283534 w 505784"/>
              <a:gd name="connsiteY5" fmla="*/ 711200 h 869950"/>
              <a:gd name="connsiteX6" fmla="*/ 270834 w 505784"/>
              <a:gd name="connsiteY6" fmla="*/ 692150 h 869950"/>
              <a:gd name="connsiteX7" fmla="*/ 245434 w 505784"/>
              <a:gd name="connsiteY7" fmla="*/ 628650 h 869950"/>
              <a:gd name="connsiteX8" fmla="*/ 207334 w 505784"/>
              <a:gd name="connsiteY8" fmla="*/ 603250 h 869950"/>
              <a:gd name="connsiteX9" fmla="*/ 188284 w 505784"/>
              <a:gd name="connsiteY9" fmla="*/ 590550 h 869950"/>
              <a:gd name="connsiteX10" fmla="*/ 162884 w 505784"/>
              <a:gd name="connsiteY10" fmla="*/ 533400 h 869950"/>
              <a:gd name="connsiteX11" fmla="*/ 112084 w 505784"/>
              <a:gd name="connsiteY11" fmla="*/ 514350 h 869950"/>
              <a:gd name="connsiteX12" fmla="*/ 93034 w 505784"/>
              <a:gd name="connsiteY12" fmla="*/ 508000 h 869950"/>
              <a:gd name="connsiteX13" fmla="*/ 99384 w 505784"/>
              <a:gd name="connsiteY13" fmla="*/ 450850 h 869950"/>
              <a:gd name="connsiteX14" fmla="*/ 99384 w 505784"/>
              <a:gd name="connsiteY14" fmla="*/ 393700 h 869950"/>
              <a:gd name="connsiteX15" fmla="*/ 80334 w 505784"/>
              <a:gd name="connsiteY15" fmla="*/ 381000 h 869950"/>
              <a:gd name="connsiteX16" fmla="*/ 61284 w 505784"/>
              <a:gd name="connsiteY16" fmla="*/ 361950 h 869950"/>
              <a:gd name="connsiteX17" fmla="*/ 35884 w 505784"/>
              <a:gd name="connsiteY17" fmla="*/ 323850 h 869950"/>
              <a:gd name="connsiteX18" fmla="*/ 23184 w 505784"/>
              <a:gd name="connsiteY18" fmla="*/ 285750 h 869950"/>
              <a:gd name="connsiteX19" fmla="*/ 118434 w 505784"/>
              <a:gd name="connsiteY19" fmla="*/ 260350 h 869950"/>
              <a:gd name="connsiteX20" fmla="*/ 112084 w 505784"/>
              <a:gd name="connsiteY20" fmla="*/ 234950 h 869950"/>
              <a:gd name="connsiteX21" fmla="*/ 93034 w 505784"/>
              <a:gd name="connsiteY21" fmla="*/ 222250 h 869950"/>
              <a:gd name="connsiteX22" fmla="*/ 29534 w 505784"/>
              <a:gd name="connsiteY22" fmla="*/ 203200 h 869950"/>
              <a:gd name="connsiteX23" fmla="*/ 29534 w 505784"/>
              <a:gd name="connsiteY23" fmla="*/ 146050 h 869950"/>
              <a:gd name="connsiteX24" fmla="*/ 35884 w 505784"/>
              <a:gd name="connsiteY24" fmla="*/ 127000 h 869950"/>
              <a:gd name="connsiteX25" fmla="*/ 73984 w 505784"/>
              <a:gd name="connsiteY25" fmla="*/ 120650 h 869950"/>
              <a:gd name="connsiteX26" fmla="*/ 67634 w 505784"/>
              <a:gd name="connsiteY26" fmla="*/ 69850 h 869950"/>
              <a:gd name="connsiteX27" fmla="*/ 73984 w 505784"/>
              <a:gd name="connsiteY27" fmla="*/ 19050 h 869950"/>
              <a:gd name="connsiteX28" fmla="*/ 73984 w 505784"/>
              <a:gd name="connsiteY28" fmla="*/ 0 h 869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05784" h="869950">
                <a:moveTo>
                  <a:pt x="505784" y="869950"/>
                </a:moveTo>
                <a:cubicBezTo>
                  <a:pt x="501550" y="844548"/>
                  <a:pt x="500172" y="813538"/>
                  <a:pt x="480384" y="793750"/>
                </a:cubicBezTo>
                <a:cubicBezTo>
                  <a:pt x="474988" y="788354"/>
                  <a:pt x="467684" y="785283"/>
                  <a:pt x="461334" y="781050"/>
                </a:cubicBezTo>
                <a:cubicBezTo>
                  <a:pt x="457101" y="774700"/>
                  <a:pt x="454377" y="767026"/>
                  <a:pt x="448634" y="762000"/>
                </a:cubicBezTo>
                <a:cubicBezTo>
                  <a:pt x="395166" y="715216"/>
                  <a:pt x="377912" y="734883"/>
                  <a:pt x="289884" y="730250"/>
                </a:cubicBezTo>
                <a:cubicBezTo>
                  <a:pt x="287767" y="723900"/>
                  <a:pt x="286527" y="717187"/>
                  <a:pt x="283534" y="711200"/>
                </a:cubicBezTo>
                <a:cubicBezTo>
                  <a:pt x="280121" y="704374"/>
                  <a:pt x="273027" y="699460"/>
                  <a:pt x="270834" y="692150"/>
                </a:cubicBezTo>
                <a:cubicBezTo>
                  <a:pt x="256576" y="644622"/>
                  <a:pt x="279050" y="654796"/>
                  <a:pt x="245434" y="628650"/>
                </a:cubicBezTo>
                <a:cubicBezTo>
                  <a:pt x="233386" y="619279"/>
                  <a:pt x="220034" y="611717"/>
                  <a:pt x="207334" y="603250"/>
                </a:cubicBezTo>
                <a:lnTo>
                  <a:pt x="188284" y="590550"/>
                </a:lnTo>
                <a:cubicBezTo>
                  <a:pt x="184033" y="577797"/>
                  <a:pt x="176817" y="545011"/>
                  <a:pt x="162884" y="533400"/>
                </a:cubicBezTo>
                <a:cubicBezTo>
                  <a:pt x="147444" y="520533"/>
                  <a:pt x="130288" y="519551"/>
                  <a:pt x="112084" y="514350"/>
                </a:cubicBezTo>
                <a:cubicBezTo>
                  <a:pt x="105648" y="512511"/>
                  <a:pt x="99384" y="510117"/>
                  <a:pt x="93034" y="508000"/>
                </a:cubicBezTo>
                <a:cubicBezTo>
                  <a:pt x="95151" y="488950"/>
                  <a:pt x="96233" y="469756"/>
                  <a:pt x="99384" y="450850"/>
                </a:cubicBezTo>
                <a:cubicBezTo>
                  <a:pt x="103961" y="423389"/>
                  <a:pt x="118077" y="431086"/>
                  <a:pt x="99384" y="393700"/>
                </a:cubicBezTo>
                <a:cubicBezTo>
                  <a:pt x="95971" y="386874"/>
                  <a:pt x="86197" y="385886"/>
                  <a:pt x="80334" y="381000"/>
                </a:cubicBezTo>
                <a:cubicBezTo>
                  <a:pt x="73435" y="375251"/>
                  <a:pt x="66797" y="369039"/>
                  <a:pt x="61284" y="361950"/>
                </a:cubicBezTo>
                <a:cubicBezTo>
                  <a:pt x="51913" y="349902"/>
                  <a:pt x="40711" y="338330"/>
                  <a:pt x="35884" y="323850"/>
                </a:cubicBezTo>
                <a:lnTo>
                  <a:pt x="23184" y="285750"/>
                </a:lnTo>
                <a:cubicBezTo>
                  <a:pt x="59012" y="232009"/>
                  <a:pt x="0" y="309698"/>
                  <a:pt x="118434" y="260350"/>
                </a:cubicBezTo>
                <a:cubicBezTo>
                  <a:pt x="126490" y="256993"/>
                  <a:pt x="116925" y="242212"/>
                  <a:pt x="112084" y="234950"/>
                </a:cubicBezTo>
                <a:cubicBezTo>
                  <a:pt x="107851" y="228600"/>
                  <a:pt x="100008" y="225350"/>
                  <a:pt x="93034" y="222250"/>
                </a:cubicBezTo>
                <a:cubicBezTo>
                  <a:pt x="73157" y="213416"/>
                  <a:pt x="50644" y="208477"/>
                  <a:pt x="29534" y="203200"/>
                </a:cubicBezTo>
                <a:cubicBezTo>
                  <a:pt x="9408" y="173011"/>
                  <a:pt x="14421" y="191390"/>
                  <a:pt x="29534" y="146050"/>
                </a:cubicBezTo>
                <a:cubicBezTo>
                  <a:pt x="31651" y="139700"/>
                  <a:pt x="29282" y="128100"/>
                  <a:pt x="35884" y="127000"/>
                </a:cubicBezTo>
                <a:lnTo>
                  <a:pt x="73984" y="120650"/>
                </a:lnTo>
                <a:cubicBezTo>
                  <a:pt x="71867" y="103717"/>
                  <a:pt x="67634" y="86915"/>
                  <a:pt x="67634" y="69850"/>
                </a:cubicBezTo>
                <a:cubicBezTo>
                  <a:pt x="67634" y="52785"/>
                  <a:pt x="72439" y="36045"/>
                  <a:pt x="73984" y="19050"/>
                </a:cubicBezTo>
                <a:cubicBezTo>
                  <a:pt x="74559" y="12726"/>
                  <a:pt x="73984" y="6350"/>
                  <a:pt x="7398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2" name="Freeform 111"/>
          <p:cNvSpPr/>
          <p:nvPr/>
        </p:nvSpPr>
        <p:spPr>
          <a:xfrm>
            <a:off x="3783288" y="1073151"/>
            <a:ext cx="357188" cy="660400"/>
          </a:xfrm>
          <a:custGeom>
            <a:avLst/>
            <a:gdLst>
              <a:gd name="connsiteX0" fmla="*/ 349250 w 357533"/>
              <a:gd name="connsiteY0" fmla="*/ 654050 h 659966"/>
              <a:gd name="connsiteX1" fmla="*/ 304800 w 357533"/>
              <a:gd name="connsiteY1" fmla="*/ 622300 h 659966"/>
              <a:gd name="connsiteX2" fmla="*/ 285750 w 357533"/>
              <a:gd name="connsiteY2" fmla="*/ 615950 h 659966"/>
              <a:gd name="connsiteX3" fmla="*/ 260350 w 357533"/>
              <a:gd name="connsiteY3" fmla="*/ 596900 h 659966"/>
              <a:gd name="connsiteX4" fmla="*/ 215900 w 357533"/>
              <a:gd name="connsiteY4" fmla="*/ 571500 h 659966"/>
              <a:gd name="connsiteX5" fmla="*/ 196850 w 357533"/>
              <a:gd name="connsiteY5" fmla="*/ 546100 h 659966"/>
              <a:gd name="connsiteX6" fmla="*/ 177800 w 357533"/>
              <a:gd name="connsiteY6" fmla="*/ 527050 h 659966"/>
              <a:gd name="connsiteX7" fmla="*/ 158750 w 357533"/>
              <a:gd name="connsiteY7" fmla="*/ 482600 h 659966"/>
              <a:gd name="connsiteX8" fmla="*/ 152400 w 357533"/>
              <a:gd name="connsiteY8" fmla="*/ 463550 h 659966"/>
              <a:gd name="connsiteX9" fmla="*/ 146050 w 357533"/>
              <a:gd name="connsiteY9" fmla="*/ 438150 h 659966"/>
              <a:gd name="connsiteX10" fmla="*/ 133350 w 357533"/>
              <a:gd name="connsiteY10" fmla="*/ 419100 h 659966"/>
              <a:gd name="connsiteX11" fmla="*/ 114300 w 357533"/>
              <a:gd name="connsiteY11" fmla="*/ 381000 h 659966"/>
              <a:gd name="connsiteX12" fmla="*/ 76200 w 357533"/>
              <a:gd name="connsiteY12" fmla="*/ 355600 h 659966"/>
              <a:gd name="connsiteX13" fmla="*/ 44450 w 357533"/>
              <a:gd name="connsiteY13" fmla="*/ 317500 h 659966"/>
              <a:gd name="connsiteX14" fmla="*/ 38100 w 357533"/>
              <a:gd name="connsiteY14" fmla="*/ 298450 h 659966"/>
              <a:gd name="connsiteX15" fmla="*/ 25400 w 357533"/>
              <a:gd name="connsiteY15" fmla="*/ 184150 h 659966"/>
              <a:gd name="connsiteX16" fmla="*/ 0 w 357533"/>
              <a:gd name="connsiteY16" fmla="*/ 146050 h 659966"/>
              <a:gd name="connsiteX17" fmla="*/ 19050 w 357533"/>
              <a:gd name="connsiteY17" fmla="*/ 50800 h 659966"/>
              <a:gd name="connsiteX18" fmla="*/ 25400 w 357533"/>
              <a:gd name="connsiteY18" fmla="*/ 31750 h 659966"/>
              <a:gd name="connsiteX19" fmla="*/ 31750 w 357533"/>
              <a:gd name="connsiteY19" fmla="*/ 12700 h 659966"/>
              <a:gd name="connsiteX20" fmla="*/ 44450 w 357533"/>
              <a:gd name="connsiteY20" fmla="*/ 0 h 659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7533" h="659966">
                <a:moveTo>
                  <a:pt x="349250" y="654050"/>
                </a:moveTo>
                <a:cubicBezTo>
                  <a:pt x="306207" y="639702"/>
                  <a:pt x="357533" y="659966"/>
                  <a:pt x="304800" y="622300"/>
                </a:cubicBezTo>
                <a:cubicBezTo>
                  <a:pt x="299353" y="618409"/>
                  <a:pt x="292100" y="618067"/>
                  <a:pt x="285750" y="615950"/>
                </a:cubicBezTo>
                <a:cubicBezTo>
                  <a:pt x="277283" y="609600"/>
                  <a:pt x="269325" y="602509"/>
                  <a:pt x="260350" y="596900"/>
                </a:cubicBezTo>
                <a:cubicBezTo>
                  <a:pt x="247069" y="588599"/>
                  <a:pt x="227552" y="583152"/>
                  <a:pt x="215900" y="571500"/>
                </a:cubicBezTo>
                <a:cubicBezTo>
                  <a:pt x="208416" y="564016"/>
                  <a:pt x="203738" y="554135"/>
                  <a:pt x="196850" y="546100"/>
                </a:cubicBezTo>
                <a:cubicBezTo>
                  <a:pt x="191006" y="539282"/>
                  <a:pt x="184150" y="533400"/>
                  <a:pt x="177800" y="527050"/>
                </a:cubicBezTo>
                <a:cubicBezTo>
                  <a:pt x="162908" y="482374"/>
                  <a:pt x="182290" y="537527"/>
                  <a:pt x="158750" y="482600"/>
                </a:cubicBezTo>
                <a:cubicBezTo>
                  <a:pt x="156113" y="476448"/>
                  <a:pt x="154239" y="469986"/>
                  <a:pt x="152400" y="463550"/>
                </a:cubicBezTo>
                <a:cubicBezTo>
                  <a:pt x="150002" y="455159"/>
                  <a:pt x="149488" y="446172"/>
                  <a:pt x="146050" y="438150"/>
                </a:cubicBezTo>
                <a:cubicBezTo>
                  <a:pt x="143044" y="431135"/>
                  <a:pt x="136763" y="425926"/>
                  <a:pt x="133350" y="419100"/>
                </a:cubicBezTo>
                <a:cubicBezTo>
                  <a:pt x="124794" y="401988"/>
                  <a:pt x="130476" y="395154"/>
                  <a:pt x="114300" y="381000"/>
                </a:cubicBezTo>
                <a:cubicBezTo>
                  <a:pt x="102813" y="370949"/>
                  <a:pt x="86993" y="366393"/>
                  <a:pt x="76200" y="355600"/>
                </a:cubicBezTo>
                <a:cubicBezTo>
                  <a:pt x="62156" y="341556"/>
                  <a:pt x="53291" y="335181"/>
                  <a:pt x="44450" y="317500"/>
                </a:cubicBezTo>
                <a:cubicBezTo>
                  <a:pt x="41457" y="311513"/>
                  <a:pt x="40217" y="304800"/>
                  <a:pt x="38100" y="298450"/>
                </a:cubicBezTo>
                <a:cubicBezTo>
                  <a:pt x="33867" y="260350"/>
                  <a:pt x="34697" y="221340"/>
                  <a:pt x="25400" y="184150"/>
                </a:cubicBezTo>
                <a:cubicBezTo>
                  <a:pt x="21698" y="169342"/>
                  <a:pt x="0" y="146050"/>
                  <a:pt x="0" y="146050"/>
                </a:cubicBezTo>
                <a:cubicBezTo>
                  <a:pt x="7828" y="75595"/>
                  <a:pt x="289" y="107084"/>
                  <a:pt x="19050" y="50800"/>
                </a:cubicBezTo>
                <a:lnTo>
                  <a:pt x="25400" y="31750"/>
                </a:lnTo>
                <a:cubicBezTo>
                  <a:pt x="27517" y="25400"/>
                  <a:pt x="27017" y="17433"/>
                  <a:pt x="31750" y="12700"/>
                </a:cubicBezTo>
                <a:lnTo>
                  <a:pt x="44450" y="0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3" name="Freeform 112"/>
          <p:cNvSpPr/>
          <p:nvPr/>
        </p:nvSpPr>
        <p:spPr>
          <a:xfrm>
            <a:off x="4164288" y="2101851"/>
            <a:ext cx="952500" cy="419100"/>
          </a:xfrm>
          <a:custGeom>
            <a:avLst/>
            <a:gdLst>
              <a:gd name="connsiteX0" fmla="*/ 952500 w 952500"/>
              <a:gd name="connsiteY0" fmla="*/ 0 h 419572"/>
              <a:gd name="connsiteX1" fmla="*/ 889000 w 952500"/>
              <a:gd name="connsiteY1" fmla="*/ 19050 h 419572"/>
              <a:gd name="connsiteX2" fmla="*/ 863600 w 952500"/>
              <a:gd name="connsiteY2" fmla="*/ 57150 h 419572"/>
              <a:gd name="connsiteX3" fmla="*/ 850900 w 952500"/>
              <a:gd name="connsiteY3" fmla="*/ 76200 h 419572"/>
              <a:gd name="connsiteX4" fmla="*/ 844550 w 952500"/>
              <a:gd name="connsiteY4" fmla="*/ 95250 h 419572"/>
              <a:gd name="connsiteX5" fmla="*/ 825500 w 952500"/>
              <a:gd name="connsiteY5" fmla="*/ 107950 h 419572"/>
              <a:gd name="connsiteX6" fmla="*/ 800100 w 952500"/>
              <a:gd name="connsiteY6" fmla="*/ 146050 h 419572"/>
              <a:gd name="connsiteX7" fmla="*/ 787400 w 952500"/>
              <a:gd name="connsiteY7" fmla="*/ 165100 h 419572"/>
              <a:gd name="connsiteX8" fmla="*/ 774700 w 952500"/>
              <a:gd name="connsiteY8" fmla="*/ 184150 h 419572"/>
              <a:gd name="connsiteX9" fmla="*/ 755650 w 952500"/>
              <a:gd name="connsiteY9" fmla="*/ 203200 h 419572"/>
              <a:gd name="connsiteX10" fmla="*/ 717550 w 952500"/>
              <a:gd name="connsiteY10" fmla="*/ 222250 h 419572"/>
              <a:gd name="connsiteX11" fmla="*/ 565150 w 952500"/>
              <a:gd name="connsiteY11" fmla="*/ 228600 h 419572"/>
              <a:gd name="connsiteX12" fmla="*/ 546100 w 952500"/>
              <a:gd name="connsiteY12" fmla="*/ 241300 h 419572"/>
              <a:gd name="connsiteX13" fmla="*/ 520700 w 952500"/>
              <a:gd name="connsiteY13" fmla="*/ 285750 h 419572"/>
              <a:gd name="connsiteX14" fmla="*/ 488950 w 952500"/>
              <a:gd name="connsiteY14" fmla="*/ 336550 h 419572"/>
              <a:gd name="connsiteX15" fmla="*/ 361950 w 952500"/>
              <a:gd name="connsiteY15" fmla="*/ 342900 h 419572"/>
              <a:gd name="connsiteX16" fmla="*/ 336550 w 952500"/>
              <a:gd name="connsiteY16" fmla="*/ 381000 h 419572"/>
              <a:gd name="connsiteX17" fmla="*/ 184150 w 952500"/>
              <a:gd name="connsiteY17" fmla="*/ 400050 h 419572"/>
              <a:gd name="connsiteX18" fmla="*/ 146050 w 952500"/>
              <a:gd name="connsiteY18" fmla="*/ 412750 h 419572"/>
              <a:gd name="connsiteX19" fmla="*/ 127000 w 952500"/>
              <a:gd name="connsiteY19" fmla="*/ 419100 h 419572"/>
              <a:gd name="connsiteX20" fmla="*/ 50800 w 952500"/>
              <a:gd name="connsiteY20" fmla="*/ 412750 h 419572"/>
              <a:gd name="connsiteX21" fmla="*/ 12700 w 952500"/>
              <a:gd name="connsiteY21" fmla="*/ 387350 h 419572"/>
              <a:gd name="connsiteX22" fmla="*/ 0 w 952500"/>
              <a:gd name="connsiteY22" fmla="*/ 381000 h 419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952500" h="419572">
                <a:moveTo>
                  <a:pt x="952500" y="0"/>
                </a:moveTo>
                <a:cubicBezTo>
                  <a:pt x="929916" y="3226"/>
                  <a:pt x="905502" y="191"/>
                  <a:pt x="889000" y="19050"/>
                </a:cubicBezTo>
                <a:cubicBezTo>
                  <a:pt x="878949" y="30537"/>
                  <a:pt x="872067" y="44450"/>
                  <a:pt x="863600" y="57150"/>
                </a:cubicBezTo>
                <a:cubicBezTo>
                  <a:pt x="859367" y="63500"/>
                  <a:pt x="853313" y="68960"/>
                  <a:pt x="850900" y="76200"/>
                </a:cubicBezTo>
                <a:cubicBezTo>
                  <a:pt x="848783" y="82550"/>
                  <a:pt x="848731" y="90023"/>
                  <a:pt x="844550" y="95250"/>
                </a:cubicBezTo>
                <a:cubicBezTo>
                  <a:pt x="839782" y="101209"/>
                  <a:pt x="831850" y="103717"/>
                  <a:pt x="825500" y="107950"/>
                </a:cubicBezTo>
                <a:lnTo>
                  <a:pt x="800100" y="146050"/>
                </a:lnTo>
                <a:lnTo>
                  <a:pt x="787400" y="165100"/>
                </a:lnTo>
                <a:cubicBezTo>
                  <a:pt x="783167" y="171450"/>
                  <a:pt x="780096" y="178754"/>
                  <a:pt x="774700" y="184150"/>
                </a:cubicBezTo>
                <a:cubicBezTo>
                  <a:pt x="768350" y="190500"/>
                  <a:pt x="762549" y="197451"/>
                  <a:pt x="755650" y="203200"/>
                </a:cubicBezTo>
                <a:cubicBezTo>
                  <a:pt x="746670" y="210683"/>
                  <a:pt x="730123" y="221319"/>
                  <a:pt x="717550" y="222250"/>
                </a:cubicBezTo>
                <a:cubicBezTo>
                  <a:pt x="666845" y="226006"/>
                  <a:pt x="615950" y="226483"/>
                  <a:pt x="565150" y="228600"/>
                </a:cubicBezTo>
                <a:cubicBezTo>
                  <a:pt x="558800" y="232833"/>
                  <a:pt x="551496" y="235904"/>
                  <a:pt x="546100" y="241300"/>
                </a:cubicBezTo>
                <a:cubicBezTo>
                  <a:pt x="538463" y="248937"/>
                  <a:pt x="524020" y="277449"/>
                  <a:pt x="520700" y="285750"/>
                </a:cubicBezTo>
                <a:cubicBezTo>
                  <a:pt x="514381" y="301547"/>
                  <a:pt x="514125" y="333266"/>
                  <a:pt x="488950" y="336550"/>
                </a:cubicBezTo>
                <a:cubicBezTo>
                  <a:pt x="446920" y="342032"/>
                  <a:pt x="404283" y="340783"/>
                  <a:pt x="361950" y="342900"/>
                </a:cubicBezTo>
                <a:cubicBezTo>
                  <a:pt x="353483" y="355600"/>
                  <a:pt x="351030" y="376173"/>
                  <a:pt x="336550" y="381000"/>
                </a:cubicBezTo>
                <a:cubicBezTo>
                  <a:pt x="262249" y="405767"/>
                  <a:pt x="311816" y="392957"/>
                  <a:pt x="184150" y="400050"/>
                </a:cubicBezTo>
                <a:lnTo>
                  <a:pt x="146050" y="412750"/>
                </a:lnTo>
                <a:lnTo>
                  <a:pt x="127000" y="419100"/>
                </a:lnTo>
                <a:cubicBezTo>
                  <a:pt x="101600" y="416983"/>
                  <a:pt x="75358" y="419572"/>
                  <a:pt x="50800" y="412750"/>
                </a:cubicBezTo>
                <a:cubicBezTo>
                  <a:pt x="36093" y="408665"/>
                  <a:pt x="26352" y="394176"/>
                  <a:pt x="12700" y="387350"/>
                </a:cubicBezTo>
                <a:lnTo>
                  <a:pt x="0" y="381000"/>
                </a:ln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14" name="Freeform 113"/>
          <p:cNvSpPr/>
          <p:nvPr/>
        </p:nvSpPr>
        <p:spPr>
          <a:xfrm>
            <a:off x="3495953" y="2068513"/>
            <a:ext cx="452437" cy="341312"/>
          </a:xfrm>
          <a:custGeom>
            <a:avLst/>
            <a:gdLst>
              <a:gd name="connsiteX0" fmla="*/ 453198 w 453198"/>
              <a:gd name="connsiteY0" fmla="*/ 8045 h 342065"/>
              <a:gd name="connsiteX1" fmla="*/ 364298 w 453198"/>
              <a:gd name="connsiteY1" fmla="*/ 27095 h 342065"/>
              <a:gd name="connsiteX2" fmla="*/ 345248 w 453198"/>
              <a:gd name="connsiteY2" fmla="*/ 33445 h 342065"/>
              <a:gd name="connsiteX3" fmla="*/ 307148 w 453198"/>
              <a:gd name="connsiteY3" fmla="*/ 58845 h 342065"/>
              <a:gd name="connsiteX4" fmla="*/ 294448 w 453198"/>
              <a:gd name="connsiteY4" fmla="*/ 84245 h 342065"/>
              <a:gd name="connsiteX5" fmla="*/ 281748 w 453198"/>
              <a:gd name="connsiteY5" fmla="*/ 122345 h 342065"/>
              <a:gd name="connsiteX6" fmla="*/ 262698 w 453198"/>
              <a:gd name="connsiteY6" fmla="*/ 128695 h 342065"/>
              <a:gd name="connsiteX7" fmla="*/ 199198 w 453198"/>
              <a:gd name="connsiteY7" fmla="*/ 192195 h 342065"/>
              <a:gd name="connsiteX8" fmla="*/ 180148 w 453198"/>
              <a:gd name="connsiteY8" fmla="*/ 204895 h 342065"/>
              <a:gd name="connsiteX9" fmla="*/ 167448 w 453198"/>
              <a:gd name="connsiteY9" fmla="*/ 255695 h 342065"/>
              <a:gd name="connsiteX10" fmla="*/ 161098 w 453198"/>
              <a:gd name="connsiteY10" fmla="*/ 274745 h 342065"/>
              <a:gd name="connsiteX11" fmla="*/ 142048 w 453198"/>
              <a:gd name="connsiteY11" fmla="*/ 293795 h 342065"/>
              <a:gd name="connsiteX12" fmla="*/ 46798 w 453198"/>
              <a:gd name="connsiteY12" fmla="*/ 319195 h 342065"/>
              <a:gd name="connsiteX13" fmla="*/ 27748 w 453198"/>
              <a:gd name="connsiteY13" fmla="*/ 325545 h 342065"/>
              <a:gd name="connsiteX14" fmla="*/ 2348 w 453198"/>
              <a:gd name="connsiteY14" fmla="*/ 338245 h 3420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3198" h="342065">
                <a:moveTo>
                  <a:pt x="453198" y="8045"/>
                </a:moveTo>
                <a:cubicBezTo>
                  <a:pt x="327694" y="19454"/>
                  <a:pt x="418487" y="0"/>
                  <a:pt x="364298" y="27095"/>
                </a:cubicBezTo>
                <a:cubicBezTo>
                  <a:pt x="358311" y="30088"/>
                  <a:pt x="351099" y="30194"/>
                  <a:pt x="345248" y="33445"/>
                </a:cubicBezTo>
                <a:cubicBezTo>
                  <a:pt x="331905" y="40858"/>
                  <a:pt x="307148" y="58845"/>
                  <a:pt x="307148" y="58845"/>
                </a:cubicBezTo>
                <a:cubicBezTo>
                  <a:pt x="302915" y="67312"/>
                  <a:pt x="297964" y="75456"/>
                  <a:pt x="294448" y="84245"/>
                </a:cubicBezTo>
                <a:cubicBezTo>
                  <a:pt x="289476" y="96674"/>
                  <a:pt x="294448" y="118112"/>
                  <a:pt x="281748" y="122345"/>
                </a:cubicBezTo>
                <a:lnTo>
                  <a:pt x="262698" y="128695"/>
                </a:lnTo>
                <a:cubicBezTo>
                  <a:pt x="228831" y="179495"/>
                  <a:pt x="249998" y="158328"/>
                  <a:pt x="199198" y="192195"/>
                </a:cubicBezTo>
                <a:lnTo>
                  <a:pt x="180148" y="204895"/>
                </a:lnTo>
                <a:cubicBezTo>
                  <a:pt x="165633" y="248441"/>
                  <a:pt x="182773" y="194393"/>
                  <a:pt x="167448" y="255695"/>
                </a:cubicBezTo>
                <a:cubicBezTo>
                  <a:pt x="165825" y="262189"/>
                  <a:pt x="164811" y="269176"/>
                  <a:pt x="161098" y="274745"/>
                </a:cubicBezTo>
                <a:cubicBezTo>
                  <a:pt x="156117" y="282217"/>
                  <a:pt x="148398" y="287445"/>
                  <a:pt x="142048" y="293795"/>
                </a:cubicBezTo>
                <a:cubicBezTo>
                  <a:pt x="125958" y="342065"/>
                  <a:pt x="143907" y="307770"/>
                  <a:pt x="46798" y="319195"/>
                </a:cubicBezTo>
                <a:cubicBezTo>
                  <a:pt x="40150" y="319977"/>
                  <a:pt x="33735" y="322552"/>
                  <a:pt x="27748" y="325545"/>
                </a:cubicBezTo>
                <a:cubicBezTo>
                  <a:pt x="0" y="339419"/>
                  <a:pt x="18254" y="338245"/>
                  <a:pt x="2348" y="33824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0" name="Rectangle 2"/>
          <p:cNvSpPr>
            <a:spLocks noChangeArrowheads="1"/>
          </p:cNvSpPr>
          <p:nvPr/>
        </p:nvSpPr>
        <p:spPr bwMode="auto">
          <a:xfrm>
            <a:off x="4502429" y="2114550"/>
            <a:ext cx="514885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ోన్</a:t>
            </a:r>
          </a:p>
        </p:txBody>
      </p:sp>
      <p:sp>
        <p:nvSpPr>
          <p:cNvPr id="121" name="Rectangle 22"/>
          <p:cNvSpPr>
            <a:spLocks noChangeArrowheads="1"/>
          </p:cNvSpPr>
          <p:nvPr/>
        </p:nvSpPr>
        <p:spPr bwMode="auto">
          <a:xfrm>
            <a:off x="4634188" y="1428750"/>
            <a:ext cx="609600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/>
            <a:r>
              <a:rPr lang="en-US" sz="16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ోసి </a:t>
            </a:r>
          </a:p>
        </p:txBody>
      </p:sp>
      <p:sp>
        <p:nvSpPr>
          <p:cNvPr id="122" name="Freeform 121"/>
          <p:cNvSpPr/>
          <p:nvPr/>
        </p:nvSpPr>
        <p:spPr>
          <a:xfrm>
            <a:off x="4577042" y="1041401"/>
            <a:ext cx="346075" cy="1031875"/>
          </a:xfrm>
          <a:custGeom>
            <a:avLst/>
            <a:gdLst>
              <a:gd name="connsiteX0" fmla="*/ 68239 w 345510"/>
              <a:gd name="connsiteY0" fmla="*/ 0 h 1032493"/>
              <a:gd name="connsiteX1" fmla="*/ 27296 w 345510"/>
              <a:gd name="connsiteY1" fmla="*/ 40943 h 1032493"/>
              <a:gd name="connsiteX2" fmla="*/ 0 w 345510"/>
              <a:gd name="connsiteY2" fmla="*/ 122830 h 1032493"/>
              <a:gd name="connsiteX3" fmla="*/ 13648 w 345510"/>
              <a:gd name="connsiteY3" fmla="*/ 245659 h 1032493"/>
              <a:gd name="connsiteX4" fmla="*/ 27296 w 345510"/>
              <a:gd name="connsiteY4" fmla="*/ 382137 h 1032493"/>
              <a:gd name="connsiteX5" fmla="*/ 68239 w 345510"/>
              <a:gd name="connsiteY5" fmla="*/ 409433 h 1032493"/>
              <a:gd name="connsiteX6" fmla="*/ 81887 w 345510"/>
              <a:gd name="connsiteY6" fmla="*/ 545910 h 1032493"/>
              <a:gd name="connsiteX7" fmla="*/ 122830 w 345510"/>
              <a:gd name="connsiteY7" fmla="*/ 573206 h 1032493"/>
              <a:gd name="connsiteX8" fmla="*/ 150126 w 345510"/>
              <a:gd name="connsiteY8" fmla="*/ 614149 h 1032493"/>
              <a:gd name="connsiteX9" fmla="*/ 150126 w 345510"/>
              <a:gd name="connsiteY9" fmla="*/ 818865 h 1032493"/>
              <a:gd name="connsiteX10" fmla="*/ 177421 w 345510"/>
              <a:gd name="connsiteY10" fmla="*/ 859809 h 1032493"/>
              <a:gd name="connsiteX11" fmla="*/ 191069 w 345510"/>
              <a:gd name="connsiteY11" fmla="*/ 914400 h 1032493"/>
              <a:gd name="connsiteX12" fmla="*/ 272956 w 345510"/>
              <a:gd name="connsiteY12" fmla="*/ 955343 h 1032493"/>
              <a:gd name="connsiteX13" fmla="*/ 300251 w 345510"/>
              <a:gd name="connsiteY13" fmla="*/ 996286 h 1032493"/>
              <a:gd name="connsiteX14" fmla="*/ 341194 w 345510"/>
              <a:gd name="connsiteY14" fmla="*/ 1023582 h 10324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345510" h="1032493">
                <a:moveTo>
                  <a:pt x="68239" y="0"/>
                </a:moveTo>
                <a:cubicBezTo>
                  <a:pt x="54591" y="13648"/>
                  <a:pt x="36669" y="24071"/>
                  <a:pt x="27296" y="40943"/>
                </a:cubicBezTo>
                <a:cubicBezTo>
                  <a:pt x="13323" y="66094"/>
                  <a:pt x="0" y="122830"/>
                  <a:pt x="0" y="122830"/>
                </a:cubicBezTo>
                <a:cubicBezTo>
                  <a:pt x="4549" y="163773"/>
                  <a:pt x="9335" y="204690"/>
                  <a:pt x="13648" y="245659"/>
                </a:cubicBezTo>
                <a:cubicBezTo>
                  <a:pt x="18434" y="291127"/>
                  <a:pt x="12838" y="338764"/>
                  <a:pt x="27296" y="382137"/>
                </a:cubicBezTo>
                <a:cubicBezTo>
                  <a:pt x="32483" y="397698"/>
                  <a:pt x="54591" y="400334"/>
                  <a:pt x="68239" y="409433"/>
                </a:cubicBezTo>
                <a:cubicBezTo>
                  <a:pt x="72788" y="454925"/>
                  <a:pt x="67429" y="502537"/>
                  <a:pt x="81887" y="545910"/>
                </a:cubicBezTo>
                <a:cubicBezTo>
                  <a:pt x="87074" y="561471"/>
                  <a:pt x="111232" y="561608"/>
                  <a:pt x="122830" y="573206"/>
                </a:cubicBezTo>
                <a:cubicBezTo>
                  <a:pt x="134428" y="584804"/>
                  <a:pt x="141027" y="600501"/>
                  <a:pt x="150126" y="614149"/>
                </a:cubicBezTo>
                <a:cubicBezTo>
                  <a:pt x="128477" y="700744"/>
                  <a:pt x="123566" y="694916"/>
                  <a:pt x="150126" y="818865"/>
                </a:cubicBezTo>
                <a:cubicBezTo>
                  <a:pt x="153563" y="834904"/>
                  <a:pt x="168323" y="846161"/>
                  <a:pt x="177421" y="859809"/>
                </a:cubicBezTo>
                <a:cubicBezTo>
                  <a:pt x="181970" y="878006"/>
                  <a:pt x="180664" y="898793"/>
                  <a:pt x="191069" y="914400"/>
                </a:cubicBezTo>
                <a:cubicBezTo>
                  <a:pt x="206187" y="937077"/>
                  <a:pt x="249601" y="947558"/>
                  <a:pt x="272956" y="955343"/>
                </a:cubicBezTo>
                <a:cubicBezTo>
                  <a:pt x="282054" y="968991"/>
                  <a:pt x="287443" y="986039"/>
                  <a:pt x="300251" y="996286"/>
                </a:cubicBezTo>
                <a:cubicBezTo>
                  <a:pt x="345510" y="1032493"/>
                  <a:pt x="341194" y="988869"/>
                  <a:pt x="341194" y="1023582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3" name="Rectangle 23"/>
          <p:cNvSpPr>
            <a:spLocks noChangeArrowheads="1"/>
          </p:cNvSpPr>
          <p:nvPr/>
        </p:nvSpPr>
        <p:spPr bwMode="auto">
          <a:xfrm rot="16679400">
            <a:off x="4276726" y="989780"/>
            <a:ext cx="793071" cy="215688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spcFirstLastPara="1" wrap="none" anchor="ctr">
            <a:prstTxWarp prst="textArchUp">
              <a:avLst/>
            </a:prstTxWarp>
            <a:spAutoFit/>
          </a:bodyPr>
          <a:lstStyle/>
          <a:p>
            <a:pPr>
              <a:defRPr/>
            </a:pPr>
            <a:r>
              <a:rPr lang="en-US" sz="1600" dirty="0" err="1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ండక్</a:t>
            </a:r>
            <a:r>
              <a:rPr lang="en-US" sz="1600" dirty="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600" dirty="0" err="1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ది</a:t>
            </a:r>
            <a:endParaRPr lang="en-US" sz="1600" dirty="0">
              <a:solidFill>
                <a:srgbClr val="00800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4" name="Rectangle 24"/>
          <p:cNvSpPr>
            <a:spLocks noChangeArrowheads="1"/>
          </p:cNvSpPr>
          <p:nvPr/>
        </p:nvSpPr>
        <p:spPr bwMode="auto">
          <a:xfrm rot="1043970">
            <a:off x="4051576" y="1676679"/>
            <a:ext cx="1204912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>
                <a:solidFill>
                  <a:srgbClr val="FF00FF"/>
                </a:solidFill>
                <a:latin typeface="Ponnala" pitchFamily="2" charset="0"/>
                <a:cs typeface="Ponnala" pitchFamily="2" charset="0"/>
              </a:rPr>
              <a:t>గంగా నది </a:t>
            </a:r>
          </a:p>
        </p:txBody>
      </p:sp>
      <p:sp>
        <p:nvSpPr>
          <p:cNvPr id="125" name="Rectangle 25"/>
          <p:cNvSpPr>
            <a:spLocks noChangeArrowheads="1"/>
          </p:cNvSpPr>
          <p:nvPr/>
        </p:nvSpPr>
        <p:spPr bwMode="auto">
          <a:xfrm rot="19930894">
            <a:off x="2692404" y="1712705"/>
            <a:ext cx="679994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చంబల్</a:t>
            </a:r>
          </a:p>
        </p:txBody>
      </p:sp>
      <p:sp>
        <p:nvSpPr>
          <p:cNvPr id="126" name="Rectangle 26"/>
          <p:cNvSpPr>
            <a:spLocks noChangeArrowheads="1"/>
          </p:cNvSpPr>
          <p:nvPr/>
        </p:nvSpPr>
        <p:spPr bwMode="auto">
          <a:xfrm rot="16200000">
            <a:off x="2507757" y="827316"/>
            <a:ext cx="1176991" cy="27692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spcFirstLastPara="1" wrap="none" anchor="ctr">
            <a:prstTxWarp prst="textArchUp">
              <a:avLst/>
            </a:prstTxWarp>
            <a:spAutoFit/>
          </a:bodyPr>
          <a:lstStyle/>
          <a:p>
            <a:pPr>
              <a:defRPr/>
            </a:pPr>
            <a:r>
              <a:rPr lang="en-US" sz="1600" dirty="0" err="1">
                <a:solidFill>
                  <a:srgbClr val="0070C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యమునా</a:t>
            </a:r>
            <a:r>
              <a:rPr lang="en-US" sz="1600" dirty="0">
                <a:solidFill>
                  <a:srgbClr val="0070C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 </a:t>
            </a:r>
            <a:r>
              <a:rPr lang="en-US" sz="1600" dirty="0" err="1">
                <a:solidFill>
                  <a:srgbClr val="0070C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ది</a:t>
            </a:r>
            <a:endParaRPr lang="en-US" sz="1600" dirty="0">
              <a:solidFill>
                <a:srgbClr val="0070C0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127" name="Freeform 126"/>
          <p:cNvSpPr/>
          <p:nvPr/>
        </p:nvSpPr>
        <p:spPr>
          <a:xfrm>
            <a:off x="2986367" y="647702"/>
            <a:ext cx="504825" cy="1098551"/>
          </a:xfrm>
          <a:custGeom>
            <a:avLst/>
            <a:gdLst>
              <a:gd name="connsiteX0" fmla="*/ 104775 w 504825"/>
              <a:gd name="connsiteY0" fmla="*/ 0 h 1098017"/>
              <a:gd name="connsiteX1" fmla="*/ 95250 w 504825"/>
              <a:gd name="connsiteY1" fmla="*/ 57150 h 1098017"/>
              <a:gd name="connsiteX2" fmla="*/ 66675 w 504825"/>
              <a:gd name="connsiteY2" fmla="*/ 123825 h 1098017"/>
              <a:gd name="connsiteX3" fmla="*/ 28575 w 504825"/>
              <a:gd name="connsiteY3" fmla="*/ 180975 h 1098017"/>
              <a:gd name="connsiteX4" fmla="*/ 9525 w 504825"/>
              <a:gd name="connsiteY4" fmla="*/ 209550 h 1098017"/>
              <a:gd name="connsiteX5" fmla="*/ 0 w 504825"/>
              <a:gd name="connsiteY5" fmla="*/ 238125 h 1098017"/>
              <a:gd name="connsiteX6" fmla="*/ 9525 w 504825"/>
              <a:gd name="connsiteY6" fmla="*/ 723900 h 1098017"/>
              <a:gd name="connsiteX7" fmla="*/ 28575 w 504825"/>
              <a:gd name="connsiteY7" fmla="*/ 781050 h 1098017"/>
              <a:gd name="connsiteX8" fmla="*/ 38100 w 504825"/>
              <a:gd name="connsiteY8" fmla="*/ 809625 h 1098017"/>
              <a:gd name="connsiteX9" fmla="*/ 47625 w 504825"/>
              <a:gd name="connsiteY9" fmla="*/ 838200 h 1098017"/>
              <a:gd name="connsiteX10" fmla="*/ 95250 w 504825"/>
              <a:gd name="connsiteY10" fmla="*/ 857250 h 1098017"/>
              <a:gd name="connsiteX11" fmla="*/ 152400 w 504825"/>
              <a:gd name="connsiteY11" fmla="*/ 885825 h 1098017"/>
              <a:gd name="connsiteX12" fmla="*/ 209550 w 504825"/>
              <a:gd name="connsiteY12" fmla="*/ 933450 h 1098017"/>
              <a:gd name="connsiteX13" fmla="*/ 266700 w 504825"/>
              <a:gd name="connsiteY13" fmla="*/ 952500 h 1098017"/>
              <a:gd name="connsiteX14" fmla="*/ 295275 w 504825"/>
              <a:gd name="connsiteY14" fmla="*/ 962025 h 1098017"/>
              <a:gd name="connsiteX15" fmla="*/ 323850 w 504825"/>
              <a:gd name="connsiteY15" fmla="*/ 990600 h 1098017"/>
              <a:gd name="connsiteX16" fmla="*/ 381000 w 504825"/>
              <a:gd name="connsiteY16" fmla="*/ 1009650 h 1098017"/>
              <a:gd name="connsiteX17" fmla="*/ 409575 w 504825"/>
              <a:gd name="connsiteY17" fmla="*/ 1038225 h 1098017"/>
              <a:gd name="connsiteX18" fmla="*/ 447675 w 504825"/>
              <a:gd name="connsiteY18" fmla="*/ 1047750 h 1098017"/>
              <a:gd name="connsiteX19" fmla="*/ 476250 w 504825"/>
              <a:gd name="connsiteY19" fmla="*/ 1066800 h 1098017"/>
              <a:gd name="connsiteX20" fmla="*/ 504825 w 504825"/>
              <a:gd name="connsiteY20" fmla="*/ 1095375 h 1098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04825" h="1098017">
                <a:moveTo>
                  <a:pt x="104775" y="0"/>
                </a:moveTo>
                <a:cubicBezTo>
                  <a:pt x="101600" y="19050"/>
                  <a:pt x="99440" y="38297"/>
                  <a:pt x="95250" y="57150"/>
                </a:cubicBezTo>
                <a:cubicBezTo>
                  <a:pt x="90613" y="78017"/>
                  <a:pt x="76953" y="106696"/>
                  <a:pt x="66675" y="123825"/>
                </a:cubicBezTo>
                <a:cubicBezTo>
                  <a:pt x="54895" y="143458"/>
                  <a:pt x="41275" y="161925"/>
                  <a:pt x="28575" y="180975"/>
                </a:cubicBezTo>
                <a:cubicBezTo>
                  <a:pt x="22225" y="190500"/>
                  <a:pt x="13145" y="198690"/>
                  <a:pt x="9525" y="209550"/>
                </a:cubicBezTo>
                <a:lnTo>
                  <a:pt x="0" y="238125"/>
                </a:lnTo>
                <a:cubicBezTo>
                  <a:pt x="3175" y="400050"/>
                  <a:pt x="1013" y="562168"/>
                  <a:pt x="9525" y="723900"/>
                </a:cubicBezTo>
                <a:cubicBezTo>
                  <a:pt x="10580" y="743953"/>
                  <a:pt x="22225" y="762000"/>
                  <a:pt x="28575" y="781050"/>
                </a:cubicBezTo>
                <a:lnTo>
                  <a:pt x="38100" y="809625"/>
                </a:lnTo>
                <a:cubicBezTo>
                  <a:pt x="41275" y="819150"/>
                  <a:pt x="38303" y="834471"/>
                  <a:pt x="47625" y="838200"/>
                </a:cubicBezTo>
                <a:cubicBezTo>
                  <a:pt x="63500" y="844550"/>
                  <a:pt x="79241" y="851247"/>
                  <a:pt x="95250" y="857250"/>
                </a:cubicBezTo>
                <a:cubicBezTo>
                  <a:pt x="126492" y="868966"/>
                  <a:pt x="124812" y="862835"/>
                  <a:pt x="152400" y="885825"/>
                </a:cubicBezTo>
                <a:cubicBezTo>
                  <a:pt x="178035" y="907188"/>
                  <a:pt x="179144" y="919936"/>
                  <a:pt x="209550" y="933450"/>
                </a:cubicBezTo>
                <a:cubicBezTo>
                  <a:pt x="227900" y="941605"/>
                  <a:pt x="247650" y="946150"/>
                  <a:pt x="266700" y="952500"/>
                </a:cubicBezTo>
                <a:lnTo>
                  <a:pt x="295275" y="962025"/>
                </a:lnTo>
                <a:cubicBezTo>
                  <a:pt x="304800" y="971550"/>
                  <a:pt x="312075" y="984058"/>
                  <a:pt x="323850" y="990600"/>
                </a:cubicBezTo>
                <a:cubicBezTo>
                  <a:pt x="341403" y="1000352"/>
                  <a:pt x="381000" y="1009650"/>
                  <a:pt x="381000" y="1009650"/>
                </a:cubicBezTo>
                <a:cubicBezTo>
                  <a:pt x="390525" y="1019175"/>
                  <a:pt x="397879" y="1031542"/>
                  <a:pt x="409575" y="1038225"/>
                </a:cubicBezTo>
                <a:cubicBezTo>
                  <a:pt x="420941" y="1044720"/>
                  <a:pt x="435643" y="1042593"/>
                  <a:pt x="447675" y="1047750"/>
                </a:cubicBezTo>
                <a:cubicBezTo>
                  <a:pt x="458197" y="1052259"/>
                  <a:pt x="466725" y="1060450"/>
                  <a:pt x="476250" y="1066800"/>
                </a:cubicBezTo>
                <a:cubicBezTo>
                  <a:pt x="497061" y="1098017"/>
                  <a:pt x="483852" y="1095375"/>
                  <a:pt x="504825" y="109537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8" name="Rectangle 2"/>
          <p:cNvSpPr>
            <a:spLocks noChangeArrowheads="1"/>
          </p:cNvSpPr>
          <p:nvPr/>
        </p:nvSpPr>
        <p:spPr bwMode="auto">
          <a:xfrm rot="16863691">
            <a:off x="3166430" y="667336"/>
            <a:ext cx="647934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శారదా</a:t>
            </a:r>
          </a:p>
        </p:txBody>
      </p:sp>
      <p:sp>
        <p:nvSpPr>
          <p:cNvPr id="129" name="Rectangle 2"/>
          <p:cNvSpPr>
            <a:spLocks noChangeArrowheads="1"/>
          </p:cNvSpPr>
          <p:nvPr/>
        </p:nvSpPr>
        <p:spPr bwMode="auto">
          <a:xfrm>
            <a:off x="3567391" y="819151"/>
            <a:ext cx="514885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ాగ్రా</a:t>
            </a:r>
          </a:p>
        </p:txBody>
      </p:sp>
      <p:sp>
        <p:nvSpPr>
          <p:cNvPr id="130" name="Rectangle 2"/>
          <p:cNvSpPr>
            <a:spLocks noChangeArrowheads="1"/>
          </p:cNvSpPr>
          <p:nvPr/>
        </p:nvSpPr>
        <p:spPr bwMode="auto">
          <a:xfrm rot="3622772">
            <a:off x="3456770" y="1319799"/>
            <a:ext cx="683200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గోమతి‘</a:t>
            </a:r>
          </a:p>
        </p:txBody>
      </p:sp>
      <p:sp>
        <p:nvSpPr>
          <p:cNvPr id="131" name="Freeform 130"/>
          <p:cNvSpPr/>
          <p:nvPr/>
        </p:nvSpPr>
        <p:spPr>
          <a:xfrm>
            <a:off x="4881838" y="1255712"/>
            <a:ext cx="361950" cy="125413"/>
          </a:xfrm>
          <a:custGeom>
            <a:avLst/>
            <a:gdLst>
              <a:gd name="connsiteX0" fmla="*/ 0 w 361950"/>
              <a:gd name="connsiteY0" fmla="*/ 39665 h 125390"/>
              <a:gd name="connsiteX1" fmla="*/ 28575 w 361950"/>
              <a:gd name="connsiteY1" fmla="*/ 30140 h 125390"/>
              <a:gd name="connsiteX2" fmla="*/ 66675 w 361950"/>
              <a:gd name="connsiteY2" fmla="*/ 20615 h 125390"/>
              <a:gd name="connsiteX3" fmla="*/ 123825 w 361950"/>
              <a:gd name="connsiteY3" fmla="*/ 1565 h 125390"/>
              <a:gd name="connsiteX4" fmla="*/ 228600 w 361950"/>
              <a:gd name="connsiteY4" fmla="*/ 11090 h 125390"/>
              <a:gd name="connsiteX5" fmla="*/ 238125 w 361950"/>
              <a:gd name="connsiteY5" fmla="*/ 39665 h 125390"/>
              <a:gd name="connsiteX6" fmla="*/ 295275 w 361950"/>
              <a:gd name="connsiteY6" fmla="*/ 77765 h 125390"/>
              <a:gd name="connsiteX7" fmla="*/ 323850 w 361950"/>
              <a:gd name="connsiteY7" fmla="*/ 96815 h 125390"/>
              <a:gd name="connsiteX8" fmla="*/ 361950 w 361950"/>
              <a:gd name="connsiteY8" fmla="*/ 125390 h 125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61950" h="125390">
                <a:moveTo>
                  <a:pt x="0" y="39665"/>
                </a:moveTo>
                <a:cubicBezTo>
                  <a:pt x="9525" y="36490"/>
                  <a:pt x="18921" y="32898"/>
                  <a:pt x="28575" y="30140"/>
                </a:cubicBezTo>
                <a:cubicBezTo>
                  <a:pt x="41162" y="26544"/>
                  <a:pt x="54136" y="24377"/>
                  <a:pt x="66675" y="20615"/>
                </a:cubicBezTo>
                <a:cubicBezTo>
                  <a:pt x="85909" y="14845"/>
                  <a:pt x="123825" y="1565"/>
                  <a:pt x="123825" y="1565"/>
                </a:cubicBezTo>
                <a:cubicBezTo>
                  <a:pt x="158750" y="4740"/>
                  <a:pt x="195331" y="0"/>
                  <a:pt x="228600" y="11090"/>
                </a:cubicBezTo>
                <a:cubicBezTo>
                  <a:pt x="238125" y="14265"/>
                  <a:pt x="231025" y="32565"/>
                  <a:pt x="238125" y="39665"/>
                </a:cubicBezTo>
                <a:cubicBezTo>
                  <a:pt x="254314" y="55854"/>
                  <a:pt x="276225" y="65065"/>
                  <a:pt x="295275" y="77765"/>
                </a:cubicBezTo>
                <a:lnTo>
                  <a:pt x="323850" y="96815"/>
                </a:lnTo>
                <a:cubicBezTo>
                  <a:pt x="356161" y="118356"/>
                  <a:pt x="344330" y="107770"/>
                  <a:pt x="361950" y="12539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2" name="Freeform 131"/>
          <p:cNvSpPr/>
          <p:nvPr/>
        </p:nvSpPr>
        <p:spPr>
          <a:xfrm>
            <a:off x="5167591" y="1352553"/>
            <a:ext cx="85725" cy="790575"/>
          </a:xfrm>
          <a:custGeom>
            <a:avLst/>
            <a:gdLst>
              <a:gd name="connsiteX0" fmla="*/ 47625 w 85725"/>
              <a:gd name="connsiteY0" fmla="*/ 0 h 790575"/>
              <a:gd name="connsiteX1" fmla="*/ 85725 w 85725"/>
              <a:gd name="connsiteY1" fmla="*/ 47625 h 790575"/>
              <a:gd name="connsiteX2" fmla="*/ 66675 w 85725"/>
              <a:gd name="connsiteY2" fmla="*/ 171450 h 790575"/>
              <a:gd name="connsiteX3" fmla="*/ 57150 w 85725"/>
              <a:gd name="connsiteY3" fmla="*/ 219075 h 790575"/>
              <a:gd name="connsiteX4" fmla="*/ 47625 w 85725"/>
              <a:gd name="connsiteY4" fmla="*/ 247650 h 790575"/>
              <a:gd name="connsiteX5" fmla="*/ 38100 w 85725"/>
              <a:gd name="connsiteY5" fmla="*/ 285750 h 790575"/>
              <a:gd name="connsiteX6" fmla="*/ 47625 w 85725"/>
              <a:gd name="connsiteY6" fmla="*/ 352425 h 790575"/>
              <a:gd name="connsiteX7" fmla="*/ 57150 w 85725"/>
              <a:gd name="connsiteY7" fmla="*/ 381000 h 790575"/>
              <a:gd name="connsiteX8" fmla="*/ 38100 w 85725"/>
              <a:gd name="connsiteY8" fmla="*/ 485775 h 790575"/>
              <a:gd name="connsiteX9" fmla="*/ 28575 w 85725"/>
              <a:gd name="connsiteY9" fmla="*/ 619125 h 790575"/>
              <a:gd name="connsiteX10" fmla="*/ 19050 w 85725"/>
              <a:gd name="connsiteY10" fmla="*/ 647700 h 790575"/>
              <a:gd name="connsiteX11" fmla="*/ 0 w 85725"/>
              <a:gd name="connsiteY11" fmla="*/ 723900 h 790575"/>
              <a:gd name="connsiteX12" fmla="*/ 28575 w 85725"/>
              <a:gd name="connsiteY12" fmla="*/ 790575 h 790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5725" h="790575">
                <a:moveTo>
                  <a:pt x="47625" y="0"/>
                </a:moveTo>
                <a:cubicBezTo>
                  <a:pt x="79446" y="10607"/>
                  <a:pt x="85725" y="3771"/>
                  <a:pt x="85725" y="47625"/>
                </a:cubicBezTo>
                <a:cubicBezTo>
                  <a:pt x="85725" y="173108"/>
                  <a:pt x="82979" y="106235"/>
                  <a:pt x="66675" y="171450"/>
                </a:cubicBezTo>
                <a:cubicBezTo>
                  <a:pt x="62748" y="187156"/>
                  <a:pt x="61077" y="203369"/>
                  <a:pt x="57150" y="219075"/>
                </a:cubicBezTo>
                <a:cubicBezTo>
                  <a:pt x="54715" y="228815"/>
                  <a:pt x="50383" y="237996"/>
                  <a:pt x="47625" y="247650"/>
                </a:cubicBezTo>
                <a:cubicBezTo>
                  <a:pt x="44029" y="260237"/>
                  <a:pt x="41275" y="273050"/>
                  <a:pt x="38100" y="285750"/>
                </a:cubicBezTo>
                <a:cubicBezTo>
                  <a:pt x="41275" y="307975"/>
                  <a:pt x="43222" y="330410"/>
                  <a:pt x="47625" y="352425"/>
                </a:cubicBezTo>
                <a:cubicBezTo>
                  <a:pt x="49594" y="362270"/>
                  <a:pt x="57150" y="370960"/>
                  <a:pt x="57150" y="381000"/>
                </a:cubicBezTo>
                <a:cubicBezTo>
                  <a:pt x="57150" y="434852"/>
                  <a:pt x="51495" y="445589"/>
                  <a:pt x="38100" y="485775"/>
                </a:cubicBezTo>
                <a:cubicBezTo>
                  <a:pt x="34925" y="530225"/>
                  <a:pt x="33782" y="574867"/>
                  <a:pt x="28575" y="619125"/>
                </a:cubicBezTo>
                <a:cubicBezTo>
                  <a:pt x="27402" y="629096"/>
                  <a:pt x="21485" y="637960"/>
                  <a:pt x="19050" y="647700"/>
                </a:cubicBezTo>
                <a:lnTo>
                  <a:pt x="0" y="723900"/>
                </a:lnTo>
                <a:cubicBezTo>
                  <a:pt x="20470" y="785310"/>
                  <a:pt x="4851" y="766851"/>
                  <a:pt x="28575" y="79057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3" name="Rectangle 2"/>
          <p:cNvSpPr>
            <a:spLocks noChangeArrowheads="1"/>
          </p:cNvSpPr>
          <p:nvPr/>
        </p:nvSpPr>
        <p:spPr bwMode="auto">
          <a:xfrm rot="18526272">
            <a:off x="2881346" y="1961942"/>
            <a:ext cx="510076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బేత్వ</a:t>
            </a:r>
          </a:p>
        </p:txBody>
      </p:sp>
      <p:sp>
        <p:nvSpPr>
          <p:cNvPr id="134" name="Rectangle 2"/>
          <p:cNvSpPr>
            <a:spLocks noChangeArrowheads="1"/>
          </p:cNvSpPr>
          <p:nvPr/>
        </p:nvSpPr>
        <p:spPr bwMode="auto">
          <a:xfrm>
            <a:off x="3262589" y="2114550"/>
            <a:ext cx="404278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కెన్</a:t>
            </a:r>
          </a:p>
        </p:txBody>
      </p:sp>
      <p:sp>
        <p:nvSpPr>
          <p:cNvPr id="135" name="Rectangle 2"/>
          <p:cNvSpPr>
            <a:spLocks noChangeArrowheads="1"/>
          </p:cNvSpPr>
          <p:nvPr/>
        </p:nvSpPr>
        <p:spPr bwMode="auto">
          <a:xfrm rot="5757384">
            <a:off x="2675779" y="930862"/>
            <a:ext cx="835485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en-US" sz="1600">
                <a:solidFill>
                  <a:srgbClr val="FF0066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రాంగంగా</a:t>
            </a:r>
          </a:p>
        </p:txBody>
      </p:sp>
      <p:sp>
        <p:nvSpPr>
          <p:cNvPr id="136" name="Freeform 135"/>
          <p:cNvSpPr/>
          <p:nvPr/>
        </p:nvSpPr>
        <p:spPr>
          <a:xfrm>
            <a:off x="5901013" y="2419352"/>
            <a:ext cx="228600" cy="752475"/>
          </a:xfrm>
          <a:custGeom>
            <a:avLst/>
            <a:gdLst>
              <a:gd name="connsiteX0" fmla="*/ 0 w 228600"/>
              <a:gd name="connsiteY0" fmla="*/ 0 h 752475"/>
              <a:gd name="connsiteX1" fmla="*/ 19050 w 228600"/>
              <a:gd name="connsiteY1" fmla="*/ 28575 h 752475"/>
              <a:gd name="connsiteX2" fmla="*/ 47625 w 228600"/>
              <a:gd name="connsiteY2" fmla="*/ 47625 h 752475"/>
              <a:gd name="connsiteX3" fmla="*/ 66675 w 228600"/>
              <a:gd name="connsiteY3" fmla="*/ 104775 h 752475"/>
              <a:gd name="connsiteX4" fmla="*/ 104775 w 228600"/>
              <a:gd name="connsiteY4" fmla="*/ 161925 h 752475"/>
              <a:gd name="connsiteX5" fmla="*/ 152400 w 228600"/>
              <a:gd name="connsiteY5" fmla="*/ 228600 h 752475"/>
              <a:gd name="connsiteX6" fmla="*/ 161925 w 228600"/>
              <a:gd name="connsiteY6" fmla="*/ 257175 h 752475"/>
              <a:gd name="connsiteX7" fmla="*/ 180975 w 228600"/>
              <a:gd name="connsiteY7" fmla="*/ 285750 h 752475"/>
              <a:gd name="connsiteX8" fmla="*/ 200025 w 228600"/>
              <a:gd name="connsiteY8" fmla="*/ 342900 h 752475"/>
              <a:gd name="connsiteX9" fmla="*/ 228600 w 228600"/>
              <a:gd name="connsiteY9" fmla="*/ 400050 h 752475"/>
              <a:gd name="connsiteX10" fmla="*/ 200025 w 228600"/>
              <a:gd name="connsiteY10" fmla="*/ 495300 h 752475"/>
              <a:gd name="connsiteX11" fmla="*/ 190500 w 228600"/>
              <a:gd name="connsiteY11" fmla="*/ 523875 h 752475"/>
              <a:gd name="connsiteX12" fmla="*/ 171450 w 228600"/>
              <a:gd name="connsiteY12" fmla="*/ 552450 h 752475"/>
              <a:gd name="connsiteX13" fmla="*/ 152400 w 228600"/>
              <a:gd name="connsiteY13" fmla="*/ 609600 h 752475"/>
              <a:gd name="connsiteX14" fmla="*/ 161925 w 228600"/>
              <a:gd name="connsiteY14" fmla="*/ 695325 h 752475"/>
              <a:gd name="connsiteX15" fmla="*/ 180975 w 228600"/>
              <a:gd name="connsiteY15" fmla="*/ 752475 h 752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28600" h="752475">
                <a:moveTo>
                  <a:pt x="0" y="0"/>
                </a:moveTo>
                <a:cubicBezTo>
                  <a:pt x="6350" y="9525"/>
                  <a:pt x="10955" y="20480"/>
                  <a:pt x="19050" y="28575"/>
                </a:cubicBezTo>
                <a:cubicBezTo>
                  <a:pt x="27145" y="36670"/>
                  <a:pt x="41558" y="37917"/>
                  <a:pt x="47625" y="47625"/>
                </a:cubicBezTo>
                <a:cubicBezTo>
                  <a:pt x="58268" y="64653"/>
                  <a:pt x="55536" y="88067"/>
                  <a:pt x="66675" y="104775"/>
                </a:cubicBezTo>
                <a:cubicBezTo>
                  <a:pt x="79375" y="123825"/>
                  <a:pt x="91038" y="143609"/>
                  <a:pt x="104775" y="161925"/>
                </a:cubicBezTo>
                <a:cubicBezTo>
                  <a:pt x="111247" y="170554"/>
                  <a:pt x="145436" y="214672"/>
                  <a:pt x="152400" y="228600"/>
                </a:cubicBezTo>
                <a:cubicBezTo>
                  <a:pt x="156890" y="237580"/>
                  <a:pt x="157435" y="248195"/>
                  <a:pt x="161925" y="257175"/>
                </a:cubicBezTo>
                <a:cubicBezTo>
                  <a:pt x="167045" y="267414"/>
                  <a:pt x="176326" y="275289"/>
                  <a:pt x="180975" y="285750"/>
                </a:cubicBezTo>
                <a:cubicBezTo>
                  <a:pt x="189130" y="304100"/>
                  <a:pt x="188886" y="326192"/>
                  <a:pt x="200025" y="342900"/>
                </a:cubicBezTo>
                <a:cubicBezTo>
                  <a:pt x="224644" y="379829"/>
                  <a:pt x="215455" y="360615"/>
                  <a:pt x="228600" y="400050"/>
                </a:cubicBezTo>
                <a:cubicBezTo>
                  <a:pt x="214205" y="457631"/>
                  <a:pt x="223215" y="425731"/>
                  <a:pt x="200025" y="495300"/>
                </a:cubicBezTo>
                <a:cubicBezTo>
                  <a:pt x="196850" y="504825"/>
                  <a:pt x="196069" y="515521"/>
                  <a:pt x="190500" y="523875"/>
                </a:cubicBezTo>
                <a:cubicBezTo>
                  <a:pt x="184150" y="533400"/>
                  <a:pt x="176099" y="541989"/>
                  <a:pt x="171450" y="552450"/>
                </a:cubicBezTo>
                <a:cubicBezTo>
                  <a:pt x="163295" y="570800"/>
                  <a:pt x="152400" y="609600"/>
                  <a:pt x="152400" y="609600"/>
                </a:cubicBezTo>
                <a:cubicBezTo>
                  <a:pt x="155575" y="638175"/>
                  <a:pt x="156286" y="667132"/>
                  <a:pt x="161925" y="695325"/>
                </a:cubicBezTo>
                <a:cubicBezTo>
                  <a:pt x="165863" y="715016"/>
                  <a:pt x="180975" y="752475"/>
                  <a:pt x="180975" y="75247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7" name="Freeform 136"/>
          <p:cNvSpPr/>
          <p:nvPr/>
        </p:nvSpPr>
        <p:spPr>
          <a:xfrm>
            <a:off x="6048655" y="2768602"/>
            <a:ext cx="115887" cy="260351"/>
          </a:xfrm>
          <a:custGeom>
            <a:avLst/>
            <a:gdLst>
              <a:gd name="connsiteX0" fmla="*/ 1706 w 116006"/>
              <a:gd name="connsiteY0" fmla="*/ 260350 h 260350"/>
              <a:gd name="connsiteX1" fmla="*/ 8056 w 116006"/>
              <a:gd name="connsiteY1" fmla="*/ 234950 h 260350"/>
              <a:gd name="connsiteX2" fmla="*/ 84256 w 116006"/>
              <a:gd name="connsiteY2" fmla="*/ 209550 h 260350"/>
              <a:gd name="connsiteX3" fmla="*/ 84256 w 116006"/>
              <a:gd name="connsiteY3" fmla="*/ 139700 h 260350"/>
              <a:gd name="connsiteX4" fmla="*/ 109656 w 116006"/>
              <a:gd name="connsiteY4" fmla="*/ 133350 h 260350"/>
              <a:gd name="connsiteX5" fmla="*/ 116006 w 116006"/>
              <a:gd name="connsiteY5" fmla="*/ 114300 h 260350"/>
              <a:gd name="connsiteX6" fmla="*/ 90606 w 116006"/>
              <a:gd name="connsiteY6" fmla="*/ 76200 h 260350"/>
              <a:gd name="connsiteX7" fmla="*/ 103306 w 116006"/>
              <a:gd name="connsiteY7" fmla="*/ 19050 h 260350"/>
              <a:gd name="connsiteX8" fmla="*/ 116006 w 116006"/>
              <a:gd name="connsiteY8" fmla="*/ 0 h 260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6006" h="260350">
                <a:moveTo>
                  <a:pt x="1706" y="260350"/>
                </a:moveTo>
                <a:cubicBezTo>
                  <a:pt x="3823" y="251883"/>
                  <a:pt x="0" y="238307"/>
                  <a:pt x="8056" y="234950"/>
                </a:cubicBezTo>
                <a:cubicBezTo>
                  <a:pt x="94221" y="199048"/>
                  <a:pt x="67750" y="259067"/>
                  <a:pt x="84256" y="209550"/>
                </a:cubicBezTo>
                <a:cubicBezTo>
                  <a:pt x="76147" y="185224"/>
                  <a:pt x="67801" y="169318"/>
                  <a:pt x="84256" y="139700"/>
                </a:cubicBezTo>
                <a:cubicBezTo>
                  <a:pt x="88494" y="132071"/>
                  <a:pt x="101189" y="135467"/>
                  <a:pt x="109656" y="133350"/>
                </a:cubicBezTo>
                <a:cubicBezTo>
                  <a:pt x="111773" y="127000"/>
                  <a:pt x="116006" y="120993"/>
                  <a:pt x="116006" y="114300"/>
                </a:cubicBezTo>
                <a:cubicBezTo>
                  <a:pt x="116006" y="95920"/>
                  <a:pt x="102060" y="87654"/>
                  <a:pt x="90606" y="76200"/>
                </a:cubicBezTo>
                <a:cubicBezTo>
                  <a:pt x="93045" y="61567"/>
                  <a:pt x="95490" y="34682"/>
                  <a:pt x="103306" y="19050"/>
                </a:cubicBezTo>
                <a:cubicBezTo>
                  <a:pt x="106719" y="12224"/>
                  <a:pt x="116006" y="0"/>
                  <a:pt x="116006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38" name="Rectangle 6"/>
          <p:cNvSpPr>
            <a:spLocks noChangeArrowheads="1"/>
          </p:cNvSpPr>
          <p:nvPr/>
        </p:nvSpPr>
        <p:spPr bwMode="auto">
          <a:xfrm>
            <a:off x="5243788" y="525463"/>
            <a:ext cx="1676400" cy="369332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en-US">
                <a:solidFill>
                  <a:srgbClr val="009900"/>
                </a:solidFill>
                <a:latin typeface="Ponnala" pitchFamily="2" charset="0"/>
                <a:cs typeface="Ponnala" pitchFamily="2" charset="0"/>
              </a:rPr>
              <a:t>బ్రహ్మపుత్రా నది</a:t>
            </a:r>
            <a:endParaRPr lang="en-US" sz="5400">
              <a:solidFill>
                <a:srgbClr val="009900"/>
              </a:solidFill>
              <a:latin typeface="Ponnala" pitchFamily="2" charset="0"/>
              <a:cs typeface="Ponnala" pitchFamily="2" charset="0"/>
            </a:endParaRPr>
          </a:p>
        </p:txBody>
      </p:sp>
      <p:sp>
        <p:nvSpPr>
          <p:cNvPr id="139" name="Freeform 138"/>
          <p:cNvSpPr/>
          <p:nvPr/>
        </p:nvSpPr>
        <p:spPr>
          <a:xfrm>
            <a:off x="4929463" y="857249"/>
            <a:ext cx="2209800" cy="171451"/>
          </a:xfrm>
          <a:custGeom>
            <a:avLst/>
            <a:gdLst>
              <a:gd name="connsiteX0" fmla="*/ 0 w 2209800"/>
              <a:gd name="connsiteY0" fmla="*/ 95250 h 171450"/>
              <a:gd name="connsiteX1" fmla="*/ 190500 w 2209800"/>
              <a:gd name="connsiteY1" fmla="*/ 123825 h 171450"/>
              <a:gd name="connsiteX2" fmla="*/ 219075 w 2209800"/>
              <a:gd name="connsiteY2" fmla="*/ 133350 h 171450"/>
              <a:gd name="connsiteX3" fmla="*/ 247650 w 2209800"/>
              <a:gd name="connsiteY3" fmla="*/ 152400 h 171450"/>
              <a:gd name="connsiteX4" fmla="*/ 304800 w 2209800"/>
              <a:gd name="connsiteY4" fmla="*/ 171450 h 171450"/>
              <a:gd name="connsiteX5" fmla="*/ 438150 w 2209800"/>
              <a:gd name="connsiteY5" fmla="*/ 142875 h 171450"/>
              <a:gd name="connsiteX6" fmla="*/ 466725 w 2209800"/>
              <a:gd name="connsiteY6" fmla="*/ 133350 h 171450"/>
              <a:gd name="connsiteX7" fmla="*/ 495300 w 2209800"/>
              <a:gd name="connsiteY7" fmla="*/ 123825 h 171450"/>
              <a:gd name="connsiteX8" fmla="*/ 523875 w 2209800"/>
              <a:gd name="connsiteY8" fmla="*/ 95250 h 171450"/>
              <a:gd name="connsiteX9" fmla="*/ 514350 w 2209800"/>
              <a:gd name="connsiteY9" fmla="*/ 66675 h 171450"/>
              <a:gd name="connsiteX10" fmla="*/ 542925 w 2209800"/>
              <a:gd name="connsiteY10" fmla="*/ 47625 h 171450"/>
              <a:gd name="connsiteX11" fmla="*/ 638175 w 2209800"/>
              <a:gd name="connsiteY11" fmla="*/ 19050 h 171450"/>
              <a:gd name="connsiteX12" fmla="*/ 666750 w 2209800"/>
              <a:gd name="connsiteY12" fmla="*/ 9525 h 171450"/>
              <a:gd name="connsiteX13" fmla="*/ 800100 w 2209800"/>
              <a:gd name="connsiteY13" fmla="*/ 28575 h 171450"/>
              <a:gd name="connsiteX14" fmla="*/ 828675 w 2209800"/>
              <a:gd name="connsiteY14" fmla="*/ 47625 h 171450"/>
              <a:gd name="connsiteX15" fmla="*/ 838200 w 2209800"/>
              <a:gd name="connsiteY15" fmla="*/ 76200 h 171450"/>
              <a:gd name="connsiteX16" fmla="*/ 895350 w 2209800"/>
              <a:gd name="connsiteY16" fmla="*/ 95250 h 171450"/>
              <a:gd name="connsiteX17" fmla="*/ 990600 w 2209800"/>
              <a:gd name="connsiteY17" fmla="*/ 66675 h 171450"/>
              <a:gd name="connsiteX18" fmla="*/ 1047750 w 2209800"/>
              <a:gd name="connsiteY18" fmla="*/ 47625 h 171450"/>
              <a:gd name="connsiteX19" fmla="*/ 1181100 w 2209800"/>
              <a:gd name="connsiteY19" fmla="*/ 47625 h 171450"/>
              <a:gd name="connsiteX20" fmla="*/ 1238250 w 2209800"/>
              <a:gd name="connsiteY20" fmla="*/ 28575 h 171450"/>
              <a:gd name="connsiteX21" fmla="*/ 1285875 w 2209800"/>
              <a:gd name="connsiteY21" fmla="*/ 38100 h 171450"/>
              <a:gd name="connsiteX22" fmla="*/ 1314450 w 2209800"/>
              <a:gd name="connsiteY22" fmla="*/ 47625 h 171450"/>
              <a:gd name="connsiteX23" fmla="*/ 1419225 w 2209800"/>
              <a:gd name="connsiteY23" fmla="*/ 19050 h 171450"/>
              <a:gd name="connsiteX24" fmla="*/ 1447800 w 2209800"/>
              <a:gd name="connsiteY24" fmla="*/ 9525 h 171450"/>
              <a:gd name="connsiteX25" fmla="*/ 1476375 w 2209800"/>
              <a:gd name="connsiteY25" fmla="*/ 0 h 171450"/>
              <a:gd name="connsiteX26" fmla="*/ 1581150 w 2209800"/>
              <a:gd name="connsiteY26" fmla="*/ 28575 h 171450"/>
              <a:gd name="connsiteX27" fmla="*/ 1609725 w 2209800"/>
              <a:gd name="connsiteY27" fmla="*/ 47625 h 171450"/>
              <a:gd name="connsiteX28" fmla="*/ 1666875 w 2209800"/>
              <a:gd name="connsiteY28" fmla="*/ 66675 h 171450"/>
              <a:gd name="connsiteX29" fmla="*/ 1695450 w 2209800"/>
              <a:gd name="connsiteY29" fmla="*/ 76200 h 171450"/>
              <a:gd name="connsiteX30" fmla="*/ 1781175 w 2209800"/>
              <a:gd name="connsiteY30" fmla="*/ 66675 h 171450"/>
              <a:gd name="connsiteX31" fmla="*/ 1809750 w 2209800"/>
              <a:gd name="connsiteY31" fmla="*/ 57150 h 171450"/>
              <a:gd name="connsiteX32" fmla="*/ 1866900 w 2209800"/>
              <a:gd name="connsiteY32" fmla="*/ 47625 h 171450"/>
              <a:gd name="connsiteX33" fmla="*/ 2000250 w 2209800"/>
              <a:gd name="connsiteY33" fmla="*/ 38100 h 171450"/>
              <a:gd name="connsiteX34" fmla="*/ 2028825 w 2209800"/>
              <a:gd name="connsiteY34" fmla="*/ 28575 h 171450"/>
              <a:gd name="connsiteX35" fmla="*/ 2095500 w 2209800"/>
              <a:gd name="connsiteY35" fmla="*/ 47625 h 171450"/>
              <a:gd name="connsiteX36" fmla="*/ 2124075 w 2209800"/>
              <a:gd name="connsiteY36" fmla="*/ 76200 h 171450"/>
              <a:gd name="connsiteX37" fmla="*/ 2162175 w 2209800"/>
              <a:gd name="connsiteY37" fmla="*/ 85725 h 171450"/>
              <a:gd name="connsiteX38" fmla="*/ 2190750 w 2209800"/>
              <a:gd name="connsiteY38" fmla="*/ 95250 h 171450"/>
              <a:gd name="connsiteX39" fmla="*/ 2209800 w 2209800"/>
              <a:gd name="connsiteY39" fmla="*/ 123825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209800" h="171450">
                <a:moveTo>
                  <a:pt x="0" y="95250"/>
                </a:moveTo>
                <a:cubicBezTo>
                  <a:pt x="153379" y="106206"/>
                  <a:pt x="91074" y="90683"/>
                  <a:pt x="190500" y="123825"/>
                </a:cubicBezTo>
                <a:cubicBezTo>
                  <a:pt x="200025" y="127000"/>
                  <a:pt x="210721" y="127781"/>
                  <a:pt x="219075" y="133350"/>
                </a:cubicBezTo>
                <a:cubicBezTo>
                  <a:pt x="228600" y="139700"/>
                  <a:pt x="237189" y="147751"/>
                  <a:pt x="247650" y="152400"/>
                </a:cubicBezTo>
                <a:cubicBezTo>
                  <a:pt x="266000" y="160555"/>
                  <a:pt x="304800" y="171450"/>
                  <a:pt x="304800" y="171450"/>
                </a:cubicBezTo>
                <a:cubicBezTo>
                  <a:pt x="400925" y="159434"/>
                  <a:pt x="356716" y="170020"/>
                  <a:pt x="438150" y="142875"/>
                </a:cubicBezTo>
                <a:lnTo>
                  <a:pt x="466725" y="133350"/>
                </a:lnTo>
                <a:lnTo>
                  <a:pt x="495300" y="123825"/>
                </a:lnTo>
                <a:cubicBezTo>
                  <a:pt x="504825" y="114300"/>
                  <a:pt x="519615" y="108029"/>
                  <a:pt x="523875" y="95250"/>
                </a:cubicBezTo>
                <a:cubicBezTo>
                  <a:pt x="527050" y="85725"/>
                  <a:pt x="510621" y="75997"/>
                  <a:pt x="514350" y="66675"/>
                </a:cubicBezTo>
                <a:cubicBezTo>
                  <a:pt x="518602" y="56046"/>
                  <a:pt x="532464" y="52274"/>
                  <a:pt x="542925" y="47625"/>
                </a:cubicBezTo>
                <a:cubicBezTo>
                  <a:pt x="583669" y="29517"/>
                  <a:pt x="599386" y="30133"/>
                  <a:pt x="638175" y="19050"/>
                </a:cubicBezTo>
                <a:cubicBezTo>
                  <a:pt x="647829" y="16292"/>
                  <a:pt x="657225" y="12700"/>
                  <a:pt x="666750" y="9525"/>
                </a:cubicBezTo>
                <a:cubicBezTo>
                  <a:pt x="693519" y="11959"/>
                  <a:pt x="763451" y="10251"/>
                  <a:pt x="800100" y="28575"/>
                </a:cubicBezTo>
                <a:cubicBezTo>
                  <a:pt x="810339" y="33695"/>
                  <a:pt x="819150" y="41275"/>
                  <a:pt x="828675" y="47625"/>
                </a:cubicBezTo>
                <a:cubicBezTo>
                  <a:pt x="831850" y="57150"/>
                  <a:pt x="830030" y="70364"/>
                  <a:pt x="838200" y="76200"/>
                </a:cubicBezTo>
                <a:cubicBezTo>
                  <a:pt x="854540" y="87872"/>
                  <a:pt x="895350" y="95250"/>
                  <a:pt x="895350" y="95250"/>
                </a:cubicBezTo>
                <a:cubicBezTo>
                  <a:pt x="1041644" y="74351"/>
                  <a:pt x="908525" y="103153"/>
                  <a:pt x="990600" y="66675"/>
                </a:cubicBezTo>
                <a:cubicBezTo>
                  <a:pt x="1008950" y="58520"/>
                  <a:pt x="1047750" y="47625"/>
                  <a:pt x="1047750" y="47625"/>
                </a:cubicBezTo>
                <a:cubicBezTo>
                  <a:pt x="1113286" y="58548"/>
                  <a:pt x="1108087" y="63271"/>
                  <a:pt x="1181100" y="47625"/>
                </a:cubicBezTo>
                <a:cubicBezTo>
                  <a:pt x="1200735" y="43418"/>
                  <a:pt x="1238250" y="28575"/>
                  <a:pt x="1238250" y="28575"/>
                </a:cubicBezTo>
                <a:cubicBezTo>
                  <a:pt x="1254125" y="31750"/>
                  <a:pt x="1270169" y="34173"/>
                  <a:pt x="1285875" y="38100"/>
                </a:cubicBezTo>
                <a:cubicBezTo>
                  <a:pt x="1295615" y="40535"/>
                  <a:pt x="1304410" y="47625"/>
                  <a:pt x="1314450" y="47625"/>
                </a:cubicBezTo>
                <a:cubicBezTo>
                  <a:pt x="1341376" y="47625"/>
                  <a:pt x="1396813" y="26521"/>
                  <a:pt x="1419225" y="19050"/>
                </a:cubicBezTo>
                <a:lnTo>
                  <a:pt x="1447800" y="9525"/>
                </a:lnTo>
                <a:lnTo>
                  <a:pt x="1476375" y="0"/>
                </a:lnTo>
                <a:cubicBezTo>
                  <a:pt x="1501935" y="5112"/>
                  <a:pt x="1560433" y="14764"/>
                  <a:pt x="1581150" y="28575"/>
                </a:cubicBezTo>
                <a:cubicBezTo>
                  <a:pt x="1590675" y="34925"/>
                  <a:pt x="1599264" y="42976"/>
                  <a:pt x="1609725" y="47625"/>
                </a:cubicBezTo>
                <a:cubicBezTo>
                  <a:pt x="1628075" y="55780"/>
                  <a:pt x="1647825" y="60325"/>
                  <a:pt x="1666875" y="66675"/>
                </a:cubicBezTo>
                <a:lnTo>
                  <a:pt x="1695450" y="76200"/>
                </a:lnTo>
                <a:cubicBezTo>
                  <a:pt x="1724025" y="73025"/>
                  <a:pt x="1752815" y="71402"/>
                  <a:pt x="1781175" y="66675"/>
                </a:cubicBezTo>
                <a:cubicBezTo>
                  <a:pt x="1791079" y="65024"/>
                  <a:pt x="1799949" y="59328"/>
                  <a:pt x="1809750" y="57150"/>
                </a:cubicBezTo>
                <a:cubicBezTo>
                  <a:pt x="1828603" y="52960"/>
                  <a:pt x="1847683" y="49547"/>
                  <a:pt x="1866900" y="47625"/>
                </a:cubicBezTo>
                <a:cubicBezTo>
                  <a:pt x="1911242" y="43191"/>
                  <a:pt x="1955800" y="41275"/>
                  <a:pt x="2000250" y="38100"/>
                </a:cubicBezTo>
                <a:cubicBezTo>
                  <a:pt x="2009775" y="34925"/>
                  <a:pt x="2018785" y="28575"/>
                  <a:pt x="2028825" y="28575"/>
                </a:cubicBezTo>
                <a:cubicBezTo>
                  <a:pt x="2040785" y="28575"/>
                  <a:pt x="2082025" y="43133"/>
                  <a:pt x="2095500" y="47625"/>
                </a:cubicBezTo>
                <a:cubicBezTo>
                  <a:pt x="2105025" y="57150"/>
                  <a:pt x="2112379" y="69517"/>
                  <a:pt x="2124075" y="76200"/>
                </a:cubicBezTo>
                <a:cubicBezTo>
                  <a:pt x="2135441" y="82695"/>
                  <a:pt x="2149588" y="82129"/>
                  <a:pt x="2162175" y="85725"/>
                </a:cubicBezTo>
                <a:cubicBezTo>
                  <a:pt x="2171829" y="88483"/>
                  <a:pt x="2181225" y="92075"/>
                  <a:pt x="2190750" y="95250"/>
                </a:cubicBezTo>
                <a:cubicBezTo>
                  <a:pt x="2201279" y="126837"/>
                  <a:pt x="2190235" y="123825"/>
                  <a:pt x="2209800" y="123825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0" name="Freeform 139"/>
          <p:cNvSpPr/>
          <p:nvPr/>
        </p:nvSpPr>
        <p:spPr>
          <a:xfrm>
            <a:off x="5853390" y="942975"/>
            <a:ext cx="1317625" cy="1028700"/>
          </a:xfrm>
          <a:custGeom>
            <a:avLst/>
            <a:gdLst>
              <a:gd name="connsiteX0" fmla="*/ 1261238 w 1318388"/>
              <a:gd name="connsiteY0" fmla="*/ 0 h 1028700"/>
              <a:gd name="connsiteX1" fmla="*/ 1270763 w 1318388"/>
              <a:gd name="connsiteY1" fmla="*/ 47625 h 1028700"/>
              <a:gd name="connsiteX2" fmla="*/ 1308863 w 1318388"/>
              <a:gd name="connsiteY2" fmla="*/ 104775 h 1028700"/>
              <a:gd name="connsiteX3" fmla="*/ 1318388 w 1318388"/>
              <a:gd name="connsiteY3" fmla="*/ 133350 h 1028700"/>
              <a:gd name="connsiteX4" fmla="*/ 1308863 w 1318388"/>
              <a:gd name="connsiteY4" fmla="*/ 180975 h 1028700"/>
              <a:gd name="connsiteX5" fmla="*/ 1289813 w 1318388"/>
              <a:gd name="connsiteY5" fmla="*/ 238125 h 1028700"/>
              <a:gd name="connsiteX6" fmla="*/ 1280288 w 1318388"/>
              <a:gd name="connsiteY6" fmla="*/ 266700 h 1028700"/>
              <a:gd name="connsiteX7" fmla="*/ 1270763 w 1318388"/>
              <a:gd name="connsiteY7" fmla="*/ 295275 h 1028700"/>
              <a:gd name="connsiteX8" fmla="*/ 1261238 w 1318388"/>
              <a:gd name="connsiteY8" fmla="*/ 333375 h 1028700"/>
              <a:gd name="connsiteX9" fmla="*/ 1194563 w 1318388"/>
              <a:gd name="connsiteY9" fmla="*/ 381000 h 1028700"/>
              <a:gd name="connsiteX10" fmla="*/ 1165988 w 1318388"/>
              <a:gd name="connsiteY10" fmla="*/ 447675 h 1028700"/>
              <a:gd name="connsiteX11" fmla="*/ 1108838 w 1318388"/>
              <a:gd name="connsiteY11" fmla="*/ 476250 h 1028700"/>
              <a:gd name="connsiteX12" fmla="*/ 1042163 w 1318388"/>
              <a:gd name="connsiteY12" fmla="*/ 542925 h 1028700"/>
              <a:gd name="connsiteX13" fmla="*/ 975488 w 1318388"/>
              <a:gd name="connsiteY13" fmla="*/ 581025 h 1028700"/>
              <a:gd name="connsiteX14" fmla="*/ 946913 w 1318388"/>
              <a:gd name="connsiteY14" fmla="*/ 609600 h 1028700"/>
              <a:gd name="connsiteX15" fmla="*/ 918338 w 1318388"/>
              <a:gd name="connsiteY15" fmla="*/ 628650 h 1028700"/>
              <a:gd name="connsiteX16" fmla="*/ 880238 w 1318388"/>
              <a:gd name="connsiteY16" fmla="*/ 714375 h 1028700"/>
              <a:gd name="connsiteX17" fmla="*/ 823088 w 1318388"/>
              <a:gd name="connsiteY17" fmla="*/ 742950 h 1028700"/>
              <a:gd name="connsiteX18" fmla="*/ 794513 w 1318388"/>
              <a:gd name="connsiteY18" fmla="*/ 762000 h 1028700"/>
              <a:gd name="connsiteX19" fmla="*/ 784988 w 1318388"/>
              <a:gd name="connsiteY19" fmla="*/ 838200 h 1028700"/>
              <a:gd name="connsiteX20" fmla="*/ 727838 w 1318388"/>
              <a:gd name="connsiteY20" fmla="*/ 857250 h 1028700"/>
              <a:gd name="connsiteX21" fmla="*/ 546863 w 1318388"/>
              <a:gd name="connsiteY21" fmla="*/ 876300 h 1028700"/>
              <a:gd name="connsiteX22" fmla="*/ 480188 w 1318388"/>
              <a:gd name="connsiteY22" fmla="*/ 895350 h 1028700"/>
              <a:gd name="connsiteX23" fmla="*/ 365888 w 1318388"/>
              <a:gd name="connsiteY23" fmla="*/ 904875 h 1028700"/>
              <a:gd name="connsiteX24" fmla="*/ 270638 w 1318388"/>
              <a:gd name="connsiteY24" fmla="*/ 942975 h 1028700"/>
              <a:gd name="connsiteX25" fmla="*/ 242063 w 1318388"/>
              <a:gd name="connsiteY25" fmla="*/ 952500 h 1028700"/>
              <a:gd name="connsiteX26" fmla="*/ 184913 w 1318388"/>
              <a:gd name="connsiteY26" fmla="*/ 962025 h 1028700"/>
              <a:gd name="connsiteX27" fmla="*/ 127763 w 1318388"/>
              <a:gd name="connsiteY27" fmla="*/ 1009650 h 1028700"/>
              <a:gd name="connsiteX28" fmla="*/ 70613 w 1318388"/>
              <a:gd name="connsiteY28" fmla="*/ 1028700 h 1028700"/>
              <a:gd name="connsiteX29" fmla="*/ 32513 w 1318388"/>
              <a:gd name="connsiteY29" fmla="*/ 1019175 h 1028700"/>
              <a:gd name="connsiteX30" fmla="*/ 3938 w 1318388"/>
              <a:gd name="connsiteY30" fmla="*/ 1009650 h 1028700"/>
              <a:gd name="connsiteX31" fmla="*/ 13463 w 1318388"/>
              <a:gd name="connsiteY31" fmla="*/ 990600 h 102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318388" h="1028700">
                <a:moveTo>
                  <a:pt x="1261238" y="0"/>
                </a:moveTo>
                <a:cubicBezTo>
                  <a:pt x="1264413" y="15875"/>
                  <a:pt x="1264064" y="32887"/>
                  <a:pt x="1270763" y="47625"/>
                </a:cubicBezTo>
                <a:cubicBezTo>
                  <a:pt x="1280237" y="68468"/>
                  <a:pt x="1301623" y="83055"/>
                  <a:pt x="1308863" y="104775"/>
                </a:cubicBezTo>
                <a:lnTo>
                  <a:pt x="1318388" y="133350"/>
                </a:lnTo>
                <a:cubicBezTo>
                  <a:pt x="1315213" y="149225"/>
                  <a:pt x="1313123" y="165356"/>
                  <a:pt x="1308863" y="180975"/>
                </a:cubicBezTo>
                <a:cubicBezTo>
                  <a:pt x="1303579" y="200348"/>
                  <a:pt x="1296163" y="219075"/>
                  <a:pt x="1289813" y="238125"/>
                </a:cubicBezTo>
                <a:lnTo>
                  <a:pt x="1280288" y="266700"/>
                </a:lnTo>
                <a:cubicBezTo>
                  <a:pt x="1277113" y="276225"/>
                  <a:pt x="1273198" y="285535"/>
                  <a:pt x="1270763" y="295275"/>
                </a:cubicBezTo>
                <a:cubicBezTo>
                  <a:pt x="1267588" y="307975"/>
                  <a:pt x="1267733" y="322009"/>
                  <a:pt x="1261238" y="333375"/>
                </a:cubicBezTo>
                <a:cubicBezTo>
                  <a:pt x="1245792" y="360406"/>
                  <a:pt x="1220289" y="368137"/>
                  <a:pt x="1194563" y="381000"/>
                </a:cubicBezTo>
                <a:cubicBezTo>
                  <a:pt x="1187946" y="400852"/>
                  <a:pt x="1179066" y="431982"/>
                  <a:pt x="1165988" y="447675"/>
                </a:cubicBezTo>
                <a:cubicBezTo>
                  <a:pt x="1151785" y="464719"/>
                  <a:pt x="1128342" y="469749"/>
                  <a:pt x="1108838" y="476250"/>
                </a:cubicBezTo>
                <a:cubicBezTo>
                  <a:pt x="1065169" y="541754"/>
                  <a:pt x="1092458" y="526160"/>
                  <a:pt x="1042163" y="542925"/>
                </a:cubicBezTo>
                <a:cubicBezTo>
                  <a:pt x="964843" y="620245"/>
                  <a:pt x="1065032" y="529857"/>
                  <a:pt x="975488" y="581025"/>
                </a:cubicBezTo>
                <a:cubicBezTo>
                  <a:pt x="963792" y="587708"/>
                  <a:pt x="957261" y="600976"/>
                  <a:pt x="946913" y="609600"/>
                </a:cubicBezTo>
                <a:cubicBezTo>
                  <a:pt x="938119" y="616929"/>
                  <a:pt x="927863" y="622300"/>
                  <a:pt x="918338" y="628650"/>
                </a:cubicBezTo>
                <a:cubicBezTo>
                  <a:pt x="908907" y="656944"/>
                  <a:pt x="902879" y="691734"/>
                  <a:pt x="880238" y="714375"/>
                </a:cubicBezTo>
                <a:cubicBezTo>
                  <a:pt x="852941" y="741672"/>
                  <a:pt x="854076" y="727456"/>
                  <a:pt x="823088" y="742950"/>
                </a:cubicBezTo>
                <a:cubicBezTo>
                  <a:pt x="812849" y="748070"/>
                  <a:pt x="804038" y="755650"/>
                  <a:pt x="794513" y="762000"/>
                </a:cubicBezTo>
                <a:cubicBezTo>
                  <a:pt x="791338" y="787400"/>
                  <a:pt x="799667" y="817230"/>
                  <a:pt x="784988" y="838200"/>
                </a:cubicBezTo>
                <a:cubicBezTo>
                  <a:pt x="773473" y="854651"/>
                  <a:pt x="747717" y="854410"/>
                  <a:pt x="727838" y="857250"/>
                </a:cubicBezTo>
                <a:cubicBezTo>
                  <a:pt x="623315" y="872182"/>
                  <a:pt x="683536" y="864911"/>
                  <a:pt x="546863" y="876300"/>
                </a:cubicBezTo>
                <a:cubicBezTo>
                  <a:pt x="527884" y="882626"/>
                  <a:pt x="499324" y="892958"/>
                  <a:pt x="480188" y="895350"/>
                </a:cubicBezTo>
                <a:cubicBezTo>
                  <a:pt x="442251" y="900092"/>
                  <a:pt x="403988" y="901700"/>
                  <a:pt x="365888" y="904875"/>
                </a:cubicBezTo>
                <a:cubicBezTo>
                  <a:pt x="309827" y="932905"/>
                  <a:pt x="341258" y="919435"/>
                  <a:pt x="270638" y="942975"/>
                </a:cubicBezTo>
                <a:cubicBezTo>
                  <a:pt x="261113" y="946150"/>
                  <a:pt x="251967" y="950849"/>
                  <a:pt x="242063" y="952500"/>
                </a:cubicBezTo>
                <a:lnTo>
                  <a:pt x="184913" y="962025"/>
                </a:lnTo>
                <a:cubicBezTo>
                  <a:pt x="161530" y="997100"/>
                  <a:pt x="171708" y="992072"/>
                  <a:pt x="127763" y="1009650"/>
                </a:cubicBezTo>
                <a:cubicBezTo>
                  <a:pt x="109119" y="1017108"/>
                  <a:pt x="70613" y="1028700"/>
                  <a:pt x="70613" y="1028700"/>
                </a:cubicBezTo>
                <a:cubicBezTo>
                  <a:pt x="57913" y="1025525"/>
                  <a:pt x="45100" y="1022771"/>
                  <a:pt x="32513" y="1019175"/>
                </a:cubicBezTo>
                <a:cubicBezTo>
                  <a:pt x="22859" y="1016417"/>
                  <a:pt x="9507" y="1018004"/>
                  <a:pt x="3938" y="1009650"/>
                </a:cubicBezTo>
                <a:cubicBezTo>
                  <a:pt x="0" y="1003743"/>
                  <a:pt x="10288" y="996950"/>
                  <a:pt x="13463" y="99060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1" name="Freeform 140"/>
          <p:cNvSpPr/>
          <p:nvPr/>
        </p:nvSpPr>
        <p:spPr>
          <a:xfrm>
            <a:off x="5862917" y="1933575"/>
            <a:ext cx="544513" cy="1066800"/>
          </a:xfrm>
          <a:custGeom>
            <a:avLst/>
            <a:gdLst>
              <a:gd name="connsiteX0" fmla="*/ 66675 w 544465"/>
              <a:gd name="connsiteY0" fmla="*/ 0 h 1066800"/>
              <a:gd name="connsiteX1" fmla="*/ 57150 w 544465"/>
              <a:gd name="connsiteY1" fmla="*/ 57150 h 1066800"/>
              <a:gd name="connsiteX2" fmla="*/ 38100 w 544465"/>
              <a:gd name="connsiteY2" fmla="*/ 114300 h 1066800"/>
              <a:gd name="connsiteX3" fmla="*/ 28575 w 544465"/>
              <a:gd name="connsiteY3" fmla="*/ 142875 h 1066800"/>
              <a:gd name="connsiteX4" fmla="*/ 19050 w 544465"/>
              <a:gd name="connsiteY4" fmla="*/ 180975 h 1066800"/>
              <a:gd name="connsiteX5" fmla="*/ 9525 w 544465"/>
              <a:gd name="connsiteY5" fmla="*/ 209550 h 1066800"/>
              <a:gd name="connsiteX6" fmla="*/ 0 w 544465"/>
              <a:gd name="connsiteY6" fmla="*/ 257175 h 1066800"/>
              <a:gd name="connsiteX7" fmla="*/ 9525 w 544465"/>
              <a:gd name="connsiteY7" fmla="*/ 381000 h 1066800"/>
              <a:gd name="connsiteX8" fmla="*/ 19050 w 544465"/>
              <a:gd name="connsiteY8" fmla="*/ 409575 h 1066800"/>
              <a:gd name="connsiteX9" fmla="*/ 38100 w 544465"/>
              <a:gd name="connsiteY9" fmla="*/ 485775 h 1066800"/>
              <a:gd name="connsiteX10" fmla="*/ 47625 w 544465"/>
              <a:gd name="connsiteY10" fmla="*/ 514350 h 1066800"/>
              <a:gd name="connsiteX11" fmla="*/ 76200 w 544465"/>
              <a:gd name="connsiteY11" fmla="*/ 533400 h 1066800"/>
              <a:gd name="connsiteX12" fmla="*/ 152400 w 544465"/>
              <a:gd name="connsiteY12" fmla="*/ 647700 h 1066800"/>
              <a:gd name="connsiteX13" fmla="*/ 171450 w 544465"/>
              <a:gd name="connsiteY13" fmla="*/ 676275 h 1066800"/>
              <a:gd name="connsiteX14" fmla="*/ 200025 w 544465"/>
              <a:gd name="connsiteY14" fmla="*/ 695325 h 1066800"/>
              <a:gd name="connsiteX15" fmla="*/ 247650 w 544465"/>
              <a:gd name="connsiteY15" fmla="*/ 781050 h 1066800"/>
              <a:gd name="connsiteX16" fmla="*/ 257175 w 544465"/>
              <a:gd name="connsiteY16" fmla="*/ 809625 h 1066800"/>
              <a:gd name="connsiteX17" fmla="*/ 314325 w 544465"/>
              <a:gd name="connsiteY17" fmla="*/ 857250 h 1066800"/>
              <a:gd name="connsiteX18" fmla="*/ 371475 w 544465"/>
              <a:gd name="connsiteY18" fmla="*/ 866775 h 1066800"/>
              <a:gd name="connsiteX19" fmla="*/ 400050 w 544465"/>
              <a:gd name="connsiteY19" fmla="*/ 876300 h 1066800"/>
              <a:gd name="connsiteX20" fmla="*/ 438150 w 544465"/>
              <a:gd name="connsiteY20" fmla="*/ 885825 h 1066800"/>
              <a:gd name="connsiteX21" fmla="*/ 495300 w 544465"/>
              <a:gd name="connsiteY21" fmla="*/ 923925 h 1066800"/>
              <a:gd name="connsiteX22" fmla="*/ 523875 w 544465"/>
              <a:gd name="connsiteY22" fmla="*/ 981075 h 1066800"/>
              <a:gd name="connsiteX23" fmla="*/ 533400 w 544465"/>
              <a:gd name="connsiteY23" fmla="*/ 1009650 h 1066800"/>
              <a:gd name="connsiteX24" fmla="*/ 542925 w 544465"/>
              <a:gd name="connsiteY24" fmla="*/ 1066800 h 106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544465" h="1066800">
                <a:moveTo>
                  <a:pt x="66675" y="0"/>
                </a:moveTo>
                <a:cubicBezTo>
                  <a:pt x="63500" y="19050"/>
                  <a:pt x="61834" y="38414"/>
                  <a:pt x="57150" y="57150"/>
                </a:cubicBezTo>
                <a:cubicBezTo>
                  <a:pt x="52280" y="76631"/>
                  <a:pt x="44450" y="95250"/>
                  <a:pt x="38100" y="114300"/>
                </a:cubicBezTo>
                <a:cubicBezTo>
                  <a:pt x="34925" y="123825"/>
                  <a:pt x="31010" y="133135"/>
                  <a:pt x="28575" y="142875"/>
                </a:cubicBezTo>
                <a:cubicBezTo>
                  <a:pt x="25400" y="155575"/>
                  <a:pt x="22646" y="168388"/>
                  <a:pt x="19050" y="180975"/>
                </a:cubicBezTo>
                <a:cubicBezTo>
                  <a:pt x="16292" y="190629"/>
                  <a:pt x="11960" y="199810"/>
                  <a:pt x="9525" y="209550"/>
                </a:cubicBezTo>
                <a:cubicBezTo>
                  <a:pt x="5598" y="225256"/>
                  <a:pt x="3175" y="241300"/>
                  <a:pt x="0" y="257175"/>
                </a:cubicBezTo>
                <a:cubicBezTo>
                  <a:pt x="3175" y="298450"/>
                  <a:pt x="4390" y="339923"/>
                  <a:pt x="9525" y="381000"/>
                </a:cubicBezTo>
                <a:cubicBezTo>
                  <a:pt x="10770" y="390963"/>
                  <a:pt x="16408" y="399889"/>
                  <a:pt x="19050" y="409575"/>
                </a:cubicBezTo>
                <a:cubicBezTo>
                  <a:pt x="25939" y="434834"/>
                  <a:pt x="29821" y="460937"/>
                  <a:pt x="38100" y="485775"/>
                </a:cubicBezTo>
                <a:cubicBezTo>
                  <a:pt x="41275" y="495300"/>
                  <a:pt x="41353" y="506510"/>
                  <a:pt x="47625" y="514350"/>
                </a:cubicBezTo>
                <a:cubicBezTo>
                  <a:pt x="54776" y="523289"/>
                  <a:pt x="66675" y="527050"/>
                  <a:pt x="76200" y="533400"/>
                </a:cubicBezTo>
                <a:lnTo>
                  <a:pt x="152400" y="647700"/>
                </a:lnTo>
                <a:cubicBezTo>
                  <a:pt x="158750" y="657225"/>
                  <a:pt x="161925" y="669925"/>
                  <a:pt x="171450" y="676275"/>
                </a:cubicBezTo>
                <a:lnTo>
                  <a:pt x="200025" y="695325"/>
                </a:lnTo>
                <a:cubicBezTo>
                  <a:pt x="223335" y="765254"/>
                  <a:pt x="204876" y="738276"/>
                  <a:pt x="247650" y="781050"/>
                </a:cubicBezTo>
                <a:cubicBezTo>
                  <a:pt x="250825" y="790575"/>
                  <a:pt x="251606" y="801271"/>
                  <a:pt x="257175" y="809625"/>
                </a:cubicBezTo>
                <a:cubicBezTo>
                  <a:pt x="264754" y="820994"/>
                  <a:pt x="299264" y="852230"/>
                  <a:pt x="314325" y="857250"/>
                </a:cubicBezTo>
                <a:cubicBezTo>
                  <a:pt x="332647" y="863357"/>
                  <a:pt x="352622" y="862585"/>
                  <a:pt x="371475" y="866775"/>
                </a:cubicBezTo>
                <a:cubicBezTo>
                  <a:pt x="381276" y="868953"/>
                  <a:pt x="390396" y="873542"/>
                  <a:pt x="400050" y="876300"/>
                </a:cubicBezTo>
                <a:cubicBezTo>
                  <a:pt x="412637" y="879896"/>
                  <a:pt x="425450" y="882650"/>
                  <a:pt x="438150" y="885825"/>
                </a:cubicBezTo>
                <a:cubicBezTo>
                  <a:pt x="457200" y="898525"/>
                  <a:pt x="488060" y="902205"/>
                  <a:pt x="495300" y="923925"/>
                </a:cubicBezTo>
                <a:cubicBezTo>
                  <a:pt x="519241" y="995749"/>
                  <a:pt x="486946" y="907217"/>
                  <a:pt x="523875" y="981075"/>
                </a:cubicBezTo>
                <a:cubicBezTo>
                  <a:pt x="528365" y="990055"/>
                  <a:pt x="530642" y="999996"/>
                  <a:pt x="533400" y="1009650"/>
                </a:cubicBezTo>
                <a:cubicBezTo>
                  <a:pt x="544465" y="1048378"/>
                  <a:pt x="542925" y="1037343"/>
                  <a:pt x="542925" y="106680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2" name="Freeform 141"/>
          <p:cNvSpPr/>
          <p:nvPr/>
        </p:nvSpPr>
        <p:spPr>
          <a:xfrm>
            <a:off x="1897338" y="2133601"/>
            <a:ext cx="222250" cy="668339"/>
          </a:xfrm>
          <a:custGeom>
            <a:avLst/>
            <a:gdLst>
              <a:gd name="connsiteX0" fmla="*/ 11373 w 304800"/>
              <a:gd name="connsiteY0" fmla="*/ 839337 h 839337"/>
              <a:gd name="connsiteX1" fmla="*/ 18197 w 304800"/>
              <a:gd name="connsiteY1" fmla="*/ 777922 h 839337"/>
              <a:gd name="connsiteX2" fmla="*/ 25021 w 304800"/>
              <a:gd name="connsiteY2" fmla="*/ 757450 h 839337"/>
              <a:gd name="connsiteX3" fmla="*/ 31845 w 304800"/>
              <a:gd name="connsiteY3" fmla="*/ 736979 h 839337"/>
              <a:gd name="connsiteX4" fmla="*/ 45492 w 304800"/>
              <a:gd name="connsiteY4" fmla="*/ 586853 h 839337"/>
              <a:gd name="connsiteX5" fmla="*/ 59140 w 304800"/>
              <a:gd name="connsiteY5" fmla="*/ 545910 h 839337"/>
              <a:gd name="connsiteX6" fmla="*/ 65964 w 304800"/>
              <a:gd name="connsiteY6" fmla="*/ 525438 h 839337"/>
              <a:gd name="connsiteX7" fmla="*/ 86436 w 304800"/>
              <a:gd name="connsiteY7" fmla="*/ 511791 h 839337"/>
              <a:gd name="connsiteX8" fmla="*/ 106907 w 304800"/>
              <a:gd name="connsiteY8" fmla="*/ 464024 h 839337"/>
              <a:gd name="connsiteX9" fmla="*/ 113731 w 304800"/>
              <a:gd name="connsiteY9" fmla="*/ 443552 h 839337"/>
              <a:gd name="connsiteX10" fmla="*/ 120555 w 304800"/>
              <a:gd name="connsiteY10" fmla="*/ 341194 h 839337"/>
              <a:gd name="connsiteX11" fmla="*/ 141027 w 304800"/>
              <a:gd name="connsiteY11" fmla="*/ 327546 h 839337"/>
              <a:gd name="connsiteX12" fmla="*/ 154675 w 304800"/>
              <a:gd name="connsiteY12" fmla="*/ 307074 h 839337"/>
              <a:gd name="connsiteX13" fmla="*/ 168322 w 304800"/>
              <a:gd name="connsiteY13" fmla="*/ 266131 h 839337"/>
              <a:gd name="connsiteX14" fmla="*/ 175146 w 304800"/>
              <a:gd name="connsiteY14" fmla="*/ 245659 h 839337"/>
              <a:gd name="connsiteX15" fmla="*/ 195618 w 304800"/>
              <a:gd name="connsiteY15" fmla="*/ 238835 h 839337"/>
              <a:gd name="connsiteX16" fmla="*/ 222913 w 304800"/>
              <a:gd name="connsiteY16" fmla="*/ 197892 h 839337"/>
              <a:gd name="connsiteX17" fmla="*/ 243385 w 304800"/>
              <a:gd name="connsiteY17" fmla="*/ 136477 h 839337"/>
              <a:gd name="connsiteX18" fmla="*/ 250209 w 304800"/>
              <a:gd name="connsiteY18" fmla="*/ 116006 h 839337"/>
              <a:gd name="connsiteX19" fmla="*/ 257033 w 304800"/>
              <a:gd name="connsiteY19" fmla="*/ 88710 h 839337"/>
              <a:gd name="connsiteX20" fmla="*/ 277504 w 304800"/>
              <a:gd name="connsiteY20" fmla="*/ 47767 h 839337"/>
              <a:gd name="connsiteX21" fmla="*/ 284328 w 304800"/>
              <a:gd name="connsiteY21" fmla="*/ 13647 h 839337"/>
              <a:gd name="connsiteX22" fmla="*/ 304800 w 304800"/>
              <a:gd name="connsiteY22" fmla="*/ 0 h 83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04800" h="839337">
                <a:moveTo>
                  <a:pt x="11373" y="839337"/>
                </a:moveTo>
                <a:cubicBezTo>
                  <a:pt x="0" y="805217"/>
                  <a:pt x="2274" y="825689"/>
                  <a:pt x="18197" y="777922"/>
                </a:cubicBezTo>
                <a:lnTo>
                  <a:pt x="25021" y="757450"/>
                </a:lnTo>
                <a:lnTo>
                  <a:pt x="31845" y="736979"/>
                </a:lnTo>
                <a:cubicBezTo>
                  <a:pt x="33540" y="711549"/>
                  <a:pt x="36749" y="624739"/>
                  <a:pt x="45492" y="586853"/>
                </a:cubicBezTo>
                <a:cubicBezTo>
                  <a:pt x="48727" y="572835"/>
                  <a:pt x="54591" y="559558"/>
                  <a:pt x="59140" y="545910"/>
                </a:cubicBezTo>
                <a:cubicBezTo>
                  <a:pt x="61415" y="539086"/>
                  <a:pt x="59979" y="529428"/>
                  <a:pt x="65964" y="525438"/>
                </a:cubicBezTo>
                <a:lnTo>
                  <a:pt x="86436" y="511791"/>
                </a:lnTo>
                <a:cubicBezTo>
                  <a:pt x="102440" y="463780"/>
                  <a:pt x="81611" y="523050"/>
                  <a:pt x="106907" y="464024"/>
                </a:cubicBezTo>
                <a:cubicBezTo>
                  <a:pt x="109740" y="457412"/>
                  <a:pt x="111456" y="450376"/>
                  <a:pt x="113731" y="443552"/>
                </a:cubicBezTo>
                <a:cubicBezTo>
                  <a:pt x="116006" y="409433"/>
                  <a:pt x="112723" y="374480"/>
                  <a:pt x="120555" y="341194"/>
                </a:cubicBezTo>
                <a:cubicBezTo>
                  <a:pt x="122433" y="333211"/>
                  <a:pt x="135228" y="333345"/>
                  <a:pt x="141027" y="327546"/>
                </a:cubicBezTo>
                <a:cubicBezTo>
                  <a:pt x="146826" y="321747"/>
                  <a:pt x="150126" y="313898"/>
                  <a:pt x="154675" y="307074"/>
                </a:cubicBezTo>
                <a:lnTo>
                  <a:pt x="168322" y="266131"/>
                </a:lnTo>
                <a:cubicBezTo>
                  <a:pt x="170597" y="259307"/>
                  <a:pt x="168322" y="247934"/>
                  <a:pt x="175146" y="245659"/>
                </a:cubicBezTo>
                <a:lnTo>
                  <a:pt x="195618" y="238835"/>
                </a:lnTo>
                <a:cubicBezTo>
                  <a:pt x="204716" y="225187"/>
                  <a:pt x="217726" y="213453"/>
                  <a:pt x="222913" y="197892"/>
                </a:cubicBezTo>
                <a:lnTo>
                  <a:pt x="243385" y="136477"/>
                </a:lnTo>
                <a:cubicBezTo>
                  <a:pt x="245660" y="129653"/>
                  <a:pt x="248464" y="122984"/>
                  <a:pt x="250209" y="116006"/>
                </a:cubicBezTo>
                <a:cubicBezTo>
                  <a:pt x="252484" y="106907"/>
                  <a:pt x="253339" y="97330"/>
                  <a:pt x="257033" y="88710"/>
                </a:cubicBezTo>
                <a:cubicBezTo>
                  <a:pt x="277045" y="42013"/>
                  <a:pt x="266003" y="93770"/>
                  <a:pt x="277504" y="47767"/>
                </a:cubicBezTo>
                <a:cubicBezTo>
                  <a:pt x="280317" y="36515"/>
                  <a:pt x="278573" y="23717"/>
                  <a:pt x="284328" y="13647"/>
                </a:cubicBezTo>
                <a:cubicBezTo>
                  <a:pt x="288397" y="6526"/>
                  <a:pt x="304800" y="0"/>
                  <a:pt x="30480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3" name="Freeform 142"/>
          <p:cNvSpPr/>
          <p:nvPr/>
        </p:nvSpPr>
        <p:spPr>
          <a:xfrm>
            <a:off x="1687788" y="1668466"/>
            <a:ext cx="679450" cy="511175"/>
          </a:xfrm>
          <a:custGeom>
            <a:avLst/>
            <a:gdLst>
              <a:gd name="connsiteX0" fmla="*/ 3570 w 680396"/>
              <a:gd name="connsiteY0" fmla="*/ 511791 h 511791"/>
              <a:gd name="connsiteX1" fmla="*/ 30865 w 680396"/>
              <a:gd name="connsiteY1" fmla="*/ 477671 h 511791"/>
              <a:gd name="connsiteX2" fmla="*/ 44513 w 680396"/>
              <a:gd name="connsiteY2" fmla="*/ 457200 h 511791"/>
              <a:gd name="connsiteX3" fmla="*/ 85456 w 680396"/>
              <a:gd name="connsiteY3" fmla="*/ 436728 h 511791"/>
              <a:gd name="connsiteX4" fmla="*/ 105928 w 680396"/>
              <a:gd name="connsiteY4" fmla="*/ 423080 h 511791"/>
              <a:gd name="connsiteX5" fmla="*/ 126400 w 680396"/>
              <a:gd name="connsiteY5" fmla="*/ 361665 h 511791"/>
              <a:gd name="connsiteX6" fmla="*/ 133224 w 680396"/>
              <a:gd name="connsiteY6" fmla="*/ 341194 h 511791"/>
              <a:gd name="connsiteX7" fmla="*/ 146871 w 680396"/>
              <a:gd name="connsiteY7" fmla="*/ 320722 h 511791"/>
              <a:gd name="connsiteX8" fmla="*/ 187815 w 680396"/>
              <a:gd name="connsiteY8" fmla="*/ 307074 h 511791"/>
              <a:gd name="connsiteX9" fmla="*/ 208286 w 680396"/>
              <a:gd name="connsiteY9" fmla="*/ 293427 h 511791"/>
              <a:gd name="connsiteX10" fmla="*/ 228758 w 680396"/>
              <a:gd name="connsiteY10" fmla="*/ 266131 h 511791"/>
              <a:gd name="connsiteX11" fmla="*/ 256053 w 680396"/>
              <a:gd name="connsiteY11" fmla="*/ 225188 h 511791"/>
              <a:gd name="connsiteX12" fmla="*/ 296997 w 680396"/>
              <a:gd name="connsiteY12" fmla="*/ 211540 h 511791"/>
              <a:gd name="connsiteX13" fmla="*/ 317468 w 680396"/>
              <a:gd name="connsiteY13" fmla="*/ 197892 h 511791"/>
              <a:gd name="connsiteX14" fmla="*/ 324292 w 680396"/>
              <a:gd name="connsiteY14" fmla="*/ 177421 h 511791"/>
              <a:gd name="connsiteX15" fmla="*/ 344764 w 680396"/>
              <a:gd name="connsiteY15" fmla="*/ 156949 h 511791"/>
              <a:gd name="connsiteX16" fmla="*/ 351588 w 680396"/>
              <a:gd name="connsiteY16" fmla="*/ 136477 h 511791"/>
              <a:gd name="connsiteX17" fmla="*/ 413003 w 680396"/>
              <a:gd name="connsiteY17" fmla="*/ 136477 h 511791"/>
              <a:gd name="connsiteX18" fmla="*/ 460770 w 680396"/>
              <a:gd name="connsiteY18" fmla="*/ 136477 h 511791"/>
              <a:gd name="connsiteX19" fmla="*/ 563128 w 680396"/>
              <a:gd name="connsiteY19" fmla="*/ 129654 h 511791"/>
              <a:gd name="connsiteX20" fmla="*/ 597247 w 680396"/>
              <a:gd name="connsiteY20" fmla="*/ 102358 h 511791"/>
              <a:gd name="connsiteX21" fmla="*/ 610895 w 680396"/>
              <a:gd name="connsiteY21" fmla="*/ 61415 h 511791"/>
              <a:gd name="connsiteX22" fmla="*/ 651838 w 680396"/>
              <a:gd name="connsiteY22" fmla="*/ 47767 h 511791"/>
              <a:gd name="connsiteX23" fmla="*/ 679134 w 680396"/>
              <a:gd name="connsiteY23" fmla="*/ 0 h 511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680396" h="511791">
                <a:moveTo>
                  <a:pt x="3570" y="511791"/>
                </a:moveTo>
                <a:cubicBezTo>
                  <a:pt x="16854" y="471938"/>
                  <a:pt x="0" y="508536"/>
                  <a:pt x="30865" y="477671"/>
                </a:cubicBezTo>
                <a:cubicBezTo>
                  <a:pt x="36664" y="471872"/>
                  <a:pt x="38714" y="462999"/>
                  <a:pt x="44513" y="457200"/>
                </a:cubicBezTo>
                <a:cubicBezTo>
                  <a:pt x="64070" y="437643"/>
                  <a:pt x="63255" y="447829"/>
                  <a:pt x="85456" y="436728"/>
                </a:cubicBezTo>
                <a:cubicBezTo>
                  <a:pt x="92792" y="433060"/>
                  <a:pt x="99104" y="427629"/>
                  <a:pt x="105928" y="423080"/>
                </a:cubicBezTo>
                <a:lnTo>
                  <a:pt x="126400" y="361665"/>
                </a:lnTo>
                <a:cubicBezTo>
                  <a:pt x="128675" y="354841"/>
                  <a:pt x="129234" y="347179"/>
                  <a:pt x="133224" y="341194"/>
                </a:cubicBezTo>
                <a:cubicBezTo>
                  <a:pt x="137773" y="334370"/>
                  <a:pt x="139916" y="325069"/>
                  <a:pt x="146871" y="320722"/>
                </a:cubicBezTo>
                <a:cubicBezTo>
                  <a:pt x="159070" y="313097"/>
                  <a:pt x="175845" y="315054"/>
                  <a:pt x="187815" y="307074"/>
                </a:cubicBezTo>
                <a:lnTo>
                  <a:pt x="208286" y="293427"/>
                </a:lnTo>
                <a:cubicBezTo>
                  <a:pt x="215110" y="284328"/>
                  <a:pt x="223115" y="276006"/>
                  <a:pt x="228758" y="266131"/>
                </a:cubicBezTo>
                <a:cubicBezTo>
                  <a:pt x="241880" y="243168"/>
                  <a:pt x="226141" y="241806"/>
                  <a:pt x="256053" y="225188"/>
                </a:cubicBezTo>
                <a:cubicBezTo>
                  <a:pt x="268629" y="218201"/>
                  <a:pt x="296997" y="211540"/>
                  <a:pt x="296997" y="211540"/>
                </a:cubicBezTo>
                <a:cubicBezTo>
                  <a:pt x="303821" y="206991"/>
                  <a:pt x="312345" y="204296"/>
                  <a:pt x="317468" y="197892"/>
                </a:cubicBezTo>
                <a:cubicBezTo>
                  <a:pt x="321961" y="192275"/>
                  <a:pt x="320302" y="183406"/>
                  <a:pt x="324292" y="177421"/>
                </a:cubicBezTo>
                <a:cubicBezTo>
                  <a:pt x="329645" y="169391"/>
                  <a:pt x="337940" y="163773"/>
                  <a:pt x="344764" y="156949"/>
                </a:cubicBezTo>
                <a:cubicBezTo>
                  <a:pt x="347039" y="150125"/>
                  <a:pt x="346502" y="141563"/>
                  <a:pt x="351588" y="136477"/>
                </a:cubicBezTo>
                <a:cubicBezTo>
                  <a:pt x="365986" y="122079"/>
                  <a:pt x="401898" y="134626"/>
                  <a:pt x="413003" y="136477"/>
                </a:cubicBezTo>
                <a:cubicBezTo>
                  <a:pt x="451046" y="149159"/>
                  <a:pt x="415185" y="141275"/>
                  <a:pt x="460770" y="136477"/>
                </a:cubicBezTo>
                <a:cubicBezTo>
                  <a:pt x="494777" y="132898"/>
                  <a:pt x="529009" y="131928"/>
                  <a:pt x="563128" y="129654"/>
                </a:cubicBezTo>
                <a:cubicBezTo>
                  <a:pt x="585328" y="122254"/>
                  <a:pt x="586511" y="126515"/>
                  <a:pt x="597247" y="102358"/>
                </a:cubicBezTo>
                <a:cubicBezTo>
                  <a:pt x="603090" y="89212"/>
                  <a:pt x="597247" y="65964"/>
                  <a:pt x="610895" y="61415"/>
                </a:cubicBezTo>
                <a:lnTo>
                  <a:pt x="651838" y="47767"/>
                </a:lnTo>
                <a:cubicBezTo>
                  <a:pt x="680396" y="4931"/>
                  <a:pt x="679134" y="23227"/>
                  <a:pt x="67913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4" name="Freeform 143"/>
          <p:cNvSpPr/>
          <p:nvPr/>
        </p:nvSpPr>
        <p:spPr>
          <a:xfrm>
            <a:off x="3992838" y="3108325"/>
            <a:ext cx="1225550" cy="219075"/>
          </a:xfrm>
          <a:custGeom>
            <a:avLst/>
            <a:gdLst>
              <a:gd name="connsiteX0" fmla="*/ 1226440 w 1226440"/>
              <a:gd name="connsiteY0" fmla="*/ 210703 h 217527"/>
              <a:gd name="connsiteX1" fmla="*/ 1212792 w 1226440"/>
              <a:gd name="connsiteY1" fmla="*/ 183407 h 217527"/>
              <a:gd name="connsiteX2" fmla="*/ 1205968 w 1226440"/>
              <a:gd name="connsiteY2" fmla="*/ 162936 h 217527"/>
              <a:gd name="connsiteX3" fmla="*/ 1151377 w 1226440"/>
              <a:gd name="connsiteY3" fmla="*/ 169760 h 217527"/>
              <a:gd name="connsiteX4" fmla="*/ 1130906 w 1226440"/>
              <a:gd name="connsiteY4" fmla="*/ 176584 h 217527"/>
              <a:gd name="connsiteX5" fmla="*/ 1055843 w 1226440"/>
              <a:gd name="connsiteY5" fmla="*/ 142464 h 217527"/>
              <a:gd name="connsiteX6" fmla="*/ 1035371 w 1226440"/>
              <a:gd name="connsiteY6" fmla="*/ 128816 h 217527"/>
              <a:gd name="connsiteX7" fmla="*/ 994428 w 1226440"/>
              <a:gd name="connsiteY7" fmla="*/ 115169 h 217527"/>
              <a:gd name="connsiteX8" fmla="*/ 973957 w 1226440"/>
              <a:gd name="connsiteY8" fmla="*/ 108345 h 217527"/>
              <a:gd name="connsiteX9" fmla="*/ 885246 w 1226440"/>
              <a:gd name="connsiteY9" fmla="*/ 121992 h 217527"/>
              <a:gd name="connsiteX10" fmla="*/ 844303 w 1226440"/>
              <a:gd name="connsiteY10" fmla="*/ 135640 h 217527"/>
              <a:gd name="connsiteX11" fmla="*/ 782888 w 1226440"/>
              <a:gd name="connsiteY11" fmla="*/ 128816 h 217527"/>
              <a:gd name="connsiteX12" fmla="*/ 776064 w 1226440"/>
              <a:gd name="connsiteY12" fmla="*/ 108345 h 217527"/>
              <a:gd name="connsiteX13" fmla="*/ 755592 w 1226440"/>
              <a:gd name="connsiteY13" fmla="*/ 101521 h 217527"/>
              <a:gd name="connsiteX14" fmla="*/ 735121 w 1226440"/>
              <a:gd name="connsiteY14" fmla="*/ 87873 h 217527"/>
              <a:gd name="connsiteX15" fmla="*/ 707825 w 1226440"/>
              <a:gd name="connsiteY15" fmla="*/ 46930 h 217527"/>
              <a:gd name="connsiteX16" fmla="*/ 666882 w 1226440"/>
              <a:gd name="connsiteY16" fmla="*/ 26458 h 217527"/>
              <a:gd name="connsiteX17" fmla="*/ 625939 w 1226440"/>
              <a:gd name="connsiteY17" fmla="*/ 5986 h 217527"/>
              <a:gd name="connsiteX18" fmla="*/ 530404 w 1226440"/>
              <a:gd name="connsiteY18" fmla="*/ 12810 h 217527"/>
              <a:gd name="connsiteX19" fmla="*/ 489461 w 1226440"/>
              <a:gd name="connsiteY19" fmla="*/ 26458 h 217527"/>
              <a:gd name="connsiteX20" fmla="*/ 468989 w 1226440"/>
              <a:gd name="connsiteY20" fmla="*/ 33282 h 217527"/>
              <a:gd name="connsiteX21" fmla="*/ 448518 w 1226440"/>
              <a:gd name="connsiteY21" fmla="*/ 46930 h 217527"/>
              <a:gd name="connsiteX22" fmla="*/ 400751 w 1226440"/>
              <a:gd name="connsiteY22" fmla="*/ 60578 h 217527"/>
              <a:gd name="connsiteX23" fmla="*/ 325688 w 1226440"/>
              <a:gd name="connsiteY23" fmla="*/ 74225 h 217527"/>
              <a:gd name="connsiteX24" fmla="*/ 271097 w 1226440"/>
              <a:gd name="connsiteY24" fmla="*/ 101521 h 217527"/>
              <a:gd name="connsiteX25" fmla="*/ 250625 w 1226440"/>
              <a:gd name="connsiteY25" fmla="*/ 162936 h 217527"/>
              <a:gd name="connsiteX26" fmla="*/ 243801 w 1226440"/>
              <a:gd name="connsiteY26" fmla="*/ 183407 h 217527"/>
              <a:gd name="connsiteX27" fmla="*/ 182386 w 1226440"/>
              <a:gd name="connsiteY27" fmla="*/ 210703 h 217527"/>
              <a:gd name="connsiteX28" fmla="*/ 161915 w 1226440"/>
              <a:gd name="connsiteY28" fmla="*/ 217527 h 217527"/>
              <a:gd name="connsiteX29" fmla="*/ 66380 w 1226440"/>
              <a:gd name="connsiteY29" fmla="*/ 210703 h 217527"/>
              <a:gd name="connsiteX30" fmla="*/ 32261 w 1226440"/>
              <a:gd name="connsiteY30" fmla="*/ 203879 h 21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26440" h="217527">
                <a:moveTo>
                  <a:pt x="1226440" y="210703"/>
                </a:moveTo>
                <a:cubicBezTo>
                  <a:pt x="1221891" y="201604"/>
                  <a:pt x="1216799" y="192757"/>
                  <a:pt x="1212792" y="183407"/>
                </a:cubicBezTo>
                <a:cubicBezTo>
                  <a:pt x="1209959" y="176796"/>
                  <a:pt x="1212990" y="164496"/>
                  <a:pt x="1205968" y="162936"/>
                </a:cubicBezTo>
                <a:cubicBezTo>
                  <a:pt x="1188066" y="158958"/>
                  <a:pt x="1169574" y="167485"/>
                  <a:pt x="1151377" y="169760"/>
                </a:cubicBezTo>
                <a:cubicBezTo>
                  <a:pt x="1144553" y="172035"/>
                  <a:pt x="1138099" y="176584"/>
                  <a:pt x="1130906" y="176584"/>
                </a:cubicBezTo>
                <a:cubicBezTo>
                  <a:pt x="1095763" y="176584"/>
                  <a:pt x="1085138" y="161994"/>
                  <a:pt x="1055843" y="142464"/>
                </a:cubicBezTo>
                <a:cubicBezTo>
                  <a:pt x="1049019" y="137915"/>
                  <a:pt x="1043152" y="131409"/>
                  <a:pt x="1035371" y="128816"/>
                </a:cubicBezTo>
                <a:lnTo>
                  <a:pt x="994428" y="115169"/>
                </a:lnTo>
                <a:lnTo>
                  <a:pt x="973957" y="108345"/>
                </a:lnTo>
                <a:cubicBezTo>
                  <a:pt x="930723" y="113149"/>
                  <a:pt x="920002" y="111565"/>
                  <a:pt x="885246" y="121992"/>
                </a:cubicBezTo>
                <a:cubicBezTo>
                  <a:pt x="871467" y="126126"/>
                  <a:pt x="844303" y="135640"/>
                  <a:pt x="844303" y="135640"/>
                </a:cubicBezTo>
                <a:cubicBezTo>
                  <a:pt x="823831" y="133365"/>
                  <a:pt x="802012" y="136466"/>
                  <a:pt x="782888" y="128816"/>
                </a:cubicBezTo>
                <a:cubicBezTo>
                  <a:pt x="776210" y="126145"/>
                  <a:pt x="781150" y="113431"/>
                  <a:pt x="776064" y="108345"/>
                </a:cubicBezTo>
                <a:cubicBezTo>
                  <a:pt x="770978" y="103259"/>
                  <a:pt x="762416" y="103796"/>
                  <a:pt x="755592" y="101521"/>
                </a:cubicBezTo>
                <a:cubicBezTo>
                  <a:pt x="748768" y="96972"/>
                  <a:pt x="740521" y="94045"/>
                  <a:pt x="735121" y="87873"/>
                </a:cubicBezTo>
                <a:cubicBezTo>
                  <a:pt x="724320" y="75529"/>
                  <a:pt x="721473" y="56029"/>
                  <a:pt x="707825" y="46930"/>
                </a:cubicBezTo>
                <a:cubicBezTo>
                  <a:pt x="649164" y="7821"/>
                  <a:pt x="723381" y="54708"/>
                  <a:pt x="666882" y="26458"/>
                </a:cubicBezTo>
                <a:cubicBezTo>
                  <a:pt x="613966" y="0"/>
                  <a:pt x="677396" y="23139"/>
                  <a:pt x="625939" y="5986"/>
                </a:cubicBezTo>
                <a:cubicBezTo>
                  <a:pt x="594094" y="8261"/>
                  <a:pt x="561977" y="8074"/>
                  <a:pt x="530404" y="12810"/>
                </a:cubicBezTo>
                <a:cubicBezTo>
                  <a:pt x="516177" y="14944"/>
                  <a:pt x="503109" y="21909"/>
                  <a:pt x="489461" y="26458"/>
                </a:cubicBezTo>
                <a:lnTo>
                  <a:pt x="468989" y="33282"/>
                </a:lnTo>
                <a:cubicBezTo>
                  <a:pt x="462165" y="37831"/>
                  <a:pt x="455853" y="43262"/>
                  <a:pt x="448518" y="46930"/>
                </a:cubicBezTo>
                <a:cubicBezTo>
                  <a:pt x="439401" y="51489"/>
                  <a:pt x="408620" y="58829"/>
                  <a:pt x="400751" y="60578"/>
                </a:cubicBezTo>
                <a:cubicBezTo>
                  <a:pt x="372159" y="66931"/>
                  <a:pt x="355293" y="69291"/>
                  <a:pt x="325688" y="74225"/>
                </a:cubicBezTo>
                <a:cubicBezTo>
                  <a:pt x="307491" y="83324"/>
                  <a:pt x="277531" y="82220"/>
                  <a:pt x="271097" y="101521"/>
                </a:cubicBezTo>
                <a:lnTo>
                  <a:pt x="250625" y="162936"/>
                </a:lnTo>
                <a:cubicBezTo>
                  <a:pt x="248350" y="169760"/>
                  <a:pt x="249786" y="179417"/>
                  <a:pt x="243801" y="183407"/>
                </a:cubicBezTo>
                <a:cubicBezTo>
                  <a:pt x="211360" y="205036"/>
                  <a:pt x="231111" y="194461"/>
                  <a:pt x="182386" y="210703"/>
                </a:cubicBezTo>
                <a:lnTo>
                  <a:pt x="161915" y="217527"/>
                </a:lnTo>
                <a:cubicBezTo>
                  <a:pt x="130070" y="215252"/>
                  <a:pt x="98111" y="214229"/>
                  <a:pt x="66380" y="210703"/>
                </a:cubicBezTo>
                <a:cubicBezTo>
                  <a:pt x="0" y="203327"/>
                  <a:pt x="57408" y="203879"/>
                  <a:pt x="32261" y="20387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5" name="Freeform 144"/>
          <p:cNvSpPr/>
          <p:nvPr/>
        </p:nvSpPr>
        <p:spPr>
          <a:xfrm>
            <a:off x="2005288" y="2170115"/>
            <a:ext cx="469900" cy="647700"/>
          </a:xfrm>
          <a:custGeom>
            <a:avLst/>
            <a:gdLst>
              <a:gd name="connsiteX0" fmla="*/ 0 w 468809"/>
              <a:gd name="connsiteY0" fmla="*/ 647205 h 647205"/>
              <a:gd name="connsiteX1" fmla="*/ 29688 w 468809"/>
              <a:gd name="connsiteY1" fmla="*/ 641267 h 647205"/>
              <a:gd name="connsiteX2" fmla="*/ 35626 w 468809"/>
              <a:gd name="connsiteY2" fmla="*/ 623454 h 647205"/>
              <a:gd name="connsiteX3" fmla="*/ 47501 w 468809"/>
              <a:gd name="connsiteY3" fmla="*/ 605641 h 647205"/>
              <a:gd name="connsiteX4" fmla="*/ 65314 w 468809"/>
              <a:gd name="connsiteY4" fmla="*/ 570015 h 647205"/>
              <a:gd name="connsiteX5" fmla="*/ 83127 w 468809"/>
              <a:gd name="connsiteY5" fmla="*/ 558140 h 647205"/>
              <a:gd name="connsiteX6" fmla="*/ 118753 w 468809"/>
              <a:gd name="connsiteY6" fmla="*/ 528452 h 647205"/>
              <a:gd name="connsiteX7" fmla="*/ 136566 w 468809"/>
              <a:gd name="connsiteY7" fmla="*/ 522514 h 647205"/>
              <a:gd name="connsiteX8" fmla="*/ 172192 w 468809"/>
              <a:gd name="connsiteY8" fmla="*/ 504701 h 647205"/>
              <a:gd name="connsiteX9" fmla="*/ 255319 w 468809"/>
              <a:gd name="connsiteY9" fmla="*/ 498763 h 647205"/>
              <a:gd name="connsiteX10" fmla="*/ 279070 w 468809"/>
              <a:gd name="connsiteY10" fmla="*/ 492826 h 647205"/>
              <a:gd name="connsiteX11" fmla="*/ 314696 w 468809"/>
              <a:gd name="connsiteY11" fmla="*/ 480950 h 647205"/>
              <a:gd name="connsiteX12" fmla="*/ 326571 w 468809"/>
              <a:gd name="connsiteY12" fmla="*/ 445324 h 647205"/>
              <a:gd name="connsiteX13" fmla="*/ 344384 w 468809"/>
              <a:gd name="connsiteY13" fmla="*/ 409698 h 647205"/>
              <a:gd name="connsiteX14" fmla="*/ 356260 w 468809"/>
              <a:gd name="connsiteY14" fmla="*/ 397823 h 647205"/>
              <a:gd name="connsiteX15" fmla="*/ 362197 w 468809"/>
              <a:gd name="connsiteY15" fmla="*/ 380010 h 647205"/>
              <a:gd name="connsiteX16" fmla="*/ 380010 w 468809"/>
              <a:gd name="connsiteY16" fmla="*/ 374072 h 647205"/>
              <a:gd name="connsiteX17" fmla="*/ 415636 w 468809"/>
              <a:gd name="connsiteY17" fmla="*/ 356259 h 647205"/>
              <a:gd name="connsiteX18" fmla="*/ 427511 w 468809"/>
              <a:gd name="connsiteY18" fmla="*/ 178129 h 647205"/>
              <a:gd name="connsiteX19" fmla="*/ 409699 w 468809"/>
              <a:gd name="connsiteY19" fmla="*/ 172192 h 647205"/>
              <a:gd name="connsiteX20" fmla="*/ 362197 w 468809"/>
              <a:gd name="connsiteY20" fmla="*/ 160316 h 647205"/>
              <a:gd name="connsiteX21" fmla="*/ 350322 w 468809"/>
              <a:gd name="connsiteY21" fmla="*/ 142503 h 647205"/>
              <a:gd name="connsiteX22" fmla="*/ 344384 w 468809"/>
              <a:gd name="connsiteY22" fmla="*/ 124690 h 647205"/>
              <a:gd name="connsiteX23" fmla="*/ 332509 w 468809"/>
              <a:gd name="connsiteY23" fmla="*/ 100940 h 647205"/>
              <a:gd name="connsiteX24" fmla="*/ 338447 w 468809"/>
              <a:gd name="connsiteY24" fmla="*/ 53439 h 647205"/>
              <a:gd name="connsiteX25" fmla="*/ 344384 w 468809"/>
              <a:gd name="connsiteY25" fmla="*/ 0 h 647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468809" h="647205">
                <a:moveTo>
                  <a:pt x="0" y="647205"/>
                </a:moveTo>
                <a:cubicBezTo>
                  <a:pt x="9896" y="645226"/>
                  <a:pt x="21291" y="646865"/>
                  <a:pt x="29688" y="641267"/>
                </a:cubicBezTo>
                <a:cubicBezTo>
                  <a:pt x="34896" y="637795"/>
                  <a:pt x="32827" y="629052"/>
                  <a:pt x="35626" y="623454"/>
                </a:cubicBezTo>
                <a:cubicBezTo>
                  <a:pt x="38817" y="617071"/>
                  <a:pt x="44310" y="612024"/>
                  <a:pt x="47501" y="605641"/>
                </a:cubicBezTo>
                <a:cubicBezTo>
                  <a:pt x="57158" y="586326"/>
                  <a:pt x="48300" y="587029"/>
                  <a:pt x="65314" y="570015"/>
                </a:cubicBezTo>
                <a:cubicBezTo>
                  <a:pt x="70360" y="564969"/>
                  <a:pt x="77645" y="562708"/>
                  <a:pt x="83127" y="558140"/>
                </a:cubicBezTo>
                <a:cubicBezTo>
                  <a:pt x="102827" y="541724"/>
                  <a:pt x="96638" y="539509"/>
                  <a:pt x="118753" y="528452"/>
                </a:cubicBezTo>
                <a:cubicBezTo>
                  <a:pt x="124351" y="525653"/>
                  <a:pt x="130968" y="525313"/>
                  <a:pt x="136566" y="522514"/>
                </a:cubicBezTo>
                <a:cubicBezTo>
                  <a:pt x="153808" y="513893"/>
                  <a:pt x="152677" y="506997"/>
                  <a:pt x="172192" y="504701"/>
                </a:cubicBezTo>
                <a:cubicBezTo>
                  <a:pt x="199781" y="501455"/>
                  <a:pt x="227610" y="500742"/>
                  <a:pt x="255319" y="498763"/>
                </a:cubicBezTo>
                <a:cubicBezTo>
                  <a:pt x="263236" y="496784"/>
                  <a:pt x="271254" y="495171"/>
                  <a:pt x="279070" y="492826"/>
                </a:cubicBezTo>
                <a:cubicBezTo>
                  <a:pt x="291060" y="489229"/>
                  <a:pt x="314696" y="480950"/>
                  <a:pt x="314696" y="480950"/>
                </a:cubicBezTo>
                <a:lnTo>
                  <a:pt x="326571" y="445324"/>
                </a:lnTo>
                <a:cubicBezTo>
                  <a:pt x="332842" y="426512"/>
                  <a:pt x="331231" y="426139"/>
                  <a:pt x="344384" y="409698"/>
                </a:cubicBezTo>
                <a:cubicBezTo>
                  <a:pt x="347881" y="405327"/>
                  <a:pt x="352301" y="401781"/>
                  <a:pt x="356260" y="397823"/>
                </a:cubicBezTo>
                <a:cubicBezTo>
                  <a:pt x="358239" y="391885"/>
                  <a:pt x="357771" y="384436"/>
                  <a:pt x="362197" y="380010"/>
                </a:cubicBezTo>
                <a:cubicBezTo>
                  <a:pt x="366623" y="375584"/>
                  <a:pt x="374643" y="377292"/>
                  <a:pt x="380010" y="374072"/>
                </a:cubicBezTo>
                <a:cubicBezTo>
                  <a:pt x="417822" y="351385"/>
                  <a:pt x="357060" y="370904"/>
                  <a:pt x="415636" y="356259"/>
                </a:cubicBezTo>
                <a:cubicBezTo>
                  <a:pt x="468809" y="303086"/>
                  <a:pt x="449380" y="331217"/>
                  <a:pt x="427511" y="178129"/>
                </a:cubicBezTo>
                <a:cubicBezTo>
                  <a:pt x="426626" y="171933"/>
                  <a:pt x="415771" y="173710"/>
                  <a:pt x="409699" y="172192"/>
                </a:cubicBezTo>
                <a:lnTo>
                  <a:pt x="362197" y="160316"/>
                </a:lnTo>
                <a:cubicBezTo>
                  <a:pt x="358239" y="154378"/>
                  <a:pt x="353513" y="148886"/>
                  <a:pt x="350322" y="142503"/>
                </a:cubicBezTo>
                <a:cubicBezTo>
                  <a:pt x="347523" y="136905"/>
                  <a:pt x="346850" y="130443"/>
                  <a:pt x="344384" y="124690"/>
                </a:cubicBezTo>
                <a:cubicBezTo>
                  <a:pt x="340897" y="116555"/>
                  <a:pt x="336467" y="108857"/>
                  <a:pt x="332509" y="100940"/>
                </a:cubicBezTo>
                <a:cubicBezTo>
                  <a:pt x="334488" y="85106"/>
                  <a:pt x="336583" y="69287"/>
                  <a:pt x="338447" y="53439"/>
                </a:cubicBezTo>
                <a:cubicBezTo>
                  <a:pt x="340541" y="35639"/>
                  <a:pt x="344384" y="0"/>
                  <a:pt x="344384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6" name="Freeform 145"/>
          <p:cNvSpPr/>
          <p:nvPr/>
        </p:nvSpPr>
        <p:spPr>
          <a:xfrm>
            <a:off x="2035451" y="2644778"/>
            <a:ext cx="1884362" cy="333375"/>
          </a:xfrm>
          <a:custGeom>
            <a:avLst/>
            <a:gdLst>
              <a:gd name="connsiteX0" fmla="*/ 0 w 1883709"/>
              <a:gd name="connsiteY0" fmla="*/ 332509 h 332509"/>
              <a:gd name="connsiteX1" fmla="*/ 17813 w 1883709"/>
              <a:gd name="connsiteY1" fmla="*/ 326571 h 332509"/>
              <a:gd name="connsiteX2" fmla="*/ 35626 w 1883709"/>
              <a:gd name="connsiteY2" fmla="*/ 314696 h 332509"/>
              <a:gd name="connsiteX3" fmla="*/ 136566 w 1883709"/>
              <a:gd name="connsiteY3" fmla="*/ 302820 h 332509"/>
              <a:gd name="connsiteX4" fmla="*/ 148442 w 1883709"/>
              <a:gd name="connsiteY4" fmla="*/ 290945 h 332509"/>
              <a:gd name="connsiteX5" fmla="*/ 166255 w 1883709"/>
              <a:gd name="connsiteY5" fmla="*/ 261257 h 332509"/>
              <a:gd name="connsiteX6" fmla="*/ 184068 w 1883709"/>
              <a:gd name="connsiteY6" fmla="*/ 255319 h 332509"/>
              <a:gd name="connsiteX7" fmla="*/ 285008 w 1883709"/>
              <a:gd name="connsiteY7" fmla="*/ 261257 h 332509"/>
              <a:gd name="connsiteX8" fmla="*/ 380011 w 1883709"/>
              <a:gd name="connsiteY8" fmla="*/ 273132 h 332509"/>
              <a:gd name="connsiteX9" fmla="*/ 421574 w 1883709"/>
              <a:gd name="connsiteY9" fmla="*/ 267194 h 332509"/>
              <a:gd name="connsiteX10" fmla="*/ 427512 w 1883709"/>
              <a:gd name="connsiteY10" fmla="*/ 249381 h 332509"/>
              <a:gd name="connsiteX11" fmla="*/ 445325 w 1883709"/>
              <a:gd name="connsiteY11" fmla="*/ 231568 h 332509"/>
              <a:gd name="connsiteX12" fmla="*/ 492826 w 1883709"/>
              <a:gd name="connsiteY12" fmla="*/ 219693 h 332509"/>
              <a:gd name="connsiteX13" fmla="*/ 516577 w 1883709"/>
              <a:gd name="connsiteY13" fmla="*/ 213755 h 332509"/>
              <a:gd name="connsiteX14" fmla="*/ 534390 w 1883709"/>
              <a:gd name="connsiteY14" fmla="*/ 207818 h 332509"/>
              <a:gd name="connsiteX15" fmla="*/ 581891 w 1883709"/>
              <a:gd name="connsiteY15" fmla="*/ 201880 h 332509"/>
              <a:gd name="connsiteX16" fmla="*/ 617517 w 1883709"/>
              <a:gd name="connsiteY16" fmla="*/ 190005 h 332509"/>
              <a:gd name="connsiteX17" fmla="*/ 635330 w 1883709"/>
              <a:gd name="connsiteY17" fmla="*/ 160316 h 332509"/>
              <a:gd name="connsiteX18" fmla="*/ 647205 w 1883709"/>
              <a:gd name="connsiteY18" fmla="*/ 142503 h 332509"/>
              <a:gd name="connsiteX19" fmla="*/ 665018 w 1883709"/>
              <a:gd name="connsiteY19" fmla="*/ 136566 h 332509"/>
              <a:gd name="connsiteX20" fmla="*/ 736270 w 1883709"/>
              <a:gd name="connsiteY20" fmla="*/ 130628 h 332509"/>
              <a:gd name="connsiteX21" fmla="*/ 789709 w 1883709"/>
              <a:gd name="connsiteY21" fmla="*/ 112815 h 332509"/>
              <a:gd name="connsiteX22" fmla="*/ 807522 w 1883709"/>
              <a:gd name="connsiteY22" fmla="*/ 106877 h 332509"/>
              <a:gd name="connsiteX23" fmla="*/ 825335 w 1883709"/>
              <a:gd name="connsiteY23" fmla="*/ 100940 h 332509"/>
              <a:gd name="connsiteX24" fmla="*/ 944088 w 1883709"/>
              <a:gd name="connsiteY24" fmla="*/ 95002 h 332509"/>
              <a:gd name="connsiteX25" fmla="*/ 961901 w 1883709"/>
              <a:gd name="connsiteY25" fmla="*/ 83127 h 332509"/>
              <a:gd name="connsiteX26" fmla="*/ 967839 w 1883709"/>
              <a:gd name="connsiteY26" fmla="*/ 65314 h 332509"/>
              <a:gd name="connsiteX27" fmla="*/ 991590 w 1883709"/>
              <a:gd name="connsiteY27" fmla="*/ 23750 h 332509"/>
              <a:gd name="connsiteX28" fmla="*/ 1009403 w 1883709"/>
              <a:gd name="connsiteY28" fmla="*/ 5937 h 332509"/>
              <a:gd name="connsiteX29" fmla="*/ 1033153 w 1883709"/>
              <a:gd name="connsiteY29" fmla="*/ 0 h 332509"/>
              <a:gd name="connsiteX30" fmla="*/ 1092530 w 1883709"/>
              <a:gd name="connsiteY30" fmla="*/ 5937 h 332509"/>
              <a:gd name="connsiteX31" fmla="*/ 1116281 w 1883709"/>
              <a:gd name="connsiteY31" fmla="*/ 11875 h 332509"/>
              <a:gd name="connsiteX32" fmla="*/ 1175657 w 1883709"/>
              <a:gd name="connsiteY32" fmla="*/ 5937 h 332509"/>
              <a:gd name="connsiteX33" fmla="*/ 1258785 w 1883709"/>
              <a:gd name="connsiteY33" fmla="*/ 23750 h 332509"/>
              <a:gd name="connsiteX34" fmla="*/ 1276598 w 1883709"/>
              <a:gd name="connsiteY34" fmla="*/ 29688 h 332509"/>
              <a:gd name="connsiteX35" fmla="*/ 1300348 w 1883709"/>
              <a:gd name="connsiteY35" fmla="*/ 23750 h 332509"/>
              <a:gd name="connsiteX36" fmla="*/ 1318161 w 1883709"/>
              <a:gd name="connsiteY36" fmla="*/ 17813 h 332509"/>
              <a:gd name="connsiteX37" fmla="*/ 1365662 w 1883709"/>
              <a:gd name="connsiteY37" fmla="*/ 23750 h 332509"/>
              <a:gd name="connsiteX38" fmla="*/ 1442852 w 1883709"/>
              <a:gd name="connsiteY38" fmla="*/ 23750 h 332509"/>
              <a:gd name="connsiteX39" fmla="*/ 1478478 w 1883709"/>
              <a:gd name="connsiteY39" fmla="*/ 11875 h 332509"/>
              <a:gd name="connsiteX40" fmla="*/ 1543792 w 1883709"/>
              <a:gd name="connsiteY40" fmla="*/ 17813 h 332509"/>
              <a:gd name="connsiteX41" fmla="*/ 1579418 w 1883709"/>
              <a:gd name="connsiteY41" fmla="*/ 23750 h 332509"/>
              <a:gd name="connsiteX42" fmla="*/ 1585356 w 1883709"/>
              <a:gd name="connsiteY42" fmla="*/ 53439 h 332509"/>
              <a:gd name="connsiteX43" fmla="*/ 1603169 w 1883709"/>
              <a:gd name="connsiteY43" fmla="*/ 71252 h 332509"/>
              <a:gd name="connsiteX44" fmla="*/ 1609107 w 1883709"/>
              <a:gd name="connsiteY44" fmla="*/ 89065 h 332509"/>
              <a:gd name="connsiteX45" fmla="*/ 1632857 w 1883709"/>
              <a:gd name="connsiteY45" fmla="*/ 95002 h 332509"/>
              <a:gd name="connsiteX46" fmla="*/ 1763486 w 1883709"/>
              <a:gd name="connsiteY46" fmla="*/ 106877 h 332509"/>
              <a:gd name="connsiteX47" fmla="*/ 1781299 w 1883709"/>
              <a:gd name="connsiteY47" fmla="*/ 124690 h 332509"/>
              <a:gd name="connsiteX48" fmla="*/ 1805049 w 1883709"/>
              <a:gd name="connsiteY48" fmla="*/ 154379 h 332509"/>
              <a:gd name="connsiteX49" fmla="*/ 1810987 w 1883709"/>
              <a:gd name="connsiteY49" fmla="*/ 172192 h 332509"/>
              <a:gd name="connsiteX50" fmla="*/ 1834738 w 1883709"/>
              <a:gd name="connsiteY50" fmla="*/ 231568 h 332509"/>
              <a:gd name="connsiteX51" fmla="*/ 1852551 w 1883709"/>
              <a:gd name="connsiteY51" fmla="*/ 237506 h 332509"/>
              <a:gd name="connsiteX52" fmla="*/ 1882239 w 1883709"/>
              <a:gd name="connsiteY52" fmla="*/ 273132 h 332509"/>
              <a:gd name="connsiteX53" fmla="*/ 1882239 w 1883709"/>
              <a:gd name="connsiteY53" fmla="*/ 285007 h 3325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1883709" h="332509">
                <a:moveTo>
                  <a:pt x="0" y="332509"/>
                </a:moveTo>
                <a:cubicBezTo>
                  <a:pt x="5938" y="330530"/>
                  <a:pt x="12215" y="329370"/>
                  <a:pt x="17813" y="326571"/>
                </a:cubicBezTo>
                <a:cubicBezTo>
                  <a:pt x="24196" y="323380"/>
                  <a:pt x="28856" y="316953"/>
                  <a:pt x="35626" y="314696"/>
                </a:cubicBezTo>
                <a:cubicBezTo>
                  <a:pt x="53499" y="308738"/>
                  <a:pt x="130655" y="303357"/>
                  <a:pt x="136566" y="302820"/>
                </a:cubicBezTo>
                <a:cubicBezTo>
                  <a:pt x="140525" y="298862"/>
                  <a:pt x="145562" y="295745"/>
                  <a:pt x="148442" y="290945"/>
                </a:cubicBezTo>
                <a:cubicBezTo>
                  <a:pt x="158952" y="273428"/>
                  <a:pt x="147446" y="272542"/>
                  <a:pt x="166255" y="261257"/>
                </a:cubicBezTo>
                <a:cubicBezTo>
                  <a:pt x="171622" y="258037"/>
                  <a:pt x="178130" y="257298"/>
                  <a:pt x="184068" y="255319"/>
                </a:cubicBezTo>
                <a:lnTo>
                  <a:pt x="285008" y="261257"/>
                </a:lnTo>
                <a:cubicBezTo>
                  <a:pt x="358096" y="266297"/>
                  <a:pt x="335295" y="261952"/>
                  <a:pt x="380011" y="273132"/>
                </a:cubicBezTo>
                <a:cubicBezTo>
                  <a:pt x="393865" y="271153"/>
                  <a:pt x="409057" y="273453"/>
                  <a:pt x="421574" y="267194"/>
                </a:cubicBezTo>
                <a:cubicBezTo>
                  <a:pt x="427172" y="264395"/>
                  <a:pt x="424040" y="254589"/>
                  <a:pt x="427512" y="249381"/>
                </a:cubicBezTo>
                <a:cubicBezTo>
                  <a:pt x="432170" y="242394"/>
                  <a:pt x="438338" y="236226"/>
                  <a:pt x="445325" y="231568"/>
                </a:cubicBezTo>
                <a:cubicBezTo>
                  <a:pt x="453280" y="226265"/>
                  <a:pt x="488334" y="220691"/>
                  <a:pt x="492826" y="219693"/>
                </a:cubicBezTo>
                <a:cubicBezTo>
                  <a:pt x="500792" y="217923"/>
                  <a:pt x="508730" y="215997"/>
                  <a:pt x="516577" y="213755"/>
                </a:cubicBezTo>
                <a:cubicBezTo>
                  <a:pt x="522595" y="212036"/>
                  <a:pt x="528232" y="208938"/>
                  <a:pt x="534390" y="207818"/>
                </a:cubicBezTo>
                <a:cubicBezTo>
                  <a:pt x="550090" y="204964"/>
                  <a:pt x="566057" y="203859"/>
                  <a:pt x="581891" y="201880"/>
                </a:cubicBezTo>
                <a:cubicBezTo>
                  <a:pt x="593766" y="197922"/>
                  <a:pt x="613558" y="201880"/>
                  <a:pt x="617517" y="190005"/>
                </a:cubicBezTo>
                <a:cubicBezTo>
                  <a:pt x="627829" y="159071"/>
                  <a:pt x="616701" y="183604"/>
                  <a:pt x="635330" y="160316"/>
                </a:cubicBezTo>
                <a:cubicBezTo>
                  <a:pt x="639788" y="154744"/>
                  <a:pt x="641633" y="146961"/>
                  <a:pt x="647205" y="142503"/>
                </a:cubicBezTo>
                <a:cubicBezTo>
                  <a:pt x="652092" y="138593"/>
                  <a:pt x="658814" y="137393"/>
                  <a:pt x="665018" y="136566"/>
                </a:cubicBezTo>
                <a:cubicBezTo>
                  <a:pt x="688642" y="133416"/>
                  <a:pt x="712519" y="132607"/>
                  <a:pt x="736270" y="130628"/>
                </a:cubicBezTo>
                <a:lnTo>
                  <a:pt x="789709" y="112815"/>
                </a:lnTo>
                <a:lnTo>
                  <a:pt x="807522" y="106877"/>
                </a:lnTo>
                <a:lnTo>
                  <a:pt x="825335" y="100940"/>
                </a:lnTo>
                <a:cubicBezTo>
                  <a:pt x="883177" y="107366"/>
                  <a:pt x="882858" y="112496"/>
                  <a:pt x="944088" y="95002"/>
                </a:cubicBezTo>
                <a:cubicBezTo>
                  <a:pt x="950950" y="93042"/>
                  <a:pt x="955963" y="87085"/>
                  <a:pt x="961901" y="83127"/>
                </a:cubicBezTo>
                <a:cubicBezTo>
                  <a:pt x="963880" y="77189"/>
                  <a:pt x="965374" y="71067"/>
                  <a:pt x="967839" y="65314"/>
                </a:cubicBezTo>
                <a:cubicBezTo>
                  <a:pt x="972965" y="53353"/>
                  <a:pt x="982818" y="34276"/>
                  <a:pt x="991590" y="23750"/>
                </a:cubicBezTo>
                <a:cubicBezTo>
                  <a:pt x="996966" y="17299"/>
                  <a:pt x="1002112" y="10103"/>
                  <a:pt x="1009403" y="5937"/>
                </a:cubicBezTo>
                <a:cubicBezTo>
                  <a:pt x="1016488" y="1888"/>
                  <a:pt x="1025236" y="1979"/>
                  <a:pt x="1033153" y="0"/>
                </a:cubicBezTo>
                <a:cubicBezTo>
                  <a:pt x="1052945" y="1979"/>
                  <a:pt x="1072839" y="3124"/>
                  <a:pt x="1092530" y="5937"/>
                </a:cubicBezTo>
                <a:cubicBezTo>
                  <a:pt x="1100609" y="7091"/>
                  <a:pt x="1108120" y="11875"/>
                  <a:pt x="1116281" y="11875"/>
                </a:cubicBezTo>
                <a:cubicBezTo>
                  <a:pt x="1136172" y="11875"/>
                  <a:pt x="1155865" y="7916"/>
                  <a:pt x="1175657" y="5937"/>
                </a:cubicBezTo>
                <a:cubicBezTo>
                  <a:pt x="1235577" y="13427"/>
                  <a:pt x="1208023" y="6829"/>
                  <a:pt x="1258785" y="23750"/>
                </a:cubicBezTo>
                <a:lnTo>
                  <a:pt x="1276598" y="29688"/>
                </a:lnTo>
                <a:cubicBezTo>
                  <a:pt x="1284515" y="27709"/>
                  <a:pt x="1292502" y="25992"/>
                  <a:pt x="1300348" y="23750"/>
                </a:cubicBezTo>
                <a:cubicBezTo>
                  <a:pt x="1306366" y="22031"/>
                  <a:pt x="1311902" y="17813"/>
                  <a:pt x="1318161" y="17813"/>
                </a:cubicBezTo>
                <a:cubicBezTo>
                  <a:pt x="1334118" y="17813"/>
                  <a:pt x="1349828" y="21771"/>
                  <a:pt x="1365662" y="23750"/>
                </a:cubicBezTo>
                <a:cubicBezTo>
                  <a:pt x="1398878" y="34822"/>
                  <a:pt x="1388268" y="33985"/>
                  <a:pt x="1442852" y="23750"/>
                </a:cubicBezTo>
                <a:cubicBezTo>
                  <a:pt x="1455155" y="21443"/>
                  <a:pt x="1478478" y="11875"/>
                  <a:pt x="1478478" y="11875"/>
                </a:cubicBezTo>
                <a:cubicBezTo>
                  <a:pt x="1500249" y="13854"/>
                  <a:pt x="1522081" y="15259"/>
                  <a:pt x="1543792" y="17813"/>
                </a:cubicBezTo>
                <a:cubicBezTo>
                  <a:pt x="1555749" y="19220"/>
                  <a:pt x="1570277" y="15915"/>
                  <a:pt x="1579418" y="23750"/>
                </a:cubicBezTo>
                <a:cubicBezTo>
                  <a:pt x="1587081" y="30318"/>
                  <a:pt x="1580843" y="44412"/>
                  <a:pt x="1585356" y="53439"/>
                </a:cubicBezTo>
                <a:cubicBezTo>
                  <a:pt x="1589111" y="60950"/>
                  <a:pt x="1597231" y="65314"/>
                  <a:pt x="1603169" y="71252"/>
                </a:cubicBezTo>
                <a:cubicBezTo>
                  <a:pt x="1605148" y="77190"/>
                  <a:pt x="1604220" y="85155"/>
                  <a:pt x="1609107" y="89065"/>
                </a:cubicBezTo>
                <a:cubicBezTo>
                  <a:pt x="1615479" y="94163"/>
                  <a:pt x="1624792" y="93761"/>
                  <a:pt x="1632857" y="95002"/>
                </a:cubicBezTo>
                <a:cubicBezTo>
                  <a:pt x="1668020" y="100412"/>
                  <a:pt x="1731671" y="104430"/>
                  <a:pt x="1763486" y="106877"/>
                </a:cubicBezTo>
                <a:cubicBezTo>
                  <a:pt x="1769424" y="112815"/>
                  <a:pt x="1775923" y="118239"/>
                  <a:pt x="1781299" y="124690"/>
                </a:cubicBezTo>
                <a:cubicBezTo>
                  <a:pt x="1818760" y="169643"/>
                  <a:pt x="1770493" y="119820"/>
                  <a:pt x="1805049" y="154379"/>
                </a:cubicBezTo>
                <a:cubicBezTo>
                  <a:pt x="1807028" y="160317"/>
                  <a:pt x="1809340" y="166154"/>
                  <a:pt x="1810987" y="172192"/>
                </a:cubicBezTo>
                <a:cubicBezTo>
                  <a:pt x="1816755" y="193342"/>
                  <a:pt x="1813881" y="219054"/>
                  <a:pt x="1834738" y="231568"/>
                </a:cubicBezTo>
                <a:cubicBezTo>
                  <a:pt x="1840105" y="234788"/>
                  <a:pt x="1846613" y="235527"/>
                  <a:pt x="1852551" y="237506"/>
                </a:cubicBezTo>
                <a:cubicBezTo>
                  <a:pt x="1862441" y="247396"/>
                  <a:pt x="1876728" y="259354"/>
                  <a:pt x="1882239" y="273132"/>
                </a:cubicBezTo>
                <a:cubicBezTo>
                  <a:pt x="1883709" y="276807"/>
                  <a:pt x="1882239" y="281049"/>
                  <a:pt x="1882239" y="285007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7" name="Freeform 146"/>
          <p:cNvSpPr/>
          <p:nvPr/>
        </p:nvSpPr>
        <p:spPr>
          <a:xfrm>
            <a:off x="3827742" y="2908303"/>
            <a:ext cx="790575" cy="449263"/>
          </a:xfrm>
          <a:custGeom>
            <a:avLst/>
            <a:gdLst>
              <a:gd name="connsiteX0" fmla="*/ 791319 w 791319"/>
              <a:gd name="connsiteY0" fmla="*/ 193690 h 449009"/>
              <a:gd name="connsiteX1" fmla="*/ 779444 w 791319"/>
              <a:gd name="connsiteY1" fmla="*/ 175877 h 449009"/>
              <a:gd name="connsiteX2" fmla="*/ 767569 w 791319"/>
              <a:gd name="connsiteY2" fmla="*/ 134313 h 449009"/>
              <a:gd name="connsiteX3" fmla="*/ 755693 w 791319"/>
              <a:gd name="connsiteY3" fmla="*/ 122438 h 449009"/>
              <a:gd name="connsiteX4" fmla="*/ 726005 w 791319"/>
              <a:gd name="connsiteY4" fmla="*/ 68999 h 449009"/>
              <a:gd name="connsiteX5" fmla="*/ 708192 w 791319"/>
              <a:gd name="connsiteY5" fmla="*/ 74936 h 449009"/>
              <a:gd name="connsiteX6" fmla="*/ 678504 w 791319"/>
              <a:gd name="connsiteY6" fmla="*/ 68999 h 449009"/>
              <a:gd name="connsiteX7" fmla="*/ 666628 w 791319"/>
              <a:gd name="connsiteY7" fmla="*/ 57123 h 449009"/>
              <a:gd name="connsiteX8" fmla="*/ 648815 w 791319"/>
              <a:gd name="connsiteY8" fmla="*/ 45248 h 449009"/>
              <a:gd name="connsiteX9" fmla="*/ 631002 w 791319"/>
              <a:gd name="connsiteY9" fmla="*/ 39310 h 449009"/>
              <a:gd name="connsiteX10" fmla="*/ 583501 w 791319"/>
              <a:gd name="connsiteY10" fmla="*/ 45248 h 449009"/>
              <a:gd name="connsiteX11" fmla="*/ 547875 w 791319"/>
              <a:gd name="connsiteY11" fmla="*/ 21497 h 449009"/>
              <a:gd name="connsiteX12" fmla="*/ 512249 w 791319"/>
              <a:gd name="connsiteY12" fmla="*/ 3684 h 449009"/>
              <a:gd name="connsiteX13" fmla="*/ 458810 w 791319"/>
              <a:gd name="connsiteY13" fmla="*/ 9622 h 449009"/>
              <a:gd name="connsiteX14" fmla="*/ 446935 w 791319"/>
              <a:gd name="connsiteY14" fmla="*/ 45248 h 449009"/>
              <a:gd name="connsiteX15" fmla="*/ 440997 w 791319"/>
              <a:gd name="connsiteY15" fmla="*/ 63061 h 449009"/>
              <a:gd name="connsiteX16" fmla="*/ 440997 w 791319"/>
              <a:gd name="connsiteY16" fmla="*/ 63061 h 449009"/>
              <a:gd name="connsiteX17" fmla="*/ 423184 w 791319"/>
              <a:gd name="connsiteY17" fmla="*/ 74936 h 449009"/>
              <a:gd name="connsiteX18" fmla="*/ 411309 w 791319"/>
              <a:gd name="connsiteY18" fmla="*/ 86812 h 449009"/>
              <a:gd name="connsiteX19" fmla="*/ 393496 w 791319"/>
              <a:gd name="connsiteY19" fmla="*/ 92749 h 449009"/>
              <a:gd name="connsiteX20" fmla="*/ 280680 w 791319"/>
              <a:gd name="connsiteY20" fmla="*/ 98687 h 449009"/>
              <a:gd name="connsiteX21" fmla="*/ 268805 w 791319"/>
              <a:gd name="connsiteY21" fmla="*/ 116500 h 449009"/>
              <a:gd name="connsiteX22" fmla="*/ 114426 w 791319"/>
              <a:gd name="connsiteY22" fmla="*/ 140251 h 449009"/>
              <a:gd name="connsiteX23" fmla="*/ 96613 w 791319"/>
              <a:gd name="connsiteY23" fmla="*/ 152126 h 449009"/>
              <a:gd name="connsiteX24" fmla="*/ 84737 w 791319"/>
              <a:gd name="connsiteY24" fmla="*/ 164001 h 449009"/>
              <a:gd name="connsiteX25" fmla="*/ 37236 w 791319"/>
              <a:gd name="connsiteY25" fmla="*/ 175877 h 449009"/>
              <a:gd name="connsiteX26" fmla="*/ 13485 w 791319"/>
              <a:gd name="connsiteY26" fmla="*/ 187752 h 449009"/>
              <a:gd name="connsiteX27" fmla="*/ 1610 w 791319"/>
              <a:gd name="connsiteY27" fmla="*/ 205565 h 449009"/>
              <a:gd name="connsiteX28" fmla="*/ 7548 w 791319"/>
              <a:gd name="connsiteY28" fmla="*/ 282755 h 449009"/>
              <a:gd name="connsiteX29" fmla="*/ 13485 w 791319"/>
              <a:gd name="connsiteY29" fmla="*/ 300567 h 449009"/>
              <a:gd name="connsiteX30" fmla="*/ 25361 w 791319"/>
              <a:gd name="connsiteY30" fmla="*/ 312443 h 449009"/>
              <a:gd name="connsiteX31" fmla="*/ 31298 w 791319"/>
              <a:gd name="connsiteY31" fmla="*/ 431196 h 449009"/>
              <a:gd name="connsiteX32" fmla="*/ 37236 w 791319"/>
              <a:gd name="connsiteY32" fmla="*/ 449009 h 44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791319" h="449009">
                <a:moveTo>
                  <a:pt x="791319" y="193690"/>
                </a:moveTo>
                <a:cubicBezTo>
                  <a:pt x="787361" y="187752"/>
                  <a:pt x="782255" y="182436"/>
                  <a:pt x="779444" y="175877"/>
                </a:cubicBezTo>
                <a:cubicBezTo>
                  <a:pt x="775567" y="166830"/>
                  <a:pt x="773342" y="143934"/>
                  <a:pt x="767569" y="134313"/>
                </a:cubicBezTo>
                <a:cubicBezTo>
                  <a:pt x="764689" y="129513"/>
                  <a:pt x="759652" y="126396"/>
                  <a:pt x="755693" y="122438"/>
                </a:cubicBezTo>
                <a:cubicBezTo>
                  <a:pt x="742300" y="68864"/>
                  <a:pt x="759302" y="80097"/>
                  <a:pt x="726005" y="68999"/>
                </a:cubicBezTo>
                <a:cubicBezTo>
                  <a:pt x="720067" y="70978"/>
                  <a:pt x="714451" y="74936"/>
                  <a:pt x="708192" y="74936"/>
                </a:cubicBezTo>
                <a:cubicBezTo>
                  <a:pt x="698100" y="74936"/>
                  <a:pt x="687780" y="72974"/>
                  <a:pt x="678504" y="68999"/>
                </a:cubicBezTo>
                <a:cubicBezTo>
                  <a:pt x="673358" y="66794"/>
                  <a:pt x="671000" y="60620"/>
                  <a:pt x="666628" y="57123"/>
                </a:cubicBezTo>
                <a:cubicBezTo>
                  <a:pt x="661056" y="52665"/>
                  <a:pt x="655198" y="48439"/>
                  <a:pt x="648815" y="45248"/>
                </a:cubicBezTo>
                <a:cubicBezTo>
                  <a:pt x="643217" y="42449"/>
                  <a:pt x="636940" y="41289"/>
                  <a:pt x="631002" y="39310"/>
                </a:cubicBezTo>
                <a:cubicBezTo>
                  <a:pt x="615168" y="41289"/>
                  <a:pt x="599104" y="48591"/>
                  <a:pt x="583501" y="45248"/>
                </a:cubicBezTo>
                <a:cubicBezTo>
                  <a:pt x="569545" y="42257"/>
                  <a:pt x="559750" y="29414"/>
                  <a:pt x="547875" y="21497"/>
                </a:cubicBezTo>
                <a:cubicBezTo>
                  <a:pt x="524856" y="6151"/>
                  <a:pt x="536831" y="11878"/>
                  <a:pt x="512249" y="3684"/>
                </a:cubicBezTo>
                <a:cubicBezTo>
                  <a:pt x="494436" y="5663"/>
                  <a:pt x="473931" y="0"/>
                  <a:pt x="458810" y="9622"/>
                </a:cubicBezTo>
                <a:cubicBezTo>
                  <a:pt x="448249" y="16342"/>
                  <a:pt x="450893" y="33373"/>
                  <a:pt x="446935" y="45248"/>
                </a:cubicBezTo>
                <a:lnTo>
                  <a:pt x="440997" y="63061"/>
                </a:lnTo>
                <a:lnTo>
                  <a:pt x="440997" y="63061"/>
                </a:lnTo>
                <a:cubicBezTo>
                  <a:pt x="435059" y="67019"/>
                  <a:pt x="428756" y="70478"/>
                  <a:pt x="423184" y="74936"/>
                </a:cubicBezTo>
                <a:cubicBezTo>
                  <a:pt x="418813" y="78433"/>
                  <a:pt x="416109" y="83932"/>
                  <a:pt x="411309" y="86812"/>
                </a:cubicBezTo>
                <a:cubicBezTo>
                  <a:pt x="405942" y="90032"/>
                  <a:pt x="399729" y="92182"/>
                  <a:pt x="393496" y="92749"/>
                </a:cubicBezTo>
                <a:cubicBezTo>
                  <a:pt x="355993" y="96158"/>
                  <a:pt x="318285" y="96708"/>
                  <a:pt x="280680" y="98687"/>
                </a:cubicBezTo>
                <a:cubicBezTo>
                  <a:pt x="276722" y="104625"/>
                  <a:pt x="273373" y="111018"/>
                  <a:pt x="268805" y="116500"/>
                </a:cubicBezTo>
                <a:cubicBezTo>
                  <a:pt x="227425" y="166156"/>
                  <a:pt x="212429" y="135990"/>
                  <a:pt x="114426" y="140251"/>
                </a:cubicBezTo>
                <a:cubicBezTo>
                  <a:pt x="108488" y="144209"/>
                  <a:pt x="102185" y="147668"/>
                  <a:pt x="96613" y="152126"/>
                </a:cubicBezTo>
                <a:cubicBezTo>
                  <a:pt x="92241" y="155623"/>
                  <a:pt x="89935" y="161922"/>
                  <a:pt x="84737" y="164001"/>
                </a:cubicBezTo>
                <a:cubicBezTo>
                  <a:pt x="69583" y="170063"/>
                  <a:pt x="51834" y="168578"/>
                  <a:pt x="37236" y="175877"/>
                </a:cubicBezTo>
                <a:lnTo>
                  <a:pt x="13485" y="187752"/>
                </a:lnTo>
                <a:cubicBezTo>
                  <a:pt x="9527" y="193690"/>
                  <a:pt x="2055" y="198443"/>
                  <a:pt x="1610" y="205565"/>
                </a:cubicBezTo>
                <a:cubicBezTo>
                  <a:pt x="0" y="231321"/>
                  <a:pt x="4347" y="257148"/>
                  <a:pt x="7548" y="282755"/>
                </a:cubicBezTo>
                <a:cubicBezTo>
                  <a:pt x="8324" y="288965"/>
                  <a:pt x="10265" y="295200"/>
                  <a:pt x="13485" y="300567"/>
                </a:cubicBezTo>
                <a:cubicBezTo>
                  <a:pt x="16365" y="305368"/>
                  <a:pt x="21402" y="308484"/>
                  <a:pt x="25361" y="312443"/>
                </a:cubicBezTo>
                <a:cubicBezTo>
                  <a:pt x="27340" y="352027"/>
                  <a:pt x="27865" y="391711"/>
                  <a:pt x="31298" y="431196"/>
                </a:cubicBezTo>
                <a:cubicBezTo>
                  <a:pt x="31840" y="437431"/>
                  <a:pt x="37236" y="449009"/>
                  <a:pt x="37236" y="449009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8" name="Freeform 147"/>
          <p:cNvSpPr/>
          <p:nvPr/>
        </p:nvSpPr>
        <p:spPr>
          <a:xfrm>
            <a:off x="2076726" y="2947989"/>
            <a:ext cx="1058862" cy="255587"/>
          </a:xfrm>
          <a:custGeom>
            <a:avLst/>
            <a:gdLst>
              <a:gd name="connsiteX0" fmla="*/ 0 w 1058941"/>
              <a:gd name="connsiteY0" fmla="*/ 196566 h 255943"/>
              <a:gd name="connsiteX1" fmla="*/ 112815 w 1058941"/>
              <a:gd name="connsiteY1" fmla="*/ 178753 h 255943"/>
              <a:gd name="connsiteX2" fmla="*/ 207818 w 1058941"/>
              <a:gd name="connsiteY2" fmla="*/ 160940 h 255943"/>
              <a:gd name="connsiteX3" fmla="*/ 308758 w 1058941"/>
              <a:gd name="connsiteY3" fmla="*/ 155003 h 255943"/>
              <a:gd name="connsiteX4" fmla="*/ 344384 w 1058941"/>
              <a:gd name="connsiteY4" fmla="*/ 178753 h 255943"/>
              <a:gd name="connsiteX5" fmla="*/ 374072 w 1058941"/>
              <a:gd name="connsiteY5" fmla="*/ 202504 h 255943"/>
              <a:gd name="connsiteX6" fmla="*/ 409698 w 1058941"/>
              <a:gd name="connsiteY6" fmla="*/ 214379 h 255943"/>
              <a:gd name="connsiteX7" fmla="*/ 427511 w 1058941"/>
              <a:gd name="connsiteY7" fmla="*/ 220317 h 255943"/>
              <a:gd name="connsiteX8" fmla="*/ 445324 w 1058941"/>
              <a:gd name="connsiteY8" fmla="*/ 226255 h 255943"/>
              <a:gd name="connsiteX9" fmla="*/ 463137 w 1058941"/>
              <a:gd name="connsiteY9" fmla="*/ 238130 h 255943"/>
              <a:gd name="connsiteX10" fmla="*/ 510639 w 1058941"/>
              <a:gd name="connsiteY10" fmla="*/ 250005 h 255943"/>
              <a:gd name="connsiteX11" fmla="*/ 528452 w 1058941"/>
              <a:gd name="connsiteY11" fmla="*/ 255943 h 255943"/>
              <a:gd name="connsiteX12" fmla="*/ 587828 w 1058941"/>
              <a:gd name="connsiteY12" fmla="*/ 244068 h 255943"/>
              <a:gd name="connsiteX13" fmla="*/ 623454 w 1058941"/>
              <a:gd name="connsiteY13" fmla="*/ 232192 h 255943"/>
              <a:gd name="connsiteX14" fmla="*/ 694706 w 1058941"/>
              <a:gd name="connsiteY14" fmla="*/ 226255 h 255943"/>
              <a:gd name="connsiteX15" fmla="*/ 730332 w 1058941"/>
              <a:gd name="connsiteY15" fmla="*/ 178753 h 255943"/>
              <a:gd name="connsiteX16" fmla="*/ 742208 w 1058941"/>
              <a:gd name="connsiteY16" fmla="*/ 160940 h 255943"/>
              <a:gd name="connsiteX17" fmla="*/ 748145 w 1058941"/>
              <a:gd name="connsiteY17" fmla="*/ 143127 h 255943"/>
              <a:gd name="connsiteX18" fmla="*/ 777834 w 1058941"/>
              <a:gd name="connsiteY18" fmla="*/ 113439 h 255943"/>
              <a:gd name="connsiteX19" fmla="*/ 813459 w 1058941"/>
              <a:gd name="connsiteY19" fmla="*/ 101564 h 255943"/>
              <a:gd name="connsiteX20" fmla="*/ 831272 w 1058941"/>
              <a:gd name="connsiteY20" fmla="*/ 95626 h 255943"/>
              <a:gd name="connsiteX21" fmla="*/ 866898 w 1058941"/>
              <a:gd name="connsiteY21" fmla="*/ 77813 h 255943"/>
              <a:gd name="connsiteX22" fmla="*/ 890649 w 1058941"/>
              <a:gd name="connsiteY22" fmla="*/ 42187 h 255943"/>
              <a:gd name="connsiteX23" fmla="*/ 902524 w 1058941"/>
              <a:gd name="connsiteY23" fmla="*/ 24374 h 255943"/>
              <a:gd name="connsiteX24" fmla="*/ 914400 w 1058941"/>
              <a:gd name="connsiteY24" fmla="*/ 12499 h 255943"/>
              <a:gd name="connsiteX25" fmla="*/ 979714 w 1058941"/>
              <a:gd name="connsiteY25" fmla="*/ 6561 h 255943"/>
              <a:gd name="connsiteX26" fmla="*/ 997527 w 1058941"/>
              <a:gd name="connsiteY26" fmla="*/ 623 h 255943"/>
              <a:gd name="connsiteX27" fmla="*/ 1056904 w 1058941"/>
              <a:gd name="connsiteY27" fmla="*/ 30312 h 255943"/>
              <a:gd name="connsiteX28" fmla="*/ 1056904 w 1058941"/>
              <a:gd name="connsiteY28" fmla="*/ 42187 h 255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058941" h="255943">
                <a:moveTo>
                  <a:pt x="0" y="196566"/>
                </a:moveTo>
                <a:cubicBezTo>
                  <a:pt x="60107" y="176531"/>
                  <a:pt x="23145" y="185651"/>
                  <a:pt x="112815" y="178753"/>
                </a:cubicBezTo>
                <a:cubicBezTo>
                  <a:pt x="167311" y="160588"/>
                  <a:pt x="135985" y="168124"/>
                  <a:pt x="207818" y="160940"/>
                </a:cubicBezTo>
                <a:cubicBezTo>
                  <a:pt x="264183" y="142152"/>
                  <a:pt x="230978" y="147932"/>
                  <a:pt x="308758" y="155003"/>
                </a:cubicBezTo>
                <a:cubicBezTo>
                  <a:pt x="320633" y="162920"/>
                  <a:pt x="334292" y="168661"/>
                  <a:pt x="344384" y="178753"/>
                </a:cubicBezTo>
                <a:cubicBezTo>
                  <a:pt x="354255" y="188625"/>
                  <a:pt x="360588" y="196511"/>
                  <a:pt x="374072" y="202504"/>
                </a:cubicBezTo>
                <a:cubicBezTo>
                  <a:pt x="385511" y="207588"/>
                  <a:pt x="397823" y="210421"/>
                  <a:pt x="409698" y="214379"/>
                </a:cubicBezTo>
                <a:lnTo>
                  <a:pt x="427511" y="220317"/>
                </a:lnTo>
                <a:cubicBezTo>
                  <a:pt x="433449" y="222296"/>
                  <a:pt x="440116" y="222783"/>
                  <a:pt x="445324" y="226255"/>
                </a:cubicBezTo>
                <a:cubicBezTo>
                  <a:pt x="451262" y="230213"/>
                  <a:pt x="456430" y="235691"/>
                  <a:pt x="463137" y="238130"/>
                </a:cubicBezTo>
                <a:cubicBezTo>
                  <a:pt x="478476" y="243707"/>
                  <a:pt x="495155" y="244843"/>
                  <a:pt x="510639" y="250005"/>
                </a:cubicBezTo>
                <a:lnTo>
                  <a:pt x="528452" y="255943"/>
                </a:lnTo>
                <a:cubicBezTo>
                  <a:pt x="552515" y="251932"/>
                  <a:pt x="565691" y="250709"/>
                  <a:pt x="587828" y="244068"/>
                </a:cubicBezTo>
                <a:cubicBezTo>
                  <a:pt x="599818" y="240471"/>
                  <a:pt x="610979" y="233231"/>
                  <a:pt x="623454" y="232192"/>
                </a:cubicBezTo>
                <a:lnTo>
                  <a:pt x="694706" y="226255"/>
                </a:lnTo>
                <a:cubicBezTo>
                  <a:pt x="716675" y="204286"/>
                  <a:pt x="703474" y="219039"/>
                  <a:pt x="730332" y="178753"/>
                </a:cubicBezTo>
                <a:lnTo>
                  <a:pt x="742208" y="160940"/>
                </a:lnTo>
                <a:cubicBezTo>
                  <a:pt x="744187" y="155002"/>
                  <a:pt x="744390" y="148134"/>
                  <a:pt x="748145" y="143127"/>
                </a:cubicBezTo>
                <a:cubicBezTo>
                  <a:pt x="756542" y="131931"/>
                  <a:pt x="764557" y="117865"/>
                  <a:pt x="777834" y="113439"/>
                </a:cubicBezTo>
                <a:lnTo>
                  <a:pt x="813459" y="101564"/>
                </a:lnTo>
                <a:cubicBezTo>
                  <a:pt x="819397" y="99585"/>
                  <a:pt x="826064" y="99098"/>
                  <a:pt x="831272" y="95626"/>
                </a:cubicBezTo>
                <a:cubicBezTo>
                  <a:pt x="854293" y="80279"/>
                  <a:pt x="842315" y="86008"/>
                  <a:pt x="866898" y="77813"/>
                </a:cubicBezTo>
                <a:lnTo>
                  <a:pt x="890649" y="42187"/>
                </a:lnTo>
                <a:cubicBezTo>
                  <a:pt x="894607" y="36249"/>
                  <a:pt x="897478" y="29420"/>
                  <a:pt x="902524" y="24374"/>
                </a:cubicBezTo>
                <a:cubicBezTo>
                  <a:pt x="906483" y="20416"/>
                  <a:pt x="908945" y="13758"/>
                  <a:pt x="914400" y="12499"/>
                </a:cubicBezTo>
                <a:cubicBezTo>
                  <a:pt x="935701" y="7583"/>
                  <a:pt x="957943" y="8540"/>
                  <a:pt x="979714" y="6561"/>
                </a:cubicBezTo>
                <a:cubicBezTo>
                  <a:pt x="985652" y="4582"/>
                  <a:pt x="991299" y="0"/>
                  <a:pt x="997527" y="623"/>
                </a:cubicBezTo>
                <a:cubicBezTo>
                  <a:pt x="1020834" y="2954"/>
                  <a:pt x="1044247" y="9217"/>
                  <a:pt x="1056904" y="30312"/>
                </a:cubicBezTo>
                <a:cubicBezTo>
                  <a:pt x="1058941" y="33706"/>
                  <a:pt x="1056904" y="38229"/>
                  <a:pt x="1056904" y="42187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49" name="Freeform 148"/>
          <p:cNvSpPr/>
          <p:nvPr/>
        </p:nvSpPr>
        <p:spPr>
          <a:xfrm>
            <a:off x="5015188" y="2451102"/>
            <a:ext cx="463550" cy="387351"/>
          </a:xfrm>
          <a:custGeom>
            <a:avLst/>
            <a:gdLst>
              <a:gd name="connsiteX0" fmla="*/ 463550 w 463550"/>
              <a:gd name="connsiteY0" fmla="*/ 387350 h 387350"/>
              <a:gd name="connsiteX1" fmla="*/ 444500 w 463550"/>
              <a:gd name="connsiteY1" fmla="*/ 361950 h 387350"/>
              <a:gd name="connsiteX2" fmla="*/ 406400 w 463550"/>
              <a:gd name="connsiteY2" fmla="*/ 342900 h 387350"/>
              <a:gd name="connsiteX3" fmla="*/ 387350 w 463550"/>
              <a:gd name="connsiteY3" fmla="*/ 304800 h 387350"/>
              <a:gd name="connsiteX4" fmla="*/ 374650 w 463550"/>
              <a:gd name="connsiteY4" fmla="*/ 285750 h 387350"/>
              <a:gd name="connsiteX5" fmla="*/ 349250 w 463550"/>
              <a:gd name="connsiteY5" fmla="*/ 247650 h 387350"/>
              <a:gd name="connsiteX6" fmla="*/ 311150 w 463550"/>
              <a:gd name="connsiteY6" fmla="*/ 234950 h 387350"/>
              <a:gd name="connsiteX7" fmla="*/ 292100 w 463550"/>
              <a:gd name="connsiteY7" fmla="*/ 228600 h 387350"/>
              <a:gd name="connsiteX8" fmla="*/ 279400 w 463550"/>
              <a:gd name="connsiteY8" fmla="*/ 190500 h 387350"/>
              <a:gd name="connsiteX9" fmla="*/ 254000 w 463550"/>
              <a:gd name="connsiteY9" fmla="*/ 158750 h 387350"/>
              <a:gd name="connsiteX10" fmla="*/ 184150 w 463550"/>
              <a:gd name="connsiteY10" fmla="*/ 152400 h 387350"/>
              <a:gd name="connsiteX11" fmla="*/ 146050 w 463550"/>
              <a:gd name="connsiteY11" fmla="*/ 139700 h 387350"/>
              <a:gd name="connsiteX12" fmla="*/ 101600 w 463550"/>
              <a:gd name="connsiteY12" fmla="*/ 127000 h 387350"/>
              <a:gd name="connsiteX13" fmla="*/ 82550 w 463550"/>
              <a:gd name="connsiteY13" fmla="*/ 88900 h 387350"/>
              <a:gd name="connsiteX14" fmla="*/ 44450 w 463550"/>
              <a:gd name="connsiteY14" fmla="*/ 69850 h 387350"/>
              <a:gd name="connsiteX15" fmla="*/ 25400 w 463550"/>
              <a:gd name="connsiteY15" fmla="*/ 57150 h 387350"/>
              <a:gd name="connsiteX16" fmla="*/ 6350 w 463550"/>
              <a:gd name="connsiteY16" fmla="*/ 19050 h 387350"/>
              <a:gd name="connsiteX17" fmla="*/ 0 w 463550"/>
              <a:gd name="connsiteY17" fmla="*/ 0 h 38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63550" h="387350">
                <a:moveTo>
                  <a:pt x="463550" y="387350"/>
                </a:moveTo>
                <a:cubicBezTo>
                  <a:pt x="457200" y="378883"/>
                  <a:pt x="451984" y="369434"/>
                  <a:pt x="444500" y="361950"/>
                </a:cubicBezTo>
                <a:cubicBezTo>
                  <a:pt x="432190" y="349640"/>
                  <a:pt x="421894" y="348065"/>
                  <a:pt x="406400" y="342900"/>
                </a:cubicBezTo>
                <a:cubicBezTo>
                  <a:pt x="370004" y="288305"/>
                  <a:pt x="413640" y="357380"/>
                  <a:pt x="387350" y="304800"/>
                </a:cubicBezTo>
                <a:cubicBezTo>
                  <a:pt x="383937" y="297974"/>
                  <a:pt x="378063" y="292576"/>
                  <a:pt x="374650" y="285750"/>
                </a:cubicBezTo>
                <a:cubicBezTo>
                  <a:pt x="364552" y="265555"/>
                  <a:pt x="374251" y="261539"/>
                  <a:pt x="349250" y="247650"/>
                </a:cubicBezTo>
                <a:cubicBezTo>
                  <a:pt x="337548" y="241149"/>
                  <a:pt x="323850" y="239183"/>
                  <a:pt x="311150" y="234950"/>
                </a:cubicBezTo>
                <a:lnTo>
                  <a:pt x="292100" y="228600"/>
                </a:lnTo>
                <a:lnTo>
                  <a:pt x="279400" y="190500"/>
                </a:lnTo>
                <a:cubicBezTo>
                  <a:pt x="274143" y="174729"/>
                  <a:pt x="274621" y="163169"/>
                  <a:pt x="254000" y="158750"/>
                </a:cubicBezTo>
                <a:cubicBezTo>
                  <a:pt x="231140" y="153851"/>
                  <a:pt x="207433" y="154517"/>
                  <a:pt x="184150" y="152400"/>
                </a:cubicBezTo>
                <a:cubicBezTo>
                  <a:pt x="171450" y="148167"/>
                  <a:pt x="159037" y="142947"/>
                  <a:pt x="146050" y="139700"/>
                </a:cubicBezTo>
                <a:cubicBezTo>
                  <a:pt x="114156" y="131727"/>
                  <a:pt x="128929" y="136110"/>
                  <a:pt x="101600" y="127000"/>
                </a:cubicBezTo>
                <a:cubicBezTo>
                  <a:pt x="96435" y="111506"/>
                  <a:pt x="94860" y="101210"/>
                  <a:pt x="82550" y="88900"/>
                </a:cubicBezTo>
                <a:cubicBezTo>
                  <a:pt x="64352" y="70702"/>
                  <a:pt x="65108" y="80179"/>
                  <a:pt x="44450" y="69850"/>
                </a:cubicBezTo>
                <a:cubicBezTo>
                  <a:pt x="37624" y="66437"/>
                  <a:pt x="31750" y="61383"/>
                  <a:pt x="25400" y="57150"/>
                </a:cubicBezTo>
                <a:cubicBezTo>
                  <a:pt x="9439" y="9267"/>
                  <a:pt x="30969" y="68289"/>
                  <a:pt x="6350" y="19050"/>
                </a:cubicBezTo>
                <a:cubicBezTo>
                  <a:pt x="3357" y="13063"/>
                  <a:pt x="0" y="0"/>
                  <a:pt x="0" y="0"/>
                </a:cubicBezTo>
              </a:path>
            </a:pathLst>
          </a:custGeom>
          <a:ln w="38100">
            <a:solidFill>
              <a:srgbClr val="00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0" name="Rectangle 12"/>
          <p:cNvSpPr>
            <a:spLocks noChangeArrowheads="1"/>
          </p:cNvSpPr>
          <p:nvPr/>
        </p:nvSpPr>
        <p:spPr bwMode="auto">
          <a:xfrm rot="2231461">
            <a:off x="4816755" y="2536133"/>
            <a:ext cx="1220787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దామోదర్ </a:t>
            </a:r>
          </a:p>
        </p:txBody>
      </p:sp>
      <p:sp>
        <p:nvSpPr>
          <p:cNvPr id="151" name="Rectangle 13"/>
          <p:cNvSpPr>
            <a:spLocks noChangeArrowheads="1"/>
          </p:cNvSpPr>
          <p:nvPr/>
        </p:nvSpPr>
        <p:spPr bwMode="auto">
          <a:xfrm rot="20116871">
            <a:off x="2352955" y="2478190"/>
            <a:ext cx="947737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నర్మదా</a:t>
            </a:r>
          </a:p>
        </p:txBody>
      </p:sp>
      <p:sp>
        <p:nvSpPr>
          <p:cNvPr id="152" name="Rectangle 14"/>
          <p:cNvSpPr>
            <a:spLocks noChangeArrowheads="1"/>
          </p:cNvSpPr>
          <p:nvPr/>
        </p:nvSpPr>
        <p:spPr bwMode="auto">
          <a:xfrm>
            <a:off x="2271992" y="2895604"/>
            <a:ext cx="96361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తపతి</a:t>
            </a:r>
            <a:endParaRPr lang="en-US" sz="1400">
              <a:latin typeface="Ramabhadra" pitchFamily="2" charset="0"/>
              <a:ea typeface="Times New Roman" pitchFamily="18" charset="0"/>
              <a:cs typeface="Ramabhadra" pitchFamily="2" charset="0"/>
            </a:endParaRPr>
          </a:p>
        </p:txBody>
      </p:sp>
      <p:sp>
        <p:nvSpPr>
          <p:cNvPr id="153" name="Rectangle 15"/>
          <p:cNvSpPr>
            <a:spLocks noChangeArrowheads="1"/>
          </p:cNvSpPr>
          <p:nvPr/>
        </p:nvSpPr>
        <p:spPr bwMode="auto">
          <a:xfrm rot="19412698">
            <a:off x="1873526" y="2333726"/>
            <a:ext cx="944562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హి </a:t>
            </a:r>
          </a:p>
        </p:txBody>
      </p:sp>
      <p:sp>
        <p:nvSpPr>
          <p:cNvPr id="154" name="Rectangle 16"/>
          <p:cNvSpPr>
            <a:spLocks noChangeArrowheads="1"/>
          </p:cNvSpPr>
          <p:nvPr/>
        </p:nvSpPr>
        <p:spPr bwMode="auto">
          <a:xfrm rot="17210819">
            <a:off x="1378228" y="2212978"/>
            <a:ext cx="1130300" cy="307975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99FF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సబర్మతి</a:t>
            </a:r>
          </a:p>
        </p:txBody>
      </p:sp>
      <p:sp>
        <p:nvSpPr>
          <p:cNvPr id="155" name="Rectangle 17"/>
          <p:cNvSpPr>
            <a:spLocks noChangeArrowheads="1"/>
          </p:cNvSpPr>
          <p:nvPr/>
        </p:nvSpPr>
        <p:spPr bwMode="auto">
          <a:xfrm rot="19312405">
            <a:off x="1589363" y="1565377"/>
            <a:ext cx="914400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008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లూని</a:t>
            </a:r>
          </a:p>
        </p:txBody>
      </p:sp>
      <p:sp>
        <p:nvSpPr>
          <p:cNvPr id="156" name="Rectangle 21"/>
          <p:cNvSpPr>
            <a:spLocks noChangeArrowheads="1"/>
          </p:cNvSpPr>
          <p:nvPr/>
        </p:nvSpPr>
        <p:spPr bwMode="auto">
          <a:xfrm rot="1019598">
            <a:off x="4573867" y="2976665"/>
            <a:ext cx="849313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400">
                <a:solidFill>
                  <a:srgbClr val="C00000"/>
                </a:solidFill>
                <a:latin typeface="Ramabhadra" pitchFamily="2" charset="0"/>
                <a:ea typeface="Times New Roman" pitchFamily="18" charset="0"/>
                <a:cs typeface="Ramabhadra" pitchFamily="2" charset="0"/>
              </a:rPr>
              <a:t>మహా నది</a:t>
            </a:r>
          </a:p>
        </p:txBody>
      </p:sp>
    </p:spTree>
    <p:custDataLst>
      <p:tags r:id="rId1"/>
    </p:custDataLst>
  </p:cSld>
  <p:clrMapOvr>
    <a:masterClrMapping/>
  </p:clrMapOvr>
  <p:transition advTm="121103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0"/>
                            </p:stCondLst>
                            <p:childTnLst>
                              <p:par>
                                <p:cTn id="3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500"/>
                            </p:stCondLst>
                            <p:childTnLst>
                              <p:par>
                                <p:cTn id="42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0"/>
                            </p:stCondLst>
                            <p:childTnLst>
                              <p:par>
                                <p:cTn id="4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5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0"/>
                            </p:stCondLst>
                            <p:childTnLst>
                              <p:par>
                                <p:cTn id="6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68" grpId="0" animBg="1"/>
      <p:bldP spid="69" grpId="0" animBg="1"/>
      <p:bldP spid="70" grpId="0" animBg="1"/>
      <p:bldP spid="71" grpId="0"/>
      <p:bldP spid="72" grpId="0" animBg="1"/>
      <p:bldP spid="73" grpId="0" animBg="1"/>
      <p:bldP spid="74" grpId="0" animBg="1"/>
      <p:bldP spid="75" grpId="0" animBg="1"/>
      <p:bldP spid="76" grpId="0" animBg="1"/>
      <p:bldP spid="77" grpId="0" animBg="1"/>
      <p:bldP spid="78" grpId="0" animBg="1"/>
      <p:bldP spid="79" grpId="0"/>
      <p:bldP spid="80" grpId="0"/>
      <p:bldP spid="81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85800" y="685800"/>
            <a:ext cx="7543800" cy="5486400"/>
          </a:xfrm>
          <a:prstGeom prst="rect">
            <a:avLst/>
          </a:prstGeom>
        </p:spPr>
        <p:txBody>
          <a:bodyPr wrap="square">
            <a:prstTxWarp prst="textStop">
              <a:avLst/>
            </a:prstTxWarp>
            <a:spAutoFit/>
          </a:bodyPr>
          <a:lstStyle/>
          <a:p>
            <a:pPr algn="ctr"/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ప్రశంస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/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అభినందన</a:t>
            </a:r>
            <a:r>
              <a:rPr lang="en-US" sz="7200" dirty="0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 - </a:t>
            </a:r>
            <a:r>
              <a:rPr lang="en-US" sz="7200" dirty="0" err="1" smtClean="0">
                <a:ln>
                  <a:solidFill>
                    <a:schemeClr val="tx1"/>
                  </a:solidFill>
                </a:ln>
                <a:gradFill>
                  <a:gsLst>
                    <a:gs pos="0">
                      <a:srgbClr val="A603AB"/>
                    </a:gs>
                    <a:gs pos="21001">
                      <a:srgbClr val="0819FB"/>
                    </a:gs>
                    <a:gs pos="35001">
                      <a:srgbClr val="1A8D48"/>
                    </a:gs>
                    <a:gs pos="52000">
                      <a:srgbClr val="FFFF00"/>
                    </a:gs>
                    <a:gs pos="73000">
                      <a:srgbClr val="EE3F17"/>
                    </a:gs>
                    <a:gs pos="88000">
                      <a:srgbClr val="E81766"/>
                    </a:gs>
                    <a:gs pos="100000">
                      <a:srgbClr val="A603AB"/>
                    </a:gs>
                  </a:gsLst>
                  <a:lin ang="5400000" scaled="0"/>
                </a:gradFill>
                <a:latin typeface="Ponnala" pitchFamily="2" charset="0"/>
                <a:ea typeface="Ponnala" pitchFamily="2" charset="0"/>
                <a:cs typeface="Ponnala" pitchFamily="2" charset="0"/>
              </a:rPr>
              <a:t>సున్నితత్వం</a:t>
            </a:r>
            <a:endParaRPr lang="en-US" sz="7200" dirty="0">
              <a:ln>
                <a:solidFill>
                  <a:schemeClr val="tx1"/>
                </a:solidFill>
              </a:ln>
              <a:gradFill>
                <a:gsLst>
                  <a:gs pos="0">
                    <a:srgbClr val="A603AB"/>
                  </a:gs>
                  <a:gs pos="21001">
                    <a:srgbClr val="0819FB"/>
                  </a:gs>
                  <a:gs pos="35001">
                    <a:srgbClr val="1A8D48"/>
                  </a:gs>
                  <a:gs pos="52000">
                    <a:srgbClr val="FFFF00"/>
                  </a:gs>
                  <a:gs pos="73000">
                    <a:srgbClr val="EE3F17"/>
                  </a:gs>
                  <a:gs pos="88000">
                    <a:srgbClr val="E81766"/>
                  </a:gs>
                  <a:gs pos="100000">
                    <a:srgbClr val="A603AB"/>
                  </a:gs>
                </a:gsLst>
                <a:lin ang="5400000" scaled="0"/>
              </a:gra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6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ప్రశంస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/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అభినందన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-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సున్నితత్వం</a:t>
            </a:r>
            <a:endParaRPr lang="en-US" sz="5400" dirty="0">
              <a:blipFill>
                <a:blip r:embed="rId2"/>
                <a:tile tx="0" ty="0" sx="100000" sy="100000" flip="none" algn="tl"/>
              </a:blipFill>
              <a:effectLst>
                <a:glow rad="101600">
                  <a:schemeClr val="tx1">
                    <a:alpha val="60000"/>
                  </a:schemeClr>
                </a:glo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90"/>
            <a:ext cx="80772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ోటివారిత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లిస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నిచేయడ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ఇతరుల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భిప్రాయాల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ౌరవించట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్వేచ్ఛగా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్నించడం</a:t>
            </a:r>
            <a:endParaRPr lang="en-US" sz="40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వసరమైన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ారిక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హాయ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యడ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>
              <a:solidFill>
                <a:srgbClr val="00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ఉపాధ్యాయులు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ఏమ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చేయాల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5400" dirty="0">
              <a:blipFill>
                <a:blip r:embed="rId2"/>
                <a:tile tx="0" ty="0" sx="100000" sy="100000" flip="none" algn="tl"/>
              </a:blipFill>
              <a:effectLst>
                <a:glow rad="101600">
                  <a:schemeClr val="tx1">
                    <a:alpha val="60000"/>
                  </a:schemeClr>
                </a:glo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88"/>
            <a:ext cx="80772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ిల్లలచే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స్యలపై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మ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్పందన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ెలిపే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ినాద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ోస్టర్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రపత్ర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యార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యించవచ్చ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స్యలపై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శ్లేషణ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స్త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త్రికలక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ధికారులక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లేఖ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యించవచ్చ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్వేచ్ఛ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ానత్వ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ౌబ్రాతృత్ర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్యాయ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ేశ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ైక్యత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ంట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జ్యాంగ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రమైన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లువ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ూడా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ెంపొందించ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 </a:t>
            </a:r>
            <a:endParaRPr lang="en-US" sz="4000" dirty="0">
              <a:solidFill>
                <a:srgbClr val="00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ఉపాధ్యాయులు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ఏమ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చేయాల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5400" dirty="0">
              <a:blipFill>
                <a:blip r:embed="rId2"/>
                <a:tile tx="0" ty="0" sx="100000" sy="100000" flip="none" algn="tl"/>
              </a:blipFill>
              <a:effectLst>
                <a:glow rad="101600">
                  <a:schemeClr val="tx1">
                    <a:alpha val="60000"/>
                  </a:schemeClr>
                </a:glo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88"/>
            <a:ext cx="807720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భ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ావేశాల్ల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ల్గొనేలా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ోత్సహించ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ీవన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ైపుణ్యా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ెంపొందించ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విధ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్యక్తు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ోట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వారు చేసిన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ంచ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నులన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శంసించగలిగే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ైఖరిన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ిర్మాణం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య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య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ేమ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ంట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ానవతా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లువలు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ిల్లల్లో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40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ల్పించాలి</a:t>
            </a:r>
            <a:r>
              <a:rPr lang="en-US" sz="40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4000" dirty="0">
              <a:solidFill>
                <a:srgbClr val="00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ఉపాధ్యాయులు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ఏమ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చేయాల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5400" dirty="0">
              <a:blipFill>
                <a:blip r:embed="rId2"/>
                <a:tile tx="0" ty="0" sx="100000" sy="100000" flip="none" algn="tl"/>
              </a:blipFill>
              <a:effectLst>
                <a:glow rad="101600">
                  <a:schemeClr val="tx1">
                    <a:alpha val="60000"/>
                  </a:schemeClr>
                </a:glo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89"/>
            <a:ext cx="80772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ం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ర్చించేటప్పుడు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ిల్లల్లో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ంబంధిత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images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ూపం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ాల్చుతాయ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 ఆ images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ించ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ౌఖికంగా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ెప్పించాల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లేదా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యించాల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5400" dirty="0">
              <a:solidFill>
                <a:srgbClr val="00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590550"/>
            <a:ext cx="7772400" cy="857251"/>
          </a:xfrm>
        </p:spPr>
        <p:txBody>
          <a:bodyPr>
            <a:noAutofit/>
          </a:bodyPr>
          <a:lstStyle/>
          <a:p>
            <a:r>
              <a:rPr lang="en-US" dirty="0" err="1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పిల్లలకు</a:t>
            </a:r>
            <a:r>
              <a:rPr lang="en-US" dirty="0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ఉపాధ్యాయుడు</a:t>
            </a:r>
            <a:r>
              <a:rPr lang="en-US" dirty="0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అందించాల్సిన</a:t>
            </a:r>
            <a:r>
              <a:rPr lang="en-US" dirty="0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సహాయం</a:t>
            </a:r>
            <a:r>
              <a:rPr lang="en-US" dirty="0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dirty="0" err="1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ఏమిటి</a:t>
            </a:r>
            <a:r>
              <a:rPr lang="en-US" dirty="0" smtClean="0">
                <a:solidFill>
                  <a:srgbClr val="FF00FF"/>
                </a:solidFill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dirty="0">
              <a:solidFill>
                <a:srgbClr val="FF00FF"/>
              </a:solidFill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85800" y="1828800"/>
            <a:ext cx="8001000" cy="4724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ిల్లల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మాచారం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కోసం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ఉపాధ్యాయునిపై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ఆధారపడే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ాతావరణం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ృషించరాద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స్వయంగా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నేర్చుకొనేలా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ోత్సహించాలి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భావనల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వగాహన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ొందేలా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బోధనాభ్యసన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క్రియలుండాలి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ిల్లల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శ్నించడాన్ని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ోత్సహించాలి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90099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జట్ట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నులన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,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చర్చలన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్రోత్సహించాలి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పిల్లల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భిప్రాయాల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అసంబద్ధమైనవిగా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ఉన్నప్పుడ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వారిని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 </a:t>
            </a:r>
            <a:r>
              <a:rPr kumimoji="0" lang="en-US" sz="37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నిరుత్సాహపరచరాదు</a:t>
            </a:r>
            <a:r>
              <a:rPr kumimoji="0" lang="en-US" sz="3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amabhadra" pitchFamily="2" charset="0"/>
                <a:ea typeface="+mj-ea"/>
                <a:cs typeface="Ramabhadra" pitchFamily="2" charset="0"/>
              </a:rPr>
              <a:t>.</a:t>
            </a:r>
            <a:endParaRPr kumimoji="0" lang="en-US" sz="3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amabhadra" pitchFamily="2" charset="0"/>
              <a:ea typeface="+mj-ea"/>
              <a:cs typeface="Ramabhadra" pitchFamily="2" charset="0"/>
            </a:endParaRPr>
          </a:p>
        </p:txBody>
      </p:sp>
      <p:sp>
        <p:nvSpPr>
          <p:cNvPr id="4" name="Rectangle 3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609600" y="228600"/>
            <a:ext cx="80772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ఉపాధ్యాయులు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ఏమ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 </a:t>
            </a:r>
            <a:r>
              <a:rPr lang="en-US" sz="5400" dirty="0" err="1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చేయాలి</a:t>
            </a:r>
            <a:r>
              <a:rPr lang="en-US" sz="5400" dirty="0" smtClean="0">
                <a:blipFill>
                  <a:blip r:embed="rId2"/>
                  <a:tile tx="0" ty="0" sx="100000" sy="100000" flip="none" algn="tl"/>
                </a:blip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Ponnala" pitchFamily="2" charset="0"/>
                <a:ea typeface="Ponnala" pitchFamily="2" charset="0"/>
                <a:cs typeface="Ponnala" pitchFamily="2" charset="0"/>
              </a:rPr>
              <a:t>?</a:t>
            </a:r>
            <a:endParaRPr lang="en-US" sz="5400" dirty="0">
              <a:blipFill>
                <a:blip r:embed="rId2"/>
                <a:tile tx="0" ty="0" sx="100000" sy="100000" flip="none" algn="tl"/>
              </a:blipFill>
              <a:effectLst>
                <a:glow rad="101600">
                  <a:schemeClr val="tx1">
                    <a:alpha val="60000"/>
                  </a:schemeClr>
                </a:glow>
              </a:effectLst>
              <a:latin typeface="Ponnala" pitchFamily="2" charset="0"/>
              <a:ea typeface="Ponnala" pitchFamily="2" charset="0"/>
              <a:cs typeface="Ponnal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924890"/>
            <a:ext cx="80772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దా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:-</a:t>
            </a:r>
          </a:p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ఆహార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ద్రత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ించ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రపత్ర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యార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చేయండ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PDS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నితీర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ించ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తహసీల్దార్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క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లేఖ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యండ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్రామీణ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జల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ట్టణ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ాంతాలక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లస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ెళ్లడ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లన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ఎదురయ్యే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స్యల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శ్లేషిస్త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త్రికల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ంపాదకులక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లేఖ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రాయండ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ఐక్యరాజ్య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సమిత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ఆశయాలలో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ీక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చ్చినవ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ఏవ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?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ఎందుక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?</a:t>
            </a:r>
          </a:p>
          <a:p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జాత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ఐక్యతక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భాషా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ధానం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ఎలా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ోహద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డుతుందని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3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నుకుంటున్నావు</a:t>
            </a:r>
            <a:r>
              <a:rPr lang="en-US" sz="3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7" dur="1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2" dur="1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27" dur="1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32" dur="1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81000" y="838201"/>
            <a:ext cx="83058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విద్యా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్రమాణాలు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్రశ్నాపత్రంలో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ఇవ్వడానికి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విద్యార్థిని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్రశ్నించడానికి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ఉద్దేశించినవి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కావు</a:t>
            </a:r>
            <a:r>
              <a:rPr lang="en-US" sz="54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pPr algn="ctr"/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ఉపాధ్యాయుడు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త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ాఠంలో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ఈ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ద్యా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్రమాణాలను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ఎక్కడెక్కడ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పొందుపరచాలో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54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గుర్తించాలి</a:t>
            </a:r>
            <a:r>
              <a:rPr lang="en-US" sz="54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5400" dirty="0" smtClean="0">
              <a:solidFill>
                <a:srgbClr val="FF0000"/>
              </a:solidFill>
              <a:latin typeface="Ramabhadra" pitchFamily="2" charset="0"/>
              <a:cs typeface="Ramabhad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5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81000" y="76200"/>
            <a:ext cx="8305800" cy="677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62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విద్యార్థి</a:t>
            </a:r>
            <a:r>
              <a:rPr lang="en-US" sz="62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ఏం</a:t>
            </a:r>
            <a:r>
              <a:rPr lang="en-US" sz="62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నేర్చుకున్నాడో</a:t>
            </a:r>
            <a:r>
              <a:rPr lang="en-US" sz="62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తెలుసుకోవడానికి</a:t>
            </a:r>
            <a:r>
              <a:rPr lang="en-US" sz="62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మూల్యాంకనం</a:t>
            </a:r>
            <a:r>
              <a:rPr lang="en-US" sz="62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ఉద్దేశించబడలేదు</a:t>
            </a:r>
            <a:r>
              <a:rPr lang="en-US" sz="62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  <a:p>
            <a:pPr algn="ctr"/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ూల్యాంకనం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ద్యార్థి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నేర్చుకోవడానికి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దోహదపడేది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అనే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విషయం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200" dirty="0" err="1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మరువరాదు</a:t>
            </a:r>
            <a:r>
              <a:rPr lang="en-US" sz="6200" dirty="0" smtClean="0">
                <a:solidFill>
                  <a:srgbClr val="FF0000"/>
                </a:solidFill>
                <a:latin typeface="Ramabhadra" pitchFamily="2" charset="0"/>
                <a:cs typeface="Ramabhadra" pitchFamily="2" charset="0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7" dur="1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to="" calcmode="lin" valueType="num">
                                      <p:cBhvr>
                                        <p:cTn id="12" dur="1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/>
                                        </p:attrNameLst>
                                      </p:cBhvr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22" name="Picture 2" descr="D:\9 CLASS NEW\9.13\28972p6ja0lc8gq.gif"/>
          <p:cNvPicPr>
            <a:picLocks noChangeAspect="1" noChangeArrowheads="1" noCrop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B25718-77BB-408A-8519-3FF2626096F3}" type="slidenum">
              <a:rPr lang="en-US" smtClean="0"/>
              <a:pPr>
                <a:defRPr/>
              </a:pPr>
              <a:t>6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gurudeva.weebly.com</a:t>
            </a:r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905000" y="4216400"/>
            <a:ext cx="5638800" cy="29718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dirty="0">
                <a:solidFill>
                  <a:srgbClr val="FFFF0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Aarvark Cafe" pitchFamily="2" charset="0"/>
                <a:ea typeface="+mj-ea"/>
                <a:cs typeface="+mj-cs"/>
              </a:rPr>
              <a:t>K. Suresh, </a:t>
            </a:r>
            <a:r>
              <a:rPr lang="en-US" sz="1600" b="1" dirty="0">
                <a:solidFill>
                  <a:srgbClr val="00B0F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ea typeface="+mj-ea"/>
              </a:rPr>
              <a:t>S.A., S.S.,</a:t>
            </a:r>
            <a:br>
              <a:rPr lang="en-US" sz="1600" b="1" dirty="0">
                <a:solidFill>
                  <a:srgbClr val="00B0F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ea typeface="+mj-ea"/>
              </a:rPr>
            </a:br>
            <a:r>
              <a:rPr lang="en-US" sz="2800" dirty="0">
                <a:solidFill>
                  <a:srgbClr val="00B0F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Aarvark Cafe" pitchFamily="2" charset="0"/>
                <a:ea typeface="+mj-ea"/>
                <a:cs typeface="+mj-cs"/>
              </a:rPr>
              <a:t>Z.P. </a:t>
            </a:r>
            <a:r>
              <a:rPr lang="en-US" sz="2400" dirty="0">
                <a:solidFill>
                  <a:srgbClr val="00B0F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Aarvark Cafe" pitchFamily="2" charset="0"/>
                <a:ea typeface="+mj-ea"/>
                <a:cs typeface="+mj-cs"/>
              </a:rPr>
              <a:t>(Boys) </a:t>
            </a:r>
            <a:r>
              <a:rPr lang="en-US" sz="2800" dirty="0">
                <a:solidFill>
                  <a:srgbClr val="00B0F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Aarvark Cafe" pitchFamily="2" charset="0"/>
                <a:ea typeface="+mj-ea"/>
                <a:cs typeface="+mj-cs"/>
              </a:rPr>
              <a:t>High School, </a:t>
            </a:r>
            <a:br>
              <a:rPr lang="en-US" sz="2800" dirty="0">
                <a:solidFill>
                  <a:srgbClr val="00B0F0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Aarvark Cafe" pitchFamily="2" charset="0"/>
                <a:ea typeface="+mj-ea"/>
                <a:cs typeface="+mj-cs"/>
              </a:rPr>
            </a:br>
            <a:r>
              <a:rPr lang="en-US" sz="20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Arial Black" pitchFamily="34" charset="0"/>
                <a:ea typeface="+mj-ea"/>
                <a:cs typeface="+mj-cs"/>
              </a:rPr>
              <a:t>SRIKALAHASTI</a:t>
            </a:r>
            <a:endParaRPr lang="en-US" i="1" dirty="0">
              <a:solidFill>
                <a:schemeClr val="bg1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  <a:latin typeface="Arial Black" pitchFamily="34" charset="0"/>
              <a:ea typeface="+mj-ea"/>
              <a:cs typeface="+mj-cs"/>
            </a:endParaRPr>
          </a:p>
        </p:txBody>
      </p:sp>
      <p:sp>
        <p:nvSpPr>
          <p:cNvPr id="81927" name="WordArt 4"/>
          <p:cNvSpPr>
            <a:spLocks noChangeArrowheads="1" noChangeShapeType="1" noTextEdit="1"/>
          </p:cNvSpPr>
          <p:nvPr/>
        </p:nvSpPr>
        <p:spPr bwMode="auto">
          <a:xfrm>
            <a:off x="2667000" y="2616200"/>
            <a:ext cx="3733800" cy="2032000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32056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CC99FF"/>
                  </a:solidFill>
                  <a:round/>
                  <a:headEnd/>
                  <a:tailEnd/>
                </a:ln>
                <a:gradFill rotWithShape="1">
                  <a:gsLst>
                    <a:gs pos="0">
                      <a:srgbClr val="6600CC"/>
                    </a:gs>
                    <a:gs pos="100000">
                      <a:srgbClr val="CC00CC"/>
                    </a:gs>
                  </a:gsLst>
                  <a:lin ang="5400000" scaled="1"/>
                </a:gradFill>
                <a:effectLst>
                  <a:outerShdw dist="53882" dir="2700000" algn="ctr" rotWithShape="0">
                    <a:srgbClr val="9999FF">
                      <a:alpha val="79999"/>
                    </a:srgbClr>
                  </a:outerShdw>
                </a:effectLst>
                <a:latin typeface="Impact"/>
              </a:rPr>
              <a:t>Thank you</a:t>
            </a:r>
          </a:p>
        </p:txBody>
      </p:sp>
      <p:pic>
        <p:nvPicPr>
          <p:cNvPr id="8" name="Picture 2" descr="C:\Users\SURESH\Desktop\DSC_0666xx copy.jpg"/>
          <p:cNvPicPr>
            <a:picLocks noChangeAspect="1" noChangeArrowheads="1"/>
          </p:cNvPicPr>
          <p:nvPr/>
        </p:nvPicPr>
        <p:blipFill>
          <a:blip r:embed="rId3" cstate="print"/>
          <a:srcRect b="30777"/>
          <a:stretch>
            <a:fillRect/>
          </a:stretch>
        </p:blipFill>
        <p:spPr bwMode="auto">
          <a:xfrm>
            <a:off x="3429001" y="1143000"/>
            <a:ext cx="1681515" cy="1879600"/>
          </a:xfrm>
          <a:prstGeom prst="ellipse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5169"/>
            <a:ext cx="8229600" cy="3534833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4000" dirty="0" smtClean="0">
                <a:solidFill>
                  <a:srgbClr val="FF0000"/>
                </a:solidFill>
                <a:latin typeface="Renfrew" pitchFamily="34" charset="0"/>
              </a:rPr>
              <a:t>FOR MORE SOCIAL STUDI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rgbClr val="00B050"/>
                </a:solidFill>
              </a:rPr>
              <a:t> </a:t>
            </a:r>
            <a:r>
              <a:rPr lang="en-US" sz="2700" dirty="0" smtClean="0">
                <a:solidFill>
                  <a:srgbClr val="00B050"/>
                </a:solidFill>
                <a:latin typeface="Aharoni" pitchFamily="2" charset="-79"/>
                <a:cs typeface="Aharoni" pitchFamily="2" charset="-79"/>
              </a:rPr>
              <a:t>PPTs, Videos, Previous Question Papers, Model papers, Lesson Plans, Teaching Notes, Materials, Maps……etc., in Telugu and English Mediums of APSCERT syllabus.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100" dirty="0" smtClean="0">
                <a:solidFill>
                  <a:srgbClr val="FF0000"/>
                </a:solidFill>
                <a:latin typeface="Cooper" pitchFamily="2" charset="0"/>
              </a:rPr>
              <a:t>Visit</a:t>
            </a:r>
            <a:endParaRPr lang="en-US" sz="4000" dirty="0">
              <a:solidFill>
                <a:srgbClr val="FF00FF"/>
              </a:solidFill>
              <a:latin typeface="Mistral" pitchFamily="66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D1F17C9-0DA7-42DB-AD15-84D2529BB8DD}" type="slidenum">
              <a:rPr lang="en-US" smtClean="0"/>
              <a:pPr>
                <a:defRPr/>
              </a:pPr>
              <a:t>64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gurudeva.weebly.com</a:t>
            </a:r>
            <a:endParaRPr lang="en-US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928691" y="6000751"/>
            <a:ext cx="12858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en-US" sz="2000" b="1" dirty="0">
                <a:solidFill>
                  <a:srgbClr val="339933"/>
                </a:solidFill>
                <a:latin typeface="+mj-lt"/>
                <a:cs typeface="Timmana" pitchFamily="2" charset="0"/>
              </a:rPr>
              <a:t>K. SURESH</a:t>
            </a:r>
          </a:p>
        </p:txBody>
      </p:sp>
      <p:sp>
        <p:nvSpPr>
          <p:cNvPr id="4104" name="Rectangle 9"/>
          <p:cNvSpPr>
            <a:spLocks noChangeArrowheads="1"/>
          </p:cNvSpPr>
          <p:nvPr/>
        </p:nvSpPr>
        <p:spPr bwMode="auto">
          <a:xfrm>
            <a:off x="2500316" y="3524252"/>
            <a:ext cx="6357937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FF00FF"/>
                </a:solidFill>
                <a:latin typeface="+mj-lt"/>
              </a:rPr>
              <a:t>http://sureshsrikalahasti.weebly.com/</a:t>
            </a:r>
            <a:br>
              <a:rPr lang="en-US" sz="2400" b="1" dirty="0">
                <a:solidFill>
                  <a:srgbClr val="FF00FF"/>
                </a:solidFill>
                <a:latin typeface="+mj-lt"/>
              </a:rPr>
            </a:br>
            <a:r>
              <a:rPr lang="en-US" sz="2400" b="1" dirty="0">
                <a:solidFill>
                  <a:srgbClr val="C00000"/>
                </a:solidFill>
                <a:latin typeface="+mj-lt"/>
              </a:rPr>
              <a:t>gurudeva.com - new</a:t>
            </a:r>
            <a:r>
              <a:rPr lang="en-US" sz="2400" b="1" dirty="0">
                <a:solidFill>
                  <a:srgbClr val="FF00FF"/>
                </a:solidFill>
                <a:latin typeface="+mj-lt"/>
              </a:rPr>
              <a:t/>
            </a:r>
            <a:br>
              <a:rPr lang="en-US" sz="2400" b="1" dirty="0">
                <a:solidFill>
                  <a:srgbClr val="FF00FF"/>
                </a:solidFill>
                <a:latin typeface="+mj-lt"/>
              </a:rPr>
            </a:br>
            <a:r>
              <a:rPr lang="en-US" sz="2400" b="1" dirty="0">
                <a:solidFill>
                  <a:srgbClr val="0033CC"/>
                </a:solidFill>
                <a:latin typeface="+mj-lt"/>
              </a:rPr>
              <a:t> http://mana social.weebly.com</a:t>
            </a:r>
          </a:p>
          <a:p>
            <a:pPr>
              <a:defRPr/>
            </a:pPr>
            <a:r>
              <a:rPr lang="en-US" sz="2400" b="1" dirty="0">
                <a:latin typeface="+mj-lt"/>
              </a:rPr>
              <a:t>https://www.youtube.com/user/1973shekar</a:t>
            </a:r>
            <a:endParaRPr lang="en-US" sz="2400" b="1" dirty="0">
              <a:solidFill>
                <a:srgbClr val="FF0000"/>
              </a:solidFill>
              <a:latin typeface="+mj-lt"/>
            </a:endParaRPr>
          </a:p>
          <a:p>
            <a:pPr>
              <a:defRPr/>
            </a:pPr>
            <a:r>
              <a:rPr lang="en-US" sz="2400" b="1" dirty="0">
                <a:solidFill>
                  <a:srgbClr val="FF0000"/>
                </a:solidFill>
                <a:latin typeface="+mj-lt"/>
              </a:rPr>
              <a:t>https://www.youtube.com/user/kunaatisuresh</a:t>
            </a:r>
          </a:p>
        </p:txBody>
      </p:sp>
      <p:pic>
        <p:nvPicPr>
          <p:cNvPr id="8" name="Picture 2" descr="C:\Users\SURESH\Desktop\DSC_0666xx copy.jpg"/>
          <p:cNvPicPr>
            <a:picLocks noChangeAspect="1" noChangeArrowheads="1"/>
          </p:cNvPicPr>
          <p:nvPr/>
        </p:nvPicPr>
        <p:blipFill>
          <a:blip r:embed="rId2" cstate="print"/>
          <a:srcRect b="30777"/>
          <a:stretch>
            <a:fillRect/>
          </a:stretch>
        </p:blipFill>
        <p:spPr bwMode="auto">
          <a:xfrm>
            <a:off x="460292" y="3200400"/>
            <a:ext cx="1901908" cy="2133600"/>
          </a:xfrm>
          <a:prstGeom prst="ellipse">
            <a:avLst/>
          </a:prstGeom>
          <a:noFill/>
        </p:spPr>
      </p:pic>
    </p:spTree>
  </p:cSld>
  <p:clrMapOvr>
    <a:masterClrMapping/>
  </p:clrMapOvr>
  <p:transition advTm="4602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7200" y="609607"/>
            <a:ext cx="815340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indent="-742950" algn="ctr"/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క్షేత్ర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సందర్శనల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ఇంటర్యూల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్రాజెక్టుపనుల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,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విశ్లేషణల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ఆధారంగా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వార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తయార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చేసిన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నివేదికలు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తరగతి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గదిలో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చెప్పించి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dirty="0" err="1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ప్రోత్సహించాలి</a:t>
            </a:r>
            <a:r>
              <a:rPr lang="en-US" sz="6000" dirty="0" smtClean="0">
                <a:solidFill>
                  <a:srgbClr val="0000FF"/>
                </a:solidFill>
                <a:latin typeface="Ramabhadra" pitchFamily="2" charset="0"/>
                <a:cs typeface="Ramabhadra" pitchFamily="2" charset="0"/>
              </a:rPr>
              <a:t>.</a:t>
            </a:r>
            <a:endParaRPr lang="en-US" sz="6000" dirty="0">
              <a:solidFill>
                <a:srgbClr val="0000FF"/>
              </a:solidFill>
              <a:latin typeface="Ramabhadra" pitchFamily="2" charset="0"/>
              <a:cs typeface="Ramabhadra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/>
        </p:nvSpPr>
        <p:spPr>
          <a:xfrm>
            <a:off x="6248400" y="2895600"/>
            <a:ext cx="2514600" cy="17526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Oval 3"/>
          <p:cNvSpPr/>
          <p:nvPr/>
        </p:nvSpPr>
        <p:spPr>
          <a:xfrm>
            <a:off x="2133600" y="228600"/>
            <a:ext cx="4495800" cy="16764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2133600" y="685800"/>
            <a:ext cx="44196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విషయావగాహన</a:t>
            </a:r>
            <a:endParaRPr lang="en-US" sz="54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5" name="Left Arrow 4"/>
          <p:cNvSpPr/>
          <p:nvPr/>
        </p:nvSpPr>
        <p:spPr>
          <a:xfrm rot="18249950">
            <a:off x="1419316" y="2028401"/>
            <a:ext cx="1764763" cy="6820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172200" y="3352800"/>
            <a:ext cx="26670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339933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అవగాహన</a:t>
            </a:r>
            <a:endParaRPr lang="en-US" sz="5400" b="1" spc="50" dirty="0">
              <a:ln w="11430"/>
              <a:solidFill>
                <a:srgbClr val="339933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8" name="Oval 7"/>
          <p:cNvSpPr/>
          <p:nvPr/>
        </p:nvSpPr>
        <p:spPr>
          <a:xfrm>
            <a:off x="533400" y="3048000"/>
            <a:ext cx="2514600" cy="17526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85800" y="3496269"/>
            <a:ext cx="22860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విషయం</a:t>
            </a:r>
            <a:endParaRPr lang="en-US" sz="54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9" name="Left Arrow 8"/>
          <p:cNvSpPr/>
          <p:nvPr/>
        </p:nvSpPr>
        <p:spPr>
          <a:xfrm rot="14123896">
            <a:off x="5995391" y="1874350"/>
            <a:ext cx="1764763" cy="6820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 animBg="1"/>
      <p:bldP spid="3" grpId="0"/>
      <p:bldP spid="5" grpId="0" animBg="1"/>
      <p:bldP spid="7" grpId="0"/>
      <p:bldP spid="8" grpId="0" animBg="1"/>
      <p:bldP spid="6" grpId="0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 Arrow 3"/>
          <p:cNvSpPr/>
          <p:nvPr/>
        </p:nvSpPr>
        <p:spPr>
          <a:xfrm rot="2710292">
            <a:off x="2388645" y="2004349"/>
            <a:ext cx="1886008" cy="6820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Left Arrow 6"/>
          <p:cNvSpPr/>
          <p:nvPr/>
        </p:nvSpPr>
        <p:spPr>
          <a:xfrm rot="8281722">
            <a:off x="5113251" y="2050494"/>
            <a:ext cx="1805395" cy="6820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Left Arrow 8"/>
          <p:cNvSpPr/>
          <p:nvPr/>
        </p:nvSpPr>
        <p:spPr>
          <a:xfrm rot="16200000">
            <a:off x="3738595" y="3957612"/>
            <a:ext cx="1739228" cy="682017"/>
          </a:xfrm>
          <a:prstGeom prst="leftArrow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val 1"/>
          <p:cNvSpPr/>
          <p:nvPr/>
        </p:nvSpPr>
        <p:spPr>
          <a:xfrm>
            <a:off x="3352800" y="2362200"/>
            <a:ext cx="2514600" cy="1752600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3505200" y="2810469"/>
            <a:ext cx="2286000" cy="92333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విషయం</a:t>
            </a:r>
            <a:endParaRPr lang="en-US" sz="54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200" y="533406"/>
            <a:ext cx="3733800" cy="1015663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60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కీలక</a:t>
            </a:r>
            <a:r>
              <a:rPr lang="en-US" sz="6000" b="1" spc="50" dirty="0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పదాలు</a:t>
            </a:r>
            <a:endParaRPr lang="en-US" sz="60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38400" y="5248880"/>
            <a:ext cx="4343400" cy="1015663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60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స్టేట్</a:t>
            </a:r>
            <a:r>
              <a:rPr lang="en-US" sz="6000" b="1" spc="50" dirty="0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 </a:t>
            </a:r>
            <a:r>
              <a:rPr lang="en-US" sz="60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మెంట్స్</a:t>
            </a:r>
            <a:endParaRPr lang="en-US" sz="60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91200" y="533406"/>
            <a:ext cx="3124200" cy="1015663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6000" b="1" spc="50" dirty="0" err="1" smtClean="0">
                <a:ln w="11430"/>
                <a:solidFill>
                  <a:srgbClr val="7030A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Ramabhadra" pitchFamily="2" charset="0"/>
                <a:cs typeface="Ramabhadra" pitchFamily="2" charset="0"/>
              </a:rPr>
              <a:t>భావనలు</a:t>
            </a:r>
            <a:endParaRPr lang="en-US" sz="6000" b="1" spc="50" dirty="0">
              <a:ln w="11430"/>
              <a:solidFill>
                <a:srgbClr val="7030A0"/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0" name="Rectangle 9"/>
          <p:cNvSpPr/>
          <p:nvPr/>
        </p:nvSpPr>
        <p:spPr>
          <a:xfrm flipH="1">
            <a:off x="304800" y="304800"/>
            <a:ext cx="76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006600"/>
                </a:solidFill>
                <a:latin typeface="Ramabhadra" pitchFamily="2" charset="0"/>
                <a:cs typeface="Ramabhadra" pitchFamily="2" charset="0"/>
              </a:rPr>
              <a:t>AS1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9" grpId="0" animBg="1"/>
      <p:bldP spid="2" grpId="0" animBg="1"/>
      <p:bldP spid="3" grpId="0"/>
      <p:bldP spid="5" grpId="0"/>
      <p:bldP spid="6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2|2.7|3.6|1.3|2.4|0.9|2.6|1.3|2.7|1|2.7|9.4|1.7|3.9|1.3|1.2|0.9|2.5|3.5|1|2.3|2.3|0.7|0.9|2.4|0.7|0.8|1.1|1.1|2.2|0.9|1.2|0.7|3.1|1.4|3.7|0.9|2.8|1|2.6|0.8|2.9|1.2|2.7|0.8|2.6|0.8|3|1|2.6|0.9|2.9|0.9|3.1|0.9|3.5|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2|2.7|3.6|1.3|2.4|0.9|2.6|1.3|2.7|1|2.7|9.4|1.7|3.9|1.3|1.2|0.9|2.5|3.5|1|2.3|2.3|0.7|0.9|2.4|0.7|0.8|1.1|1.1|2.2|0.9|1.2|0.7|3.1|1.4|3.7|0.9|2.8|1|2.6|0.8|2.9|1.2|2.7|0.8|2.6|0.8|3|1|2.6|0.9|2.9|0.9|3.1|0.9|3.5|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3</TotalTime>
  <Words>2086</Words>
  <Application>Microsoft Office PowerPoint</Application>
  <PresentationFormat>On-screen Show (4:3)</PresentationFormat>
  <Paragraphs>764</Paragraphs>
  <Slides>6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4</vt:i4>
      </vt:variant>
    </vt:vector>
  </HeadingPairs>
  <TitlesOfParts>
    <vt:vector size="65" baseType="lpstr">
      <vt:lpstr>Office Theme</vt:lpstr>
      <vt:lpstr> సాంఘిక శాస్త్రం </vt:lpstr>
      <vt:lpstr>1. విషయ అవగాహన  (Conceptual Understanding).</vt:lpstr>
      <vt:lpstr>1. విషయ అవగాహన (Conceptual Understanding).</vt:lpstr>
      <vt:lpstr>తాను చూసిన సంఘటన గురించి గానీ, తాను చేసిన పనిని గురించి గానీ తన సొంత మటల్లో వివరించగలగాలి.</vt:lpstr>
      <vt:lpstr>విషయావగాహన పెంపొందించడానికి చేయవలసిన పనులు</vt:lpstr>
      <vt:lpstr>పిల్లలకు ఉపాధ్యాయుడు అందించాల్సిన సహాయం ఏమిటి?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  <vt:lpstr>Slide 40</vt:lpstr>
      <vt:lpstr>Slide 41</vt:lpstr>
      <vt:lpstr>Slide 42</vt:lpstr>
      <vt:lpstr>Slide 43</vt:lpstr>
      <vt:lpstr>Slide 44</vt:lpstr>
      <vt:lpstr>Slide 45</vt:lpstr>
      <vt:lpstr>Slide 46</vt:lpstr>
      <vt:lpstr>ఆస్ట్రేలియా</vt:lpstr>
      <vt:lpstr>పోర్చుగల్</vt:lpstr>
      <vt:lpstr>Slide 49</vt:lpstr>
      <vt:lpstr>Slide 50</vt:lpstr>
      <vt:lpstr>Slide 51</vt:lpstr>
      <vt:lpstr>పోర్చుగల్</vt:lpstr>
      <vt:lpstr>Slide 53</vt:lpstr>
      <vt:lpstr>Slide 54</vt:lpstr>
      <vt:lpstr>Slide 55</vt:lpstr>
      <vt:lpstr>Slide 56</vt:lpstr>
      <vt:lpstr>Slide 57</vt:lpstr>
      <vt:lpstr>Slide 58</vt:lpstr>
      <vt:lpstr>Slide 59</vt:lpstr>
      <vt:lpstr>Slide 60</vt:lpstr>
      <vt:lpstr>Slide 61</vt:lpstr>
      <vt:lpstr>Slide 62</vt:lpstr>
      <vt:lpstr>Slide 63</vt:lpstr>
      <vt:lpstr>FOR MORE SOCIAL STUDIES  PPTs, Videos, Previous Question Papers, Model papers, Lesson Plans, Teaching Notes, Materials, Maps……etc., in Telugu and English Mediums of APSCERT syllabus. Visit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సాంఘిక శాస్త్రం విద్యా ప్రమణాలు (Academic Standards)</dc:title>
  <dc:creator>SURESH</dc:creator>
  <cp:lastModifiedBy>SURESH</cp:lastModifiedBy>
  <cp:revision>38</cp:revision>
  <dcterms:created xsi:type="dcterms:W3CDTF">2006-08-16T00:00:00Z</dcterms:created>
  <dcterms:modified xsi:type="dcterms:W3CDTF">2015-01-24T18:01:20Z</dcterms:modified>
</cp:coreProperties>
</file>